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2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3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4.xml" ContentType="application/vnd.openxmlformats-officedocument.presentationml.notesSl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5.xml" ContentType="application/vnd.openxmlformats-officedocument.presentationml.notesSlid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6.xml" ContentType="application/vnd.openxmlformats-officedocument.presentationml.notesSlid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notesSlides/notesSlide7.xml" ContentType="application/vnd.openxmlformats-officedocument.presentationml.notesSlid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8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notesSlides/notesSlide9.xml" ContentType="application/vnd.openxmlformats-officedocument.presentationml.notesSlide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notesSlides/notesSlide10.xml" ContentType="application/vnd.openxmlformats-officedocument.presentationml.notesSlide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notesSlides/notesSlide11.xml" ContentType="application/vnd.openxmlformats-officedocument.presentationml.notesSlid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notesSlides/notesSlide12.xml" ContentType="application/vnd.openxmlformats-officedocument.presentationml.notesSlide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notesSlides/notesSlide13.xml" ContentType="application/vnd.openxmlformats-officedocument.presentationml.notesSlide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notesSlides/notesSlide14.xml" ContentType="application/vnd.openxmlformats-officedocument.presentationml.notesSlide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notesSlides/notesSlide15.xml" ContentType="application/vnd.openxmlformats-officedocument.presentationml.notesSlide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notesSlides/notesSlide16.xml" ContentType="application/vnd.openxmlformats-officedocument.presentationml.notesSlide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notesSlides/notesSlide17.xml" ContentType="application/vnd.openxmlformats-officedocument.presentationml.notesSlide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notesSlides/notesSlide18.xml" ContentType="application/vnd.openxmlformats-officedocument.presentationml.notesSlide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notesSlides/notesSlide19.xml" ContentType="application/vnd.openxmlformats-officedocument.presentationml.notesSlide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notesSlides/notesSlide20.xml" ContentType="application/vnd.openxmlformats-officedocument.presentationml.notesSlide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notesSlides/notesSlide21.xml" ContentType="application/vnd.openxmlformats-officedocument.presentationml.notesSlide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notesSlides/notesSlide22.xml" ContentType="application/vnd.openxmlformats-officedocument.presentationml.notesSlide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notesSlides/notesSlide23.xml" ContentType="application/vnd.openxmlformats-officedocument.presentationml.notesSlide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notesSlides/notesSlide24.xml" ContentType="application/vnd.openxmlformats-officedocument.presentationml.notesSlide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notesSlides/notesSlide25.xml" ContentType="application/vnd.openxmlformats-officedocument.presentationml.notesSlide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notesSlides/notesSlide26.xml" ContentType="application/vnd.openxmlformats-officedocument.presentationml.notesSlide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notesSlides/notesSlide27.xml" ContentType="application/vnd.openxmlformats-officedocument.presentationml.notesSlide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notesSlides/notesSlide28.xml" ContentType="application/vnd.openxmlformats-officedocument.presentationml.notesSlide+xml"/>
  <Override PartName="/ppt/tags/tag24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4" r:id="rId5"/>
  </p:sldMasterIdLst>
  <p:notesMasterIdLst>
    <p:notesMasterId r:id="rId42"/>
  </p:notesMasterIdLst>
  <p:sldIdLst>
    <p:sldId id="2147483374" r:id="rId6"/>
    <p:sldId id="2147474755" r:id="rId7"/>
    <p:sldId id="2147474756" r:id="rId8"/>
    <p:sldId id="2147474757" r:id="rId9"/>
    <p:sldId id="2147474758" r:id="rId10"/>
    <p:sldId id="2147474759" r:id="rId11"/>
    <p:sldId id="2147474760" r:id="rId12"/>
    <p:sldId id="2147474761" r:id="rId13"/>
    <p:sldId id="2147474762" r:id="rId14"/>
    <p:sldId id="2147474763" r:id="rId15"/>
    <p:sldId id="2147474764" r:id="rId16"/>
    <p:sldId id="2147474765" r:id="rId17"/>
    <p:sldId id="2147474766" r:id="rId18"/>
    <p:sldId id="2147474767" r:id="rId19"/>
    <p:sldId id="2147474768" r:id="rId20"/>
    <p:sldId id="2147474769" r:id="rId21"/>
    <p:sldId id="2147474770" r:id="rId22"/>
    <p:sldId id="2147474771" r:id="rId23"/>
    <p:sldId id="2147474772" r:id="rId24"/>
    <p:sldId id="2147474773" r:id="rId25"/>
    <p:sldId id="2147474774" r:id="rId26"/>
    <p:sldId id="2147474775" r:id="rId27"/>
    <p:sldId id="2147474776" r:id="rId28"/>
    <p:sldId id="2147474777" r:id="rId29"/>
    <p:sldId id="2147474778" r:id="rId30"/>
    <p:sldId id="2147474779" r:id="rId31"/>
    <p:sldId id="2147474780" r:id="rId32"/>
    <p:sldId id="2147474781" r:id="rId33"/>
    <p:sldId id="2147474782" r:id="rId34"/>
    <p:sldId id="2147474783" r:id="rId35"/>
    <p:sldId id="2147474784" r:id="rId36"/>
    <p:sldId id="2147474785" r:id="rId37"/>
    <p:sldId id="2147474786" r:id="rId38"/>
    <p:sldId id="2147483372" r:id="rId39"/>
    <p:sldId id="2147483373" r:id="rId40"/>
    <p:sldId id="2147474743" r:id="rId41"/>
  </p:sldIdLst>
  <p:sldSz cx="12192000" cy="6858000"/>
  <p:notesSz cx="6797675" cy="9926638"/>
  <p:custDataLst>
    <p:tags r:id="rId43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5C5C5C"/>
    <a:srgbClr val="FAEEC3"/>
    <a:srgbClr val="F2DE8A"/>
    <a:srgbClr val="E9CD49"/>
    <a:srgbClr val="C6AA3D"/>
    <a:srgbClr val="AB8933"/>
    <a:srgbClr val="FAECDB"/>
    <a:srgbClr val="EDDABD"/>
    <a:srgbClr val="CFB7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1" d="100"/>
          <a:sy n="81" d="100"/>
        </p:scale>
        <p:origin x="58" y="2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notesMaster" Target="notesMasters/notesMaster1.xml"/><Relationship Id="rId47" Type="http://schemas.openxmlformats.org/officeDocument/2006/relationships/tableStyles" Target="tableStyle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tags" Target="tags/tag1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theme" Target="theme/theme1.xml"/><Relationship Id="rId20" Type="http://schemas.openxmlformats.org/officeDocument/2006/relationships/slide" Target="slides/slide15.xml"/><Relationship Id="rId41" Type="http://schemas.openxmlformats.org/officeDocument/2006/relationships/slide" Target="slides/slide36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1E44C8-294A-4183-8FD1-DAD255AD039C}" type="datetimeFigureOut">
              <a:rPr lang="en-US" smtClean="0"/>
              <a:t>6/3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6D1848-BAB6-45BB-B982-9444BBE190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19927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A6E11DF-F904-4D61-B67D-198B20FAC678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879043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4049047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09580B8B-CA8D-42A9-AB81-0C066067EFC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1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451534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E9E5FE9A-9499-4BE6-A05A-9973ADE0828A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16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436060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A6E11DF-F904-4D61-B67D-198B20FAC678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1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061514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F46BACCE-704A-472D-937C-3C55DDD6C171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19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108475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84520147-E622-4CEF-B08E-DB1F8618B1D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20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87925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84520147-E622-4CEF-B08E-DB1F8618B1D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2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118794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01220124-9ED1-4EE0-975C-B962A571116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277281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A6E11DF-F904-4D61-B67D-198B20FAC678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2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262837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01220124-9ED1-4EE0-975C-B962A571116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60387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F46BACCE-704A-472D-937C-3C55DDD6C171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4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028029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A6E11DF-F904-4D61-B67D-198B20FAC678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2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73544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06551631-E3B7-4C6B-96A2-DC4FFCDBC33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2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4498477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A6E11DF-F904-4D61-B67D-198B20FAC678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2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8635544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0111626-39E8-49A3-BFCF-9D778E74FB9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059885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84520147-E622-4CEF-B08E-DB1F8618B1D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3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617210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84520147-E622-4CEF-B08E-DB1F8618B1D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3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197023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3BFD92-72B3-42CC-BD30-932FB190215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537628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5468D7-433C-4EB1-991C-7026B6726F0D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546560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5468D7-433C-4EB1-991C-7026B6726F0D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43907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F46BACCE-704A-472D-937C-3C55DDD6C171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6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01735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84520147-E622-4CEF-B08E-DB1F8618B1D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29869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06551631-E3B7-4C6B-96A2-DC4FFCDBC33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130731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F46BACCE-704A-472D-937C-3C55DDD6C171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9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894098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84520147-E622-4CEF-B08E-DB1F8618B1D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27911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84520147-E622-4CEF-B08E-DB1F8618B1D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1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58034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84520147-E622-4CEF-B08E-DB1F8618B1D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1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78678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12046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042924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73235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34442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972722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618018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93200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53">
          <p15:clr>
            <a:srgbClr val="A4A3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53587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7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tags" Target="../tags/tag3.xml"/><Relationship Id="rId5" Type="http://schemas.openxmlformats.org/officeDocument/2006/relationships/theme" Target="../theme/theme2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F1C21ED-275E-017B-DF76-09ED169DC7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7432306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1C21ED-275E-017B-DF76-09ED169DC7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32E34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Survey 3_Sample Output</a:t>
            </a: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WSS</a:t>
            </a: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63" r:id="rId3"/>
    <p:sldLayoutId id="2147483655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D1D1D1"/>
          </p15:clr>
        </p15:guide>
        <p15:guide id="2" pos="211" userDrawn="1">
          <p15:clr>
            <a:srgbClr val="D1D1D1"/>
          </p15:clr>
        </p15:guide>
        <p15:guide id="4" orient="horz" pos="799" userDrawn="1">
          <p15:clr>
            <a:srgbClr val="D1D1D1"/>
          </p15:clr>
        </p15:guide>
        <p15:guide id="7" orient="horz" pos="4133" userDrawn="1">
          <p15:clr>
            <a:srgbClr val="D1D1D1"/>
          </p15:clr>
        </p15:guide>
        <p15:guide id="8" pos="7469" userDrawn="1">
          <p15:clr>
            <a:srgbClr val="D1D1D1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1DF8B3D-47BD-681F-6D32-BA0A15E230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23401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1DF8B3D-47BD-681F-6D32-BA0A15E230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32E34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Survey 3_Sample Output</a:t>
            </a: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WSS</a:t>
            </a: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611984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>
          <p15:clr>
            <a:srgbClr val="D1D1D1"/>
          </p15:clr>
        </p15:guide>
        <p15:guide id="2" pos="211">
          <p15:clr>
            <a:srgbClr val="D1D1D1"/>
          </p15:clr>
        </p15:guide>
        <p15:guide id="4" orient="horz" pos="799">
          <p15:clr>
            <a:srgbClr val="D1D1D1"/>
          </p15:clr>
        </p15:guide>
        <p15:guide id="7" orient="horz" pos="4133">
          <p15:clr>
            <a:srgbClr val="D1D1D1"/>
          </p15:clr>
        </p15:guide>
        <p15:guide id="8" pos="7469">
          <p15:clr>
            <a:srgbClr val="D1D1D1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68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emf"/><Relationship Id="rId3" Type="http://schemas.openxmlformats.org/officeDocument/2006/relationships/tags" Target="../tags/tag71.xml"/><Relationship Id="rId7" Type="http://schemas.openxmlformats.org/officeDocument/2006/relationships/notesSlide" Target="../notesSlides/notesSlide7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73.xml"/><Relationship Id="rId4" Type="http://schemas.openxmlformats.org/officeDocument/2006/relationships/tags" Target="../tags/tag7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emf"/><Relationship Id="rId3" Type="http://schemas.openxmlformats.org/officeDocument/2006/relationships/tags" Target="../tags/tag76.xml"/><Relationship Id="rId7" Type="http://schemas.openxmlformats.org/officeDocument/2006/relationships/notesSlide" Target="../notesSlides/notesSlide8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78.xml"/><Relationship Id="rId4" Type="http://schemas.openxmlformats.org/officeDocument/2006/relationships/tags" Target="../tags/tag7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emf"/><Relationship Id="rId3" Type="http://schemas.openxmlformats.org/officeDocument/2006/relationships/tags" Target="../tags/tag81.xml"/><Relationship Id="rId7" Type="http://schemas.openxmlformats.org/officeDocument/2006/relationships/notesSlide" Target="../notesSlides/notesSlide9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83.xml"/><Relationship Id="rId4" Type="http://schemas.openxmlformats.org/officeDocument/2006/relationships/tags" Target="../tags/tag8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13" Type="http://schemas.openxmlformats.org/officeDocument/2006/relationships/tags" Target="../tags/tag96.xml"/><Relationship Id="rId18" Type="http://schemas.openxmlformats.org/officeDocument/2006/relationships/tags" Target="../tags/tag101.xml"/><Relationship Id="rId3" Type="http://schemas.openxmlformats.org/officeDocument/2006/relationships/tags" Target="../tags/tag86.xml"/><Relationship Id="rId21" Type="http://schemas.openxmlformats.org/officeDocument/2006/relationships/tags" Target="../tags/tag104.xml"/><Relationship Id="rId7" Type="http://schemas.openxmlformats.org/officeDocument/2006/relationships/tags" Target="../tags/tag90.xml"/><Relationship Id="rId12" Type="http://schemas.openxmlformats.org/officeDocument/2006/relationships/tags" Target="../tags/tag95.xml"/><Relationship Id="rId17" Type="http://schemas.openxmlformats.org/officeDocument/2006/relationships/tags" Target="../tags/tag100.xml"/><Relationship Id="rId25" Type="http://schemas.openxmlformats.org/officeDocument/2006/relationships/notesSlide" Target="../notesSlides/notesSlide10.xml"/><Relationship Id="rId2" Type="http://schemas.openxmlformats.org/officeDocument/2006/relationships/tags" Target="../tags/tag85.xml"/><Relationship Id="rId16" Type="http://schemas.openxmlformats.org/officeDocument/2006/relationships/tags" Target="../tags/tag99.xml"/><Relationship Id="rId20" Type="http://schemas.openxmlformats.org/officeDocument/2006/relationships/tags" Target="../tags/tag103.xml"/><Relationship Id="rId1" Type="http://schemas.openxmlformats.org/officeDocument/2006/relationships/tags" Target="../tags/tag84.xml"/><Relationship Id="rId6" Type="http://schemas.openxmlformats.org/officeDocument/2006/relationships/tags" Target="../tags/tag89.xml"/><Relationship Id="rId11" Type="http://schemas.openxmlformats.org/officeDocument/2006/relationships/tags" Target="../tags/tag94.xml"/><Relationship Id="rId24" Type="http://schemas.openxmlformats.org/officeDocument/2006/relationships/slideLayout" Target="../slideLayouts/slideLayout6.xml"/><Relationship Id="rId5" Type="http://schemas.openxmlformats.org/officeDocument/2006/relationships/tags" Target="../tags/tag88.xml"/><Relationship Id="rId15" Type="http://schemas.openxmlformats.org/officeDocument/2006/relationships/tags" Target="../tags/tag98.xml"/><Relationship Id="rId23" Type="http://schemas.openxmlformats.org/officeDocument/2006/relationships/tags" Target="../tags/tag106.xml"/><Relationship Id="rId10" Type="http://schemas.openxmlformats.org/officeDocument/2006/relationships/tags" Target="../tags/tag93.xml"/><Relationship Id="rId19" Type="http://schemas.openxmlformats.org/officeDocument/2006/relationships/tags" Target="../tags/tag102.xml"/><Relationship Id="rId4" Type="http://schemas.openxmlformats.org/officeDocument/2006/relationships/tags" Target="../tags/tag87.xml"/><Relationship Id="rId9" Type="http://schemas.openxmlformats.org/officeDocument/2006/relationships/tags" Target="../tags/tag92.xml"/><Relationship Id="rId14" Type="http://schemas.openxmlformats.org/officeDocument/2006/relationships/tags" Target="../tags/tag97.xml"/><Relationship Id="rId22" Type="http://schemas.openxmlformats.org/officeDocument/2006/relationships/tags" Target="../tags/tag105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14.xml"/><Relationship Id="rId13" Type="http://schemas.openxmlformats.org/officeDocument/2006/relationships/notesSlide" Target="../notesSlides/notesSlide11.xml"/><Relationship Id="rId3" Type="http://schemas.openxmlformats.org/officeDocument/2006/relationships/tags" Target="../tags/tag109.xml"/><Relationship Id="rId7" Type="http://schemas.openxmlformats.org/officeDocument/2006/relationships/tags" Target="../tags/tag113.xml"/><Relationship Id="rId12" Type="http://schemas.openxmlformats.org/officeDocument/2006/relationships/slideLayout" Target="../slideLayouts/slideLayout6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tags" Target="../tags/tag112.xml"/><Relationship Id="rId11" Type="http://schemas.openxmlformats.org/officeDocument/2006/relationships/tags" Target="../tags/tag117.xml"/><Relationship Id="rId5" Type="http://schemas.openxmlformats.org/officeDocument/2006/relationships/tags" Target="../tags/tag111.xml"/><Relationship Id="rId15" Type="http://schemas.openxmlformats.org/officeDocument/2006/relationships/image" Target="../media/image34.emf"/><Relationship Id="rId10" Type="http://schemas.openxmlformats.org/officeDocument/2006/relationships/tags" Target="../tags/tag116.xml"/><Relationship Id="rId4" Type="http://schemas.openxmlformats.org/officeDocument/2006/relationships/tags" Target="../tags/tag110.xml"/><Relationship Id="rId9" Type="http://schemas.openxmlformats.org/officeDocument/2006/relationships/tags" Target="../tags/tag115.xml"/><Relationship Id="rId14" Type="http://schemas.openxmlformats.org/officeDocument/2006/relationships/image" Target="../media/image33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120.xml"/><Relationship Id="rId7" Type="http://schemas.openxmlformats.org/officeDocument/2006/relationships/notesSlide" Target="../notesSlides/notesSlide12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122.xml"/><Relationship Id="rId4" Type="http://schemas.openxmlformats.org/officeDocument/2006/relationships/tags" Target="../tags/tag12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12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emf"/><Relationship Id="rId3" Type="http://schemas.openxmlformats.org/officeDocument/2006/relationships/tags" Target="../tags/tag126.xml"/><Relationship Id="rId7" Type="http://schemas.openxmlformats.org/officeDocument/2006/relationships/notesSlide" Target="../notesSlides/notesSlide13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128.xml"/><Relationship Id="rId4" Type="http://schemas.openxmlformats.org/officeDocument/2006/relationships/tags" Target="../tags/tag127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emf"/><Relationship Id="rId3" Type="http://schemas.openxmlformats.org/officeDocument/2006/relationships/tags" Target="../tags/tag131.xml"/><Relationship Id="rId7" Type="http://schemas.openxmlformats.org/officeDocument/2006/relationships/notesSlide" Target="../notesSlides/notesSlide14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133.xml"/><Relationship Id="rId4" Type="http://schemas.openxmlformats.org/officeDocument/2006/relationships/tags" Target="../tags/tag13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6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emf"/><Relationship Id="rId3" Type="http://schemas.openxmlformats.org/officeDocument/2006/relationships/tags" Target="../tags/tag136.xml"/><Relationship Id="rId7" Type="http://schemas.openxmlformats.org/officeDocument/2006/relationships/notesSlide" Target="../notesSlides/notesSlide15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138.xml"/><Relationship Id="rId4" Type="http://schemas.openxmlformats.org/officeDocument/2006/relationships/tags" Target="../tags/tag13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141.xml"/><Relationship Id="rId7" Type="http://schemas.openxmlformats.org/officeDocument/2006/relationships/notesSlide" Target="../notesSlides/notesSlide16.xml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143.xml"/><Relationship Id="rId4" Type="http://schemas.openxmlformats.org/officeDocument/2006/relationships/tags" Target="../tags/tag14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151.xml"/><Relationship Id="rId13" Type="http://schemas.openxmlformats.org/officeDocument/2006/relationships/tags" Target="../tags/tag156.xml"/><Relationship Id="rId18" Type="http://schemas.openxmlformats.org/officeDocument/2006/relationships/image" Target="../media/image39.emf"/><Relationship Id="rId3" Type="http://schemas.openxmlformats.org/officeDocument/2006/relationships/tags" Target="../tags/tag146.xml"/><Relationship Id="rId7" Type="http://schemas.openxmlformats.org/officeDocument/2006/relationships/tags" Target="../tags/tag150.xml"/><Relationship Id="rId12" Type="http://schemas.openxmlformats.org/officeDocument/2006/relationships/tags" Target="../tags/tag155.xml"/><Relationship Id="rId17" Type="http://schemas.openxmlformats.org/officeDocument/2006/relationships/image" Target="../media/image38.emf"/><Relationship Id="rId2" Type="http://schemas.openxmlformats.org/officeDocument/2006/relationships/tags" Target="../tags/tag145.xml"/><Relationship Id="rId16" Type="http://schemas.openxmlformats.org/officeDocument/2006/relationships/notesSlide" Target="../notesSlides/notesSlide17.xml"/><Relationship Id="rId1" Type="http://schemas.openxmlformats.org/officeDocument/2006/relationships/tags" Target="../tags/tag144.xml"/><Relationship Id="rId6" Type="http://schemas.openxmlformats.org/officeDocument/2006/relationships/tags" Target="../tags/tag149.xml"/><Relationship Id="rId11" Type="http://schemas.openxmlformats.org/officeDocument/2006/relationships/tags" Target="../tags/tag154.xml"/><Relationship Id="rId5" Type="http://schemas.openxmlformats.org/officeDocument/2006/relationships/tags" Target="../tags/tag148.xml"/><Relationship Id="rId15" Type="http://schemas.openxmlformats.org/officeDocument/2006/relationships/slideLayout" Target="../slideLayouts/slideLayout6.xml"/><Relationship Id="rId10" Type="http://schemas.openxmlformats.org/officeDocument/2006/relationships/tags" Target="../tags/tag153.xml"/><Relationship Id="rId19" Type="http://schemas.openxmlformats.org/officeDocument/2006/relationships/image" Target="../media/image40.emf"/><Relationship Id="rId4" Type="http://schemas.openxmlformats.org/officeDocument/2006/relationships/tags" Target="../tags/tag147.xml"/><Relationship Id="rId9" Type="http://schemas.openxmlformats.org/officeDocument/2006/relationships/tags" Target="../tags/tag152.xml"/><Relationship Id="rId14" Type="http://schemas.openxmlformats.org/officeDocument/2006/relationships/tags" Target="../tags/tag15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158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emf"/><Relationship Id="rId3" Type="http://schemas.openxmlformats.org/officeDocument/2006/relationships/tags" Target="../tags/tag161.xml"/><Relationship Id="rId7" Type="http://schemas.openxmlformats.org/officeDocument/2006/relationships/notesSlide" Target="../notesSlides/notesSlide18.xml"/><Relationship Id="rId2" Type="http://schemas.openxmlformats.org/officeDocument/2006/relationships/tags" Target="../tags/tag160.xml"/><Relationship Id="rId1" Type="http://schemas.openxmlformats.org/officeDocument/2006/relationships/tags" Target="../tags/tag159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163.xml"/><Relationship Id="rId4" Type="http://schemas.openxmlformats.org/officeDocument/2006/relationships/tags" Target="../tags/tag16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171.xml"/><Relationship Id="rId13" Type="http://schemas.openxmlformats.org/officeDocument/2006/relationships/notesSlide" Target="../notesSlides/notesSlide19.xml"/><Relationship Id="rId3" Type="http://schemas.openxmlformats.org/officeDocument/2006/relationships/tags" Target="../tags/tag166.xml"/><Relationship Id="rId7" Type="http://schemas.openxmlformats.org/officeDocument/2006/relationships/tags" Target="../tags/tag170.xml"/><Relationship Id="rId12" Type="http://schemas.openxmlformats.org/officeDocument/2006/relationships/slideLayout" Target="../slideLayouts/slideLayout6.xm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tags" Target="../tags/tag169.xml"/><Relationship Id="rId11" Type="http://schemas.openxmlformats.org/officeDocument/2006/relationships/tags" Target="../tags/tag174.xml"/><Relationship Id="rId5" Type="http://schemas.openxmlformats.org/officeDocument/2006/relationships/tags" Target="../tags/tag168.xml"/><Relationship Id="rId15" Type="http://schemas.openxmlformats.org/officeDocument/2006/relationships/image" Target="../media/image43.emf"/><Relationship Id="rId10" Type="http://schemas.openxmlformats.org/officeDocument/2006/relationships/tags" Target="../tags/tag173.xml"/><Relationship Id="rId4" Type="http://schemas.openxmlformats.org/officeDocument/2006/relationships/tags" Target="../tags/tag167.xml"/><Relationship Id="rId9" Type="http://schemas.openxmlformats.org/officeDocument/2006/relationships/tags" Target="../tags/tag172.xml"/><Relationship Id="rId14" Type="http://schemas.openxmlformats.org/officeDocument/2006/relationships/image" Target="../media/image42.emf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182.xml"/><Relationship Id="rId3" Type="http://schemas.openxmlformats.org/officeDocument/2006/relationships/tags" Target="../tags/tag177.xml"/><Relationship Id="rId7" Type="http://schemas.openxmlformats.org/officeDocument/2006/relationships/tags" Target="../tags/tag181.xml"/><Relationship Id="rId12" Type="http://schemas.openxmlformats.org/officeDocument/2006/relationships/image" Target="../media/image45.emf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6" Type="http://schemas.openxmlformats.org/officeDocument/2006/relationships/tags" Target="../tags/tag180.xml"/><Relationship Id="rId11" Type="http://schemas.openxmlformats.org/officeDocument/2006/relationships/image" Target="../media/image44.emf"/><Relationship Id="rId5" Type="http://schemas.openxmlformats.org/officeDocument/2006/relationships/tags" Target="../tags/tag179.xml"/><Relationship Id="rId10" Type="http://schemas.openxmlformats.org/officeDocument/2006/relationships/notesSlide" Target="../notesSlides/notesSlide20.xml"/><Relationship Id="rId4" Type="http://schemas.openxmlformats.org/officeDocument/2006/relationships/tags" Target="../tags/tag178.xml"/><Relationship Id="rId9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190.xml"/><Relationship Id="rId13" Type="http://schemas.openxmlformats.org/officeDocument/2006/relationships/image" Target="../media/image47.emf"/><Relationship Id="rId3" Type="http://schemas.openxmlformats.org/officeDocument/2006/relationships/tags" Target="../tags/tag185.xml"/><Relationship Id="rId7" Type="http://schemas.openxmlformats.org/officeDocument/2006/relationships/tags" Target="../tags/tag189.xml"/><Relationship Id="rId12" Type="http://schemas.openxmlformats.org/officeDocument/2006/relationships/image" Target="../media/image46.emf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6" Type="http://schemas.openxmlformats.org/officeDocument/2006/relationships/tags" Target="../tags/tag188.xml"/><Relationship Id="rId11" Type="http://schemas.openxmlformats.org/officeDocument/2006/relationships/notesSlide" Target="../notesSlides/notesSlide21.xml"/><Relationship Id="rId5" Type="http://schemas.openxmlformats.org/officeDocument/2006/relationships/tags" Target="../tags/tag187.xml"/><Relationship Id="rId10" Type="http://schemas.openxmlformats.org/officeDocument/2006/relationships/slideLayout" Target="../slideLayouts/slideLayout6.xml"/><Relationship Id="rId4" Type="http://schemas.openxmlformats.org/officeDocument/2006/relationships/tags" Target="../tags/tag186.xml"/><Relationship Id="rId9" Type="http://schemas.openxmlformats.org/officeDocument/2006/relationships/tags" Target="../tags/tag19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192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200.xml"/><Relationship Id="rId3" Type="http://schemas.openxmlformats.org/officeDocument/2006/relationships/tags" Target="../tags/tag195.xml"/><Relationship Id="rId7" Type="http://schemas.openxmlformats.org/officeDocument/2006/relationships/tags" Target="../tags/tag199.xml"/><Relationship Id="rId12" Type="http://schemas.openxmlformats.org/officeDocument/2006/relationships/image" Target="../media/image49.emf"/><Relationship Id="rId2" Type="http://schemas.openxmlformats.org/officeDocument/2006/relationships/tags" Target="../tags/tag194.xml"/><Relationship Id="rId1" Type="http://schemas.openxmlformats.org/officeDocument/2006/relationships/tags" Target="../tags/tag193.xml"/><Relationship Id="rId6" Type="http://schemas.openxmlformats.org/officeDocument/2006/relationships/tags" Target="../tags/tag198.xml"/><Relationship Id="rId11" Type="http://schemas.openxmlformats.org/officeDocument/2006/relationships/image" Target="../media/image48.emf"/><Relationship Id="rId5" Type="http://schemas.openxmlformats.org/officeDocument/2006/relationships/tags" Target="../tags/tag197.xml"/><Relationship Id="rId10" Type="http://schemas.openxmlformats.org/officeDocument/2006/relationships/notesSlide" Target="../notesSlides/notesSlide22.xml"/><Relationship Id="rId4" Type="http://schemas.openxmlformats.org/officeDocument/2006/relationships/tags" Target="../tags/tag196.xml"/><Relationship Id="rId9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9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208.xml"/><Relationship Id="rId13" Type="http://schemas.openxmlformats.org/officeDocument/2006/relationships/image" Target="../media/image51.emf"/><Relationship Id="rId3" Type="http://schemas.openxmlformats.org/officeDocument/2006/relationships/tags" Target="../tags/tag203.xml"/><Relationship Id="rId7" Type="http://schemas.openxmlformats.org/officeDocument/2006/relationships/tags" Target="../tags/tag207.xml"/><Relationship Id="rId12" Type="http://schemas.openxmlformats.org/officeDocument/2006/relationships/image" Target="../media/image50.emf"/><Relationship Id="rId2" Type="http://schemas.openxmlformats.org/officeDocument/2006/relationships/tags" Target="../tags/tag202.xml"/><Relationship Id="rId1" Type="http://schemas.openxmlformats.org/officeDocument/2006/relationships/tags" Target="../tags/tag201.xml"/><Relationship Id="rId6" Type="http://schemas.openxmlformats.org/officeDocument/2006/relationships/tags" Target="../tags/tag206.xml"/><Relationship Id="rId11" Type="http://schemas.openxmlformats.org/officeDocument/2006/relationships/notesSlide" Target="../notesSlides/notesSlide23.xml"/><Relationship Id="rId5" Type="http://schemas.openxmlformats.org/officeDocument/2006/relationships/tags" Target="../tags/tag205.xml"/><Relationship Id="rId10" Type="http://schemas.openxmlformats.org/officeDocument/2006/relationships/slideLayout" Target="../slideLayouts/slideLayout6.xml"/><Relationship Id="rId4" Type="http://schemas.openxmlformats.org/officeDocument/2006/relationships/tags" Target="../tags/tag204.xml"/><Relationship Id="rId9" Type="http://schemas.openxmlformats.org/officeDocument/2006/relationships/tags" Target="../tags/tag209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217.xml"/><Relationship Id="rId13" Type="http://schemas.openxmlformats.org/officeDocument/2006/relationships/image" Target="../media/image52.emf"/><Relationship Id="rId3" Type="http://schemas.openxmlformats.org/officeDocument/2006/relationships/tags" Target="../tags/tag212.xml"/><Relationship Id="rId7" Type="http://schemas.openxmlformats.org/officeDocument/2006/relationships/tags" Target="../tags/tag216.xml"/><Relationship Id="rId12" Type="http://schemas.openxmlformats.org/officeDocument/2006/relationships/notesSlide" Target="../notesSlides/notesSlide24.xml"/><Relationship Id="rId2" Type="http://schemas.openxmlformats.org/officeDocument/2006/relationships/tags" Target="../tags/tag211.xml"/><Relationship Id="rId1" Type="http://schemas.openxmlformats.org/officeDocument/2006/relationships/tags" Target="../tags/tag210.xml"/><Relationship Id="rId6" Type="http://schemas.openxmlformats.org/officeDocument/2006/relationships/tags" Target="../tags/tag215.xml"/><Relationship Id="rId11" Type="http://schemas.openxmlformats.org/officeDocument/2006/relationships/slideLayout" Target="../slideLayouts/slideLayout6.xml"/><Relationship Id="rId5" Type="http://schemas.openxmlformats.org/officeDocument/2006/relationships/tags" Target="../tags/tag214.xml"/><Relationship Id="rId15" Type="http://schemas.openxmlformats.org/officeDocument/2006/relationships/image" Target="../media/image54.emf"/><Relationship Id="rId10" Type="http://schemas.openxmlformats.org/officeDocument/2006/relationships/tags" Target="../tags/tag219.xml"/><Relationship Id="rId4" Type="http://schemas.openxmlformats.org/officeDocument/2006/relationships/tags" Target="../tags/tag213.xml"/><Relationship Id="rId9" Type="http://schemas.openxmlformats.org/officeDocument/2006/relationships/tags" Target="../tags/tag218.xml"/><Relationship Id="rId14" Type="http://schemas.openxmlformats.org/officeDocument/2006/relationships/image" Target="../media/image53.emf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emf"/><Relationship Id="rId3" Type="http://schemas.openxmlformats.org/officeDocument/2006/relationships/tags" Target="../tags/tag222.xml"/><Relationship Id="rId7" Type="http://schemas.openxmlformats.org/officeDocument/2006/relationships/notesSlide" Target="../notesSlides/notesSlide25.xml"/><Relationship Id="rId2" Type="http://schemas.openxmlformats.org/officeDocument/2006/relationships/tags" Target="../tags/tag221.xml"/><Relationship Id="rId1" Type="http://schemas.openxmlformats.org/officeDocument/2006/relationships/tags" Target="../tags/tag220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224.xml"/><Relationship Id="rId4" Type="http://schemas.openxmlformats.org/officeDocument/2006/relationships/tags" Target="../tags/tag223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6.xml"/><Relationship Id="rId3" Type="http://schemas.openxmlformats.org/officeDocument/2006/relationships/tags" Target="../tags/tag227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226.xml"/><Relationship Id="rId1" Type="http://schemas.openxmlformats.org/officeDocument/2006/relationships/tags" Target="../tags/tag225.xml"/><Relationship Id="rId6" Type="http://schemas.openxmlformats.org/officeDocument/2006/relationships/tags" Target="../tags/tag230.xml"/><Relationship Id="rId5" Type="http://schemas.openxmlformats.org/officeDocument/2006/relationships/tags" Target="../tags/tag229.xml"/><Relationship Id="rId4" Type="http://schemas.openxmlformats.org/officeDocument/2006/relationships/tags" Target="../tags/tag228.xml"/><Relationship Id="rId9" Type="http://schemas.openxmlformats.org/officeDocument/2006/relationships/image" Target="../media/image56.emf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.xml"/><Relationship Id="rId3" Type="http://schemas.openxmlformats.org/officeDocument/2006/relationships/tags" Target="../tags/tag233.xml"/><Relationship Id="rId7" Type="http://schemas.openxmlformats.org/officeDocument/2006/relationships/tags" Target="../tags/tag237.xml"/><Relationship Id="rId2" Type="http://schemas.openxmlformats.org/officeDocument/2006/relationships/tags" Target="../tags/tag232.xml"/><Relationship Id="rId1" Type="http://schemas.openxmlformats.org/officeDocument/2006/relationships/tags" Target="../tags/tag231.xml"/><Relationship Id="rId6" Type="http://schemas.openxmlformats.org/officeDocument/2006/relationships/tags" Target="../tags/tag236.xml"/><Relationship Id="rId5" Type="http://schemas.openxmlformats.org/officeDocument/2006/relationships/tags" Target="../tags/tag235.xml"/><Relationship Id="rId4" Type="http://schemas.openxmlformats.org/officeDocument/2006/relationships/tags" Target="../tags/tag234.xml"/><Relationship Id="rId9" Type="http://schemas.openxmlformats.org/officeDocument/2006/relationships/notesSlide" Target="../notesSlides/notesSlide27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8.xml"/><Relationship Id="rId3" Type="http://schemas.openxmlformats.org/officeDocument/2006/relationships/tags" Target="../tags/tag240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239.xml"/><Relationship Id="rId1" Type="http://schemas.openxmlformats.org/officeDocument/2006/relationships/tags" Target="../tags/tag238.xml"/><Relationship Id="rId6" Type="http://schemas.openxmlformats.org/officeDocument/2006/relationships/tags" Target="../tags/tag243.xml"/><Relationship Id="rId5" Type="http://schemas.openxmlformats.org/officeDocument/2006/relationships/tags" Target="../tags/tag242.xml"/><Relationship Id="rId4" Type="http://schemas.openxmlformats.org/officeDocument/2006/relationships/tags" Target="../tags/tag241.xml"/><Relationship Id="rId9" Type="http://schemas.openxmlformats.org/officeDocument/2006/relationships/image" Target="../media/image57.emf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24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tags" Target="../tags/tag24.xml"/><Relationship Id="rId18" Type="http://schemas.openxmlformats.org/officeDocument/2006/relationships/image" Target="../media/image7.emf"/><Relationship Id="rId3" Type="http://schemas.openxmlformats.org/officeDocument/2006/relationships/tags" Target="../tags/tag14.xml"/><Relationship Id="rId21" Type="http://schemas.openxmlformats.org/officeDocument/2006/relationships/image" Target="../media/image10.emf"/><Relationship Id="rId7" Type="http://schemas.openxmlformats.org/officeDocument/2006/relationships/tags" Target="../tags/tag18.xml"/><Relationship Id="rId12" Type="http://schemas.openxmlformats.org/officeDocument/2006/relationships/tags" Target="../tags/tag23.xml"/><Relationship Id="rId17" Type="http://schemas.openxmlformats.org/officeDocument/2006/relationships/image" Target="../media/image6.emf"/><Relationship Id="rId2" Type="http://schemas.openxmlformats.org/officeDocument/2006/relationships/tags" Target="../tags/tag13.xml"/><Relationship Id="rId16" Type="http://schemas.openxmlformats.org/officeDocument/2006/relationships/notesSlide" Target="../notesSlides/notesSlide2.xml"/><Relationship Id="rId20" Type="http://schemas.openxmlformats.org/officeDocument/2006/relationships/image" Target="../media/image9.emf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openxmlformats.org/officeDocument/2006/relationships/tags" Target="../tags/tag22.xml"/><Relationship Id="rId5" Type="http://schemas.openxmlformats.org/officeDocument/2006/relationships/tags" Target="../tags/tag16.xml"/><Relationship Id="rId15" Type="http://schemas.openxmlformats.org/officeDocument/2006/relationships/slideLayout" Target="../slideLayouts/slideLayout6.xml"/><Relationship Id="rId10" Type="http://schemas.openxmlformats.org/officeDocument/2006/relationships/tags" Target="../tags/tag21.xml"/><Relationship Id="rId19" Type="http://schemas.openxmlformats.org/officeDocument/2006/relationships/image" Target="../media/image8.emf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tags" Target="../tags/tag2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2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29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31.xml"/><Relationship Id="rId4" Type="http://schemas.openxmlformats.org/officeDocument/2006/relationships/tags" Target="../tags/tag30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tags" Target="../tags/tag44.xml"/><Relationship Id="rId18" Type="http://schemas.openxmlformats.org/officeDocument/2006/relationships/tags" Target="../tags/tag49.xml"/><Relationship Id="rId3" Type="http://schemas.openxmlformats.org/officeDocument/2006/relationships/tags" Target="../tags/tag34.xml"/><Relationship Id="rId21" Type="http://schemas.openxmlformats.org/officeDocument/2006/relationships/notesSlide" Target="../notesSlides/notesSlide4.xml"/><Relationship Id="rId7" Type="http://schemas.openxmlformats.org/officeDocument/2006/relationships/tags" Target="../tags/tag38.xml"/><Relationship Id="rId12" Type="http://schemas.openxmlformats.org/officeDocument/2006/relationships/tags" Target="../tags/tag43.xml"/><Relationship Id="rId17" Type="http://schemas.openxmlformats.org/officeDocument/2006/relationships/tags" Target="../tags/tag48.xml"/><Relationship Id="rId2" Type="http://schemas.openxmlformats.org/officeDocument/2006/relationships/tags" Target="../tags/tag33.xml"/><Relationship Id="rId16" Type="http://schemas.openxmlformats.org/officeDocument/2006/relationships/tags" Target="../tags/tag47.xml"/><Relationship Id="rId20" Type="http://schemas.openxmlformats.org/officeDocument/2006/relationships/slideLayout" Target="../slideLayouts/slideLayout6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11" Type="http://schemas.openxmlformats.org/officeDocument/2006/relationships/tags" Target="../tags/tag42.xml"/><Relationship Id="rId5" Type="http://schemas.openxmlformats.org/officeDocument/2006/relationships/tags" Target="../tags/tag36.xml"/><Relationship Id="rId15" Type="http://schemas.openxmlformats.org/officeDocument/2006/relationships/tags" Target="../tags/tag46.xml"/><Relationship Id="rId10" Type="http://schemas.openxmlformats.org/officeDocument/2006/relationships/tags" Target="../tags/tag41.xml"/><Relationship Id="rId19" Type="http://schemas.openxmlformats.org/officeDocument/2006/relationships/tags" Target="../tags/tag50.xml"/><Relationship Id="rId4" Type="http://schemas.openxmlformats.org/officeDocument/2006/relationships/tags" Target="../tags/tag35.xml"/><Relationship Id="rId9" Type="http://schemas.openxmlformats.org/officeDocument/2006/relationships/tags" Target="../tags/tag40.xml"/><Relationship Id="rId14" Type="http://schemas.openxmlformats.org/officeDocument/2006/relationships/tags" Target="../tags/tag45.xml"/><Relationship Id="rId22" Type="http://schemas.openxmlformats.org/officeDocument/2006/relationships/image" Target="../media/image12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13" Type="http://schemas.openxmlformats.org/officeDocument/2006/relationships/notesSlide" Target="../notesSlides/notesSlide5.xml"/><Relationship Id="rId18" Type="http://schemas.openxmlformats.org/officeDocument/2006/relationships/image" Target="../media/image17.png"/><Relationship Id="rId3" Type="http://schemas.openxmlformats.org/officeDocument/2006/relationships/tags" Target="../tags/tag53.xml"/><Relationship Id="rId21" Type="http://schemas.openxmlformats.org/officeDocument/2006/relationships/image" Target="../media/image20.png"/><Relationship Id="rId7" Type="http://schemas.openxmlformats.org/officeDocument/2006/relationships/tags" Target="../tags/tag57.xml"/><Relationship Id="rId12" Type="http://schemas.openxmlformats.org/officeDocument/2006/relationships/slideLayout" Target="../slideLayouts/slideLayout6.xml"/><Relationship Id="rId17" Type="http://schemas.openxmlformats.org/officeDocument/2006/relationships/image" Target="../media/image16.png"/><Relationship Id="rId2" Type="http://schemas.openxmlformats.org/officeDocument/2006/relationships/tags" Target="../tags/tag52.xml"/><Relationship Id="rId16" Type="http://schemas.openxmlformats.org/officeDocument/2006/relationships/image" Target="../media/image15.png"/><Relationship Id="rId20" Type="http://schemas.openxmlformats.org/officeDocument/2006/relationships/image" Target="../media/image19.png"/><Relationship Id="rId1" Type="http://schemas.openxmlformats.org/officeDocument/2006/relationships/tags" Target="../tags/tag51.xml"/><Relationship Id="rId6" Type="http://schemas.openxmlformats.org/officeDocument/2006/relationships/tags" Target="../tags/tag56.xml"/><Relationship Id="rId11" Type="http://schemas.openxmlformats.org/officeDocument/2006/relationships/tags" Target="../tags/tag61.xml"/><Relationship Id="rId5" Type="http://schemas.openxmlformats.org/officeDocument/2006/relationships/tags" Target="../tags/tag55.xml"/><Relationship Id="rId15" Type="http://schemas.openxmlformats.org/officeDocument/2006/relationships/image" Target="../media/image14.png"/><Relationship Id="rId10" Type="http://schemas.openxmlformats.org/officeDocument/2006/relationships/tags" Target="../tags/tag60.xml"/><Relationship Id="rId19" Type="http://schemas.openxmlformats.org/officeDocument/2006/relationships/image" Target="../media/image18.png"/><Relationship Id="rId4" Type="http://schemas.openxmlformats.org/officeDocument/2006/relationships/tags" Target="../tags/tag54.xml"/><Relationship Id="rId9" Type="http://schemas.openxmlformats.org/officeDocument/2006/relationships/tags" Target="../tags/tag59.xml"/><Relationship Id="rId14" Type="http://schemas.openxmlformats.org/officeDocument/2006/relationships/image" Target="../media/image13.emf"/><Relationship Id="rId22" Type="http://schemas.openxmlformats.org/officeDocument/2006/relationships/image" Target="../media/image2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6.xml"/><Relationship Id="rId13" Type="http://schemas.openxmlformats.org/officeDocument/2006/relationships/image" Target="../media/image26.png"/><Relationship Id="rId18" Type="http://schemas.openxmlformats.org/officeDocument/2006/relationships/image" Target="../media/image19.png"/><Relationship Id="rId3" Type="http://schemas.openxmlformats.org/officeDocument/2006/relationships/tags" Target="../tags/tag64.xml"/><Relationship Id="rId7" Type="http://schemas.openxmlformats.org/officeDocument/2006/relationships/slideLayout" Target="../slideLayouts/slideLayout6.xml"/><Relationship Id="rId12" Type="http://schemas.openxmlformats.org/officeDocument/2006/relationships/image" Target="../media/image25.png"/><Relationship Id="rId17" Type="http://schemas.openxmlformats.org/officeDocument/2006/relationships/image" Target="../media/image18.png"/><Relationship Id="rId2" Type="http://schemas.openxmlformats.org/officeDocument/2006/relationships/tags" Target="../tags/tag63.xml"/><Relationship Id="rId16" Type="http://schemas.openxmlformats.org/officeDocument/2006/relationships/image" Target="../media/image29.png"/><Relationship Id="rId1" Type="http://schemas.openxmlformats.org/officeDocument/2006/relationships/tags" Target="../tags/tag62.xml"/><Relationship Id="rId6" Type="http://schemas.openxmlformats.org/officeDocument/2006/relationships/tags" Target="../tags/tag67.xml"/><Relationship Id="rId11" Type="http://schemas.openxmlformats.org/officeDocument/2006/relationships/image" Target="../media/image24.png"/><Relationship Id="rId5" Type="http://schemas.openxmlformats.org/officeDocument/2006/relationships/tags" Target="../tags/tag66.xml"/><Relationship Id="rId15" Type="http://schemas.openxmlformats.org/officeDocument/2006/relationships/image" Target="../media/image28.png"/><Relationship Id="rId10" Type="http://schemas.openxmlformats.org/officeDocument/2006/relationships/image" Target="../media/image23.png"/><Relationship Id="rId4" Type="http://schemas.openxmlformats.org/officeDocument/2006/relationships/tags" Target="../tags/tag65.xml"/><Relationship Id="rId9" Type="http://schemas.openxmlformats.org/officeDocument/2006/relationships/image" Target="../media/image22.png"/><Relationship Id="rId14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8CAE7FC0-8B4B-6AA6-610D-05F39DB39E7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3980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btfpColumnIndicatorGroup2">
            <a:extLst>
              <a:ext uri="{FF2B5EF4-FFF2-40B4-BE49-F238E27FC236}">
                <a16:creationId xmlns:a16="http://schemas.microsoft.com/office/drawing/2014/main" id="{BD875D3C-43C8-94F2-0A0E-5390D8E8682D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2" name="btfpColumnGapBlocker325224">
              <a:extLst>
                <a:ext uri="{FF2B5EF4-FFF2-40B4-BE49-F238E27FC236}">
                  <a16:creationId xmlns:a16="http://schemas.microsoft.com/office/drawing/2014/main" id="{976D48EB-9F54-4E83-D322-276D4AE9EB39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0" name="btfpColumnGapBlocker941959">
              <a:extLst>
                <a:ext uri="{FF2B5EF4-FFF2-40B4-BE49-F238E27FC236}">
                  <a16:creationId xmlns:a16="http://schemas.microsoft.com/office/drawing/2014/main" id="{25BEF5BA-A068-35B4-229D-9B6FA8EBDD9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8" name="btfpColumnIndicator258728">
              <a:extLst>
                <a:ext uri="{FF2B5EF4-FFF2-40B4-BE49-F238E27FC236}">
                  <a16:creationId xmlns:a16="http://schemas.microsoft.com/office/drawing/2014/main" id="{7AE9CFE7-1AA2-30B7-8620-F10E9E45CF4A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btfpColumnIndicator996410">
              <a:extLst>
                <a:ext uri="{FF2B5EF4-FFF2-40B4-BE49-F238E27FC236}">
                  <a16:creationId xmlns:a16="http://schemas.microsoft.com/office/drawing/2014/main" id="{2AF11D50-ADE0-4F4F-C73D-0EBFFB5363FF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btfpColumnIndicatorGroup1">
            <a:extLst>
              <a:ext uri="{FF2B5EF4-FFF2-40B4-BE49-F238E27FC236}">
                <a16:creationId xmlns:a16="http://schemas.microsoft.com/office/drawing/2014/main" id="{A937CD41-2674-FC8F-5D1A-B45FE4D75195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1" name="btfpColumnGapBlocker574015">
              <a:extLst>
                <a:ext uri="{FF2B5EF4-FFF2-40B4-BE49-F238E27FC236}">
                  <a16:creationId xmlns:a16="http://schemas.microsoft.com/office/drawing/2014/main" id="{1AF355B8-D7B8-E244-FF1C-C771268E2AF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9" name="btfpColumnGapBlocker776334">
              <a:extLst>
                <a:ext uri="{FF2B5EF4-FFF2-40B4-BE49-F238E27FC236}">
                  <a16:creationId xmlns:a16="http://schemas.microsoft.com/office/drawing/2014/main" id="{B41944D6-030A-8D60-2E4C-673128730100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7" name="btfpColumnIndicator578876">
              <a:extLst>
                <a:ext uri="{FF2B5EF4-FFF2-40B4-BE49-F238E27FC236}">
                  <a16:creationId xmlns:a16="http://schemas.microsoft.com/office/drawing/2014/main" id="{2B623157-B327-654C-95E2-FEED203B7C3C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btfpColumnIndicator967724">
              <a:extLst>
                <a:ext uri="{FF2B5EF4-FFF2-40B4-BE49-F238E27FC236}">
                  <a16:creationId xmlns:a16="http://schemas.microsoft.com/office/drawing/2014/main" id="{94A3199C-DF3A-22C4-6120-ADFBFCE554A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Title 3">
            <a:extLst>
              <a:ext uri="{FF2B5EF4-FFF2-40B4-BE49-F238E27FC236}">
                <a16:creationId xmlns:a16="http://schemas.microsoft.com/office/drawing/2014/main" id="{8F071882-B12E-8216-13D2-E4FF933CE0DB}"/>
              </a:ext>
            </a:extLst>
          </p:cNvPr>
          <p:cNvSpPr txBox="1">
            <a:spLocks/>
          </p:cNvSpPr>
          <p:nvPr/>
        </p:nvSpPr>
        <p:spPr>
          <a:xfrm>
            <a:off x="487364" y="1420813"/>
            <a:ext cx="11522075" cy="900112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>
            <a:lvl1pPr algn="l" defTabSz="7112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sz="2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indent="0"/>
            <a:r>
              <a:rPr lang="en-US" dirty="0"/>
              <a:t>Survey Deck 3 – Sample Outpu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150349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btfpColumnIndicatorGroup2">
            <a:extLst>
              <a:ext uri="{FF2B5EF4-FFF2-40B4-BE49-F238E27FC236}">
                <a16:creationId xmlns:a16="http://schemas.microsoft.com/office/drawing/2014/main" id="{EE1EA2C5-52A4-43FC-8B87-3C72A8488E06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0" name="btfpColumnGapBlocker138928">
              <a:extLst>
                <a:ext uri="{FF2B5EF4-FFF2-40B4-BE49-F238E27FC236}">
                  <a16:creationId xmlns:a16="http://schemas.microsoft.com/office/drawing/2014/main" id="{E64E204B-4626-437C-9478-99FF203DD576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8" name="btfpColumnGapBlocker803541">
              <a:extLst>
                <a:ext uri="{FF2B5EF4-FFF2-40B4-BE49-F238E27FC236}">
                  <a16:creationId xmlns:a16="http://schemas.microsoft.com/office/drawing/2014/main" id="{AB47F8E5-7325-418C-BA9A-DE6054E5877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" name="btfpColumnIndicator616862">
              <a:extLst>
                <a:ext uri="{FF2B5EF4-FFF2-40B4-BE49-F238E27FC236}">
                  <a16:creationId xmlns:a16="http://schemas.microsoft.com/office/drawing/2014/main" id="{43F17C49-6F00-418A-B432-E09B6CDDCD11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732337">
              <a:extLst>
                <a:ext uri="{FF2B5EF4-FFF2-40B4-BE49-F238E27FC236}">
                  <a16:creationId xmlns:a16="http://schemas.microsoft.com/office/drawing/2014/main" id="{B599A6EB-82FE-4F76-88C8-11D23918CCE4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btfpColumnIndicatorGroup1">
            <a:extLst>
              <a:ext uri="{FF2B5EF4-FFF2-40B4-BE49-F238E27FC236}">
                <a16:creationId xmlns:a16="http://schemas.microsoft.com/office/drawing/2014/main" id="{A955AB96-CF60-4263-BCA0-D2BE340F0962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9" name="btfpColumnGapBlocker850769">
              <a:extLst>
                <a:ext uri="{FF2B5EF4-FFF2-40B4-BE49-F238E27FC236}">
                  <a16:creationId xmlns:a16="http://schemas.microsoft.com/office/drawing/2014/main" id="{FFEF0B06-962D-4927-B33B-519C1F90F21A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7" name="btfpColumnGapBlocker524743">
              <a:extLst>
                <a:ext uri="{FF2B5EF4-FFF2-40B4-BE49-F238E27FC236}">
                  <a16:creationId xmlns:a16="http://schemas.microsoft.com/office/drawing/2014/main" id="{E5FD3E85-ECCA-441A-9E97-C10599EEA81F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824606">
              <a:extLst>
                <a:ext uri="{FF2B5EF4-FFF2-40B4-BE49-F238E27FC236}">
                  <a16:creationId xmlns:a16="http://schemas.microsoft.com/office/drawing/2014/main" id="{7E16A9E5-F20F-4402-B2CE-B114603E2CEF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" name="btfpColumnIndicator708856">
              <a:extLst>
                <a:ext uri="{FF2B5EF4-FFF2-40B4-BE49-F238E27FC236}">
                  <a16:creationId xmlns:a16="http://schemas.microsoft.com/office/drawing/2014/main" id="{87EAECB5-F4A4-4CB6-9E0A-F6783F0EE8CB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" name="AgendaLine">
            <a:extLst>
              <a:ext uri="{FF2B5EF4-FFF2-40B4-BE49-F238E27FC236}">
                <a16:creationId xmlns:a16="http://schemas.microsoft.com/office/drawing/2014/main" id="{4908DE91-7177-4E64-A83B-38A0084A7148}"/>
              </a:ext>
            </a:extLst>
          </p:cNvPr>
          <p:cNvCxnSpPr/>
          <p:nvPr/>
        </p:nvCxnSpPr>
        <p:spPr bwMode="gray">
          <a:xfrm>
            <a:off x="1616981" y="876300"/>
            <a:ext cx="0" cy="5689600"/>
          </a:xfrm>
          <a:prstGeom prst="line">
            <a:avLst/>
          </a:prstGeom>
          <a:ln w="19050" cap="flat" cmpd="sng">
            <a:solidFill>
              <a:srgbClr val="CC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AgendaTitle">
            <a:extLst>
              <a:ext uri="{FF2B5EF4-FFF2-40B4-BE49-F238E27FC236}">
                <a16:creationId xmlns:a16="http://schemas.microsoft.com/office/drawing/2014/main" id="{E7673EEF-340B-4D94-9CB0-1E7CECF09922}"/>
              </a:ext>
            </a:extLst>
          </p:cNvPr>
          <p:cNvSpPr txBox="1"/>
          <p:nvPr/>
        </p:nvSpPr>
        <p:spPr bwMode="gray">
          <a:xfrm>
            <a:off x="330200" y="952500"/>
            <a:ext cx="1102585" cy="235611"/>
          </a:xfrm>
          <a:prstGeom prst="rect">
            <a:avLst/>
          </a:prstGeom>
          <a:noFill/>
        </p:spPr>
        <p:txBody>
          <a:bodyPr vert="horz" wrap="none" lIns="18136" tIns="25226" rIns="72073" bIns="25226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all" spc="45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genda</a:t>
            </a:r>
            <a:endParaRPr kumimoji="0" lang="en-GB" sz="1200" b="1" i="0" u="none" strike="noStrike" kern="1200" cap="all" spc="45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3" name="AgendaEmphasisBar">
            <a:extLst>
              <a:ext uri="{FF2B5EF4-FFF2-40B4-BE49-F238E27FC236}">
                <a16:creationId xmlns:a16="http://schemas.microsoft.com/office/drawing/2014/main" id="{F859F065-A781-4029-B8F1-911CED82214A}"/>
              </a:ext>
            </a:extLst>
          </p:cNvPr>
          <p:cNvSpPr/>
          <p:nvPr/>
        </p:nvSpPr>
        <p:spPr bwMode="gray">
          <a:xfrm>
            <a:off x="1616981" y="2601401"/>
            <a:ext cx="127000" cy="743179"/>
          </a:xfrm>
          <a:prstGeom prst="rect">
            <a:avLst/>
          </a:prstGeom>
          <a:solidFill>
            <a:srgbClr val="CC0000"/>
          </a:solidFill>
          <a:ln w="19050">
            <a:solidFill>
              <a:srgbClr val="CC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24" name="Agenda">
            <a:extLst>
              <a:ext uri="{FF2B5EF4-FFF2-40B4-BE49-F238E27FC236}">
                <a16:creationId xmlns:a16="http://schemas.microsoft.com/office/drawing/2014/main" id="{E61AA6E4-DAFB-41D7-8422-D0597E9105A9}"/>
              </a:ext>
            </a:extLst>
          </p:cNvPr>
          <p:cNvGrpSpPr/>
          <p:nvPr/>
        </p:nvGrpSpPr>
        <p:grpSpPr>
          <a:xfrm>
            <a:off x="1970752" y="1270000"/>
            <a:ext cx="9891047" cy="5295900"/>
            <a:chOff x="1970752" y="1270000"/>
            <a:chExt cx="9891047" cy="5295900"/>
          </a:xfrm>
        </p:grpSpPr>
        <p:sp>
          <p:nvSpPr>
            <p:cNvPr id="125" name="AgendaTextBox">
              <a:extLst>
                <a:ext uri="{FF2B5EF4-FFF2-40B4-BE49-F238E27FC236}">
                  <a16:creationId xmlns:a16="http://schemas.microsoft.com/office/drawing/2014/main" id="{5A93D5DE-4853-48C8-8D99-9000FAC03A66}"/>
                </a:ext>
              </a:extLst>
            </p:cNvPr>
            <p:cNvSpPr txBox="1"/>
            <p:nvPr/>
          </p:nvSpPr>
          <p:spPr bwMode="gray">
            <a:xfrm>
              <a:off x="2034252" y="1270000"/>
              <a:ext cx="9827547" cy="5295900"/>
            </a:xfrm>
            <a:prstGeom prst="rect">
              <a:avLst/>
            </a:prstGeom>
            <a:noFill/>
          </p:spPr>
          <p:txBody>
            <a:bodyPr vert="horz" wrap="square" lIns="36000" tIns="36000" rIns="36000" bIns="36000" rtlCol="0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3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mographics</a:t>
              </a:r>
            </a:p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3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PS</a:t>
              </a:r>
            </a:p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3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CC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KPC</a:t>
              </a:r>
            </a:p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3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wareness and usage</a:t>
              </a:r>
            </a:p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3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witching</a:t>
              </a:r>
            </a:p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3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ice, Spend and SOW</a:t>
              </a:r>
              <a:endParaRPr kumimoji="0" lang="en-GB" sz="2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26" name="AgendaSeparator1">
              <a:extLst>
                <a:ext uri="{FF2B5EF4-FFF2-40B4-BE49-F238E27FC236}">
                  <a16:creationId xmlns:a16="http://schemas.microsoft.com/office/drawing/2014/main" id="{DEB1C24B-8323-4CA9-8C6E-3274B530DBF0}"/>
                </a:ext>
              </a:extLst>
            </p:cNvPr>
            <p:cNvCxnSpPr/>
            <p:nvPr/>
          </p:nvCxnSpPr>
          <p:spPr bwMode="gray">
            <a:xfrm>
              <a:off x="1970752" y="1839400"/>
              <a:ext cx="2800414" cy="0"/>
            </a:xfrm>
            <a:prstGeom prst="line">
              <a:avLst/>
            </a:prstGeom>
            <a:ln w="9525" cap="flat">
              <a:solidFill>
                <a:srgbClr val="D6D6D6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AgendaSeparator2">
              <a:extLst>
                <a:ext uri="{FF2B5EF4-FFF2-40B4-BE49-F238E27FC236}">
                  <a16:creationId xmlns:a16="http://schemas.microsoft.com/office/drawing/2014/main" id="{15CC42F1-2830-4752-BC91-FD739437679A}"/>
                </a:ext>
              </a:extLst>
            </p:cNvPr>
            <p:cNvCxnSpPr/>
            <p:nvPr/>
          </p:nvCxnSpPr>
          <p:spPr bwMode="gray">
            <a:xfrm>
              <a:off x="1970752" y="2601400"/>
              <a:ext cx="2800414" cy="0"/>
            </a:xfrm>
            <a:prstGeom prst="line">
              <a:avLst/>
            </a:prstGeom>
            <a:ln w="9525" cap="flat">
              <a:solidFill>
                <a:srgbClr val="D6D6D6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AgendaSeparator3">
              <a:extLst>
                <a:ext uri="{FF2B5EF4-FFF2-40B4-BE49-F238E27FC236}">
                  <a16:creationId xmlns:a16="http://schemas.microsoft.com/office/drawing/2014/main" id="{429F11AC-8048-4633-BD88-9721CD1BD33E}"/>
                </a:ext>
              </a:extLst>
            </p:cNvPr>
            <p:cNvCxnSpPr/>
            <p:nvPr/>
          </p:nvCxnSpPr>
          <p:spPr bwMode="gray">
            <a:xfrm>
              <a:off x="1970752" y="3363400"/>
              <a:ext cx="2800414" cy="0"/>
            </a:xfrm>
            <a:prstGeom prst="line">
              <a:avLst/>
            </a:prstGeom>
            <a:ln w="9525" cap="flat">
              <a:solidFill>
                <a:srgbClr val="D6D6D6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AgendaSeparator4">
              <a:extLst>
                <a:ext uri="{FF2B5EF4-FFF2-40B4-BE49-F238E27FC236}">
                  <a16:creationId xmlns:a16="http://schemas.microsoft.com/office/drawing/2014/main" id="{5B2AFF47-8597-442D-913C-BDA412CC6014}"/>
                </a:ext>
              </a:extLst>
            </p:cNvPr>
            <p:cNvCxnSpPr/>
            <p:nvPr/>
          </p:nvCxnSpPr>
          <p:spPr bwMode="gray">
            <a:xfrm>
              <a:off x="1970752" y="4125400"/>
              <a:ext cx="2800414" cy="0"/>
            </a:xfrm>
            <a:prstGeom prst="line">
              <a:avLst/>
            </a:prstGeom>
            <a:ln w="9525" cap="flat">
              <a:solidFill>
                <a:srgbClr val="D6D6D6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AgendaSeparator5">
              <a:extLst>
                <a:ext uri="{FF2B5EF4-FFF2-40B4-BE49-F238E27FC236}">
                  <a16:creationId xmlns:a16="http://schemas.microsoft.com/office/drawing/2014/main" id="{D4FBB2A3-89A9-441B-837B-9CEA802A994A}"/>
                </a:ext>
              </a:extLst>
            </p:cNvPr>
            <p:cNvCxnSpPr/>
            <p:nvPr/>
          </p:nvCxnSpPr>
          <p:spPr bwMode="gray">
            <a:xfrm>
              <a:off x="1970752" y="4887400"/>
              <a:ext cx="2800414" cy="0"/>
            </a:xfrm>
            <a:prstGeom prst="line">
              <a:avLst/>
            </a:prstGeom>
            <a:ln w="9525" cap="flat">
              <a:solidFill>
                <a:srgbClr val="D6D6D6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37227160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btfpColumnIndicatorGroup2">
            <a:extLst>
              <a:ext uri="{FF2B5EF4-FFF2-40B4-BE49-F238E27FC236}">
                <a16:creationId xmlns:a16="http://schemas.microsoft.com/office/drawing/2014/main" id="{3E52DB40-FBF4-4B30-A079-0C38619DABD7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0" name="btfpColumnGapBlocker486022">
              <a:extLst>
                <a:ext uri="{FF2B5EF4-FFF2-40B4-BE49-F238E27FC236}">
                  <a16:creationId xmlns:a16="http://schemas.microsoft.com/office/drawing/2014/main" id="{06EFB1AB-675F-43B5-A19D-182BE102E689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8" name="btfpColumnGapBlocker606711">
              <a:extLst>
                <a:ext uri="{FF2B5EF4-FFF2-40B4-BE49-F238E27FC236}">
                  <a16:creationId xmlns:a16="http://schemas.microsoft.com/office/drawing/2014/main" id="{73E3DFE8-0905-4E86-A30B-D4488FDF3E48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" name="btfpColumnIndicator539015">
              <a:extLst>
                <a:ext uri="{FF2B5EF4-FFF2-40B4-BE49-F238E27FC236}">
                  <a16:creationId xmlns:a16="http://schemas.microsoft.com/office/drawing/2014/main" id="{70BA8D25-7F92-411B-927A-566AA9A7DA71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766139">
              <a:extLst>
                <a:ext uri="{FF2B5EF4-FFF2-40B4-BE49-F238E27FC236}">
                  <a16:creationId xmlns:a16="http://schemas.microsoft.com/office/drawing/2014/main" id="{4DF5DD0D-1E15-4D13-8205-5F1309044E39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btfpColumnIndicatorGroup1">
            <a:extLst>
              <a:ext uri="{FF2B5EF4-FFF2-40B4-BE49-F238E27FC236}">
                <a16:creationId xmlns:a16="http://schemas.microsoft.com/office/drawing/2014/main" id="{6056E218-2A90-4022-8F9C-09610D72E563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9" name="btfpColumnGapBlocker602229">
              <a:extLst>
                <a:ext uri="{FF2B5EF4-FFF2-40B4-BE49-F238E27FC236}">
                  <a16:creationId xmlns:a16="http://schemas.microsoft.com/office/drawing/2014/main" id="{04821853-7C52-4C32-861D-BF066A07DDE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7" name="btfpColumnGapBlocker640655">
              <a:extLst>
                <a:ext uri="{FF2B5EF4-FFF2-40B4-BE49-F238E27FC236}">
                  <a16:creationId xmlns:a16="http://schemas.microsoft.com/office/drawing/2014/main" id="{E5E4E3AD-55FC-4AE4-9151-9A08897E2D10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418302">
              <a:extLst>
                <a:ext uri="{FF2B5EF4-FFF2-40B4-BE49-F238E27FC236}">
                  <a16:creationId xmlns:a16="http://schemas.microsoft.com/office/drawing/2014/main" id="{F5D48A40-48B0-4D84-B5EB-DBF4797B37C2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427655">
              <a:extLst>
                <a:ext uri="{FF2B5EF4-FFF2-40B4-BE49-F238E27FC236}">
                  <a16:creationId xmlns:a16="http://schemas.microsoft.com/office/drawing/2014/main" id="{EE9DAAB6-A8D0-4BC8-BDD8-0440C2AD22CB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97AF0F51-DBF2-4A18-B75A-C9B11AE63C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/>
              <a:t>KPC: </a:t>
            </a:r>
            <a:r>
              <a:rPr lang="en-GB"/>
              <a:t>Indexed importance</a:t>
            </a:r>
          </a:p>
        </p:txBody>
      </p:sp>
      <p:sp>
        <p:nvSpPr>
          <p:cNvPr id="14" name="Rectangle 13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cid7dQ+Kub8ulUpaRu+ZvkeQKYThSehVAux+2Z6ekEhlACpPBIDl4idFwS+LkSsn2aCAhAzE7txIQZBtXYAPdDOlkIzHanGiRji3OnqMlu0vTb6pQS0Ql8VqEqDL8dlM6DYLfMBLbD5jGVMWQFBfVVvP26XGrMkkUhOvDZOKFsJaUQnmmUUL3yQqu+MO+Ysyp5mTwX6m5oFYKMLMuHdHCrAwRT+mNfE5UyfTYISoA0BQdwYZ0oe1kINApzc1vidfQodMYcCEO9jg4wmmiZbDcvNSa2KCI0GbH72oaCpIRwSsXxUAYL/Hc90jI+dZVDTwXPIpK2CEPqf33dh14L3Ut6gUhpKGZJcaV3hUOeJqclfsLnd/h6SjqcEsdi0LACta5Av5cc9O4Dk/nmydMkzMt8wxMOmyP8vnTZMuH6zhUmL8Na3ZlJ8mn0LVov/VLpzSwxNF9hIG+B/fX02ArstWVMpeTWMUngt4EXuFg7isXYEWQmHugRyMR+mj7HlFrCSa8KINjBN00oX8qG292vA5gQGr/j4QU+GOBcmbPd4C5kqnHDLoc7mTKR0ZsCHUNdJLwfvurwsodNFkq6jiiROCYbXOTfHEybDtaYrwkpsBE//gElEG5xP2ri/Ms5t1OC48cEn6wsuLj78syguYUrXTbmdkMu3dyW48qu432OeUO1WnVmU8uvpfDOCxK1yd+WK/0mffR8ovoLVU1hwt4BL5lB5BYhlMxfm1MrQ3cWGfrmL+O69otCimcN12BQPt/jS/II3jQQTICFN/EMEtTzGenJ1ilIQ8AyRUQ+vX74lQFOMMdv0IwzP/lKU7DB8otCscfGkbg8wT6vJYuw9fB/1vzc8pwgaXgCrF4dELTST4w4EgLfQJvH3fmhvk07e1m07c0AMYqKeOHLoFl/x6CLK+FIuVqC+CcBCd1UL2w8rCa8lw3STWlcWPhgMuqGzO6W7+QdQ2JCzq4XU3BwLSWweqWkrGEBTriclS8GJ4t7Gu2Mv04a0PUgC41S1GdXcTW6GsIyCJIKJqPYqZcbcihfiuTfXYDwIB6Jgrd2ql6XsD+EBbtsyqQEfoAH8WnD2x1VlY3ZRvUM91NwWMwqhxX1YXpu1AkXgmw3yV9YwL9gKvPLTrwP+WBB1sQptKbU24cDRvVyUxtzYR1rLYktLcytWWTZ/DGbjIxvdjlIaOHc6bKzbWD9D9juojAEXpBnT/bPR/cDQS9wihRVO9GZu9fKbrlr/1LZ0139XkmVavp5uFG9pJHKWkF08rgNRnL2V4kbNHZGVKxTGK5nnwr8okaF9C4pGjJAT5qGF8bb1GcMrdQ/6PtH4nXxxLWM/l4EIQQuVglX/PMR48IJ+CUcQZcN2pSXHCJEbibNwiAsU6gxIhVeeaTUSrV7iixvVGiNdWdBX2LuK/pFBh4vxJVFfCzf9bxKQXBIo7v2rGJwl4Bqm3XMeNXCNm4PA0wXlfGzSlIefYBT1kcl3KXkJhaBETVtbPp7CHULTeD/jMENEtNcYCY+vjZrs/PmI1c5ynYi1hZWL/U6yhgmE77W7fl///UbgAxCRMOGsfDWHbnYCSPtYTULvoWoLCfvnPyi0Q6wCcGTWUeyRbhqL6Bi7mnzAAGe1Z7XDIinJVJg6z9MTP9Rg0nhEni8oh/fB5NZRpZ/9PPrDNGZ3he0HiQxA14NowqpRixeIz2LWhrfviJC42qeFZE9rd5Na+zcBYaDJ08IqYTuFBSDTVL5KhmgbF/JntAOXYt6vc2605UuhFjGgE/4tFtPnQ4gcjLHPv+oe57S046vHEoNoOPCeOKZoxSo2GEnIttjrOd/OnpxxohsduAf0eQaOFrQnkQmAGgthtTtWt4lRWb6SohAoGg0iLXQ1Hb/41pLmosu4OHJIjh4+fCBx1KgJYUKOFiTJRZjhETb7FmiW+p8bX1jqzj+k37mqN/TgC2GuEFf3MizJjyYsjKYN5ZAUcFkjnxF5Mrqk2YBXP/7RzUNx2/VRp7+hZ+mdNqDb+35dX3siMhNq4mcAyqTa7ANrXgLtI7oohdkP+y07kEEITb4La1ZTsJU6yj0yLGIYMz6WSANAwg84qFMamdGz9lH4eNdgKz6hKz++4G7oUqhoDrj4V8hHViDYyihgl+SetLGW6xQhlUo83ilEy/lLFsoUA40HviAuw8tmFnYPULRNcxEYgcd8wzLrhrUNKoqtnyZ4DekUTOTZrJqgrl7m2kJmJgq10DwMBwFq8pFBGe6MhgWTI+jgIo+G2CSQX1iXbvEw+bpcyPNl2sUy++gmdn5ppQ4ViyUqBxIRWA8Vu2lsuIjJQPBp/CXVB4kZ3QE81D7E/+moYNOEs9NFFOmt9uaGhLnSTUR8hpwHA9zcN8V6TinPJ/M+2w+eVc3Gi2PwsMWLI7hejGrZxsWQ3K2m/vi1goiql3UMzBq2nUGWQK2ySPYyG6MaKym+2OFuQ+PG7k/whFN5VhRSX6VhVqMVZZ4qOP3BN8SVYUVNsSQ1d4I9/+X4aGNxv3GvZ66vMMEdlcbBPU4Fevw/+E0O3iUSHHV1YDyONXAA5orHc6o526OdTlVp4F9OLsy5WZKnBfGi6RzY7Wogmax8PwBkx3daUzVFlkTpDcR0pKLTuRcs8avsY2H34D+fVdXS7mgVWfSXIeJyrYQ3s5lf7qbVZ3KJt2WIkbgrDxHJm/6PNehnkvUVG/DcB+0Sg9//4CLMptYI6dEfqzUrb94qtkZ9jIVvGNmg7DvmsnGDKN8x0ks0jNDWQNdx+SEGQcpwsMlhTjfjwgI+wqg+Lr5x1J9Twt/trFqpIzOHVXwCQp4zIoSX/lLFts5afbfKyxz1//RFAgpYCCqN4YHtV7JZg3lhTsg8MGg12k1o4T1NuSdxve4H809vH55rmFc/U9lKqjIuYimnapR3mxxLfunn9I98OVGxtW0X7XtWyqseMb7rizQAne97d7ksO/GxXE6l8ww5WK2wg5aWSXD0aV9rjG9ABCpDwWzm9gk/m97ppFylP/6zzX1jfzPCEWEFV1C0ZjP7F3Po0dYW4u6aQJ4aILwDVk3JdP5duFdlZhV8Lg9OBFrlbYIxi4rxVzNRFbOoUE/tmrUaJ77kZgKgpiVRem5m3+7etOMswWK9SyZBHVWTTrbMBhhOV2rh9fodGuKNJr/Pdle8TeB++Trc+Hxh+1b7YWvd3AcG4aESZx3HPxR3guG6vOFyNefAuV/QXVzvKXww6mgjDAP3opNIkcyf646yoLtWwKdQMb4Zs0Gov35441iv38iB7m/H0jkwuzBOXQYkcx8coP7SyzL4yE3Rb/l+YbCQETVzR/h//e/JhQRAJO8cB4ukNibmWds3+yx7mB4/D8W9fIbcFbHjyD1KHBMCiBqJfUAsW3MlosYENTcKS29r0a3y7ex0qZa1QX41VZOyQHmMVz205e7p16ms0CvhxSWsiio9C+FJfRM/eUH+sW9ElzeeYxYnYKAvEiWE+wTpegk2h7FssKXgHro5LV2LNTlwLvom16wt6imBTIhrsu6eY/lY687ZqJuolrrniRbmGDhYvARvzzk/9FjqThBf09l7CMMoAAlJ6RN9nJSxd424T2VEdo253O5M3GFDtL3nnmeDmlSshpp9HuTH/J+yxj/M0Up+27gcno5e+pXxYjc7nqtWSqhhTEt2Kr2rCf1Khvbm4NuulGzeCKIGJVGtuyVMhQ/9GMT9GR6Nz8GMq6BFFzTKKzzfhe/ZdLlnt1QzM07SL5++ve9Cn6pyvhl9eBuNPpnBflj20hZiO7YGnQcVl+ziLquH7DGL/K2UaIJgp4QH7yfrOIY4v5oxDyW2qo8lLHlp7pZDlIOeERez/ajlPbENpl7bmWXU2KVHCTc2bFntNB1G3ydUXCAkq0wi1P6mVBpmTHoKgxqboRPlcj9/M+YztX1CXij1YKjiaLVVv0dzWXLZbbgGmdIo9rPMzLrHanUWxWpwseSaqaGd8LqwqvOCRNtnVRZ0KrjrZWnKEpi2HgGZEoF2oFBrD8R1sLcB3Ep+PYS5wv6e48Bk2eOSYFywZLf4EbOPHofSwNn0UokDdNw93LD6lfXWiZEL9zRk2VnVQ4p2ifZOVnl/jhwA1/hjb7ZNOKeYxMX6yVI6mcLbximoBG6sG5KqN7viCOAJuHjlk3yK1yMO5Q8NgTyP800GGQL4pFgVoG1h2evmjS8uFwW6jvC8eRDDh8C8EXPd1g35HiWgumEq9dzS956B5ga4C+XayXsDI9eZW7oXunN2gnnhA/IiH4YZktdmcDjX8Q75oHzQGbM4XwRI9V1txsaJwOTVqW1duO6HFZg4kpzVyLbwRlfEum72mlhwy36uI6OsPsSRndbnq9ocYIMriMcVT1ZpXuHVCZUBy+eaEdB46UmuILs6vUi/7ACTNAA/aQnycuyYS0y9A0LI17jU24jAOyJ7L4xCZKmDZokVyaYSp2QUZf8a9m+w/LD0u82cBp0EJhCCFW7qfu3XwoouB8hdAADFYJ+PoYBxcfwpA6U0o3XRaWc2RTKe7HNp5I59p2YPMr8nKUJf+a5UDyd7HPCEsvZ23Uw/CsfFbvARTo99Yhcx8iT8tGHlpEyYa+FByeGKh+m/Dl8jsSBHKNO2agjTld4w19o57Ht09ENOjUqCIzieGl/MKvbgoGU5WRb/13bd36L2Q4TDOXO8HD+p4mSH4lqNObocMU3S2OuxD5nj+E8oGPdbPzkqkbfHqWaEbTzgkp8qzlj3UGRKT5E3EQrkYw7n2roKv1fI8go1Vk9JimgPOqQGxgL2/fn/KEQ0Ek/j5TwpXY5bitelgPtXaK53BjhCyODQ8+S4J70S8Hhf15i3hoZklmx2YsJagkMn2TgXTcx47kE3No1vG5elyjdZnT8EzDDuA9TKMbvolh5B2MmKoPWWz63gHqEQEKMd367522WVNEDEMGdhtZX2DuTBgDercQN593rEINTuXffXhWzXB3Vw0uXoLOZYMOKdgx1jspeHO91ikd+6yCaBoIpCpWKmbZEtDdvGAGumacjh/FfmFwxNqN2xIWw9ImWDCE52gDfM5/UqlUlQJ5nVtqPdtUeJMk6K5yGNGXkq58uDMDGlDrEOEFixjqjlkt+dj2MgweSPEx/TqTUiedrijP0SIzpcInXDR4y0dd8qr/lbKb4c9f4NksRTZ5+/OvkR2/Qad1LDikES0jFXEfsZ4/w2jElH/uerhWOGqga2oJVMujLkHHzFw6FhdB3vrfCEO+0Uy0hFPuMnCIU1zw5GNIoT7Q3afvfZATzq6zcDRwsFP6HPuxY+UggZNO7JyuCDtwAZG22BKvQaPw+ABC+Qqw76GSSLGtYtqCKghxF9j44z6RJxtQRUDn5boWk6Yd63Tm3ELlqktzCh9Gep0TCIRA+EHlB6cOdZ6Jw5PrA6ZIz81/C3dOaeC/TuZ/jn5goqd+6MCxbdC4SgpT4a6grgk9fJKwr9T2oW6z7+++k+xiBj8AoE4kf8/9N+i80KVYSUyalYhmkSxXKEBtRSMq+WWRpwpd6DvK3WC4KHhS3B/bPHS3qsxlQ0/TNdTmZyeD2131seV29Sx/aLJ4/L2X9UTC/1MmnI309qjtDpjehaibVPj69T193tRo5bqwdmp1TZ4+mBg9dJ6mFXqi0fMc1fkR5OSFzRFXrYf0K6cHFV1NJE0/v9UBVQ3DOFDfH3gS2ScXteF0SESH41I54Wc/RUs+m8E6C0xKd5EWIqNFXXFE99wHTfitXbhhC2hHZjnzDQGUS7LHAFs2+NPbqIiCs2IIEiIEC6pHdIBKU8YkQWdlsH7eQlrXnKJxgrhV5aUAOSFMwLPgYRiki/mNJq9uTSsGG+vXCNZ7/rArrH+kOHeuJSzIAloeGC0UZLRSaJ+EsYhZ12CtCYdBQp8zdpKDAmK7RyuOlxmERJFKA/7Mau1u0RTug4ca+s8R8OcZnCcEsf52Nx+OjxypOO1BJGbzAQbEQAYZSJ8bDtbyn9ZOJ9IW4eRfIU8yjqhHMH02uVDtOBjAuBEc5YThUgJuLGLZzx93K9eZauvpKY01oHoETEda/ircVZfN35lyiY5AaoN7Tda8xxG/9ImuWFTVHCdxk9Jc9d72mJrGkfz61YTD3uk9yoN9KHDCbnaTIFBaGwHSFhRfWxB6gJNg9BtF+xxJ7xYBcNJmTLQY0ff7QgbhKesaqm+/YisvI7Wv6lLQFiFr+rtmYLg6981j4KAQkF2NnXrt/81wDU9n/WhtVSVZ2Ef4DZLPFWr3DJuS6Xxre1SB7btH9cm6f1Rh2w0LvN1mK6f5vWmGn9JTGK20Be40fT1qmJ3Pa24falPdqGWCj6nEyo6TGTQAnN7o4CBw2Bug+MovOF1+8azESk6YiBVhR1kVXlsrizH8t7LToK4thQIl4ly0FKIJLFIuZ9k4C6b+3cd04DKv1f4TIaDJSlzOJMRFVtQTePX1zLqcv730AVwj92hutKOdXDhn36jrIotjvOFRR1E/wrQZppTbSGWQVaL92nKy+rHbBM6W/vX1cGNKFmsNHDgQ2WnSvrEAYfrchjGUpbJWtmuLio8ZxiVo+P1/KLxASmFwwFDDFYPKTkTtU2B4TaOu6XwWcY6kgTCv6nZEYx716lE0vBIU+JllXpZtbsBqlMtDuSMyFjwosQzDS6R6wgDiPnN2dRcDw6tdCbDdL8t2OPRC77P/43H9QyxYNtrQYam7wTk7Gb6yeYEuLMV4CtXxwsFfoTd867Ap2xUKf10zb7E6Ll9VVO9uxAlzF04IA/iX+MoMsF+1vTF60JbOB14STOjHtVbAmKIsYoGgk2DC+Xa9639ZcIjRsXds15pkPhcNuznWhNu9pQ7ERSwfnbmfkavkUXQDWIMzurcJ6tX/nCzP+/ft57xEsPOuWej7oC94k971lljEJicWLnEU7HemxuZYaHFwv0CnFsfwsAXGb1xCvIQNYwDPiHVg31CedezCyY1tCTsQXDzAv+WktAPfT/V+hz01n+ct+BkcqmhwURiBZ2Gp3uI0vnamtYt9IjPLSo2M2J7ypi/4KeLbnok51D4N/oyecC/x9iN+W3BJsotSWWGnQavt6FjO/qzii+BTxAFs1cWiOpjtyQ7zrcYBzfboUqPwkl4KaBqjUuPHVS29dv3OA58gJ38j3juyBtR3Kqp4xFSl84oZhVpf4L8DyZkKL+eNgvNctkilO6Qm0Pqib0jHM6g15HrVeWa5kTO+xTqypDkbwowZm72PB9+oFdvzRV1teN9uv8WVAIWO/fuHzOG0+HP9rjFsJMW6L1EWKmxE0lJReJWWgLwRzVCifxZzqgaHShhU9qhTH+mitmNkVh4Hc26NroV1CLlbiMAlASoZ5ERjfLjGrplTVLFUCe1VBqZPd8saTmGHgz0yANNmCoFlfCnogkMWg7nakFtNr2l5bQQtseziXX63Ip9cYr/aPj1rfFmfvHHVR6oWu2zg0csEQdeKtIO1qKAOMyjqd5hJZfZYooQR0OKIgKRWZ9OQBAQsLTFXk3jWq2XZ2yS5SpuoBuu74i3BHHg8lsqC4hCCTiUu2EepoUur+Q2jM9R1xkKnniaQQ/deMxF+MnqOvrqmUUCZzezMoOS8nkaIot/JdAf0/eeqT+dWMwOttzWTV5EEZfNQKrqKW2B67HkTBSXuFFvO4eASJkGcsjZa9NB2SZWHkZN2clvz1sItqje4liTAC3aiSYmq54/uWHlFGP+LdSgbgQZ4FVm/K5A0t0ACupxNUvlcKXEvCvBIUa0hZ0gnK71o83Qvlf2lYSIfcirsHckoD+ZbHrF7uvs+xID2OiQL+x087+sKwotxUd+iGqUvMfLVtqA6qby+ha2zIE4qtG7YD+/eXUZOJHl6JUfTOsbTBaU8hl1vCB7h+SiX+6LOIqUepI47AFhclDE3yrNoGp8RtPMeWtCCioYZsjibOdbuP+Ei+UYuAVRHmhaoXwusY3anw9qUeqBgunNlnsPso94FdG5PaalKZwu8FZt6BluIoWwetQiJsglJpt7cdX6aBTF1Yd/gngYPrTqPQRPJrPaE4mPSMnkPLZrgxJlh5RM++F+AYjx60QXy5xPMl/lE2O2lZuTwg7cC0+lsUkQzK6v1YUw3p2KSqCACMeNYoKWsRXbAdBT0UpcZOURWitrHx+NVxd00IZOynuthuE5wP+NivPgtutJPThmsijOkeeGNOHwVl3GH2qijrhOgFmz8ZIOzDBXkzCnvd74zYVPuYMrgMnM58xmbre076uon/GVGfcW73EngF1Cp2SjL4jgHnKONzoeiaINH59KiQA1o1AUnq6GYkAC+OBfYvYVS0lPOv4dU/ss9a6P9CQoN9NTzxlFQr8i2dM9W5LaDoaV+VecxsDslTvjmcMnpDRdlrrOtC2AuoaB+vBo5rrVKDmVk/mzXJDkmPjZEajuET95ulpqcYmtZZMO1an5D5zb/FweC+zlwK4bJYnH95tTBqyPJfMFpLZ3YWL47WEUviGTjWLUrebNcLMWzPMhkYgJ9Qj1ZiXNQd5jW7ijsiCaLhRGMBYptaCrIOfU0kS7/Z6pMT4/9BnO/q3huL8A/gS0nV4m2kN7Ig1xjxLLdikQeUTo+wwRqPJDAwp+NlhNchr8RQv61x+AX7VXm7/0jcl2YR60qVvkaUYliSPwWZfGDl1e0OLn/n5gCIbDbLc908FLcwWhLcgjbxZhw3lrueu/rv91QCy2rDcixe5jKzsqF3Xr9C0eXcyog9ZK9M+TScVTXkG4hs1XtSfn9N6atgXs/AcUyzMXG8M3rKohsiIIQ6jC5pkWyyxPz4dU3hsaHH3VbTFkWkNyHNIXDxixFQu+QkKd5ARowbb0O8qFms+fXYBY9jHWBS9SrGW1KyKYjCM7d3iYlXCK+1+mDwom60H/nkv3NbMHPQrxV49c9DXnKBONOhga6WXn0IJqH/Cg8v9XM3hbRx3aAKxVgqE5hhhSYZi4PFF+GJx9NKez6UeVykM6cXGiAV3JDmONpMF4idnN76AuumPlgRojkY5A28FO2GjL9s432kU4hsupHP4IJljo5TyWnQvtykb6HH47pj9KSoYhfd6AYpUhYxP5gflxpu3JAdIN9JzvQQvb1+RQx95W8QerVL1UIG3Q0QTUMQGd6B6QCyW4f9lQyHKYdoGUI2cR5o6jIJEBwpXqCAYA2pOwjFsSL6hVwixMwDFuIK/U1TdOXuoaI+UvDoJae4gqYxbAPsslWDKKro21OUVf7I0HhiDDBthr52Npif7pd1Mx0GqgYAl6NHJtW0KFawulg4SXkiZHbMLCG+WhS+f99gJLF09pjwYK1IgTZ5w3+qzlKPXBDdhuaTrGwLtHD5nPFPXwrjBvxXNKArJSMXT8pNRZbxgFNhdNUEY3hwv0L0Mb0HERQdfT2EpWQkOQ71J83/L/3sN/Im6PlvRfHBlOUKRWaHkxsPeNsN9cndHC1iK6eME3ApQprbnizcMbt1RszxEaBqUvU19pwdiZYyY2jkD8KUNeW/FJhumxEoSEYveGGGcvuIIavq/gRYLzvfAoXshkx6utmuibn52Utf59Djsa0KMWb3+e2wpknzOZdPviPGazvk7iRaIlnzsW8HRJpLcfB98rATAKI3OQ+2LoGamGKACJDujkshpRhXBREx7Z7EGl07t3DzWRUJSr0i7jPi5IXZ/HHVvIE4AJmjpAny4IVOyURG8NeG2MIukQ1UQ70SmUbgUD5r72njiJXcWLSYFI7uhgmzDzKQGuFZFUY90vNGIuAAu5F314nDNKGAvCL5UX34nTr1Xs8Rag23skcWMrgs4DOzpRKCd8hq9RGRIsBlKR8C76bA5kih8efBH1haXjkVg5iRqumGQaMKJ1qBBgPUdlrR2SsaSZ/J9Yc25msY5nRL+YBpn03d3jRcNkbgrqgJUxrynrS0abbE60QN46vVVU7f9s2jjQ/g/KrEcSilqpsi643UGpj9l12RIEFG0bkk9HAw7D6PbuqAaSQik6+mR9BzCJAw4pL2SKpBFrtkjIIuGyBmFHSd/geN5nWSxIStSSZuG036cRvH0+Hxa7Z7IO4VPUc2/o4eEoxXzWWh13Hy5YOHJRBAuijxfjGkrxj643EIqo4I5yx8F0O9p+v0Tdtubuhl/VWCXT5xZGNSsVl5U82Y4VSqPVjHuWmUJgXvIOO36W51Jo0xVrjH5KTMUyKsERFfZ4WZBF+05PTU7qgu1K7snLAVGncwbb1RaQDY33pNNdCXgBzFVvMuy9jSLAODfqDXrllUnXTxCsvpfu81wscR5mWFUo5fg05NmITw8Glt3gdhFzEtCFP10fyMHMXXgsKc4QV1vJhwpIiFnD43OvuNVZPVRxtGsohUIEoxyLfb/LShvjm0ZiA6tWGj0dcbIMtEfz14o65yETqC1HtkYHRMqnwZQcT8IHgG/dOn9/dGpcMWuEQr0Vp0YO9Bt6uqBlWRUCjjhxYrr1+Hvy+aFtEbF1E+t/j0sCM3gcj1kTld73syDlDKJ7Izs++Twc7nf1QUew79dIQyr/f0mu1lLJyZOGR15NcV1caK7s9J7OLmyF6mKAdQC58Svvk8X4mQUzwHmPvSzHsac3aTa5L4KE+fmnMwmBSP6KApyXRH+k7mN5Yj26bjjspRMRje1YmMw8kUbo2cwRa3YVApEs6+jUHFKf6QpY58+omHt9GCnmmt4d7GE9rg1zGzkWgExsuU35fO4P/CiLFmfCBk6tUG3uZtWfKSMjDoySHYcrJ4LCq2Bci3UJE5yBsmRxZxPbDltx3wIkiSiOl+JYzWwLG8d1kKKW0rOSUOH+lJtNPmoRZgzZ1hJcof23wbSmjKcPGtqnv+ampw84/S5aFc+KdEhQJpM8FIZ0Y9oOTAnh0wiPeyCXdvmIQIAV+ZnKhSnRsgMUGqyIpfFiXjB6wXtLkjyjDgDGE8RbqpNe78OuTVx9XOw6gbWz5445BmJKj/zFuit7N6wQje0FoKfGhwp0jxIMQ9nz9uA4NPilrZpuKDxW7Ar+gH+eA5sYIecU0TL3wopL+U0T6HDa2o5aFoa6pIyY5J8Pxo8oUZMCXhTvUkfRaz1SrRRC4hlvQStZ4loWOb6+CniZDHkemgw2u5SFt38bJp/2qXtY4Tn0nlhOFWwPZZZEFVvZevBXeVP3FUzLOaa65aRuJYva/HhPD3aZSJ9Tx0Vk3pchdnB8IGYB4FZnfaoLG7T8e9B69Z7WUmlArITU2QcVOO2p0IvXP2Iv5LV6xITmc6WsUnZMg9C3e/vSzbesbSNFsJgCDM3Mw3rvipWQICpQgsqmZDkobY5BLMvfXQNj/7lhMiKmaGUx/fvGd+PfDZsO5TIt2YgY44BxqTEm6p5ZT+DoxUjLlWwfIdYSDla/ea0x8zl/7aNM7VOalGDgL/sRw3t9ntLYvrXNt5HDOc19zxv9BVtSWEqy1tLYYS7gGcnaCEDd7awhgEeIeh4orpNaJ/Eqltr5+IeC3ZwXES5P4Gem4alyixlmJjv8jadvd/XG1sNMO9Q34RMlzum2jYA48qT4Fffte/eGv1slz7En0WgZvw7C1PlSVA81qh8r3FOK6aZGmHoHQtubF3FPXvYIogYgUOKu0ttu5zf8EErH+66ll0HWOxEtx9XCaPQjys34DbRAZ0l/KgD8v4adMuXbkCBsEMxwCtzFQfhMtzKkJX35QjkTaxznXscRZouUWtSM90Tf+TxYKjw0esg4BH/TixUayJk7hpo05v07sBGriFt7DPP3DqddCeSHREIXFHgcJ0PenUMJPTGRQIQvaJWoN2EJGg2+qs+ytI7lz72T6qgLs2dNCnkTrXzYXELhLWY2FbGwWo96EqKA0zsECjdwEZcEF+WwiKu2bRnNJ6wYqy/cohlITJ9xDG6hwMXBZKlBwwN+GeLGI6fMJh5BMETkc74PRqNC7CuTu8stAjPX68swJK6XgOpq8hbtSSDcmwsT+L+b+lg+YCDBbBHhIS/DMmXx+SJ8sOeQdS/x5wW8d3f1AeF/BFTuu8o1x0b7ye3SPtu3jik3jTU4/9H6nYUQqCrdE38DHN5HLGL7BeHABu47x41x19UhFZ4/o2ASrPmUmXDeQxqnrH/rgdSAXmqrjdJIfBgph/Ne2mTB+wvMMiBdW2onpTnMmFIiFu4fAZErVdrjIOo7zgoAcjFYCg+tBDhcV0YXm5IRZhE9S0l/UBVym2rsI5Yd3yM7dih1ziS7zxHWCAnvri8gZ5+ILCj+dCa8y8tfASEnDhVOM69/tcKYR7GGT1DIDy77US5GbvusVnwwgwgaYoqIFnm6rcLJUuKQRJXksa1E+lm0q6wvk/P00LhuIlLpMdMA73cNEVAy0n7Ii+ikzETDNcNwO2jsRQzTognDdiCO7VLKrBAanBBAMp9LZks2B2TQ5eH0y1mP+tdFx1i6+MjxDRnXC3c/88S2RbOVH6WGvegNnuXwI4cXJRIbjtAzR+nPqh6ZNDGOziATSS8khSYqF5jHGtZHxXIkpmmfaCaSgxeBYRcMOPNLGipRbg3z7X3NmVmb7PowM0L7TPDkFUsYt23oLc1p/rhtNBbU1GammdPQB9YXkPbVt2A5EFB2dqai6EfvH2VmMJlQruSP1/qZQ7D00HxZa9nVwV/ReXwpLQ/HofxaJVTgsv8eatcWpVzv4RQV+sW6eJox6YKmoVJ9HqjXFaPTLIP2aGqcm7jq8LpJORhNmkrwg8VnHCHR4TdUjc7Fykpzq2wuYlxh+1/lXc3ua33mTZr6hYEu1kmlT0iky3epQ6yAUm3jjrOKXljrszKIM6mg2vEA5cDlroOBxGdyq4uRxXTgJX8oxPMAvpZE8H2p1tzGKk181ycjWQ/CejoNiGSKod754qwro1CoeOIej/WlbOVP+Z/Mjtgo1ja1XfBMuJZ03RejZI1ZEEXovVijqrh3VT3Zo0dFMVPIn3lwXUHGb9gcuNeSTCvJoPNfiZozR0kpFZHOxdO5GQRxxnnOlPj5pBeJLCb4e9BwX84oX3DQZWFqb8F6kOsjVWgutvpuPQF7dVvxANZoXoqkzOp+KEgICIDjx/bCsqQe+vmXep/Y/KYjnyvzIC6IapV6vR3y0RXvT+I/UybvH/VG4KaVfz+UmgPBurC0nKni3x0gECzrmdBBGDxhcTfxKZkVqXW6waOGJ0QP6qPqkTVI/UnODnTXrUqg1ycAHuTaRoDSa2wSX1yisFBD6flm4h05JXfdXHeRtg1zG3kivqatOS5JjCogS8p2Q/wiW9/KqqJPiAFmHs+r76+KKJ4Kur08K9NnoFQDSyossXJnftoBv0dhb6bp+C+UC5O0n2kQxCMJ0qeRzMkJd5UItagXmkl/pVvCl0Y6sJIppx4d/mM/+caVMPykAGtZ0qHbqTrRuJiudwct0AZQ2MMkYdmtz/y1T/CfB2v4ErrGY6sFcBZNWZo94+UvzFL6wBQn7hIgvqKyAgCh/copty4MjD5wZ1GYP5tPl0qp3Xi+inCkqTHDRKODuZkwgb0j7NKtmfvaHRBvCixpB7SHm2+/nTlq29sM/KqJ0J0HT1Wva1aW4V22sTBJZTC/Ha7Auy6CRPcYWMEBJN29kPhfDWFq11cf+92GAjoInzxrHiztxMP6n5i+iFzTGYKSLjNL0eYErG77UbwMYCMTWwWn1vm2LXMM+DsiYaVReG6CfbHZtyA4p36DzF3A5FzR4nPWVnRCOoQh3h4q50sJQ887GbQ/B6FddFC9eBxTlwPAcjxcNnAdot+K6YdWO0jXC72aoo/K61cZ/PyDbqEPt5ZCWn4Bp+MaT/2w+hp5taT8ZJUGJCsHYlvURntr51fKS2HU0xioOjN0D07BFBn0HqbZ5GXN0dSh0CRUfmXk83Khqetrw2xNd1SjiDrmS9bdWTwWlnGYQcjdhgoUZBHjt9lqEDBFB9nzuRo4r1hZBp3MI3HtrQz/N4/mTTzShwJKmW1+VE2SX1AJoel2cqhyQ2BIZS8pOH+kb1w+svmEcmN36Yga2fYtGA264cIMC9ugdvLCy49Z2clxyyQkeACnV9CrboFLvO2SLjvl8L74XKwy6jvNm7+HH5P0ZmsXQFkr3hFaFS3Yw6wfNCm2v6d7jcumX5dOM9p+fSNN6ab8KmytrMaUEGh6Hg/a/DSOczvQjv1kETjkaUgIt1nA4+GSngyOJwjPnjewvG5bNRQyxtAY+piWMcHfx3jpheMN2I4E/ihv9ZBEsr6jp2o08oY6XMlLT/O8UdPOf4/S2YK4W/AJEFpQkfvmAsMzSa54N/RxVOez4Z4uh23VPcycThsqV+gWEEd67fsIlDmB5BFw8jk0K4UUk7o+ToGoA2B7lBgQIrzD16eAaeifCE8aLvHtwPS4FDK78mpMiVK5Za/930zAnlVoPoVZzhwGF3vMj3nrd1INHLkW0iJQEe1RPVTrUgnn61HlIIuzSKsFCKyi6rjWmk3sAyuSqoRq1i/8UGtQpXXQ+AurT9N+FWMfdMfwycfCqKPLv3gLFh1aAx9WBN5FSM9t9kVHAM5cv6wnoLblJVBQOyFapSRKrg74ErMpVoP9BJeIcJPmM29PXEaBaB/wDKcwZ5jlDLy4hSFqGnAtJ2VOPx9Cku2E/ycbTWk/W9s3jhTqA3JyLLFWH3vsep9xn6NTu9dzpLeETG5QArAW4CNMA7zaeNJiWOPJ/NjBn7Y12x7/BDsQX1BlzpDw6exobiTbTSHZQ3pRVAycEwvhANl5XEUdggOATo790RdtJdE1lmWkdxL5Zd8jStMkAfaGoJeeqLhC7WLz8hEXx0QQQRJcn/2LAN/Z/wDg9mqzWk4aIjeaj9T58ONBGKTHpqOETKx3Wvu/TRNUfP28dR/diKnpzaZY+S3387pxK7sqcm3ZYb/n/RBfAeLdagRbXLLgiG4w/m8NoI7IUdy6uCd/dauwWmKrrCZtyinTx3PDqYQH7JO4YPHxgy2tU1gN5DFovPyYOw9uzc8pNJPoQIa1du1nEFGOoonocIKt0UU98qtDvVRPoqh+GXcDbIz2LLEt23Gr/A2ow7fnSru39aEa1dZf+9dfurnJaCjsJgzxtECj8xG3yLkQbCg4mGu5NSKewMKOSUJq58VfrTm8/ixdEC03kS0cvfWwyzCjPB3+sR1d9jfFd0fHISntPT/SNPGu2d8NsX68Tzd/CCWpKZerFJ7DiUqGxttjGuDuZwJcPJzOt4+yoDV/l6gJP5VI44bACSuv62ckSCco8VXkzq6WiwVD8T7HyJ6dvy9hmqIIm4YCYVc0mVwH6MAiY8vW6fnXoLKIhj1iwwR2YSYXlEGWpQcr56yeh4KE8YezeC/EVlzdBPXzsruBqpNN1Tgf7JHbm0bUwjf/Zt/d8KSSdY4JXi5Vx+m2a3/JPInSmj+NhgTOAwgsgFDJJMjdu8l7l6O0H3Ys41OIXT9ZLPLgVqMydgUIJFBhmzXAprjOAkEHjYMMODoniZnOUXjDYbcWrQa95nv2lIhSTMUYA3sw76np6lqliQU6gAmuDrDIJ/GInZs3O7VEte1mnXsF0Tr4b2WO9HQjRxRSyHAs94O83qCGUAdHK3nSzUfaa/Qz4etKdmWw2oU1ltXzFZ3a/6CDE4f7UhcrRlzCQI/ZoWAmsnVYEDnaSihRhf+zKI2Cu6QJYE4P1w60WliwJACLeG1E1QMylxKfrbl7cWUK6+eOXmryzvX95etMVxlB0d92K+QF7wDH0sv1GdN68Gj/z5MjEHkEdmTPAzMR9fkv5gFWczL8r8oY7MAiGPWHfeMmqcbMfeHWhFyYuzK2TDMzFYCqXNctWYuC5k3Ax3yVxa4ZRnEksizlOP8E39K34OoiBfFj393RnpVRziXqvNnkLFFKVJKUuooY3UISjHXyPN3QavnuUDhkIKLt4b81VbPbKL0SK9g+aiexxbDaswPQO9L5Jd2sk7E5RRRRrQGhluJJsSCtuWgggfRPOMuV8MKg63iv3AT6M68cOjMkltEwj7TMs8jJ7mQx6KjsQeUrA1keigerOoG7tDmel2TEAARlCF0ksK2d31gwgk2Wz1eJxY+k3vpBFMawmWH0CE5xtmErzpATtX9LIR8HOkwHxRZ8tZk4pqR7qEm7xLfegHx6H6HDDYhkFbs2H8vt95bCQX0LOB5rTnW60eBtvVpWCqtrcujdlakY3rtbEttVj7rwt3l5GFzEBQ5rvJzqXLy66aUImMpu+22WXsJ0nf7PclhhlZqb+LpwCyQs4kNz6hR9i6FTAq3g1J5mmV+jwbwZ4YgKCVgwLSMPfRT1gn4By9jJd5Se9QSFaA9eENe5vE5I+I1mwQ6RDG+dHR9+bzJrKexo9RO8wBqde/6azx/P+CQavhJwVI/QduILTSeq0Dz3zg9RIkhPUP76fbjj0Ur2ZymaKUnZrfTRAuJ+aT/0zF8Muqg6dpd57yTXJnEi9JGE/bvNiHqaS2/bLkmwURwFVbBzkLM9EoxMlJzYOYrb2uZlZmgn/6dNOT4d87M4cVpIwh7YpKriO5s27vyE2+rZCqz2zUros9cx+RWsE8t3MV7YrHJ30X0QNns4lDJjaSa6Eu5J/GXNIOCzy3BhHZqyH5NlggEtWGwaWgG4Eq1yKqaGIW9QS9IcpIM94dmOm1RyV1ajkHXOCX22Dmxv6PBj23kDWxONm8durgBTkcciyPenxX3GB6KH9+rgU+QhuEVUQuMiQMj7ruOIUfMK2f5UYUeVg9fdyxlWr4J2J+2dY8FaC2HTYBkVcMeTVkTZ/Fg1n6QMWt1nf1eipvnqppxsHM5QceDDZvtZ/FPkFQ47A/zM1DVEpO2oZU8Qtu7g3aPMa4py2MXnvtl6GOAte+/upfbWVlWY1Ol1fBeAfQ2fVi5oa/i2PQtL2t6qkB4OcAAj61nO+jdKXbH8eYp9lfD/lJDllQA99XXFRQv58TbfUsemCtQJ75F3dfbQ42DY4Ops8MIwB13CQYyAL5OsHrHCZdpX1j9U5Q7vL2c+XoNgmsppJqN6SN/BzZCpZaZVr2DJZz8Wt4WyWpQsQymeNdOV+PCOUOOZPjWBs6TDWpmz1s9q+IN5wzWhvoat0pcdLuqOG4zhz3Zym/iEk3DH0wRCop18HX7MFx9XZiXi5b+B41Nz032xCUedl3GLNxJrMNd44rXqIDN9+Hzlm931ZPAKrTDxuS8pPU/wJsqg2VT1CeD0nyFjqM+TMlk7vTRkFVxBzO6/VnQfZXD9qwOjBqSpP2e7oQlaE3i1yZ1rDGgMb7tDrnKUONxGpQD/YE2TzKQmfMoqjbi3lvBrGVZm7A/P55FgO77GsCjwmID2Phkf5XLTgyOzvYTfBYWNZwwOLqJlijxsTXbAuECO/L891Pl10oSVoy81CDIdivl4b5HddHuhp0qiEw+LCHFl+QlMzgkzICKWkP4hnlSNwUjeI4FXtzTSoF2HTdG3ykmqtHcMRDrL/YNcE4diI87cyH0iVLK+Cl3kjog17e7PpRd9nbdrOR0RZIYjkyPyVsOgbd7iV29+vLYl4y910QabId7kI905pip5br3cSPMIq9khj2by+iWWOjuk6GDW+86elsI6m8QD5AdfwKqrHqBPWseEqUebFKz6jG1icB2CTh1BHGlUd7RqnKra1Jzp3e7YvzyyHez4nj5mmG3NQ71F/iyCDRsbuKAmuLrUUewVGYsHBz1MiFj7ujoULPk+A+qFjeXmC0Uay+PIKcEQsaR3bX0gn1MQjVjcz3HfUVmz0hiJmoTOYsJv285j0ki7Uq06GfCrQQt1P2CuLBJiPH+D1NrKof9HdYKnkgKLMEXx4WhmHWaLBkn56AdMQW2Zk9/kltEC+gdgD+wUioFywkRgbGfKwTtZ9lzC+GhCVUBrbaTkNRLPjLUI7dg0dLpY1nwGR/XYZlzbGERLJ8OdMpq5udJcTuNBrT5biztZLUh2rW6pplNEDk4agvAUIlY+kEcmLXvwbrmGbqAfe3vSC55VGX6rAmE4i5CHJgdjJR1ZAwnBghEzxpOpTpjVuMZDuN9N8Ga5cOiVByOOJAvR77wLT9JWG2t/OkuC+4dBFIItPQC78PgqLctojM8rk4rS2GteF1orveJp1A7l4F+jP2Z4oy2+77OCywCLV6L5sC9eIRdXfm0XQAbLM0vrg75YnAFw6sL8m1Ju1scnyD8un9ErzRz3GDOyKvwK3KKOMQz+eSDHH5ANcr7yg34zlofvWOLL/Vu8ySihD0f/airyfZRqwvFcZH/d4uruUYIXHEnE5k76xjdPaCXvL0TQ+gQ2nVarXDUGc0inFMglqlRZIlkUV4ZN3Y90scqQDht4D4WydDS2LjfAYixNzp6laGaersAyZMtOa5BfEtplN0TsMgSSn/DjC+jL9AxYW9oCErF3xy2rrdxFmD7vb3QZI6gA7BfKzpj1OOs95LInn14HjJSu7isfdy2vjVGezan7NfWusrFY00JEMoEr5B1VLJvGFG05HIEf2LFOuAQOYLz0S3vR9ZY4B8lhm7b1wO+keoO0+b3siOLO3tUSfKbYNs0xtnBqrykX4HfxtpLVhtUcsgdjaaQyrNLa5MjK4QnJbMsb0wIyJCsa8Ht0E02D0Sg0SxCagjhH18fBuY5N6UgduDpZwR5b0tVLgtCTgmbvn0A6MsKUUPJNpBCgy+uvW9pwAKf+iPmh1Zn9qmQ5kE7/GQFUQAMaB5MhZI0JqyMDnze0S1su5ZSPjOQchvdSQtyRdFmox14FKRV1HboarqHgCBsfbbDODCmDbRswGN5EdV1uQUA8Mal44EWfK1htY4b8nZ35KVasvjzSwj3LKRZcrIq7Mcxof+AEmCkivG2IYC7nv3r301ZKI23Nv9F7QlZ6a+eNv4Yd55jw8izfzSzBVCfU58jLX/G6NUp/a5aQBTEyGK2+xXiTyxnaLOssr/vkGAjreo0Zdk4RncKe4yZjnuGEcEgjL4FeXc7NS4wLV7Tno+QyK+UXtllpqlQ22JENdBhD5PziuzODIh1XhRLUUNHxFvuOS5QybyABlOCkzHOfofY2ilIgIiKO4kixp0dJxGgb+XA0vZFEvJ2Rr4K2BQc9Kf2tWnmwzw+vCqvsJTYXs/MsSehZJHQLtBhcGcZXMJg4LbQdcmnrXnEHe0trYD7Wfj9PiG2JT7B57HtiAVrFG+7zvdjqIDP08yP3N6lPXOeD4EFp7VqZYJ9cjJS95TVW1ptuk8aqwX/8X0JbEq3V9fvNaBEL0Gax9/XEAG2V5adggKhDbC2iRn8sv7FX0SQTgA+TFYx3/L3fcWB8jdleiZferyJZEIVlqbpkknuJHzxpo6qdAD2FJ6yrVsq9hT42WwRPiFuszz0jjGEdp1XJKDOIjavJCZDUiesTUNwjzfk/gD/WGc+h0c5yY7AqzBy+xRYoqBmqx8Y4TaCghhfSqLm8eZP6q4prmJsWAhglH4d0K/SeGpAYIzSnOig3xF36ESxZ43+iCUyOv/NiT0Y6lK+VxZ/ZblUOV51HNglEylQ4KZflcktSejUl72NFLvN1SO9hDep9qqU9z22KTJ+Z8mg2B3JKAPzGNl/bXwggYtTHBE2zI5+GjjTMPIYaaooEToahjHXdd6mp+PDVAdrySpREAhvHG93tLEti4+ehEyNbHyXb82RlXUGmSOEg2YWplrk9mpPsY8N8Yc/OFuPw1q6BpdFOZe60p1zU3JfyzUfLzDl5OVpmTJvjz6OyRvSZjMVUOlxeXhQ0TO8CZ7huYm3aUaY9YZlVLldPKOkovYgyervw274iJkuRQ4uvZfEAHe5+d20zu/SUt6LfR88s3v1Y8GCbU+NWY79azNEqqFKeD7cvBZgYyHxebMyaEKi2EatT6Izpk3iQirtXT3HlAqf4pa4v04gycc15OZ6q9XQlQGRO+YY4gSe51v1EJAQCbjvROJQUpB19rbQ6Qu91FVjotW7kSDLvTLDm1q2CIi71LRJT27KRvWAiFNsItRcKgyzBpDmyE3jYbNbgJtMTrGuT5GODjQV+nzjBxDSTbYLmdnZZaVQSbF3NcbCKKF6an7XKfp41wTOGzDCBlF2d0QSsn5QKAby3Sup1jelTMfl0RIk3p/FzgAEdoV0PqA4A9TTKqIGWBd4By0ood86S18+35BeZsimXWGqPawK3SowxjfrqcNtBJQ5J6NfSl9GY95tlJJmqdtJNBDAd3o4rcbge030w9JRmqoAXiTmuw4pTBrIQ5D6KiB+685wQv7tg/M0nKUg8jFHBgY1vdMeJDh8rG8y84VZQCNxZf6jhr9QjCL7ZTJH/E/oc8LbkmSa6OFKgom9LbHKpyEm43YRR6MVyFuEb0E38w7LYeXW3qhxKPdB25ivpCfrzLMIWHQEknhWl/6bzOAUfmTEETMRpyRhr/Vih+uhCYLT7PrFbJovB9GPcWs4VeILZn0j+8Ul4CdlVGJJ4cmF7jx8CqRmvPRypZMihcWcrm9YsXt7Rlvcsx4JEwEuTupaUGWz+LzTlsfFKSzlnJtRczNk7a4IvvDsdx/9T3DVybVkl7hRvoBw4lsbAxjjVwZ87k947oY7nQGOmi7AUp3MzQGgBT7mD7Tj4GPYOdWHAFrW80/XQXc7Q/ngmNe3LS5zRSzuhcUXdGE7ImcE1G97MuIvJK4aIzjLNEp+RLPC/mno/XnBmahpxtJSMIMKeWH1KCNMy3PuJktJyVG1Ero8yGEu6OnNPR5A7Kn22lzmhkeYGRfLVin9472ZW9yk6vQkk9B6qfX8KU+CJz4S0sNMqfUkroiap+yJ0G7WYpgDQFZiybofrjmyWzSDZqStxZEufBNbcCUSwRJNWo4tsltjrWcd43Ls/8oFkhYFTzEZ6nSf6uSP2iYY7xrYkAy9hzlTIMfFkNo5yjXtX/CeYEE+8kRzcEDbfso5qhMIPQMvnyXnQzWxAIIptu+zMjroLdAmQv6FtQVfHHaAdtIFe2ZKYM+FMk1Dy6D5x1gkHOE59XF2OvshbNbYnKbgExTFjxD55HSoGa0xbwSd+ezxlg2hIBym+wknh/PNt0wjaYMCInUkKHx+pgvuHuw599Jz/suY2yMJ4lVCyTs3GwsNrlljPV+rpj40ukOMxmRmpEuBSPAzakbM0wJT7Y7KvpNSje53MvB8+ICce52BhG2WG30qqWrfSI52qk9F4PAhEoETlnxAMzAX2vr/TT4sxSJFrXKf9wv5+Wsk0l/XioWnrSXPy9Y6vybY+NyQIN+h+LWisQmrRU3mSfle6+a3oHWsvja5Uvj+hD+6CZZyci0bX4ekqucU7uPH0gpjZmo63n9d5AQNDerll2NJ6PCDgKYtLg/5jV+Yt+pZK4pCNiNeZDpYJ0HKBN3R8aDCLN/bLXu1iHlZ0numw8L86GhuNTgG9qLtskqo9fJcdOfOoREDR3uwDcFjanxtb6m7agGI4A484yOy7fd48fla29qBWez1dWWLWRHZP/emtc3nl0U7oCdMxveskaPTx0A8rokJX0wCcjta8+BXJPVNHKIzoBPztkz1pm8RXmQ1tKpuSGQwr/0qDswfF6fe2myU3Y7U61Vq13ADK3CtZQGrHxSDLbYgR93Dt+etiWBohFZiaHSPu1V07Mk7FmRLGg0LkIpQsjgzPJx8schH3BaMxC2vNi4g5HFYbH3Gm1wZDACULrbC1ZhzLAZDfVzwbHpAJ1pu4AIbph518FBQlo8LeFAEY2uaBNSu0WP+48JoVPCfgFpfCftxs23Gzn+ISa+F55NK+pCh6xvrDjX8qr5gePsm/H+RxPM+P47qkC8Dk+d+9Gifx4gqK/jVxYovR6kNEBdhUprJWPYtBE2mtoMnim+KSPwYJx9rpcJVLI7P+m8qe+cVnqOW2rBEuwQBrA9wP4BQ0NBUQuyplMj5zadLsvdy3UxOpgsutNIl7dcrGewK7eKqzmCmBL6vOyIXhcT/B8dfMGR94fN7fcIWc+gaxV7GmT0XLOVmDim+kNDfraLbwNQ6gUcPuHQ2sJRiv31UVd+hoGy3PNtNB8hmgCu/OxbjGk7XqlgmcoVogc6Yr19YlONxX2FK28Xf1d0eQVl18LoLRhQHyD7TTWr0dfBbEEofuXR9b+l4BZS0YMhj9mFD6+uKSNEvoDTECecdneCCo7G3woCAEkfqmgLcPQzjt7ozlY8XFRoal+3FUbVSp9fqFCb/pIFAghA/jfXcSz+q7EEAqhumCLN+qAcEdp5WOxy5h9Dv2hozmb45x262zygd59ncCIaSseRaZXu8+YzJ3voGaXhQ86kA0JVoggQxOVS30T9fRbnZAKGPdsKTsWFyurGqTz4NYG20U5/pRviFfw6q7Sv0LpxE+kVQkX3YT/UWAN5QNaaQpLfgR2pg5/B1DgZQnbWWjtTp4L3VsIOcX8cK2Bt1ORW1gRczjX3Ruurmxng7y1AlRR1ZNBzeWw1sCnPKCgIDz+am5jhXeivSiwdA/xqA1giU9uBEuyygAV8+MKeCfYBqCv0BHT5hdmUvwavXZGvTNwXb2pzyyF/fg+5D80ByoRNodY926HjA0jY3Yg2PK/gp3qEDXlPIPC95OuxxMdNUSaIHUtQ2qPDROBxpsNRZJkH6CjYh6Tst+FzKW7G7XUind3Nw2hDPw/zcSAYW7DUeNf4mbtwTKXpo0Q7QeNr2B0E3s1xMHRjNxUWsD4gM9YfC8XUXk265LQy76aNEe6/p1xqVLEQkuSJVCCcC36vu9FVo63PGqzH8LJbMRQrABOu6/7eEVuhrzmd1x/CCZeKD7qJrpkbuHflGaXrDA1NvwNr5A3T+9fKqXezrnTryIuoE1Gq/PSKmPAUKsS/73UXVTLX3XoQy815dX8IW3/cXgoUepu0tFfsjYKrNojAR/ovvF7qN5lxMaRECeax6Vl6IjcnszH60YvEV+eOowAVbKgNCWup5xRCYthcKSr02OasSjazcYfDUYO/d9RG6trWs2G8QEvdIG12qqVHR8u4OiT4AoI/e3px2VFl47XhcRekzp0GCosr8lgyx6pfBjSjvTsAbFiSq0m4EjvnVCwDTCYQvQjG8WRZEh+Xkd16+j7Expidf7ZZBSlMzhLmlx+O2g04T+mf5HSUjSV5sm8uYrOF9l7ffkOC5cFYX9CSfPXVCwq19I0XCi34Nyac45Sn8UjbFV8VOKmOBzs08OJtF4AsguAVYWfVAN2BazESmOfHMMQ7Iml1hH37Qc06twy9z+aGH6ReZgtRsqXRatWvNLb4cbr5KmtRIP3JpyCbMOe16XntZs+n02pT7gg0LNAAa4DmD4j32k8Kdk+1e+ltuOFHpk6wT7E6xOziLeYKGB0fK7+41VxdcyW7qodTP1H0mJxmDIivuASlndfQ7e7HK/FCNP2GX/FEoYQ1oDhCuoc+WX0dLvCv88dnKIliioX2dk87uq3ZdF0xQW0EsJCh1Qy6iASxA6exzBRLngT4ljvPYG9wF3mCZFnNq56WxsFre0mVWRagb3CI262mIawZFEZ7j++RTvqQtSAplXpjgerxdmuOPAt+puZ3CfkAtgBzfZAlXU4UrKfpuGihFlcoAClsgwANP0D3udyW5MBgrjz4iINFf57q85soj/wcSR6s77nt6lLuL5DlRlmCNuY77reJXQHCNbeDxODAW1a7TFbSQz44TW4iciNuImlA+m8QWMppr++1T6gdClc0m67MKNQQ/vl+i87K8TkwDvfQJ6t2QavIU7UVvqGG0wBMnzm1Dgqu5KLlkXzmpoQ8UYvfTkqfLv1VDyisuH1iQuV1XnnGHGoXF09F/1vsepYb4DPKEaHJcypVS6Wi0wpag9hnT1e6RpUK9czaC2/aLH5nGWaJYi1++53wCLLQAoxgBYJqEYDQUdfKAkHgx7Pa85P7hHD9CFkTyXP5fAqlSFv8umgkVjpFqQDZG8hP5/OzTq8qHn+ARQ6bGWZt9jzICOy1diifkOm20Q2lCAZFjgMbi3rSnTYn9k5BZmlX8wqb0vvddt3ZlPS3Wct6modPWkcN6PRSz0CyxvaQLSxnUE6KXyfrkWeFZiXRc3ssqqfGVR9bA0p9lwmd+X2lNS3LTNbMZpTvfhp9qOZEQS4FsmsN2PFc8X8iwD/kMUnIvnHFiYvIV//JIR3knPyVfgdWMuNSRMmx6dB4cr9r1jt5u7zzvKtaUStG3GuQBCfocnHGsBNNiKGYFzI64e/Xi3KzTyJLrq7waBJa5Ye/bfOf/cHJxhgiH5wJJ8+gkHSJC96N93IaRQ8NER4mJqcbFhZnmbi22Lv7PlHHxp4y0Ox3mngOm4xxFIq0YzQILmXhCg8kiRgzFJBiJ+Jj4mItMCGhLvNnmx6ctAOzmW8qRvg5n/dXJpZRrL1YYYKeboSQOJE2M2IKuvqkctQbYNiFetG69Q7pmfy6BFCgzuvtDaQQhEzMH10c6RqvxiXA/eBg77AwJqHAkk67Rv+tHQYUxfITmbSCQcnYwM0Ju6Osyrx2HdkmTEO74ZvMqXpzEUDIl4b1w4sVQ2HQEO75e4oC92fhOrCimSyDQ4So3fIfxF250TC38WKKa5hBuHVP7WTNosSVTOcfI5Hgxlu9/rfWNnF9BqmQIladRvjQK7KqBEMg/1IK3dDCERA8lrvFS/zCTs/bqfxot43C4Clchgb8aEqESbZmfdvfHgyT7AA01R3ermUDDiwApl9p0InjamazfttwwbhFXnVIJgxBI6Cn8EJIEPGR1dtervBa20vC1Helvtgip8vJTU3NpvX+SfWdJnkwKWQHPxnwL1cfTCDX5lkp9vjTigA7X6IRm1cbvVygeVdZa6vNAOZaIz6PpVUz0M8gsehGgi2EcA2AzFrfcuf97ykw9kmDGUegIPnURRcuz/30Tk3V+yNWXUHT+MWbx9LOquqbOvfp3yrd36KtUD2lCWvRJFVaROMbxFyeMyen4ROsAeA4T4t4j8Y++Np8gc792SSD2WYVKVpo8Pyln6lYoWpHT0GJ7RUDBNr1LQLGF5y9Q+d7t0F6sX67xuOmeMQldN1B/ky1KZFrulknYJ8umGN46jqy9TVUHUDMpGaYCy2BPoGi0T9zushF5n0GppGUQzWgZXFqoDGYBaZ1nD4kL56DIyPWMoJyuAqU7Pv3qPMvymnkX/P+KcGlJ59U9lYauLdUjvE97kVORRz7GDjacIfrYIHej6fa2dV1Ju8+aF2mWiCYfFtGV92sSm8ICl/7gsvl3P89qQ6RZZ+rkx5FPYzvkvB5QX00KP0LNn4MXcHXMfdDnRooiZuUQuJv/OQKzJ3FBGTREiLhgNMfcwkQRTfw7A5mxfUiO/WeWX1zRGxenEXKRePg3QE67boOrziYqDns3MNrgGCNX8WtjbPFbXjP/6ErZbgpLhe/BYeP7PoWemzo/KaB5E6UFDlHrcEc8UZtrplFiKcme79xR9lElY2XTEyUFW0LGVeHCKBVG7UeQwfbNoJwkfIVocehpl9MobzBvdXvHNAK/V0VvSzhev0jET1w6SmZLopnGzGB4u2/W43Bma5FD1/JgdBnF4/D0yIGG0NUelAhmEtUzRgnlh9aw64BoUFcuMc3jxIxMlg3dcbDCTneHEOwXpMJVq0+tE6lTRiZw8p2dFd2b51759z/7R+2KsFdsTHWQWTJiuaU23KtfHQUEeUTwPzQvlZa5XXIrtW4a37JOevDay2CWZ1kpqVju5dg9yz1U7+kyxEhQDQmKcwfqgMiaZpFL/V3R8ZAaQIYoAtohDxpzTJIIWUnh5JX4WE2QAYNgGVssyCk7laaYNXyrQXJ5omYomBicqU36nYCcxh2sHqYx4alvkBCFWxY++xfCnGsSqmTqLFScg2P00iDEZJTtRxknpkYCISbtrYqYA0uU3Ca9DDtMN/muN7ODbtkM8q8H43jpdnozFqxMS7De49FoAYsPxFCylCGUMRgm+SiocQbtrRmPzD7GvAwJ7PK3yOSM3FGWSj1158pqxW69DaojC2hXwWsPzgauPc4C5TmYBrW6E/Hsq/Id8QFoXwaHbd27QGZ+zYHdhwhnj/GV331AYFi1vnzUXVCdeVo2eZyKcRBgeGBbXglzA8r7bT6WzydgcSEobn4jtCfaRvjqtKuBWHCqvP9AHuEvn+HNJ2xrdrosHOtOyVqW4p7mcBU6CoXGhFDOX/SfHWwDm6jaXevK++BJENUfi6Ow03jUG7CgSIrZIvG2N3V2jLqq0L/If/FfzJ+L9pn/uPTfsPwwuvhcdEszm3qYJSxZzBzCPs/ngdjYGLv08plLoy3CqHZGHM3MTrR9Ux/gCiBVy6n8c9Ivn+Vejm2oomQfsxJaPe8qvOyMV5vZL/RE9ltkGKmklM91bj0JN7jmTElCgtnS3iYWXYs1QGSRgLxVhHQZqiQ6Mgdrtr+4t2JgsUa2KpJCG4ZJK7mD3lOGjNeqflyMyWSvLthTpWTxzr0v9xdgraeKEqUQbKPdGBOAmcxsEoksHn9feXJNqem0GsfDFWD/ZaMahrh1Vwnvwwu1J2je6QQYDl8IXfyTYlc2JJKOf6M75kex5FzAiKs1O3wkJoIu5piQaR/c0WeqQVlFnUs6GMisTD8gNuNWLIIski1PBTPcJrYBR6B0i0GZadOzLhHiLzbr//eF71X9JV6BUH4sjBUpJ6i4XnLvQKfNvQ1dQp+Frz5N39CKFajaTv5zn4+yn7Dj2H7OkNXktyOdAvtYnGx7XKouebhkQ6cz/htgzrxSeNQ7PzhocXEZJoyVPtrI97yki3+dGJnH0cA6Z4siSoejUIhgDvOvyczlwbkopni85NOzmYYYMqw6jJIkjV68sgXSzDjeuvTjWfN5tvjePhlS+B9kxDFONrz32moQVPcav0sG7+Uz/K7rjHE7Jri+wa7mv3/jxajWukNNtTitFNf8ZOjzZLWtNfcY7TnnuvIb/20cIaDyos7kICW/o8v8I1RoYUtG0w1vjkeGqqQT2euSw5uYQ7HyKxzz0iSGh8KPXs/UcXkEVHR53i4EMRGP8TQVWG21JJl6sPtdD5BKSCL8p+t9m5eeE//iz5+Z8ZjK9c4TovYNmoUkcrmVRlwDxRvI3inQ8do+X+qfbT8PLXS7wO5udZ52HRDqHCdjQHqojW91If9yIbxXeEDkED+cEIWrTFZWKJSueBYPmiu2RsoNfXANZfVWFJR7vAcEVWY311d2DUG8q9Nzp2hqfFvgtsF2qOUJ4nGML6GPp1IoxX60U/LG+ix2Bx3Cnh2MgcBCZGm36FfvMeircudHRD4M1vPuU/7MLRFsBoluVNcz9LasZUPJO7XMzKEZ3N/uAh8+gvDfG1amogM1nH9x+K5BgxEkkTFra/Q2ouBE6el9Cy+cBL6t65VRHAixmdZEIrPqUEPhMnNG76QabTEir32gR3bJhcqLbuZMAFiWp6joM79pjfwJw015EGeL2SRFGjMOci4ZPKQZAjkA/PkDGrRqJTfBEDj9itt0NHjdrDiNtCNSvsa/0nlFbvqDG05xQlSxIprazOTXHBJdip0ufHXpQfRGGo+qW489UaIAi+Iv/gWTTw/CAjScVlRurBglz+4VOjl1WePiaWBGk1IZ3SSTntteqm0EBv/e5Ai5OpzsnHZBaH22hiRcWDwXm0vPrvGgO23o9HshBxgbOuJsNi2od4xFhOVMJ/f4Uwkpj+PZ8aVTjjtTcKL7BezqyAdV7nZgq+w1ZY0Z6sdAefNZkH2dKoVEG/BCxpPYvliA1i2MhbJ76VyzKBxSSGiPQcNZ5qCK6OvjKFKii4kblwOUVGvTxQ5vG1fFTN+dVw8KrDQenWKEB1uCUOX3AOSFIDrhcfnXvJaa6+maxlioDr2/s9Js1YAOguPG66fT53CPZaJWVEAPku+SP66kmAgmm1glx13XWe7A0KDCbbx3h+PeSAo6q/dY6OTTSV2HU7Yqo07W7obbZumdwQgIY1S8QlMcO1o5QY0v9kstX9DHg/VU+bEUiq+T8uECZdUl2O5fRcBI8gBwGQN1sQ740wAzCadwAzDvZYKswQGvEC9u4V2i8+LxAB8MB/lx4BFgZ2WXN+iBjWDn2S3iqbAe8k27Hdm9UsqZo+AeSVJ6nu29KmS0xYjHvi6EJqCdtXgOh9WE6lbc1zdCyS8tDsINXbio9hM922cUG7NpDKyEPRGzH8ov47pMHz7LTuQvJiXh42kZX+m9QYQZ73rkONPZ9DP6NEfhXKfeksNchG2z8wN7H4fGl/DyL7xzaACCN97JsATSttU08BR4qfSq0kVuaEb8dc8RK6rMsr12eMID41PJLEDVrlhXVMuY0+X7pruEe2ZSBZSMajjPi202W2eXKsMCyLR2jY8t90sLehzwEgx6b+u9OItyBXbfMxGQ2YEUi7QzVzmiMZwItyHsLUUBoEUlo5vrXjZJRzMLAZbOZ0HJpySVz2YTUUWkl8LSX3vJ0m7z8XHRscQe66OjkUdW13TnIQPMUC3Rt8xs2Im2QC3Rb9jQy7Cadlbsr9htOISkS5FOYiYvrTN7pEeIetJN6lSQfjuu8qp3Wk+daXt1+P9h35+879AW+Zmx5bblH8hjCOadHiD0TaY3Nj7PsdYZe4f0qA050+6/hYAIcG/NQZctFqmRYEL+c9ROBLhU4rANO5VS9DdLkbTvFr7GZW4Ed06mSzhAu+cfDVFUXLzS4WwRDEynZxHf+pXYRZ6YwxeF9nUReQfofBwAOaplVK9wufJH2LQyxMo4Mq9wyHN3G7cvaok3dEIiFRXncg1kdM1+03pd/Gri9qnVzsHcBj7pfrJ16IjOR4Mfv9sgb06MyVLZFoTuoIk2X60vsf/MZqie2epEtrVDpkV/wQ3BaqKMwg38QFOKWXJxNH7BFeARXJdLgLmW0SZKB/66HFJnn5QNyJ3MXYCnl1lId3X8XvbU9vcaZGPFPrnuZQ1vn1qpWReOfTAwE1YooipcFrWYzLeMd07fGDDi87ywiI05mIhPuxTdyty0RTbTtuThiQBYsxry2rxBuw4H4Ax52eIuMPM9Vyha3iJ3JwMDeoPiB22c8smQgxNagV8itgwrEZGU5mK5I5tLEiA6WL86H1DHEANsWf7FjmUJvP4YKXv073GIZsAPNfYwdAhS9UaeX8KeboIdcxWGlxu/S1el59PabyCcAQ7qsCZQedpMdrXosRNFjyKkJxBdXdxIENXTkEKcWSmeMhbuRg+QiOZOgYYRMoM0MWPSCQIZ3XCS9VbZl8aoDqkWTr1IcehTn2FOckBsLRFfwInYbfxqPdMaIKwVZqQye7yqYg3+lxQaExedc6RVhaLeAnCfavjqhPgPcRQSIyNLujSEJKGfMiZhxFJOLAvcEI35uYuzRMQVh+YmC+rHUA4dXMNurlqBF5sU9YFGasEr+rHVgth7pES7BYT0VAkj+ylMEoPe3+Q9Qc4tYW1svxrm0ZFq/781zDNMPvzC5OOP0Dys28f00AvGUhd5b9kgz1pUq4SpU1VzioOiZKYMoa3hcOH4oTahbL7fCxTnayoR+eO6WrpsgJVDPIQfVUERdMDw0PH6dlJObYtQc5LHd01aYWjr1MJa4wJS1swavKPhI81OTfLupKgSln4LZf/u01NiiLRCiTf+xrnkJKvsn/K+RmE69vfK7N0wkUtfsTMr1jcUOOK1Cg+ciErzdqpd8jOO+NJsgSVX7OxR0/+5pdmipv9ZJhlp6Y4p3HoxF9NisgVeKXrtBz3OkdNan+h0xu6Ql0Pu3W80NPcGVWJA8pS2xiNUUuilWdZgqcgpQmy7JYSKL3Ne137A1ISWA494dyGTXPvas6reqSUPtDb+8A2wcmHR37z0WngwTRssX+ajhFwaKeOiAcnEI5phsVfjgIn/BfC+hRRC3khMjVI9MVipwHKLm4ywwUL3oqFCcos/nOWc+rL+0s26q5aKnkTmOnKQ6K8palCxuSXVdXmvSyctfL9khQG+uVDpq1b+7BwLOfkGVyGsHGLbow3D08WA+z2yYIWTExIwqYz3dTohIgwbvJfujel8VU7UMjQlGs8h9zeL7a4mA6birFZfiHCIBypNXRUGRrHaJ5Uc8Lyw+v3srF2an7dNFySTPc8h7omJAt91H3SOH/4Ata7hdyjzstNvtAguPoVtCIED4z1Tp3UzNjscrtmPREoZcfulWq0KsglGliFGa1GY3pxuaATt83+VpqgBlBI+C/zvXfoQHibVkAhhTafqMJb/fY8RZ0Nl5cf6SMQV7/0ovRiMt/RvSk49FwiCPX0VNnt9W8lMalLRrf7djgQFobpgq97A3MBj4a6yP6bBHhvpLnCXuAmuhwYAobKiBCZAs1UD8xQgSV23G9WfMkZW5OXyMgKNIF6/YYmjmPX9ts40Befq/TlfdMp1qlaC09lWqD03+G7ci0ggbXQhlMMs1lFCC/Idxdf1CAffsxwT26SgUhxkN4h22Sht1T4F4sMGO232lmQYNkbaPSizyMyPHGUljaEXS4RjcDvzp9YvRybRFzsY+kzCEXAYVTAc/WdfZv8LFpEh3njpZDQCRJluDN8pmrvrmDYOZ883ORIFz/z+jpo63JzCnVFYO+oEvCdvGmXSnsHB4AWZdAADUxRJuyn3bzAfNQX1ZPNxAuDIQ+sCO5gZ/wmKzexdmAytKIQRYHhcLlofwn5GMAbOfPnr4KA8B6l4am8S1QYD+LCPDwe5obOTSK1MN4Uz6auiL+/y71/qYzizA0v6l8bnLfNwEfVDH8wGR8sraguMP9W9ylOmoOxnzPDJCnMIXBxumdKo1u88dGXPb/pE3UzmzqhWUQZirsEmm0VbNBT4W6DLhUnPQvYH811iG3F1PthJTchjSgoscBBiUJEX472jnQ4ec3qt2imPHjBLIaCckbgERN/um1/cYokcFqAWVEBtWRbTQR3HSvjrpMZ+iIl9HPKRLa8pA0sJQgQawxv18DNIpGW5l3thuLHuokGOkZj61XTYwBVXNuFvTfru5OVuiZT4o2Vz5X4kiUptY9kru4gsfxOpwEf1NmZTNE889L4i4Bsv0P6G086Em6iJKlbqJhj7638hkkSY2x94tjxIW03UsexpA1g/+r8NsBpuHX6iHNBynGCSHuZmOvXFi4rgPruHBOKQ4LBKpY3L7sel/vqBiCUI6hG4qhm+u98wf1K0+o6kO5WekRZ4lWoWFgsdm6IPHYLWVsm1MMnIiFB/1zR9NzYVpAMxIVlT+8+MIZ2R2/JMMdcVKZfRom2TMLZamnt+c38GYd6y9/H2M2Voumdo4TQWDMyAnRVzRz0XQ22wAMig1G75VlYFsfD9DjogY29shb9ZNZ4SPSkCBcaG7ru41DJF7MyxKkopTaEcJ3RjsjR5fN27Z7khu2U1ce9ujmDIZ5Zx63YBLlUYcZIK9jHp4vnKoglXPb6jRlmsgN2lZTJ2Q98OYEZNMrSIkBLa39K5JbqxEDhNayaHzqwC4F9UlR0Bf6B+7bHccZfFbY4/iIZcH0GA7cGD3T5rVsK1ZoobkGZWGqlMwDlZKNPUGI5FO9bE9006jCAeCuCK9uDLQpeWQPhG76gjiaLTMFPojV2ecZ7zuj/eWqC05U1TpGFrxuJhLmR9mkaTbJU8tvA3MJlokNhj4rZdfBU/fzpNxEOOugoKFldTmpIr+C+1gY1/dK5650BaI/yB9M/OzIE/vuBcpLuaZ2kMdz0aU187A1XtacPilXNFx3fQA4mTDO0N6J4MSHADDni/nLuyagUbdxaYCQufRQf1Qv6QOx+PLS+fBP4r+R72uAKq52B7jTuoQT9K0LUgQcDxbZSdoZQFWTxc11O5386vV5TpfmQ0L9aRczoQIS9hlgDM31aRk0WZHRX6GZXwo/TOx5RqVUC/1JpeBNDz5wpNTdsyB9U7PB+Un7PV1fx4iMd9Vj3f3MFoaojiSMMCWZ0BYCR5yXcLI8S2Lx+DuAGAWACawV03Az9PWEIOehDfH4nO1n0M2l4jW7475Ut7gR7Uf/NRHivc1Yf3olncaucQxfAp9YSxo8PAa+Gu8nAIKwcHuwFZspBZ1fEeRoY4YdJe2UhKwKVWsqSBhn0wasBLGO23jGo15P9EBjO1yiiwEMW4dGiimLZvXeOIsSBrmNsNtM0hTYe3MZkgrQuRxm6Q50ZhA+XEQmmOlDmch9/Re7DLSP9ZHl53xIC7Jb4/43OWtjXyP4U5FFO/sBXqjX8qyzEDZDyLbAyAaj8B29JXrhkNv6P8VVNN8G0i4n4QhX2YfsplhFI7vjGqszIQ+kLqdm80YmybYr24aVSOc8FXvNZ8i0LUgfpOzQ4GMdoCPmriw9yDqlxPa5wvlrraqeIaL23lp5vQ8fdjnluttM5UK+GobLAlIsedr0yYlTF1JLJpWhFMrsMV4xE8GAq8FpS78MZmJ2X5fZtA1Pgtx6cVT4gsAZnRLXgF7qp5PKcElVHUX6N1E+Mu/xFxjtb0lBITkhzrzJyk8P8QMP91+MZOTKN2MERKwZbVYzWzm3HAHyf+yvsnLpm/xUJVxGkuk7j4OedhLs1spcaMVQ5HWXuS2LBh1LHqlYDEFqVOtBadU+7K8vKW1MAniOTLbzSSwxFScAt82G/OU0xwWwI+1Ga8y7UMn+KOw7jA8Sy03+ajLuND3E+gWplGGk4by4I8pDPQCkf5A9ueTc4kRR19CnrMtrsrRgOWCVt6ZQO+8d34AMspeNbs1I3D0WXaqDZ+mAogeaKgvFwvD1y5TJIeWMTOE1U863/TSs/ZJsDE8N5ir1gyJjYyMnktlyz8CFIqO9ZTACcklKJxvy2B0vbkkLDZhyJyd1RjvsuAeHY0UzR+EZWK6Yn3NfUB/BrcjQkEqNE6vA578A7dtwqo2Dv/TOZ8h+N/R292LdNncl+EGFnw26bzV/r2tDIH4tgNze+RDdZSSQCmWE0ngnTy5qKF884yuggLwRXG7Vjx/nKF1NjeiGHzckeJRJEC1Z40AZw0g471CZwHvs5EFusyeMp37gkAkV+TpcXTggPDuE7hizQd8qjnkxAf85sbyy1qRDOHI1MA+n4pmMh8TxeQw6tZuS3Uc++8myddNR00H2F2YOeUZGYXXuZgksAR9s0iJEZNe+p3takt95pnlTcXK51Xe05aAh7rBlZTFWzykdh2PZiNqKueRYWHzmrwHzKMSaCdVNAeIjoCHLwC3pTzT49JLnML2sZJF71GL4iAyP9KQHBnDmxAsaEKRKuC7Yt1CTzx6P6fOQ84iVJHw5cVshkAlkcy0nw1AWDILeAt+wLFsvksp7VJs+o1pIDoOmWgnX2LRPmNNXx16GQL+VDJVW3psFK7NxShy1JnhRZjZILPJGwwhXdOhjn788XGElnM0wvdQ0MOdNUntogRGOGPnIKkV7JIQMo5SROAtLs2VLatORyQiUlTXPCbsjDj35h+WKQmSt8p4EhsveH5asHJmLc+5kiKSDpSuppIbjibpROlDu2536P2dcG/y2Jm1W5gouJ1Ay4aAQ3L/HcMkYmJBzJE3Lh2L7i/h+CN7Wc9+qZY+J7RwpqMJlXw+l19os3EqSZjnoENPbqQcCWA+SQ/d60cv1fXaEr7O/7M5aRbMFR0dm7ddYKvtw8sJ9tWnSukOudbAcygFJRCnKRmpKCvoDTLEULiuW1gPP0hICD1TDCWpmdl2cJVhFg5K4VWetoWUUSrJH72YiVoejohHdKez35VBUEkw9ofaJrPxxMFOO+4msHTerJcJHfAAXbgr6zEtfvGeQHh7BzrJLWUVlgeGwyQGxd043jcqYBn6NUE0DSsuz/10M4XFALR2Hf/NASzeCX1f/Ny/ESc2Q4mtnnpcZLKp/yXmd3deui8RIgaC7QbotJmHxCgRfXydmsTtrcrrJQmLFYH7T3hHLVbfiOS6n8tlPJRskhLT5q1lhHhvBQ0v4wMocTLXNAvpHTep9IvgyuBignL3/PR4ZVodgAv+/Yz1wr1NaXmRtJdrhPFCS8hp+NYVXC3mdNckQN/CAgrzV85XwX8DyhSim4RvT8GHC0sKDSiqg9hv6uPPn7RL5lERY4Y4CNrlHjfmdxzLu5FDk2Ptf5C153uIyx933yMyfhA7+46D6UiATIrvBVMfoxhbG8Q8LxIoI5YwvP//ztWLz6U1R7sxZ+HGTD1YZt9O2zAgW7xhlBgCZYCpMFUmdmNQt9jkNetchHc4VDGRJ6horulmVrB/pyYELV2ZIIod1GqtQrP5IVFj6H7WxtElpoFBu379baW9PqbNSFOzJJog2l63UAozMkeuR04trEfCswsWHPO3ANEqiEUyyftZx4Rytyyz151uq4JOEOchAlOTnmbNffnraCvNvmRznmm9Jsw1fc1v+IYOSrNjpRPzvYo2xVAyPx6wehwfi4dqaN2E6TV93Ru3jRnC1e0veo1LEq5PX8r2NgwSq5HX3pjLuRKt3UrMghESB+NpZz4RBe09FnuG//a4uuwbxnA2qJQ6yPU5ZC01MThJNZ51jmx21ap167NjstApdtvcysuyxzjRVisbUAB0Y9k5thgsle7L1lKOH+LTkQceKjMTo+12/SLBBan6bhj29nhesNSdTB8zyD26mxpuljh6/rYyLlrZMSRZTxnhJE+jWUDpc4Qge4elRRFXp9IXTaHTUheh792anp0PWxdng6e5jGuH13rl13FcCnQe4td9i/3pvai3TZw/fkKc/zaUw5wZ/3Y2Yg/UVDq/rN4CLDRiMXYOouCMregCYoXB/q6+fqCVSV4Y3rPZzX0JLECpi6TNfsavNdhjFd5OXHD1OebnpNthpm1Fjpc9tvBqa03/HIzQH6lOiYZCf8GUUZLsbROQH3bNCaema2258DovM323kVuKek4CmZsytlgWAo+7ueG3b0mWz6NcxvNZiqzVtBrcFQlXzC4ERSV/61M7n7Nup/cqOCjTzus/cOaK09+2r3myQPuDeQwDRa6uhk9AedVZiMh9CDtQQc6sLIKs+W407BtR5MIyGLGOdTNO2trSuFsuhZYICwfq/jxsVTMLBTlh9QkD2rDwxEKW4nrG1yhjhaj/JM3HXKdbMRp4VGbA7X2W4A2MqPoExLf8LGsTtukQCrBbYldiw6IC7yZ+rYbj8IcUVhd8KBFarEHP1pDoxIvyO/TgasDARUGSNAtGSEI+P0ORBPHaW9wsL75pvcFFyI71+hZwPBboSJRKA236zvFZ9a0QVE3FvpwQI/OmvbTDDmvHF1abtg3DMlOJXHqogItRPKsISW6r0ZT9jVPexHGBdH8/ekn1jwLn2GY/FqgeMBBfblGeIiQkMJuL77BFigTk1eawLxOUOFJNl0O0ejxkrRNf0fVJxeMa5xS0zNQx0WYIrYtmbHE09EFCZqsCCdtgcTiW5eZvAwgK23HtnjEqUYCcYC8RPYtDDQRn7q5VkAGEi6lQ9QHe72lLJrAORl1m/a3o0Dgve+AVn3/lnBzkbzlGodq1Bzgww7LsV9sVvO2C2L5/Ns3De3cK2+BAyh2/bV7k0XOKyQZMmkyJt8J/OVdy0qFvkp90Y0evbwCcLcylgbz1W5yEcRzmCMGvC3jw16fdbCsBLPTdtCw8B+EHB3gFrWtl+GG7b2l1qnyRJEYeG8Xz5vix7RpsqIO8Y/J/y4vAOJjByzw5AOt66bqNlczWlWAIZvWhExTOfJ1teawiNgsuz+96zd7guhuN6J7kEI527WsWR1VGyhB76siEU8hScVhPtQ9IKIu7dcoSe1v4gTAYbXYwzuxO/oo0ANmORQUe9kiITmIfCgPIZat6t32Ur2jUzhjZSvjMXkfIIE04YM91KTU143y/++GE4Vqz+M1zEYXEKWLDUHJU2JNXprhpIeFcQaLCTtDFHtu3FsGucxeUkTVLeG3/l+nLRj7f4PU0lj8I/bbyWrSjAuOMc1ZkDxP61HpZ4SMSvZyxsJq8I/YLjediSvc8Y82EoNAMqnUrLNjrSUo1QJ/ZBucRCluzcTNpDzq0bOG3Y/ghlOGjiHkgJxql43wcxHMNfnAmujJvxQGkQMHkONyI3A8XdQF5v4rNvrjZHKEV4emFNnHsHlmYhgda3jaWBNZBtqn2NwlxZTBpiuRsCXLFjUkFSC9fRpuyDGTV3+ac9kUgJmJ4kIcg3FC3i0zZ6fB24CPInmuiLEtbv+7jdXGj/6tQc30Yj5vwkC3b10BTdykC3KfJzg6iCiCAnJ6DyiPGszBKzDq6bS7mwBfM1InDhlL7vB7RQu8nguZwX98jmHLbLRiyxa5nIwzw/Ifft7CpbTq/xV1zO7+8cBSNjTlYHYpRv29ou9xuPyXxXJcQcSgLQxHWx2AYrKLnKEEX5e/QDzz6TNnUQ2W44cytygYynwyVOXichv9bohQVoFcuyJPxjZhBOnbZImFq1xRWIyHWXjxXCoNpjj4E3IdMNFxtcYMs/iDSx+qWI8U406Nxy1irpfOPphmU4oF/EaKpoa/ws4dKC+9p0aagxsXosBkB+cUbb00tjjBdbLHOUB/tFo4T8+5/AUDb3qfN/PpLAqDBUumFpB7Txq2WuEmiGkEFumYg2RHH77hZSgPUQkw+TMHKM5AmJoWZH/0lFwbI/zAHQXVDNvoaV4daGq71q9f+/KZ1OLCwHChknzCQk8tIayW77pypSPBxjBB1t/9oejLQ9FkPgIEmdS3oODq6l6QqmH6FvVhdM+SFqGDRqLIh4ZU1ox3CMd7PalG9CRtpa4oBpICTxyfT/V32s9qe5WNprWfI5hao0PIEpmfjVWrRJ9skPk2O3AggRCn/yfzmX6SvfFR9aMDQeJ2nqd1+KtLWtp4JlP5F5v/NtpwaRHYzygIO7BDflnUqMxBwo23KQLW1amsgh+BAJpRehiICAX0GBJyJIg8jMKSKgpsF9kP9VU8hTr+2DXlaq3cbSk5Yga90QTYEVoBGO0OaVpLlh5p2Ppn1295HeCnKo+U/PdKJtuUBt1RM3bEjY+Na0mLrAsTRSTm09rpyb73zPDC/YcKMv+fn+Xl7z5F0rdQEd6MK8wCmohKG4jSaUaItZ3lTfwXsbC+w3eBP7kNdMPD0/T54ixh5ywh8M0qGlhOzkw6FwmiAAaWBtNNgpN3BBYvShHSXthKMyyw5QXaN3kuN27dZrvNM1yAKjpF4lzhA4vS5t5DB/5c8EAdyTXsK7zID3jbzzGmbVn6bdq+EhRFdGmoLQm8y98n21GMoj+PZQUmZ9qj9vczzslXPOBqKNhqea+VHZAFL9M3jmlAmSWbwUdpDgK22KadbEo5FTKs7lXTuxR81+FFRi6D6497Lfl4hU3IJGHod36XhtkzqjTH6Yh5Buvy1O4oSUnwCxqGsf4XaqLIe4tIrtLLeO59HpeFYwgl5MZOkJ77wVFfGfBB4PR+te3Q//r2VJd/lx+phA/vHF9L8QNPOzhlQlsvPLsvLbEOut9VbEWIH/vZjO47izjrEvY8V7NZ58plWqJC5muaevMu750u0puQaIZVf4Rq4J/lMv/GJ4hofMAnPBm1lgYl6smeDFaTFjeq1ilWVj0MOVS+1raI4i7NpDtKIEzhztgpx80ySUZ4QISQVdEyYrQTBpMTXtFi0Fcm2SOs3BJAH+0mL0qGZrJn9zTBFn/KXpzGoV5Qr3IGFtrbmL8xZtUJZhwScuIbzASx5gNidzqToNP1jC4VK9UTVm6wZQr5ApSoINGdhNqDwIQiy3fOzwYHKyRo032bIZVQ15vfN7L0DNPtNczZtqOCuPuEJMZEJYo3eo+Rx+axsMi+9J0/QV/SvbB/PaI8OxybGvF0zBDcwNikgUmrlOZMPXKfsU1n3z11RULnfoA1dg+ZZUycwje64rIwU0Yd8jKGq8Su1mbCCSwYI9lm8BEJaOLU8QM0d+MZ+6VP1KVvTr5+OTH5ftRqc0nirc0pagGd84jaIx0yyQ4JVea5UTFqFheeuMxk3v8+9cfyI3cZFsUszRMoYRji1n/nDcHMCQXBIoly3QypotXP9IqcM1xrhsBhVE0fRQdwXvfE8mu109C4TpzVOrho8J14YY55z8XZh51CQG9S8RIzyWkfB80fCt7VOobY/m2E9VrZSDXPm5Sh1dAjN6KA0x90R7geXz5+K1GdoDJ3JtMSQ2ra2jAgVxAuThWEZnV9PI4FxlpuzisSDdX61z0iX5iBBtZNiSNJfoRNah+OcDKmCs06pvBgPR6T5EiY61PbhgW9U4CpMZEa9QBIv+E0ZzQlUEyRwukOvhKjA/l9YUFhVUzVHrZvvIU7oLHsTXmQWQC37kJ8yGIsCoNzRoKIC2fvuzzaXkvnQU6V29FXx1mXl7nxtQe6/vKphXTWDXlr3xOkEDQl99Gf6rw87DiM8BwWKAmKf/NVNuwEEaJingDZaIWFZgblbBjSDItO6pQx5oRbntZUgToEJ8eglJMIvab23Ip2YsDPKdz1ildKWxkQULvmHnsdGYLbFxrdfgC3CsHsM73CltP3le2fDBSei+JbEbh9zFb2KT02VkeoFHUzC/Vm2EYRNElPQlcK8bg9tJkzhrttsnjwIk47TiVLLToM9BUmAHK9Mxj5o+DFQ9K4X50GTWCU9dKGGmHOd9T8+HmcquB5PO8JDcYwGYTuh3WcAagdfRDYZofiHoH+b5380UE8S0G49FHdZHCl5sqtuI7SFQMITrDWSN8JF5gUD3i18gw1vbVDJBYyhGP6QdzTuVgQW375cq4CN73FcpQ2L40tekB69hJ91xkzUs1L24SF8vHQhP9i3y+34Sa94JdxvyRlMBuw2pjnOMtwkKkXr1SoUPcnOs855I5eufz69aySmEbzqxCKaiaHg8O12weKHLmAIXmdPH7qYUS2bXTpfIyO3ZV4l+QAtNHHx5ai+awgRkzGYcF1Ep25us780qLUvIZrOAyQWv/nwAyQCO/z7OXoYqvTP1+NGrUUqR5BTVDCk5ur91g2EnTQJkxAbcDeNvwazG/PxjU+MYr7UwbvuW5FLkta4pfaoYq3h1qwS7UkJbuB4to8Rts6mXtuiaTMXheWgeLagiXY+MAyy28mVh0bS3W4FVzIfT0H1HlPY3z1NnxG1bdbZL+5f3HDr4+xpJyVkNKqEa+Ak8IN4bWGUVG2FLe9GXg5qo3mvdzB7pDFntMc6krqxTNLknU+HuZKcarS2SZQcehP5RpzSxCzQ+HAhoSUQcqj1szXm7w4fZmrpZc1WkDyXveSbr2CjGNCP99nz13Fs9aFJ9EWpM7vVc4kFBZbo8mJ8IW0Ou11nOrZHUukQ4oMO0C/64FmNTLHfTnLQzsIiz2O6h/ECVnkw/PGXG7OQVPAmL3HvFPMG4LfSEKserV+9Pepxt3wPaIQOL5yr+3aDnYZ971E0NtARfj6wltkQ9K2WeqRHnvVh0dGGPIOiN/VxGOoklIeP2AMCGP+w4nEVUUPTR0XJdooPZUsuJHdQe5g/wF7MQTUjPpCn90DOp8Sv6qYBinmiSQc4wqlKDOu9MVQLNuJRyRfr7Qz1oadTCIkNmXCy1zSveczp2wmMjlDo4XiPIJEVQif0mOptRXbfiqFmSuyjMnZNKPIAVkFBdYseyVB4yG/7q1os+BxZWERD/6Xm/k0ZdDXbOKgw9kJxtonBVZdDjGkBlT29/DimiCmgXnMM5TmtzQ+1pXraUElYz3aGJPlYOmCOWrFiZbh9TtUINeYcAU/SPhYOqsIoSiWfiKPgXukNyLve1Mkk0fxdDUQp1/b5WhgV+z6xqtkBwJvWKyOmB6LJ+K4YHDKzsa8E3vGuM5jMfHScDEY8hGuQf9qfs0NShVT2t5v6s0w2+JqXtexglhYIWJqZwuHFDstaz1SIkcGee1TjT7hYZddqUngkCRgfEAv1WPkLn10byPLCIpA1/KzHjQvL8iUdPbvgcujBGT+1ahTX4G9aFRU9W4C/xf02baPYpr+LuMstgpIZ8l9kdnRC607NIdwHyg5KpDcvbrdp7Ryh7KN28Ua44gODfdqUrO9AcnhUnfNsPozy7DbQQR3A+7tsCE84uk9Rc+hiMOQY5OYm4PKMnEoVQtFtpLECbQVzS0fIwNbdrJA/ZVgWBOk6/e1tcKWFRAktobXIpJeR6BNosoIEy33sGWSwsrRRmB2ikAUkHqMThp8dEuT0K2VZxqln0aqDnvvDmXIuSt9igj4FLKxriX1URu6uDN6gxCmFXzWxY6HBcIMgwU/HEisRA/U5k9JCWpkTUjJwZ7xRDg7ni9LBhAo8x4l2FUAFBpupJz+MoHwocwncSx89hkdMTv/UQzBanTKgrO2e7I/CNox/TUl5DpYj89PcKQ4fQ+mnYEKz4nOmtyCuONVS87bioFfaML5537GJ4xIsLpJL/JTp/jH8/Rbiqr1J7JkvDLAADYCVYV9DqpSjF/gY4Qj2lI7MOWa9bS05z6BzbQN6Z6WgQDRGmQpZmaj40kXqCr42V2ZQMKxzMjbxz76k+sU8+d0e6fDr2b1z/EmOemgRh7XwRn7MjTE0qZpkWWTo6GTrn/6bg8pIC9XJyTryYozsHzwi8QkK0AZpTfwv5zXw/s5eTbazlajvBI8jNecn1jiDAWfKlmr6J/eetWltExOgJdlmTcXIAgkdA5mY8uMIQPsnCVEOBtmGZVZKI1DDDfmBq9xOBiD1DRus7Hd7BRcLCCq1w+7Le73LPe3kjckDceLE6Lmt4agCLzu6MxPHOhTe+DdWi+wNGpW2ZH+tslXMsOjRZiHfRuNJOsBBO62rdJ+ZTckoD9OisnNJHvdCKHK9IBvu3v25dg0gt6x3IYFRhF3QJ6TNJPKOd4azhbBlmbcIngivNr9INH03vr0yQE3Cg7oQOe2uB7ZkhW1GW6InrUe5Rf6+R2sJWfero8OUkQgvYCaKS5VfRG7dPwy/4RpY8NfBsVwr6XH0h05q2s4IQuxDtgnTfp6MR/BL9DF8H11quy4fmy7sCKUkWfFytEjWaicbdFACADJrppiIo9ug+0z/rqBpdOCly2P4hJNz6u53rhbg9un4ymkNzi0efYzDG1BnsvtT+9zpznEVChLCMexE7JlvYhHAEKNiX6QbTdJSrpvDRl8owVDXOuEBHnkl5+jRKSGJT/uPyZZqfosG2Kt1fq/Olyg0fJlADUhEzZVq889MWaQTN/hGxg8XGdWR9VwycBd41VBkB3aWjkbvPTcscfRoxmvC4PK7Fb5YA4L3y7bQ5gM02/0+721y6XDzbbfNcL7ufASJ7p97TsRWAF+nXv/MGNeK7wOUnAK60mDV27otUdEQXdKFNZlj4owiHC6f/nuKXiyUcK97KfysESUwEFgHMR5/C/wZN8gfXRPVaTBloJFqNeprHTW+oZJ4d/S9X3H7lOOkz2pxQCUVKa8Hr//2oUWaePRu6Uze+dFuftkfFadodG8RFucnIOr1qFOw5ze/yAd2MzWapq9Ed1RkPjCVlOuv1V7mrUczdxg2OnIKyxgTxlJRnabXnDFjMP2Q5JqO2jPNnxTY5c064pOfr1+5LLZDhFRJ38PgMHLsmNgu1aFSl4ba8Fh0LodhUuiKxADdHLS5O71Yj9psnJfQE2xXHl91VhRzW9Pi7QE+ofX9KXzWypSXed62iWP5YLdEVHI0aeLuExhrefM05pxKgXJZ1y0t9Cm9gkA5qPIlcKXP4N9lCvqGyheU+D2KsikI8kuORkid8yB1eDaK9rfrV4VRywJY8J0UAzKr1SGDaPlcgU9Ra+lDP3E316LMq2/c62068sFznFkN6CDyKcCteBe+d/TwdKXGfpdOVD5P5fDkuTXSBtsZL9hF2w0olLgy0lAL8xykkD/u4JkQb6C5U8qt6nxnzgXhCs0chyfzNp2vXmUqruNKfoS3GY1jvrfsi1rjCxUtYKz66BWeHzbynx9ekKEmtUf5JiSJFDieGZ5jvJLQgz6rgqkTCpqV7650xxRHH7PxvvuUnR9cjyqpYttpiP7/WrkUgfxe8mLU2mcB93TSSUZZcQ7o8jeYj1Rhm0hLPyd92yOJI5hRzSlDx7att9yrr4rfV2Vq2YTeE1Oo7KRHvSXax4TV8ZdyZMHjNEqFdVINKe6R6QVlf05gNw3p/HjmW08XgHdgbNC8iwGEcg6+gGt5yI1aHv46fKZOVJP6ON8I9lee75jMv6PZj573UACbkbmC6oxEY9O/yZYSKxaHZa56dh6o/bA22hX3wKZAyhnbRyFEAQQi2rWvLlva1WNX2imoMZoTxR1kc9tPC8EnNH18hYRG6/whL7TXuPhXP/bxtfy0TAyOYguMMir7i4UwZSTlnv+yy5SEA/rPLczMXINPIrrTgK1y9643W4r2V/xOXsaMzJFmlAj+DhaSBGU1we1t1PB+FRd7eDW9JzB294J51PnEJAVzDt/CLtF+uAczcB8M391IRZtWYEGDd/4nYVsO2BMX2UXMCwfR3Y6Z9xtX8hd1A/WhRAjQIZJekzY46o7yneCfGJNu1O5h7nENw9jITztYhDcmMI+SZAlusHhgMpp3RNvLWwFtwJKoXoe199fJzh4JRLUFxv8UDcXDGNAEbGGe62m3Q8RVFaExUGEEnnDv6ndGRQNOlep70+2yPCduWnsss/CSjG9l1PGhWNKK2EEhRe8Bk7nyZVRqIzpF5OlIDMCsnKczsWy9lIdl021Ev6xZtYQ/M2ZPyKuz2Bp7wnC8+7SPDAqRCEPn4cWUyxQ9cAj7KFT+WYqKD7L+PFBSKgwcUmvzwzOn07MlI6jkbzcQ/duNlwGHLhAWvPY0dxz/6688PY+jMqHzpZblamzrInz3OMXAdxJ0//K7vWv91iplbfc2e5vrcOZ4AF21cOPVYnd4b5+/VDxfeco+PkKy82GT0ybNvK+K+QVsTSTCKP08oYV9oW5VU0W38aYSMYcWnygJmzN8j848mDZiQBuYz5pmhSA5FHXf+PlYMTERBxANINLpP75kug4xTKVnrs5iuIbAh3AyIoZMq2QLjIJAK+qw1aTW/hWJ30evcZX89ZoVnqnB4qxZdYrKl3Rusx9ybPVGSme1RpI+s1EJmid+Qfdxm8RmCt1c34S45oiij22vsDtOKWfyfiClB3zA2EnyxCqs9cSfXcXnLHX6+vsLx2ReagcC5GPJuPf+q/E8A4uroh9ooymjq5EOEOh17lSzS8afzWfXwWUKxiC7lNZSKYzeGGPnnlgKDJ7dUFqjaVWIimZAufPn0ZYhRyDE2EFnLGibqgHPl84Xc8UN3RphycN0WjDqwQQEdn08eYZkcmuIhyrLhZ3wE8hfGwh1UrVGqs8eZm0Zm/LXcdI+nVA8+hxxCDo78MJBD9Gz2y2RzEiF/2jahRMP82QXXZpv8Jw9ZXk66ab6qZbmjgcKhnEUg1QYgm1w5GWi6dvDrxqbU0R98YqB472eptYzEUAY7JbCvoDvPZcMt59nDqpLGKxmphQ9KMLSlZ445H4FrXBnWLdGntnZuvO6xcUN+LLpJ+TQ6e30uOu0SBzEkyEy+lMy5RqK4OazO15aqFczNAKgR9jucJ/L9TtjUZeERJ0w/X9oFJoffZP4y1mCCCMMWb8sxcCCJ9LKNEudyWy4Pn+g1l5N1Yc3+vy85fmTXS8OWbrXUhFtE9GfHavxEaBs+Im4zBP6eV9Hb6nAC4wWI+++uFV9YE+nHhnM2utsI25bQcM78khEtxMPI5pYo+m4267ZrLVv2ubfPjPsaudMdJULoVUHPGrWWiDxJo5munyyDpk7ojNJthil7DMlN4oZurvE8SrT36QK+9XTDHLjzTfo26P+oRbjFQsKKD2jUnqq6XSmjXBAPijs7Oz+e93RiEt/DftyZTBDgjHSgghkEDSs8dT+hHL3yQ7j9iMuAb0TEOpf/1KbQgdwZOmr5SKAY87iXLIilPRZ+aIJb1PF4pbvarsi5dZeeaFmaXbXi8DOcEPVfp3QeF2/HwjvGtN6V2OVPe8Mkh/b76k147xcqxf/YWDhIkaEkmHIYIQJ7qRnJGIHZd7tPScjolVtLwsVSDRhvmmvAAcEAsQ6VvQMDImFr5cKMqP6/gwnoI1F70Nn6hucpzR/Rjztfkh24qgAfzxbQPp1v9i3RqdVrFBjbM9mCXaFfgCLxsaJs3VfrGNOtPKbVLCkE6HUY20s05Qk8ShK0yvloi2YRH/KxzRN2b6LQKYe/EDwCApBfDMpZ4lQs+zBffM45ObDTzfheGXDcoc/4XH+ebf2346U/G2jur4ghLpOyegeA9qzcsSzDQq/iY3SAH+cVpzCOaLBt0oWT3QawtrzIrhzfbIvE4v4FNsGDFkHzNTdE/AwMmnFZhRYTyEf0b84J9bgNJ+jxGEttsNgS5ZCkQGy9vCDyG1amRNCNbE2Uqcwt+MYZjYJ9is0jep2bjZjt7TbISb74Zc34vSlGTpcXXzaV0EeyTT368KegDsMURShQVnPMvqT5aaZYiH+Dv2uTSO9+FI4cGFaACmlX6ck2TXO0xcytcnXfOeocPr4yKhiwRTs4BHkM6udISi/9+J4QYvEoTIQGKHMiWWV6QGabBdiIFgu6rYcuWCuinNL7x/NFTFWV6ypgO1THzpJwndwnDLSe5Yfsl59bEaINWZwHQn8c7J3PixnVbFTAtC2PilgALbFkIQ48Ak5PYilYblkBt7RkVBwyqIhMj1GfnHBe5JXSewpmF3cxUjP91n2ngO226Wsbp+aZDta56qLlsv8CsEKHIdThymKTUbX+cyCInCYdh2TUNTqzPb4W/UtodoK28zzXow+7YGz2IUb3aghFxY62zEgXvlO3BF6QZJ0q6tIYPhxYZ4VHqfkblmoJynL+c0mFIJuQax0sV8ukywshY1X6/QMbB0uIl/xcA8Z+yL74ayMXMLZb5+A5x5DbU0qHg8KwfEDojP7sLesdL70ysvds6Z8vCzzJB9H06CFU8PMZgX7B+Z33kkWaO0Q+Lc+dBsxICw7nTGcu6xCS2XkLQAhH7OvOTUK//wp14FxkXEdFS1t0esuwebPfkeF9vY5vdwJ6wnOaxMdveIEoX381EqXlfbCNhP/dWG8XwdFZkMB102H62f09oz2QfO54eVx+9TnLAd2bXbxzaNhOa1BNuI+QG70x1TzAEa6QjLLcDYnL6BFmMvUKlo04AMQcVYnEb2770vJyN//5D1G0p1PLmnH1hZpFl+nyIztUW7prunaKAl/IfTKyOKmBqhuhtW9yefHvVnkw6UUFM9xSvvffY3BYMGcmdTMXcIgywTGZ0bqxlDKcPAGYKdctCe1KCI3psNIEe7lNSTcwvL08mm14Q79DXG8pWrpsZssrDXwMNGX5LSLkUQPHYzkMaXC7IuldzdmKrXqnv8bvWhkcIbeFtVw1yAjGqNqBYeDPXoI6eRwT93axDwap8CXWJXCQ935pE23+0HwAaEAeetMgp5mZhCDVByP70pzPjTIjTAWCKTS1Rein87khFEVdq7MB0SFNgoXlhAdOixfrEtbGxf3ug0e42uqbn4ADIfBCAYFo6r6ZhMwbFvNONK8rHVOH1TbsayjlHEBCUfrtzvzP4lSkR87W7yGTz5qiXJ1EplsHiZBV7KMebDJCCXTVCWyIJjATdgud5MPjdpf+rEe96zkikbD8GrUip2xyZF6pV1tG7ll23iKhFm7LRIjkFdvaqXumQM804H3ws9WJ8jjz3FprxaRDgBlsNmzXhuPwy9ikJTeM8NAyEjI5TDh06bcQZ7c4k7/qN6JEmTqRAPZaJG0SfrDv84slogBdmOYWVk5zaHZMTtmsHmVEdRGNHaooeh/8ZgyEt0kGaFNgzSgv5rR+gYIDZvoA7Oi5IoZ3Vqp/cTSLbOErTd9law9gr8qfFcqpdcKC4HZzGTkn1IBO8EfbgQhsD+h/SsfBF5r8JUlDKL2SbpKkTHIlMTkOIX9ijsOuY9PeuLA939ozQE0UnszC60PXLVRrf0RihIM0LLGU+TrfHm+IHbwba+FDDhqgzuv3cP64iFgKV187eYVjKqMRF27cD2uJoxNZL9EVhFO/Z3UF0CvdYVlKBjlrjvBFi7xcdlLJglyRtoT7onFDN2OikXVn4i7fUYGSxhm6z236E53VtwgUhwvcqSs68Ang8iEqqXpTxPuvA7iJz+lq31O47hLqVwnAzKoPNTVOaNvsdEzp0TKQsjuoK87gCR1PYXv8eqtT45zQlWVIeNyg1ybW0w4RDlcT6cfRIVegV4s/zOxGjBlge/2PFu9UMoFwsWvp4mSQGvyBhfPqKEwEXHWzxIGS1jyE7sKvhGFHF+R22YFCQ7y0sQWCuW5i+FA0iYDTiT02pX3sGv0BIG8pgEyWZEPILcmxKmRfsCpV5nBhme9mpXvznfUkkTPuWYbh0e4wC8yUinVFB7GWgDx9qdpKg7DgdSsspCQeds5/68P7NJWV6vtTW8zX7Hge5qw2miKrnGbruVOe/86yww1hWQ5Hlz7gJM/Dqi9CbD4rs4FYzlHU7wprecJeDby/d8iRlYJ3TeLnT3uU3OmwuCH1FfC5eB0VgPJlBF8fyzcnHil8o60oTJXv2G1f9NhUcUle0D3mx7qGlyYqg+tk/bD49sSDUcB3LFmOvPKglLlCdh1cBUR7inm0i8fwAURQFvgKSM7HhoCHoD1AW4WRu7xFEhfcoLcjAGM68AfxPnNBnBttlniZTF9iLKCjGcHCQlyC85N7vhF83ZX7Z51bTIsCgdpMTGCekAcBRQy0ya6oxwgSByrnLwMNyPDrckJ0wbSTqKKoan48QFcd6UsgqBnfqrqU9d4yIEUASt0gLP5e5muDXQ1Gu+k32+cV8Oq/+yDikyakJpNZVuqUeIwqYwLVGi98SdzZZKCzHsJqu41Es4DR8DZy98NApD9AMDNt0TNPxKoXvxPO3UswwJONoKY6f1k0JVwBlVs5Td385tj398ecfqMD4wwxMgNa0Ng+VyIb35A58HPVaNDGinocx6aczq9Tz7/g/mEO+pGl3QF6ceBkq3PN0UCxh2VnxPxFdht1FOdRpaU2LXlk/dkbG3M3biMY+E2EcK/LPUV4sY2lNBZDtlMoU0Bl1y9XCHnbYAy/X5LHsFrDGLzkTf/X8sgj3Q18Qi65JQW6+ZNTQkb9vBPK6jFZILZ2Y5Q4GvRY4VuW0abJqU6GjlriKtJEexhHzQ6ZQYlYX3aqQ1UpKGWcnWepwC3+zQAMqTe2Ns6Vvf9MrGCbx8rlhwDJ8xmNreaJ1MAjQO0Kd7C/bCRFKpIrwZL4MTaHbuhLMOegvvtHs9/VYZR5BsgjJgFS6KbOUkxX2GXvhKZEditwCA/BZSQCCs26X5o4KxuTpzIzGZpaT40u7m3lXGfPpYJGqraD/r91Ow/XOVHwGCmv1o+d6MtrjGCN9S9zLjYSSvsQd7UGLGJdC2wu5zfJ2q0OKYtq83It9x2iEY96k5BdxtMOtTrRb17qzVZ2YW49kgrEAA104Ge1VzwsUn7ExPuoXCXkeBbUM767ccuR1IhJurjyhO6kNQASaOQizi+DrrQL0pn43hkBdW/7+d3y7anpf1mQXhK0hFQ4TM6ChchkjUNAIupPmUy1lcfWpsNtNhJmZ7cN35XA5I441WjsJo7ACAQSxrh8cWBD0EVsJ8cQZaCJ01vlIP66XUqbdqOXq8Z22zQ5qH6gj6r/tHSy7AwHXD+UR93BeNj9c5f6Zu3jjNVX7sdu4HUh4udy84Re4kUNnIc4sYoATrUJOQ5GoNSME6nRY+wh4/p1cImr5XMw98XKb4JgaCLqG1TwNvvYRxX2mDHjTu9giUd8CJuvzE1qPNKaaSZk3LqibZ099feuwVaaVwkhVXecICfNLyvBrw5OvlV6CzQbQeY/V4ZiN6mj+h1je2upW/LXALmLvsBgQNGCWvFCr+99NeWu4KPGIpLadBOGv+f239SUC4LiGNPSm4GUMsLguK4vShfY0TpbdeUdS508Napkv6jGL7XG+FjsHu6v63Cnhbf19/kUDDKp1mf8pTMbQam/tr6aIfnd99VmdC4OO0af6EecfBg6wziwNZgJPy83QtUd6B/UHilebT2g3pY/67lviaZG36l/9gEBcaf0znmBiwdQ3QgBxu2s0gmk4aF4sZmqDE4r8WdZ91OhXLoF3JVyABdgmR4w94ueoZzKdNhivPg/mPDXSqff4d7JESvbv6++tdpBcqGljG5Vb/YWDnw/whESYO7w1stGWSYddP6awgSdwX5g5P683UmQSNiiQZDi1+jh+p0HoE0/GzRHyJFDA43ETkBVRBbWSXPdvvmerx2dwkUs9PdU2TYz1p70ZX73HbCXzKgbvO2uQV5h1gFF+2q26s+pTpwIZNwt1OLvc1amroysTeNKQfvfLIAfZDT7jbjcVmmhtqlgdZbBsC0oYyuIWjrglnXeu8SbX5NV6rKPN8SGEk2r40bQT+DPCczvgmajdwcivpE1hOJIISR5CY+nsoXzY48o93kseowBjQoWY8DsafjN+I+qm2gHtcyoG5iWWjT9C9tiEZ8Iy3uP8GLa1KToR95rIsVueh+DIODy2XdJTixNQO3nkUyc5IFgaRPqmHo3Bt7kFE0ef9VFq7p2SvSLBzp1gwE8zU8UbJEgDfkGlFmkD3Z0bYQu1MuYBebMcETI+Grj6utaged1wqpIMyr/q+cZ9RENnTRHDIpGTrdlQFwcX5r4heSfVLSQbycgtFOAB1IJRji/PJS7YVvAcIOu+hhlN5sSTLONxaw6JzT84eLMpJ5ikNn/O1R0gcq4piJfDe0yPeBTppSORfidWT6VVQOnrsrLNt7IKt6h9PHjXrId/Y9ex7m8C/lURBr7JunSvGbZ4H6XbTJtnB5qBrDTAg4Em76J5E/hB1EADP0hIyq37+n7i6yDbMtBAbijqEvCUfvj4S+HPbxFFKsL8phg2VPXPLtLxCH/hf6RejI/FSRuk+PuB0bqYpuDzWJ19NewYfk5Xzrj1KYdvxMMOyyOy0UKXa0ajwjx1Mhz/DHrOXzbWmx70bYx1sSZwmvn+Owwc4sTHiwf3nH/YdWRSPjDoKxp5+e5sRNgbPhH3t8EAXAN7ABr5FuoKzn7Y0NNZ1axor/8lyJI4vFf/VbGMrETrfX0zQeMuKI4v2XYQUC7+NHuySo4M+bsNdFNkUY+UWlu2E4G3yEomtZxSlwzmV+3OU4msYVUNYPP0BKx/oLtvCYrrhNQG358/R9bPg2FJpGHnZFBl8u0ZxwyGF0FaOytdy/J8KIn8hUjJkS3to3gS/0ypn3U6Nu1CKrlXU79/lVK6aggTxq+6V1K0An69SMNjg4hASjZTQt98bT2JiEysAVL2GxOPIg5gr1UKxo3jc1oHDQzRe2OqixiEbjoJWLBUfDq2Qja+zgTB1/9QmuYundFylrSMuFZK6LeLKJRZ9dcV6QekusSkUA/flkG95uLOU1CyUkq95KgP1z8O0b44zxgeXJrX7WAMzUnGY7J/5EKnl7GI77/X8HceYREVV/qFyAmHweiK1P3P6nt6sY42R5Plfh4YHdz+d5BgzbZvlCuYdtzFpCJq+Q9dlf4EuRjyQzL6lCPQIybv/6oYzRDW7TS8rPXyb3h2aHEH0kfLKB2Prutvrnewp6BH9YMrnAUtMzE4n9UpCJnreTvlD3zCbLPNxKGqF0L/xmgXeTf2JeFUoGh5S1dV7dYem87R5dlISOO+mxvG4/EdVY34dJHaMdJ6+AnAaaLtHoTKWyrXz+pbM7vLGl8nefec9KRJgUcAwJ7edKA7BJ+dd3f4R/2ny6cG6GQLJ06cwrr09zS0qp3qAU/0uIDYZqlNETJRPOqPT0S1AikSnZS6jSZItr/eI1cYfBdB+my8UcSL8czlBbKinXfutAK19YDvYDk3jO/XFf5BiTWxUaDeJhlQ0k0zKgSXvQUxNmlCSLYTdZ4IUhl4RISFNabxXy5UdLy/Cd1YJlzk/LtBgxCGR+tzfGhN7oHfqDXIpsXGZAUVMUgz3lG/S67BTBkz3bKBkPdOnj3w2/NggzebRlTWOJc8x0sz3qSo+hXsLwNvQ7fcbQzMMpM63dlyoz3DBjsS8+tfxj7FN694Zuw4TXvzeSsSswM4UWICB6lTE2g3Ys7frlcXYEL1cyVPym70/vx8w+V1Yz3RZ2V0Qot2RjHzqKXVaRtyXItmFMOaM84JxHqtqag6NOafy/LffQ3ArlfOciI2A/wEO66Pz43nvSnxZ4AVRf8pYvNuT/fb5+XYYQ/0iks8qy5zrz9yvsopsoP/rhvVKei+n94ArvZwjDcAwljZ735CI15Dt19JrkBMlJmNpAo/h+8Si+W0rzjkMvlDI+NajxHB7RaScSGiwqfqI6yxYixdza2VSWfTOiWgji6fFE5G/Org+woxbqFx8y6R0ePfTYbZ5aJ8sh1h13xByMJ+67YsGz5B49eQytenCNGlS3CkCEu0yofMQo7clm602wfXFCHvSYWJ5ga9lo52ogBM0qkqAkPAIN8LeTJH/WziHTP5NmFu3TLv5cn7dsTFjjVEVtbpFu40KZM0eyaHYP3TGtSQXYScS0QvdAQh+QJXwF+PmNBrZ2T5xPVMyqf07y4mCdgCJwGf4aqYslAW8UC0b9+F8vZZuQQ5PQXJJ0YFCVG1kaUkaLmETNq73jav+g8tnqGj5K8gzJ1DxyN+rtVTd4tIZAE2XT7LMZrTasfRV2aOKIsz+fARi94lP/NHM34m2LH5utZAOw+yeyUNFjLDTu/BeIkbg4au8CX4pYb/1sHmrle2EnprHkBP8u5Xi8lZh2GEeqZlP9Jz/cajzdy4fiXsToHLn3xj9uJd97Tj7ni8RvjI64Cv1QgRtuEQyV19xQBhd+JAsR2oIzeKWI0htEuGlGPHr/NNSUAj3pCoZ60yRWaBLm2OQQTGBQ/ptUY2t227WWJc5fqswj2gbpQxLEzUan7yl41E+Elv2Nqe7Hm9Dh9nIJLAeeRyAlCEpkzUXoOFTwhlom5JRCCG/Er7Nnc/iv+fj/quADMBwnRHVus/uYhyHNq0WrKQZgT/Fxv7XwLxyFNDZZec256RLP71YONTBcZzPD25SCCH6fCppipHor6EzxGQZEwjc9mw7ODZCHUoc/UHyH8xsjVZHrgXLz/yvorclFuPOEXyTa3T71wNUW9gU5df1Eyp1bbbyQpX/gsBxFBR4KobEm8IbPP3jZ2M7dnBO5CyE0e4y8x8RChHVuiEeI8Po7kBwBMxPz0bN2COcJRYfUxk4v6F9uHvc6rIyS0NtHTy8LFX5Zl4WO8NikqBsy9FH16mGw/fgnkpmHm5lKRzUAcWg5xQ4IA94oksOO54PG4Fa0rjnXyOytTTxIU0HtIhAn6O8nx1aLQGkIcz9o5jIp1ETpNjxhI1q69vo8AMB6iiy171GPZz0rMlsVOyDGtaYWMeH1cGA4lBqZdOO+cV/Wgh7/jbvwFVYQ8mRwb6peYfacErUmEvPWGUa9W12NzHDgaQH1zojX2d7jen36+l7xTHeo0pP4ax4zwta1FfL0KJjyY4tEslMeDYg/hwUS/bYowJDLD6SifDOMzkkmXlwLm1sJ9IZ1ioK3hG3ec6wF6rC55IPdGvG7vdPjER2zAvTvbYlDe3BoRt00cOcybsvT6V69ccP5dxSSz5UBEvPyky/snP/9pVVMWyaIWpLDSY7dkWPrybVRBnAQgFvOxV3ZhgFWXTXNoAB7YL+BO2LFlCPA6y72j+Z5l14wno6aQFzmtfu3ysGvhhF1fAklgfjWM4FoTPYvr56sIw99YNrw5d6lQ0SGOPgBiJ/YpLTc7rYf4uZg/zjFX5UEOmPh8hNd3s1DVvH63m03vkNNPbzhpDZNY6hdqv7kfknfuf0JJVQvdkLXDq3kMUOFz45Leq/Z5c8+UBW50RIUrm5p+weYUvXPGLgHm7gq5TUdVefXR+e52Rnwf2dIdJ739Zq8SfNW1GTdCLqNjQ9TMaIXev3AcLTJLcEJZOS+WNHdZmvMMXL+CypNuq6znZIpNMIQSSv4P00C/hmdcdFTLGglYO+s9KDimYFe1IDfp7Cj5udtLqImBXYq2CYRkTQhR4nrCF8d2UQZC8wZhKu9jm+XbIx+BiobNkcTbbw/onH0iqku7YZQHaYPgcpqjyshyrYk3+bsl+3fH6T090hg8wZd2nNI+MRm9xCMLAZeXfz8SeJ/LDu95RPiTyXzwpKHHfn4u7wQCwJxw1vY5BzoD3E2fvcLNz5DtpBTCZRor818M/w9pmErTF++/HimtaAkfygzop05kwnpOa3d3olwgUtolHt//aUKHR4pS0XCD9QoQSU0kLb1Jqzum6kkfA2EsaFh59pEvKs6BPfB9FKa+mMiOfWOF+Qwtsd3OkBoqD5VnS3P0pi0noinNgvZr+QG3CtGRIOdSzMkB+9cmAyok1SYOlZxiUz6Y8VxyjkPotn1B6Czgy8VIRURpaqWgWxfnsB8HlzBEzqooqklkvxuMJsLGZ9Pb83I6WRil0YcQQv3PipwQdR5K7kYy0ueGNHh0SZ6F7HWYBLxinDFMqlz4+mJy1V0Ms8Exfw1MAzkkEBvKIDmxAHrwY79LKGvJP9mrHJIkfwNkTxF2GJGp0GK0yaJWMx5zBPD6l+5P0MTBQ7732uDkwGOwNOGix0ukkn90qUPQFQvp+Fng8WRxrouuhjxh5ERTrodsMhsSXIZMj+Aq6dXEB6i2809co5KwiE5nARt7CRYEhIVZbftojK4dn3stvCuJnFD79ec1xyC3LMWjbdepNkeG0NIUDtO6e5pvJLzqztZOpwpje5RV4YlTFme/zNpE990SY3kPtHVFYhIyifc0wcmTxD6iaLq1Jm6yR8BfO7m5kMSlEB8AuDoIhXYTlcJQgUrcoBq0d+DeqIL3uVRL5w0r22giGd9sLFGett692TquYDiZ4iZ5lpGixCW/oI7sr4cYrxZhVr3pVUTZhO5Ng1Fa+4hgNwguJ6ztoZ3kqMN5DVqyZRZFbACxcf1m5TBbDL2fzE6OTt3qDCUg9CXsH+3YiAApgCQk+0n/Xo9bkEbNWjkl/2MreXzhLOwoxYfBBLhLg50RrCvOjYrZv8SH6fWV6IZrmxplB9+zWLbRi03twv6dCg7LMygGlhkR2ZsFDGhGhysuuV22x96XRGh8Mmdx9r9Za+YeMAUh2G3ImS2C83AO/gysyUP6r4RLM2BS4IVqGKdL8Sozihmf6KeLw4nfdWkJ6ti/Qymfv/hmeDYgL00fyXD2auiNyA7QWQ8I7Cp4XJ6RXvmFuddNitVbyXUL0Vsjh1EXbSwyBea6UvJC6ZrDRdSNpmqONX89xK9UBM6wb5j9s8eLHrbdEyajGgIdBi1jKa8WOtkTJVp2cl5hFq6+TwlVZq23/lptMkF4zHXXl23IXyaTskwk46ffckLcDxbXCB2HYQyH/eORVaBuZ+uJspUVGK9B6szePmEWaawjm3XDXQ9b4B/Is6Ob3j6phyZozl96tpGRI4pZNt5C+wu5YqGhpbioz7yK29KmnswHhMdYEglpyqjB6RcK8sjzheCjbtcl2YznE/QxkPoat3lXkv6KnonmjBXk9EAUNV0ywRT04riGK4iXf2M4paCGs7G6X8S1uFw1tzwQgsb2LM+Wf83x12mvkrjhIzeulLzhdazSZvOQtN2LGovfF1/9Nqv7msm1D6FJliYhoKdEShHywhjZgka9VPOlh6lp4RY9oxyoL3z8qtL7sR4q89Zj2VGC88YyVzUwB67MZl0tPrDkYxM1+yM7e8LzhDJMsxzO/mIbgJc2kBFpvBgLG23o4AsApCs2kAEvSu+K3nf60OWltsFnk2jNU6JiywLVcjxJN2abNJAneIchawpu20gBit/dusdTmDtG9JRNj9ZF3iEZMwmGMolLgNXKOuwO27jJv9EEBuWqcHeh+cXV1Bou5WGHz6+RKVSQLs9QcBp42zTI46Bv/Sxj8pc/42vJt5e9HK3eBhx34NneuVvi4JzXau/XVLR3OwfNcvQRJ14VQrdv/Z+RhK+WfC55dicTJ44XkKqJOy49V8f+9blK0MxF+72+d+CM6ZXEnZeHdSI0PQwpZ0A3mq6YCCahroYu//8DgRzcS6ea8eHY6w2HMqZsT7e+j2RZh1tqj3acRcvc3R2A78UJhsFHJ+f5YqWbsFeAkW/Gbxd2P+Lm3OMYiIeXbkXh0zwTS0sJcsEYQwJSSQdfk+y2P8/Q5ri8Tl718ujB4Cu4u548r4oGu4HC+xsojQJCucJl3G0ZQGtYSzNmfmGHylHbH940c8MTDc1ZmDTmSyoDpjm2CUovuD+7Oc1G6gXMdElGmocrU0eQvfWymR8hmHPMtfdof1NVOJNi8M2NpqBu73YVcwqitJcSKCZCfgxsLrjeK2cTZWe1krMhdKFE/W2y6OzEGSSfJlbK0UFCdsLZZCevcO30kuHFu3KW7o6dacc1d6C6ybnpC2E2qTGtHymFfySZU1TK+1n+gYqyUAA5nANeURxjO0pY6ywvvSv4Etn/sbrah3wDNb8NXvBdAKcB/3ZGBEQZbc2wxGZJUvknlFa9MyxIl1AhDS8Xp/8ADGJNXGOq8aQNqA4yPKy8CSB0eaTNReZKvGOiiCBlZ9wKwA1TX7DAI/vTZLsvol1OEmVnCEwKLaxeJveXcrVhPgqKxKyBTQIW0EUNJubQnVtX3t8fMUZmpa55a6RIqrTUbhPOzUa3lA+WSGTvz2PuXelbgWSHX1gzbfboCu/FU1ASLQzHxTNhRjH7Huakh3ZI6p7/5+ukLNntV/haKGEsMf89zW56XR3HEDd1gznXRs/NS6cbdSSXRsFXzIHhXLHrzRJXUnALf+B9sOxLpr3b8w5AwwMGXW/Mg4MqlIW9aCUGs3TRFBWIJHo2akK6FcKGtg+kVH5H7RYejshREYyDY7fXkzeR9tegrkp10fbQv5BKYM0NHVJCSCmnvu3lfBFZO61Ny+NoM8KHuGlp63UVubi99jO8MfEsAnCIYNTiFaB0ix2iU5N7JWCKj2780fKVUvuNUPIt6Q6119x5kzLqpiiVmc8qrs7/uXisxFe3YFkTOpFeKnGfm/B31k3Dy2L8ov1FfZrL5odNa+KjibKEG5wamuzzMgLDzhQeG8LFp4++idLgSEzPlI+RciFWou+ZfojFSzCNi0d3l0pkkcUCBPzG7gBxwU4KjSp1YiPRuPrlrwJui+j93F73D/AYkGXPID0Pqb5dlpjf9trPSzVmtjsrJ5Y4X8WyWa0sxvrx8m9LyrfyFXNCeWgmF7E/zq71BKyF/qx2v8W9a8UIzmN3NhmkZUTmavcvjQqKpeiL91wC+6GGnUP5+eg9g9rPD2xmSFf+5YexzZ5VOkRAH4vpKyGMHCHEIvQ5Ic7g609OZUYPF8HDPgvGehN7yhFtVH/bdJ960MS4dOj5tGrSpRo3vsJnlAlNYkI2QrVQeHEjqTTD7jETOQiQsSsY6StK8c7WHHGP1gqdYRYRLQ/lkpzNvJnvzfWAUR2rPrvtYmzDBfy3hHVju8pZKoBl5dcmp2ZTiLbcZpN5xWwzXbtbnO2OohOPjqYlM5PZXFPp7vQst6HBx9EH/4h0JvxY8ui6ODXyFmlWJS3wMRtaqNmROWIWvJbjAyhTuxe0FdJjZo6nhqAMVAL/V4q4KSLchZfB2d4wfe9Cofc/kP+9NyT00agIUfpQWfH4C4mKhL7+Uzb4rzYHSB09RCbNDdar7e6/1pC5vokoaR6hq1fsv36idjhD4bJv3og+laBrAgQ2Prtzu3CEvmSbE5qyPk8MflLTU1tZhsSk/nsOYd4L2CyhGjBjSdgIPR1xSYEqtsATtW1QwETD+FptkkISgDGVNXpPhGv1i1BuvtwGhKeYdEEwz+wQfYHf865tDwoOo1xiw6ekr0C1Obs7zRDdv5x0Wyttrz+K70cccZXaum99HpxPlkwr6mNbgAkWLzfeNUlOXN6epbiW4DdtNgr9ur5RwWGlqzzIoTKUM8z44a0TkoXNSqewddSbCtWzymkR3ONM1H3lKrkFxCeByQRoXD6GsnH1m83odCMI1cWLBcag54RONfuc2uxQo8ktPASYPB15iEONMgDfCVgpYAGZI7WOGgE4FkptqpDI5qhZUbjgkkFZSrsHnGTtZpyy/MRV6fMD8vlHsfIVRH+TBBbOCGYf9SpHhBd0bzGd9yM/R9heZn/EL32hCcN5M/jDyKYejPv6ycgHXe3Zc6As/HvYOW2Vy+HOIjHJUAJiv3X8T+jmCKvXC4ZHuU27TLhV6GhrFyf2P5oL+U1M0t+riPjT6R+7wm45/44nXYxeYS4bMxpHSaOSsoi3lXscdNZI6Xump78VeMWlsy3t3D6/2I0x+RIEbuXtkfMrDOBJndVycenfIUM9te5mZFLq/K6VFcLHCtorIwG9yHbQLwT9/CoEmtXkZZ+gEBJwmK+lM89c8iUjmqX7bM0EkGEpQXeVkx+3VKsEfTv/KAICaVABshmhGW8V4zwwHtlqVW+itUJb/hFrwqvfeYYNEa2q1WHRydA6AdE30utgwFTLiB67uF6E9uL8jxY3tsCytq8VemSfG4fYYgNmO8NCB77nQP/0/Sw4+hbjxKoR/rsph3BWNo89xXDw6zG2EJWwfX1Y08nZHm65QWqs4+L3IrYa5w1tRL9Tn4s6rSGhfP/RCpFitjiIhD/RxxyHub4I9bLkwL0NAuoXkl1xLY0VKL4B0eGgWRf4Y3ZBJHKWjwTl8yTeuUb2wJ+gRk1KNkws8yfA7B1cej/THDqVtrL2HSRRgc7Rjshv1P8L+ojRP+4BHRUr4QWUmAOeaM8KLkcFd2m2KhXk9kvBqQNKtlFPqssnXfD7f2MxidgsY135TafnjZrbWAAVqa4istHVsAKeAmEUzTYSXxcJUnuQKoXHu3PVRo4TEiabpXzg2md7Qy6yvTwiUgiEbhnePks0vYzBWtZ3y4xyKtFZLtGFmoCoYGBT6Hra5j9errSjtyyBKX2izqx34/t/XSD7teYS/Vi0GSWV+O1leOSdSTZjJMoETCfdV+4uPXw4agAqR1e4B9UnUOejZO+HBfwCRTvxMQOr2dkwWAzX1a7LIQC/Bniml07Ou/cAShufH/S+VsM9ZA+x6TRJHA/1TMIDIUGF/oQ8PvOEnqkmQe6ZfuW6YbCxj7klEvZ1UPh24E72hMHUP4rEfxI77TEk6PxoJ2qQLHotp5/cbigvIU7zC3w9YoxkgpS0T1FTQJgNynXj8L7nW5lK7kH6DJ1TTsth6vsJC8mJUyWznLE+lyhDZDXzMSXPsp9DBf3JDf8NgFzOJv74f9e6m+tidH0BubwSqbAdGIOB63iJFcBaR+W3IuhqpixW3u4itlBrhYT8SJIxuModv5hhdDr1wn8zJxX3Qvx7lvriCkHBRRBYwbVj2Jld2L3qMwzCxLjI3zhvxDRnOgkJmVVqxnGX63coutqHX3SiFPxcy6eKAZ76H4M2LUh/hkgLSGjUB7BGFhSlZToF7XlIAq6iFkR0L+GAlwMJ1ztSM0vWJMJu9k4AFXdusf2+JcIKBR+ihxfZe3UGzkM5+ineZW3uOPQf3oDzY5og+QXr6DyJWEPycLWMsCpQlnWQ6sqpsmG0OWXEE3OkLVgzSF1kUfSCgf05hhU0LZzr3XOYqRMMlh7d4KcTw37EnUtP/9XclXxVVvTNhnJ8qCDOtwz4UKaT3mFWpN2y1APFhC9fSGfRpfqAt8Vs4o6sk09tJoYYelOsVpUYyHxJWgFtDZwjrStG3140LI7ZnuXxOaqq3P+7JJAwSNdqLKWCs+PUUlj3ASvBniTFGk75PUPD206tz+jjWg4fb7FlaoI9JPUThxbY6nV9GTUdD6hduo/+eZHsOKvFNApfchACU234DDGNtyXmAIe5X2jn0oazz64ONgmMoMBSrMaKWZxJ875kTvSkcJCoAP5ZYKv+m1JB6Y3MlGCAhc8XqxyaFtiEnFkG18iIKryNgvvGfVWNyxOTW++LHstyLuetSxjIeSmAmilDASndP+0of863ccr3yQ+7txGGbaU8Ixzbli6/WpRcZGqq65l4S81awFzt6lAQ/SdWAzHcCmFD1pZxFBS2W1mHHehD4BVCmjmnptP+bufYESGnd9dVZFwwZlnKzgqEcrEShfNE6ca7Jltv93tiw57hNl/s1yAfQQOX2BuNdC7m7XqYRiGbS4Pbic4V2PLoI+Ufti5ZPhV/lmKnOzswXihFDdvwCtE1VGNpUr3u3jJqn/Uj3jer6YqU9SEw3KDmrjsrZv8Je7h/NyPgr04qMxjZWtn+iOpVMFx1nuDQFpJ6GiSl4/OunxXD5lzIQ+ISv/myqP951PL0oAKk3S3BC4RwYOO5iYDgLUyo/DxxI5nqY+5gHIf0UFzc57RPG4Xon2oDkpi2+/Q9Qv3yew0N5bt9PDaoKhdr/UM2loo6E5YmtzEr9QCSUJUPx5JK9k4D/4xF/aix+ZcbdNEOTbBhBUtgFUbCjX1/VYw0HXG/NcSWmxySyqwJ9PePvvdC2R65dCAzdPMnosidFVHMkZuQ+dvfqGtRQPdy68PXjJNZBs9GOI62qrwmmMlnjFbZHci9dF9pEqOt7kS5Y4swGCpeVZ0KxMhX/UNGsWsIGV425sPaOh+GFg8M17ANY4xX57yidvAkadcMoCG3IujysaDy8fssFnoLTf+S9M3EYpLEEaEIl4XawuAW6sCg019wWlxwzacwIdi4S7Cr7lp/t6ju9z/qanjYAYxCPRxkXHnBOoDF5LE6xNs6mywqDJqtHxLTy4PM9WUhOGmiBX8tEG22wqMqbCx3DWD0HmicIvusFeaVxSiBCaEo3Dx2O+Js9M20K+tf/ds1VqgtAdogLENHxtpnMevR/4OdPVMVw4w7Fo2Pmoa7n8lwvIH5VJ+Zp9v7SvQcXcO2oIW/CsOYIHgPFVMoCYbRppFiZWTHohHFb7XWdZykUKRvia2RcHzVLph4bc/xmEmPD7QFyOmeWt4ZdTB/6lvOkYTZDQBiUjN53iYOBHJRJVyhklFy99+evm/9+6O+3VE19Q04rF61lgJgxzokQqHQo+22cW5Z8aPHWrYHaKGV93fTsVv5fouvPWU/ZpiapLFivVf2ebqXDLvZLDSY8mJLlDEngdNPges2/YX4e0bpaHKPmMhEcY8coQe9vE98w1JmI/Rz1+JohzP8JL3RXKjoRWdPDHC9a75sFXWJwtm8+0JArL9jA+bSMQsgbL/GGVsApmUfeAMC9YOHZGH8AMjwzDtNXPcYDc7t5hXN3O+jgJ8PXzv6EvzSfSLTrWzs+aAnZl/YGTGAxVeLMG9MLc2FkqNbH7QsUKNr5hHeFNbZWn0cKVg0dSSReXQVFAKhm84rQRWSFGEHwomZiz+Msr7RYsjUsetq3ev5K0Dmx4PfEj98wM5Y2KTy3wSQTxNStGKK6ZrFaXEucH3qWk7zQ2J1ZvCFoGGvWilAhcwvDdZaYxG4K4EBg8vMg9GY6BB4VA6GcfkiGs/cHHSApZCI+EuRiwSidroG+SuuG8Xib1sKKdEm2Gn+5EDjS30upCvApog47caUhupnZjRkwmgAe3xo5ft4MU8T9FUuWMfeE/F7ZOqAr0A2YBdY2WFwPjRIP6LcZ0JO9Y7aGGwlUnxT0wJdw1p2bYS73AMErnha14u2/wEyKDaQqTQm4OEBmVz3Thd2OU3Df2iReRLJRHdMPkOF4py/eskZ8iVo2nYwzu68dcRsr+n4+wpKVu2qLGQrlmxoXfWq+02qaynY+uRHVBhRvSP+QQDEMwvNnYGzvAgmc5wIUFq0QNC9eEQYFqSSJ2+9kLRhNU7ZZuZXmmmDRV+0/W7wKvgPpkb0y//3ae8O7Qum8y/CQz6thsJH8JeoLfsALu/6q0CYHy8ApmAappBefyMB1zZ6DNdhjK09P6amfXkb2xwzmPiDEf54/xVQ8OXaw5YGpPNrAA10MI6ixj5FopHn1PAmGRUwNLyAax3gwhtvq5pdGlFPBE6nBtp0NUlBDyxB9Bzo5wQsVzK3XtM8BqZwcBwWyDTETHR6vfJrCdFVsXOLY4ZeOPFfvu9zErvrF0elTTpN8ytJpXuk66y+XZ65oEcaAG/eEbcPsSH+/p52hTFV9sm9PpbWkzesjQJ+LgJLwOEsqDpimg0hO7SM5jcerQHV/a8tcPFgshGL5RY05cGog+ZcBYnRu5lzKH5+57K2Tgy9n2gfaL40sf+O81kgSrNvlshpJNYqDkbxJOLJ9szx4gwVgWXvh7Pbj27CbKdzcZJOYSbgSjss9Ccd7SBF87oyccOvFRpRST+y4yDiiIhO2odF5X5MHMvYJLevOinspuPVbAgnGnWtJBV0T2eH70G8Ia3kUSiMQkg+ymmx8ardnR4GkljHLguyYv4AY3BX2MRRAdajlRHF+jrZjJGl9tD6wZvGMzJ1OR+XIWbi9Ym8/+wabZOlzgpyeXzORI5tE4RYJGBoa7GmMSuV+CHLWVV7Iho0ofG7Ifi29PQ2RAHZ88OIYh4YRs0ru/OgFz8bneIXzS4CdaUtOIe0mHAR3GyQvPb5Uq2OC8qUsJ4wpCCvdKIAL7/C83OJliDovY8WUOCpsIGkBAl4yDfcpT4hWk1nUN+zEQYVD6+qlg+qbsTB3XLman4EYuyubGLi7bC3UNyIsUp82r30EwAXY8us2ApsRM5wnNNCBBTXGzlC5VcaGyp1FkRwK34shEKlm2vdBmmgcHAaXg2rAcWEiFxrCKsqniIZwst8ErpQvL9f39Lfpk9W/laDzCZhQgW00+zTkJvdgD1l4vDrtDZTQrEFwkU/oERqnWkaUgjiJQ4Y/fr2YlpiRU/eczIqrRsGaVpIMI8uhBsii5jOXuP4VOFqaDSuYASJtBbwhqdVRIEL8skAylPpZEXRz6QVw289OUy/UztaUpFzLuRyNy/6BzEzq6KzqWUXzqtWegkqfQhfboCxawpk4f4gc9kUc2Gk7NyU0UbKp+D8JuidLTya/94KAdmp2tZ06sxtIP8jbznKB0xTsUSFkNWfS66ZOdILdBekLvtdYnoF7E0gHHfXn0cukiqouGRhhMYYdCDZUdo7P9EG5PfDFXJWL0+1eiPyD3gfkqiBOW2FGdNW6HeLkGrSVvxlvwX33ZTo+n7favKQMpohSk9fubJY+iiiJT3+O9CwGSLkfr+Fc9AUl5rEXctJPUrwdFaFO1epgaDtapyc2xLNq1ZK+5pUScoGC5v6ZGadMDY9mh/jxFWtnGBrce1POMrndSDRtbt6nJqhrF9UJS+ZDz6UyHbePhqc/qRXxgfnO9rOmD6anDD4w0sA8xx2MnQhWCd4+IGRdc20iqt4BuXFOhQZNGG6CnEgdLQtzOivWvwM1mPMTFK90CNbj7kBfn/V3CV2eX93z30wKudqHs+s7pdvKBnJshzmCYhatNiSGLYYwwXv0/O+6V04Dfcz/emHgzqAwCotk1xipW7VSjiHvUNY7DYZXsldEf+BKd1A2R41JdE+k2PMLw6NFA9Q7Ml4qXdfP398DrrCXW4WNf+De+JJ43cV923owd5Lsw5+z5xy01lB7kPQExgnvzgy8w2IXeqc7V8ePvoLDd2b7eKLGQC08+5O1dB2S9KFschAEuyne+V1gi/dZn6xsl6ldnR1NYyPnSlSkzzNnc4jU2jHernbOGYU6Wf7zQpCAk21QarGYVSLszJC8vPFAwSITtMTQaMqFHt5Z7dXJ0+/nn71wpU5O2JFkXiBEqyR1JvT58HUYqfOcAvGAMYSvkx2HNhr05B0IhHzY58re3Z8T+yX10oR6dtJbKUCvDl9Jiqv+FVzU+mSdnxob19sUvaTXKJPjFStF0WmvWaQ+0qgRZr9LIoXREbnMkdTMPNe5f63pBDN7eHcXYe2vJpeokSaO2sGsvNm9WjqGOD0AoJB01vSp63/GieC/2aAL1+xLwThCLZyuA8Fu+sSNQR37KCBe4lWmmsmFUaHbmY3kvtoqZxipJwRfN/X2nJaYsw6zVC+2ZssK7iwUQHTbmUXbEAEoxG8TMG+UF+vvqrEc8owj74GG5SSR7lUKPSHk0HIrDQPd0jm9MhyZGkNE0jrrHtgqiVXY03H6VloFXdi0ZfsPR+c/5WQIbrqbpQ+C6OnJ7tHwS9n7S/LrjayJRXq9DJIYCaexqDAx+OK5hT12f/fT0v8XcKKFra0sMVbeGDHqVuMIBNtOrg/oeLoqUSOQR498N62wfxNLN4QCrP7n2PtNHYrGz8UmNm4D+MIYETmaqqUOkPsC8eQqiS2XcGJI7XbYpmVu/sSVGfnDMDgmroQuwtmEuvgr7g13lzl9EKuPWIae7hEe1hR8FzQtzdtR9vKu9yoHjMYInWSsXVo3d9ilmTIwFDZ/E1fzIIzCAdeao4LWco3m27ZnrG0XikyPUrV+eJDmUlOpvv8Vf+UsnM+udopJDWTEMVOwJLxrZgD0KH+kQ0/b0XzQoveyZ/Q0/xz9WS8QgeiWyPGX1t4WqL4+CHtoh9H6x/XdGVHxvCnKtfuKxpUlM6LRten2WICxEFS6NDq5jaqUHTxl8LVdMcjSkWHIjEJ8yPLHB9r0TpSumX17dzsY4e6STilJx08NVnuoJwE8KBoySk+7EgFIzVfip6YiMpBSigZgoDszAYM6w/111TA+8zIRlAv99di2bskbKZv0froC/BtHfDtLWx4Fu5XyH6Orw9ijG+9WIrbU1v73sEP/YVJd20wqbORT9yEUdl521oiEp/R122Nw1u4WpjbDk/8LAfBcKkZ4XcJFE7sQwVE8OUbMor4uxYragKuhpo9NLjpUmnXgRwrPc4ka2JXmLKJXONOYTvZuFRUtBjngyXGf7AuMbviqcr0292ETpivQwwfHrWa0AsbGrNHfa2uUPBxlVOxMLDKGZL0KeBvJUu1KegJuiohneD359Fa2RgXABW0MF29z11ggwpH1Vf0H04xl35IppCgYfhV7eFw4DIiDFARi3rbC4b+zQk3aB8ozYEAu6ssON3hWV3MkjQ2hI4uZPpW+l1uA8vcfslswvYJjP+TkDJeRIYgc2SLGNaATeyJiNwUpS96AZTeA40+RVX1/c5Gz/hTEOSIo07250O7K1EZ7yTucUmw3HIqQ4x2GZI1BtrjTRRCGrQOIP0HAdkSuCDP8+RWhtaEDJ2NEnxVXpMA9l1o3QhXfymw8DMCxb+Y4IehDv6xKkwpGb2H4VDLAPrTOPSIl15vo0RYb5ImorAOZTg5LIIU+TYZic5htxJWhuB14FLAt7Ct2CWWNnYBt1TAPJfqkeCNFa4YbWlj81P1/0ZLU2iZNa8cz0yADuKg2Zquuz84uOm1Qms1tmTsx5uRQS4+lYwGp3HoE5ztCCLMDJ+YdJnZL+JHQgK/jqA3Z6+izo0mvsp9zRGLikveezKHaWi5/8yUpnN2fEodulE9H0ZtHVD0JBsXAMQJUkK3Qjwgzbr+9KcpyudyLJv7BGF5luyDxoL0ZiSKUjetwoFJRMVTO8J31BUkT5J7+D/TiAnGTVsw94B5OgINtmvwYdWTuiBUMSvuus0V7QslGaqOhJaANvHBwCrBQsFklhLdYc9z1BjdYeAdgCOOfrt1X9W4Ep8W3oZLNYV/7GrLxcyeC9yt29q2TOfUHgs+FFrwLtrFF87vX3QRs5cmA7T/D1ZjIruNbKN3/1LAS1zWUh7rdvrenFwpEUbjGrqVCUjudmwoaIXNC2JAI05CaPpjK3CP5I92+OOu09gTgX54kdjAwfM1Cdg4x1oJBpsSgpXTHq/QXED2tmBRsCEcRFNmY9Ih6WmY8nzCj5U9ttj8+oBqvbF//qTOwMRHVTfB1TtguAVdjvIe3WhGcFsG58jKVZXnqtbBB6PhResPkHK9/w2v3Z9/0I6kR2hBsLwBCjCD47y448jEG6CdIzCTppsTaHQzl+SAyjGdPu05vojZP+ZagzWMrU07x7FnYnaaxEBwAd4a/1C8DHpqXzYq8JKnyhvM1QkgvanBXy0tDrCJ0aP491Y+/qh5q/VmEABeKtbJfMRoBa+mEzbJ6AygTsiVGdKqsndeUBSaYSREHQyB5bC3ql7JCvxdaY9aDEEy5eSASmu3bJjZNOW0KF8AUmlAiDEPSWQyPSecoQSJam4gbxN3v/KvsIkY/1X2xDqM7K+UaiB11IvvUcWBMLRJDnIY18+RWE4jApYY4Wokh/L7EOUYKXHJ4Ln/tn3gqPMlEkyfhrq0ZXO/LzV4rmzJKJd5gsqItnMWzOfRdcGDrvglMCY1UJXq9ckw+ZcfosyfHQeGOjrbGURIiBUqmBpLpmT73e4olnRapvcsCcLMc015peOGkXgs3cUviIe94Xz+0zkBVg6eNPWOdcAQPeDWLtSkOOqsEYDGVnA5tKV1IWnIPDV7g018BsufE3t97Dwul6R7ukcYhvyioEQX5TCHQT99357v2gJIUhHQHQO6FQJ/bf54CYkCbgOH4yaK7/nxGrYkGgaRjX7ptoK15knwRtrQ6krhhZyierTeA1AosKgyJVSAUnjf39ovRfhMsZmFgSGNFvfo4wHvZ/18sAowpKpd2pB/vQpZ5Gq7eaNYVOGYROcdTxybabzzX8g2gu/rZuVURb00X2JXnDFceOsgM77UMvUfo/QnfaDyxxPsg6UmYO2KbzQwTKbCm6I746hbOx7Z+3urisuKiJg54Y2SZBpJsrVWsrDSca7oIfzOa0xoP4nAKZEAsbCVcw1MgpfGopMdsjYFvK2HQT1sy2ALye7cJKTe1flQgUF1wMbzFGoMU+Jbd4NrF9+BItQQS+91tOkQz+XB4ES/hTvcnGp5ZzD6eNAwskRJ3+KdPu8kqZAxm8OpuTV2VFn2BsKRyvMQ7/z7aZOJrn3a3+4iCKUN383wE6EqVdra1bgyZGeBkQPSHsHQfBJiXRP0FTdG8wRLJ+96d39w7lKZvDysYPsbCcVk0BITYGBKhpk4x1buKZXEU7nQXsDblLu3iAvQJqtPmP0Q45nY9DPpssPta3wzET/catsdPqiLpZEOXT9EegaftpHXlh+zTraa54gzUSIHfdo0YN1YNNUd1tWYt2g13s5IbMIhzEcimXREb3mgPbxBPIOgt/3ylfFTjRZcRjxOlaDo1hRxCaIeIiN7yO4GrEHneBSAUA2x5rdxY/3CODUED5Ah9CuJYVW34HyXZhEOUbj9MTPqzK2MGdeP9AhTbaL37ILkqh0iMJAroHLvO9kwn08ocfKlcRnV5MrHSI694V/eETgfK4tXzUYolHj0zEZagI9COv57KQZUOdPNlwTeXqilAkOJM8tsIjLIxMuDY3GS3Nobz2mbC1Kwla8EcBH/HLAYmdNFZ/nmiuU0++5g/VyTkC4qpBP8wXX7WwW9XcInC5xKcJU7oLk9+s1RTnnAMacp5f7EWYt85rV+gZyPx8zQIy9PRtEEKRC5e/o9yiS5fhpWO73uchQkAeQHoJIWFNr8gXqwAWr+/T0q5q+cG0bqK48KrDsISzQZ24DoPXGZ5tAV0dQkQOarzKeQxvaRohMnobOX3zjyYBmDM5wFwT1giPHdzERvu++xYEgxBMYICUcEnARqTl+a5hGRXuqImNHgAX56GBSGexEFOrD1PML0wHCYwqLutScTwzSCD5tUP+kqaGn2MoDsJj1GSX4pkfqJC0lZwpcONb7Fl3yEUvvgW5gcTWf0vAFNLc+9mCLUG51j6b1vbD3z3TTi3FwhAOdzAAF4qXa8D0QhPMVrlVcWiaGrRk9gOW7S/vqtOSSAn4yQKdt3e0OqY2h2Uk1TvkLo6/6aM8GH7YkUsNLNbrGW6+Y20byb4cMhItnuGdz8h3eXxQ8ZT3HdNAUvjXKySQSQBCR4i/EapfMYYfvwwYopuc01+hIArrtA/alKm9SRg9vw8jPKXgwNyLJAZ1Jkaax/vlIe6D6tyF2ITWIuCqrHqCWOm75y7vI5W1mQgBb51Nwgu8bptu0JSMQeI8Ks1LWzZA7kXAdDfxMpXWitVfU9gKrtF7bpIoUd5wC35gFG+up1thbKST3U0UcAiz80hoGd5v7aj4jsnhO3ZdbPebutnILMBoaBwdchwWOzdUglXEQCjeGkXJITWxXwN55Or7VpkYXnJsXRvwDFEgnlATp0thOdC8Fd0I2XAlhuol5jxo5esh/D5Cfk3NtAwg92YpMWnA0jAjbvxe8QrgWoqVnxrrbIuafIdLl0p0A3LqSb/Xu18tN5nYtPsYEIEj0j9ug77ITFrfA6UxAhiTKc2acFZLjAiwTj5YnACGmdtRkDJpZGeCJDyuXHcIALY9f/nefH8N0MNuR5gjtCIqMksoJk3TY2UBvgHdFrOqnqmwxfYZiNKag8JkaSmnCg/a2z2iKvA/zBSkYrtOR6xO8fanhNkmFUcJKGt5si4Ys000PHxb8K9J6sUXqHW5ZQD0Fy/MLAZLj3WmNOC7ke5//O6WDlIyapB14gTrHIk6T+yquUdN1oBS9Xs/ZNWRyr0JEkefv4XYH2jtkw+C845UFyk13D+cD+mcd4lECoi1dLMIEBgxGUkcYxNYCIErwpvITavzyzLDwcW2EPzN/EFNBkCBR/RtTBlueW3YN+OKRPql4Xk9iJ/mmSxF+7QB6GMGbhpjZp2Z6nZFxQryqYlXcXpJVR32gJrtjoqrMlzTXjfSO8ZVxWJKC/jiyy6Pw2LKadIJrbVDJ1LyRM2FhED2smfmSOiRqegPX9R13YLzWK6Q85Jtrx5cg6Ux0p6DBTcHWLLLH0d+XGuoDm6JSfeNV7GJwFgmYji0iEC3X1ijk69zZZvMWV4A+sTna/SBTcF7a5fFdHVvEy4xUrVTdrV9L79bwkpRwnPyhEnn4iVjih2uLEzkvSQByl7doK0fl9x+XvSRn75Jf87WrRIsZZ21yg+9uTB8q0XxjzArlBGXFlHLaiux4+862eYYJZdVdsdPgAwl6J8LJCf3G4cgxnIP3bK4/AfDTARAEcR2OeooSLN92sQNlT+0SseDFhLqzDiKoVX+iNuWPXqKE3Y6CtgIrI273KXg6b9KXmjAVP6p2rd1CKMuUpeYRKBhZCv6RXJcj7WM09QM+4ge4hsqUBGtkFbxbVI1XxG3SMzps+7XOF/Q7MoZm8ddC1deA5QhUdKWRvv65A4yLJYl7EgEl1klFNLPL88Z20m095AywGxWrRkTDREOyFCIxGTOLep000GnBMVdbQTQFtM12ipblFIGkZJDt26eoKk531P30PXTWBIu00L01hwYlR/dQRIlKkRGKXMFbC9Dza9H03ifGQYHaafoeXgjrZ5uC6oUZ4f6FfjT1hNrqCKXzNtU8XnNHFu53gliKDYcgbimJiyVbvw5ohPF5dgqYIE65TJKPedSVWXPh4L4MO9lMUU5klmBfssdu4zHB5K7zkXfizx46iN5OmwUwdjGjHd4I1dJFciCTMtyWykpOiLdYV/fa3GI+c5zQO/BKyQCppS95NJ/7cbrHNp3g56hlXKqcmsej9kbtbFfh2oRneCG+hGMiOY3U3o+nRk+fiWfMOFYdTcwemntUZ6fuLYnwnlpPPFGS6SwMhxcelY6f65yb1Etpwab15Xt0QQazB0YmGns4l8x6hF5gBBwtU8HPGYnxQXPsuwECEi1D/namDErsP9gHg9UnihlmeGgU8XSj8NhiAl9Szn7xFDWEKr9evfwOcebrwKHDsnuvieqU9Bc/DRwSEgdvZDOz0j40zgiaKUTk5s+X7VkTHzA8LNqgL9hC8zwm15+hJs97zYhWWFcTZKqdYzbUl2rp1yWgzA+1IfDXSSbxWERSpBnSGhn+9bRW0Uk0yOo1i2xZp6hE9asfmoM2LekZB1Ljva1NYt55xICU6dG+s1yNNdTpJZXv8cz7JVTBzDSeqNx/jEErDoh8Ru+deGfzVVOSwMdtRn26lG3/BUz721m1ZX6vIbx7OxM1gh4zyBPhbvXHNXU5YbbVfKKF5K4XJBWd2oec5+74y1ozHb/RsmNV9JvWetzkbFxBWAvStJR4Mn9S4OS6MB/3lkYwmA+nSXJEkvjUAZVwk2jSWYZvwiuRKEZn8FE2vlxdRDyC6NaUTt2blIUeYPNQlvDHEZzZAHBEIDEiLPDUP9mm2hXXF0rTGcKmvESKREjjlpI4MgF0ib4gvv1WWtTbvDKe48UqL240e51xQiNzyoSGwVv4SB24ClZiGXFrJrw2D8NnyCxgw6FLh83i6hRoLuBn2PrYIggQue4X/JZwbw8goSs76s0xbGe61S/ezn2y6lbF2AMmmMyJAzuPB1RXsNqzH6AkUc7EuOwuVIORufYX3cxxNYEdUaIvS07TEUv+zddqk+fKXRmKSv3cMvkNQeuphvXRIfObpe2oElk0Dhb71prd988Sophzh+DgriHlu+fmOrCwdFx+cTFCxaJK3oV5oA1KxxflsTkRzgl/X4QYQmPuzUXIPS1Z/kSVeT6ZRHMckmlk2dT7i/FmHmeBnm4t6b8nKvt0Ul1il5vXOtNBOUVFuWMcrBPvETOPj7EHCt3yVpehu3WzyDUdaXldQ7v6N1Ct+yV6W+8r1ujuDMs0XaG9srYGZJr6AI1EdQfgd+nLCsyPzqEIZcQ9Rv/qOQyzB1zUptKFcBzMECGXlVWdebhLXU+MF/14+SSw4qBrgHMaPD/KsWqGsOkyWUvzjXY7RLIAh11qhLs6hJa18pzg9RLAcTsbjrD9oDt7KTtMswUNwKl3/ZhTwVPPhmkmaVGHGFJFXSQPiuKHGPTcRbsmVAVD92x1VIdX04FnAophPaTcplZF1Oh4f3TQdKnVYqzrquM5CV0gFvFxtv4WTAk5MOMYf9+N/TZZz0DnGwKipaJgnPetsARJYr8c4fMdphkG/8QAJamHo6tVHbZuQqErmcgSj+FRR+UYtEq8kvDBdJ2OH2+7J+POFGoiGnh8cGe4qe4efBPytn2hZNnYAINqDVFYtzcw2sbfibC6bsq0rhSD1HV0xQXyFzpD7zsGwyynFAhOHq04qp1AUExl4tffRDnyqAvtTr5e8r7m1e7wuwK0DvSdR5ODXyz5VRJZusJ9IvJcVs0gIiBhyURzHNpIz4obyH4LNH2PiIZFbGtb7UBFbgUfSFdR5jw+5s+aQGuKaqGmtF3MaqCw6sV9OPNRgEFdF53hOJLA/4gncNaRGlPzqr0xbLMQY6T12vn4VVaeyn60C/TqTM1qPAFC6L0vqpBfwBjVsCWuAiwtu99huH7kaO2jz+CHPh1k/GP3nDkb0NnVqjOZLorX0tdRRLJ2bQ7bu7hJwFrB/2Ku9qoxvAMzIXNozI9uYV4fyUElAXdLiInOMkqBXJLXvQzdFRW5k8+r751d68GibgkFAWljihhdbTTacmymiKPNs6FUz4nPfdrCo3PEefDwaCNqez+RlYcJ4948r9UHUyJQrXlPlQ4H74ZhdD2u9tYcEPNZkl40kbU1oseY0NK0c/87UwMXAXZXd+vUXZ7GYTmjyuRu6rDcv7Vqm7LEeVUtNpT6Qn/fvaIz8Lq1SkSDx8WbzHKUapWAwqhiz9yNk6eAQ148pYBZXTyXLaYE9cQjX8JGAoSwi2iitBIDXp1EYGrEGwGSe4x1RNJn52lj7iE1ToItIdQzsCwU5Cntm9Ea4k4dtWTs9ob0YO1L79crD3eAdd/zPjQJwIR6uYlh+viRoi4FqQXYjmvpbNt2P9t0X4uhSgYw/w5cueiA/jagP1Yy9eShXcsp+e6Vt2YUrjlegINSJV8qXWX9O/A3EWjM1hVS711PJvnGbZcKJf8Im8nxbg2IEuFJwwsF6O8nTukjKYOtjt04pVerLtBfmWbr2tSA/y3VJkS0eoNZSH72WEVnSLwuPZ+fWAl2TecZppAdGE5O/joNE5PmN/CI7yjzgOs1pqvCgHCLYmgB2uXB05hVkq2hOPrY+xNZmNJa5dOviDa0pS0Gx6e6LP8AO4Fu7o49ybdEHSERNwMshh6LQbXzMzV7A8nJe7X7LdFmUOCMfA47D7rPo7X+15SP7hxAPkDqON3oaPIyU8AOyTNtw4VrZd3joSA0Bome5RpTgZu66XRPacM0Dztc+Q+5hPhsP1OiLjRgV5IXtGk1RoN82RQ/5OhNwHE2fyeCosUBOLS3H13+HFqkBogfwgBNjG4VxnuxpdxJN2D5brUPjVgMp6ovIXPQj4M3EsI+RBRWKVRG1Z5f4r0yVmufh1aaoMmuuAOnJWG8VJR2xrPz2ElgdNohJSCnhUAa22En8zxQ0UbeFaNT81LD93up0IpY6ba+o8C+IUWkSPBgRo47Zx0n09pMr942kmrDsSlFImYDLoy8c4wElhg1hkWRerrdjwr91i73FV6+19aPo5y1C55orRjCV1+Aw2+mDZMlD9GlkzZeXmEDUvSfssXpqbjHzByVubL8CFmkwkRzDCWTjlJ6sm0Slr9e6pbc4KZrlCgPK/7gCi/BxhsSVBA1DK4qANOw8yiFTV4r39XI+VjaLQxblsa12H3y5o8FB+tBpaPUu6LyU1X7qiv8tiPhSkpSDDbvTcXwORdhv6jRJKCNYfH7bGo3XBJB8VYMCxLkUsEGM+TQwS06NEDsZ1LC29KERUa92T2wT25KuObZI0qb85afUlb3wbTNf8NimdDWfeWqX84wRjIFcvW17O/r+8CltnffI6uuwZ3P7lJ0Coi3/4uwoD9rtQqJVRvXJhCHfrqGc9ZYF/sYMnZAVlGPSBRJVR0ARvEJBVkxt347sS/Vl5xPENuu6NbYiIS7Q5o9UuzUy72jtNXb5BWmnCb9iE7KGkdpWEuNdtozXPl+KUDX20fkrgTB+CMXuXFltpAauQlyhrtaTkRusfi1BLHi4vRAqnDBGAtZgDA7ab7TnnxUm24YZgLyeWImXoP3l6eXCqmjOtILP/O7S3qT4sWnmZaNFCVe+qFcnYjRzzQEfm1pwETS6SMi+tdY9gjh67CAAdQ5VLFlxfz82G+RiIqJaFpTKsk9EZyWpQ1VoXFku6jIV3K6d6MnjQHGM5+XGzESXVsAYeLhZ4qDaqO1XvPk6iNltmkk4CvwSZpj+cUv9bnTwSzf2+h2CbRlQ90s0JSj3pdBzdQ8OnRdpvdu84Odf6Agzg2TJ7ogv93FH6YwlQ9NaNeubphN7SclR3UigLRMzkwVDUHtchoQ/u3LqGnnRP/DnlLzRNEP4UvBDq0o40umsIKG9vIT92UNM/wPf1tdQsiM9ljHyeHgPgGpXt1b4msaTsZgeN91XCKsWlI+nVkuiABMnPEJ3kqTGO4Jx+9Aqq0YL/0FOlQ32ajoVE77qNljzQfUrj38wx22DiM7Rt/AQ9ZNKalhNWwoiCRETC6HP/tQs11P88CgsgCSuDGCVd2gmnoVyF1MX5i12nen7ZX9aORLh96NbWvB2DtoAnaebPRaodQDmqkN262UcnguF366Y6VOnpQwLwRLV/VnInHydol925e1pNtFHLyvqPMBFAYc08yTUMwtOAUbzeKnCK5rcX0GvUwrEwLCmg9jlf2TMK4N08gJZ04W4k0fl5bUYY2a26oQ1pF7EG2NWkhdaCtwsNvoGGQtc197kY86Bc/icIrskWpr3od4uV2uPXCS2Aj1S0UCpYkJbHAw0G7opbXPGNJsWSQYF8s92zzQIfa33/D2LmxoN3T223aQkj0DgGi1Hetkp7PexFphtTom16pEw223LvOI0enpJ0O79bmNWs822bMElOyqki2OOQabvtOnF50n7okL0rjGf2TGF+UFzOhTzKchXXAVBsFCUDOYk1aYGWdiCfiZHTRF6bFKPHziyFTjE4fhWDkzN+ZKNNly4NKW6AgwjyQnbXiluiMnINBfJUibSkohQPaYLqL1jDCWB52I4a4+unzw2kFXVPPIN3fPi26OeLJuIif7JoW61hLRX8uuneVCvTlAA2Z3isenTwEywnk4P2A65cwl6DZvFNaJGEKEl1T6eTF+plgUwcIkWe5UQIY1tReX2J0QScmam4CSedF4te+NOYsDRvVg8PCymzr6TB9QFINHfZCWw81+44yUQLFi/8bVqt87gHnZUtuGoWaWHJE4SSoTZG4juyShw0IskjS4oB46F7PniSwBdct0G9qS4GxT9wWQx/e/flq1w0uhzEzCwJHrTuS05nOGPqr7vDgtDiLaw54adEtXBh55qNCASeDJ0m2gbpOdSeBs6LtB181/6mEtpuvmT4VM7sYs86sRaAe1GmS/P7QIw4xTXJl2twoTyH1PSRCemV10Ouobt/ukM9U0Vrr3N4IhfnqPm9rLAW99p8jfVNx2rfl4zK/skaNXvdIpk1ErWQMymGRALa1T5XAUlAwWa2jN6/1lnEAgEri0ECd0IfFhmtSjm9IFWQkY/ABuVEJAnsrXBkFoGe+29EE/BtkLi14CfLpDzxu4HZJLv7fHSOXflDtwHdMvUOKI/ha6UND+zlTR3h8p43koiuPVqNQ8i9ODNwrMY35Mb9udjd1MmERQEoRotIqr4kxmGjUTtHa/xA0vTZbtr1h4UtlOtafzhPv20kQxNBj1oNLoo4VtrewghQNbEwY1tieGLZsD2otKyW6M62A5eRj0Q+g9uS1JPcVRjHbBqOKdxuEiW9nsG+O//buap8hWsG1GnF5ILynAj2uDSO1/CTZH7kILEyyAk09gRNU53o2izIY0Rld81ea56VMi2rkvZcHUqbw3Ol1EgH0kKDtkeDxYjwR0RAVbWvHWvpA5S2rLpsFtqhRub1dc4W+rYjgab3vmPYC4g7jezGLglWj2zdr6RhmGgM5MUhtovHl7ywXMqqiwb+/WtyZJT9svW83XGiIX28Cr9y7JkewUaOsai5NgbYRBd8/XG83tHr9/Wa2uROSJ9wcXG0z4yam1qisFuxVWrFtDvztbZPmtBIYxg91kIEbp7mbBTWIPWvT1O5cWi/MYzeCRv7GwlvLXghcfIK/46wcRlly2tfEwiw6jHC9Bu+cyJqxxaGdCvmtVm5iAHYgYyDPA2yrz7+AbeaXZjMfStCWtQoir04ie98JPjjc81+CCmv1A/CrYimn6EYFj7Ktny4OaVpM7JKFqhfvQNy2IRuXC1P1RUdW3LkSCPi9a9B+TNKsuMI/WIwzQFOFJyRs3lhDr+8PFJ+Gn3PRRa/dsxlM+PU7yfB4dd1j8DxJ4280RHjG9OYZL7DXeb4IDyaPMpPLTy5hcVzvKZy0eygS3NyptDwXaugimBuDQluMv7+plpa67xv5VPwdjlfMsKVTy/HEC0GgnZNzz1mwNNdqvKkTNWDlzoEm2LxJI1aSAJWC8PzWunOein6mm2D5ZdWMOTMe/ZwoJMDj53f7TH5gYbfuiVsP0lnVxS1tu17f1DvDWoiEAIeZdKjHtDGHLoL3LqQcT/uHH1px7Hpw5vbp6iHEGA2/7ZzAYaWyApYxv/PLt9oHYJfq5r7OiOCkPXdeUg06gki47WVn5qiTizNqVlB5LoeDlg9OeGc4Yclnv8yxXtkdjHnC1fjsntbo0KX2xG8R+TxcUH/zwkE3Kb4ZK4D2FX5I5Ej30nVdOW46+Mpm0zv4XbllffQUq5dVFk+Qy/tT6LJkqHSYPzUUJ1xA3G/+HpuErEcWPIwbJs+uPwfNkiTuLeHIXQ9iSw/PxQgFolXUTR2Nn+mYL3H1em2YURHXINwJLGTdPGy3QuRix4cbyVpR1yNuKIW06Xsnw78gIWSyKFw06EkbTcpoDiNAkB7N3o48AIPKQQx4lGWYZrXkI7Ur4srXQ8d5RR6cfZRpc87rkY3kR+JbPjM8UjgzxTee3le9C5QcHoARxd+AK1c/WgWYmBwonbGuae7J3Hhohop9FjhVKTed0gc713t4dR5k8GSOPngQEQZHqKmT5tGevu0/LtH0KGN2LvdYkiSNhdq7e6nz3ImsYG/x2anbMAdhIZxDVYK9LhwDm3mJ53MYaP4ckcbkqtvrQjTwyAARgmHN5ScO950vjpebuKTnf0FTs0HiYpeK6KdNNc6dvyhxLQJSUHDBgmAKupEoSz3voxlRQ0Ce13UHGTj2hX+dPiUEbajfoz4bP0i8wyu3RmaaguRmhcWMbqRt7EpJovBvCpRsi+5qNKJZIbetEZDHROuAYF26rac2PhdH2SLarEjmJv8swJfrlJhtDqf9URx4QwWZeT35Ha9Mf6xbXD+YnEgx47q73APDypDcEyLJsfZGk4bL9Bx9yNu5j5Mq7evAbasJbEu6iALu26SeXzOulWEedanNP+U7HCZy7/O21v/bmFd306A8cIW18iW7c654ObX1V9Q2wWHAphkQujlEUTS4hWYG40xHI8xmYpDe5A3wj4h/1xGo2VjmYyYuGIvODMjZDO0O/znYeQdEWmX7C4MBnUxVSJj+WGod3tQzA2Z+yjpohHVEDFtVQ0QkfOCmNQVUE1uyk0j/XDw1xxz/zd8YJT+L/gnm3T39oiUZqdpTr5qWcSjBvcIGiolclMwHtuFqkod5mrcysl2e10DwHox/rP1UTuhoEzyG8UU8zfJPoZVGtUkNwTe8Cm7hhf68ALM68sezdakZLOqBRglzBh7f8B+7r3FyJO/Bv0PjE4Rm7zPxwgMV3sEQoX4EbCacmkGvflLN/lP6AYP/zFdwC5Hv1jZYEIB+K6449p56P17JoFJkH9nOppW3CL4rz14XdJmkIcGGQrtT31wrLeUH5I3GEEvyQkXWWXGxrr0P+aRI0u979rw7aLYgXaG+msDTHd8sok1UFFM0mpHxaxpEHzrz2oqUKm2lxaptt9HmzPuiVqQx7Fk9MucD5D2z5SuHEV+W8Ft0NErjoOXV2Hu7wMkBq3WjNYLwVLJBpk72Vsz0DTPOuxMvEaQ/vEWmf4RoY+l72wpLrdS/6oQnzF42w8UER4+9WVv59NKJHaqGXXruUHFhBptNqF/t4KfPfht2FWm6Jy9LnpmmiN1MCYOrCUgoFeMYbK/me5e/ex0UCuGkw404JDxxSryz377S9Ujp2LLoBHl0mRqz5vjxloi46QiOu+d5BBMQfpl2JEQ3wDi2mIOpX5PAvVEiDahp3EhhCjFCWHeuF+W2TcEBhIIWiD+Q0DhdNDmcKge0ChJ8NNUnSjFc/hefeFHZC4R9XoQNL767F2CLECyEmKT/eiIBPrO6WyG+NDJV5pKJG0VMXUM8bnr0Lr43Nukh4SfkaS3HeZP4silJQn9J+JLWdkDqs77TScAb+0PJQqfQNBM3mo6dTL9Q7dUiyGKT9gnJG85Og8YY7DBLyqE92xxErNw5CeLROuk231R0asHjpzYMbT2ZrZtQROFcfokwx8t/75SEyKjkZANs0UqVee0uR59I4eoGJgKKwkXnvOq8/mMvXfzqFT7S2KgMMAHspyTO/9VN7iOsxaXbNOaO439abVEsKaD/6erv1UA8p/Id2B+WBs4VTvpbCpUo1tv+3CbVifV1kMlpWh9nqhI0NU4E8YTbrAgQURjX8T00Qi+08OcBB/od5YADKTM+1HPxLN9QPGcVjSAvVWlMi8l9UWpkZxBfpmZiZHl8ouKP71LD49TrFKY7HP1ltjtz3RNoaHEJJYwzEl6ZbU4CscG04H74J78WWtPnImKHrMA7Rg0Uss2s3MSbLINsyhEyaS8okGWZN9ajPfJJpD8k6/4Op1ibY/l2AhUdfzW2mDJTft6YGWRCTGTYk8uo/+99LwFp3C48JaQ4Wr4o64T5lKDMSttL8vMEhKLMpp/upIBNZ9XKzTbk5aMcFqhnmMV8FVND3x5O4+J0SXMmzykQHhhyn0NzPf8Ri9cS57qgnkR2HXNeWvBWivpBYZE0Al97j0D6ofuD/WNRI/FtTYDHlWIjsmE5UKpx35oSqnAMLn4QpzNt4RfPGyv+vvPT51v6cWkVXG4b5hgId/uCCZVmkmnRXsRNbERwBPlGc/3Q1PATvNcwVvcDKyaBTB3/VPPjCEwZXEOe7XI4AI9mkuI+bqvN9gM9U6yJAbBmJ5z6T9mW9Ez0E0eneMIlI6YIjvPjzYWvQ8maWfW//ILzHFOlb6heMU4GlD+RfBgSaCwglJE4KOk3+i/Z+Pgmzqi5xG3I4sPYyVFJGeQmj0xEfdphlNK8K5nRyedzvD1soVNrezZcM8OG2f/WH52/E+KKIA4SNJ6k4XiosHD4S8YqWiaxm3y7d1x/+oo9MWiXJLDCDb/CgpuVpQGBcksIYlsxzg2NvUB97WekQkREPUQfnTb4DiDiXI7CgWTaiRYwtXT01NGWMBUDm4rzx/FxTtsFldydfRoaU6wTFMNH0KpqJOKd9ZiCsHKah5jSG2fh2hPgxSevQIJ/8UjrYv2vL2rdBFhrTJtonbQBsBXIIP2EO1BzFm9fILwhK/8HG+piY0kpBPKb/0G2m8+WzvbmdpxOUW/RfZ+YE6Pr42WlvlvSwrqcd7TFQQMbF5XFJxd7COv+iaebbWb96AtqOO9WAUdsnpgnU5RTZJ3kmtVkmHoZtqiYqr7JiiaKMlLSqHYwyKUst1U9LjAEZ9eJzqPVicv/wfhlciH6QAzOBxk81hiocHpFMXR8gjtB/2lo4pojFsMi6/U2AWoCp6NqnNg4U8Y9IoRg4qdcE7ATJdI2ETPMlDaiWmGiAo98ptgCGzi0/1CCOa1/EiBN6wrDegOx06MKhg8oWgQFd1ob9GIsRybHiSxT95KBclFnECSY75CApOdeWXI3RFR3J/NpWf34pWSzNhgFLk3KxJlhnC/QXsE1ZeM8WHv45e6zqZdr/MlRimHp4NS7mF1xoUpbs0VWReP9JWXjRk2fux7vNSELd9uOvEynhgtrkyBzfEkpriFSdoFTcTsLovSaTMuDRpYPGH1t3QKd4FvgazznOJvsr9nYaLpfS7TnlNDceoCkGPwqJdQz8HUKmzkfFueBWmAIj4RISGgONTIS40R14ewece6Hgka8z3Ld5RQv4ToXuLzak2Figya4cBeL1RT4fidGFE/Q2NPQQtVWIlfjtBg3p6gf95ZG1FCMiJ0focaZlQ/Anz6QfyqH+x4bstr4YpwCOC/qzlS1UaoJanYOMElRxctZmpp5TJO6qUfQLFLaPqFRGMFjSToXnnM6e+m+qrEsF5fH1UyzhkUBsUlUpi/7L3Vd3ablMO7BHOZbaESkdUiJgwtIixEJf8Pdpy6H/6PDbwit+ti/rUurUarqGzC8gWrNqxRbaZCR2whkjeQgyDbQKmYkhCbXrWTRUYIyIry2FcidCS7p2onoBxl9wY3MvxrKLpf6ZWh/xZ0grsQnxVzYhyARJXcG1ImOnwfqlS6O3WY5QL0/6IkmO9Fh772h/luzbROZfCAoxfB61hdBEafD8fCvQZiDeJb28y/qX9t0t9ev2EiPscxQAUMNf5OdxfqEO/gdJPr4bSnEMoePtiNE7aXjl7lF690rFmaVlKYuqN8c2I7FsjmE/k8ezOtkpqq5GrVUFhkDLjj8ScqrH0yVzGhgj3OiVIaEMOOBVprfydyMYIK4elbs8UbryrzhbYSYfntkIlTpN3Va89DZLZw+ZEKVNF0Y1EMutn8VIVl7d0vdAe/4paaVLSij8HyfTJUCzo6GB7auYfoLJv+gpL4Y81vgi9IiI+L67r7RmNwgppVJcy3wMK9YrH4HIlK3BVV3hP++XwH5/wtvHdSSmfdCUx3ry+WCl4GkSv0ZM5/QE07KyTuUzBnIae6zLf7PPf1emgsQkp6tTnG9wVp2TJCTvpLr6AYart51T48QBeH4ZyXEj8oARdSdfAuUKgvcKjQuwYiNWajaN1NwYC17a/tiGY7Jcx0LpoJGgWRyChxhOeiqYEAlFznejAFvWn6wzxiw1MV3fp83hC0sXV6gqhkAjKlA72gl8OTx0g8MvOCrqqVxh31TFRmAHfXHF+p5I03MsKvkCDufb6LedY4odC1r8536UkM2LtWixqAXLOzf/x55Ar1CL2A4SBc6v81oIeHpxuDLHmGu8mi5XwBflCYafJUwl7ptWXBqGQO0wkVRsEZ4yI3dE1VCqpEFFhrjbEHFpxbUtFLcZLxlLKH8FQ8HSjAXU0ftVatEDCBMn2FGq1cnSfyZmHRqVer9lCVaecMhwIOPLsn/Pn8MCETXdyh7lx6u1KBvS0qz3Kw8k+KRmCqyUZDZDTvuZPjQVYPdh7RVIkZDZRgCLlzG9ZfkfipkCFvwPj2QVIpB02q84wBkHHZb+bjtprmgZk9yvNzdLKrekjfWVBYTC3MGDaoF5BZeQKNdXvIi9a3VgNLloJTYXcSQEVkWYWNyA2JaZwL5XUMlZ8zgAvtkBMHK2EWZF+GnyuLGt6LXwj7ehx4IUGsWqnQGjOmmM7MrjkZq+FGafXtvwdaqk3z3bURXfaohsukvOBbOhXX0L+SAJUb5e3z42sYTipiZzTwYHWOY5q2G+yECIUlrFXO01nkxfeDsaJYhLAcy4vsMSUrSrBpdjzmKviUGDfVctjx1JdRKMI5EBlpCuXi2XIpFihg/TYzluqTMcW3O8JrqypPeQPaAOSmX/Mnfo92YYO1BbTdXuQApfpRvZAyGz5ZmM57TbGEKqA1nCuG4ZN5BU3Q8N6SiomZK316asy2GGb/TKSzW2mxezGzUwN3jfPII2XhpqJs3PnMNlfqEA7/Cl+i2thELUAtEYRsz+UgU+LObA+VboKyIkeQuUsTmGXOfAOjWsUrvYkcj7EgLiElxQw+0F9boKoO7pHXrP6NUdCGcW/xIjxIDhJKmGKmiBnv8K6OybeFKJB6ZvQkCxkbo5qUrzDEN/ebPLp/iV+PWmQclJr0nfTlqJe+zqb8QqkvZ/ZUDqhZj9rPm/C6HLbhKkD15llODHj20QssWC1HUcwoqjMICDXtOBfzKXDVabjCh6C492BRTUNCZq2/Kle+vEBwV7k6LKTYhPY2FMNsEFbgpUrEgoK5h6NUN4ebEXL2dSRiGJI53i9fHHtkir01c9IWYSGT6+wHDrMfpG3z/4mGeTtU8nBKmXywsysEZLQBLCWuED9QMbHPRES0Cyx9E7kyIebi1N/VOJ8q2iHYD33uDcxUu5wWN4FIfIUIkeojIrv8q9/EFtWiM801begfjg+nKO4Kzg+fTYQUiOBkyqOc2G1DmE0FhtIRY/oo0TCiE0EkaUcBcJafDj2EwjntL0c4Slu06xa2fPGTPlR65fgEzjcyaWyocwdNPfedGZfqbL/qZt5JzStiKJHQwmxjQ3/IoHAodieAFyKsWMp2CYoGTD9NeATDcPtb2eJUBp4GHIGA==" title="Mekko Graphics Chart">
            <a:extLst>
              <a:ext uri="{FF2B5EF4-FFF2-40B4-BE49-F238E27FC236}">
                <a16:creationId xmlns:a16="http://schemas.microsoft.com/office/drawing/2014/main" id="{BE4132D1-E69A-401D-AAD0-4FB4F79D725E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 bwMode="gray">
          <a:xfrm>
            <a:off x="346844" y="1947054"/>
            <a:ext cx="11508907" cy="4461672"/>
          </a:xfrm>
          <a:prstGeom prst="rect">
            <a:avLst/>
          </a:prstGeom>
          <a:blipFill>
            <a:blip r:embed="rId8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2" name="btfpStatusSticker721941">
            <a:extLst>
              <a:ext uri="{FF2B5EF4-FFF2-40B4-BE49-F238E27FC236}">
                <a16:creationId xmlns:a16="http://schemas.microsoft.com/office/drawing/2014/main" id="{3008C5E1-A58A-437F-81AE-2107526FE35B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100356" y="955344"/>
            <a:ext cx="1761444" cy="235611"/>
            <a:chOff x="-2280176" y="876300"/>
            <a:chExt cx="1761444" cy="235611"/>
          </a:xfrm>
        </p:grpSpPr>
        <p:sp>
          <p:nvSpPr>
            <p:cNvPr id="20" name="btfpStatusStickerText721941">
              <a:extLst>
                <a:ext uri="{FF2B5EF4-FFF2-40B4-BE49-F238E27FC236}">
                  <a16:creationId xmlns:a16="http://schemas.microsoft.com/office/drawing/2014/main" id="{70F05AA4-1BB2-4994-87B4-27A566C7E8F2}"/>
                </a:ext>
              </a:extLst>
            </p:cNvPr>
            <p:cNvSpPr txBox="1"/>
            <p:nvPr/>
          </p:nvSpPr>
          <p:spPr bwMode="gray">
            <a:xfrm>
              <a:off x="-2280176" y="876300"/>
              <a:ext cx="17614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LIMINARY</a:t>
              </a:r>
            </a:p>
          </p:txBody>
        </p:sp>
        <p:cxnSp>
          <p:nvCxnSpPr>
            <p:cNvPr id="21" name="btfpStatusStickerLine721941">
              <a:extLst>
                <a:ext uri="{FF2B5EF4-FFF2-40B4-BE49-F238E27FC236}">
                  <a16:creationId xmlns:a16="http://schemas.microsoft.com/office/drawing/2014/main" id="{4F9F5B80-EB35-4C55-A6F3-043A5867D8B0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80176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766908BF-20C8-49E5-B0A1-DB4019BDFB6F}"/>
              </a:ext>
            </a:extLst>
          </p:cNvPr>
          <p:cNvSpPr/>
          <p:nvPr/>
        </p:nvSpPr>
        <p:spPr bwMode="gray">
          <a:xfrm>
            <a:off x="340699" y="1350954"/>
            <a:ext cx="11510599" cy="54965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 </a:t>
            </a:r>
            <a:r>
              <a:rPr kumimoji="0" lang="pl-PL" sz="1000" b="0" i="1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at</a:t>
            </a:r>
            <a:r>
              <a:rPr kumimoji="0" lang="pl-PL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re </a:t>
            </a: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most important criteria 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en evaluating whether or not </a:t>
            </a: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use a particular provider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</a:t>
            </a:r>
            <a:b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 </a:t>
            </a:r>
            <a:r>
              <a:rPr kumimoji="0" lang="pl-PL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</a:t>
            </a:r>
            <a:r>
              <a:rPr kumimoji="0" lang="pl-PL" sz="1000" b="0" i="1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ummy</a:t>
            </a:r>
            <a:r>
              <a:rPr kumimoji="0" lang="pl-PL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 you </a:t>
            </a: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ank 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ir </a:t>
            </a: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formance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gainst the below criteria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7BF81D7-B14C-42CA-8391-B9A55F0E4E1F}"/>
              </a:ext>
            </a:extLst>
          </p:cNvPr>
          <p:cNvSpPr/>
          <p:nvPr/>
        </p:nvSpPr>
        <p:spPr bwMode="gray">
          <a:xfrm>
            <a:off x="9094237" y="1891970"/>
            <a:ext cx="2550367" cy="315449"/>
          </a:xfrm>
          <a:prstGeom prst="roundRect">
            <a:avLst>
              <a:gd name="adj" fmla="val 50000"/>
            </a:avLst>
          </a:prstGeom>
          <a:solidFill>
            <a:srgbClr val="A3BCD3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1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ding</a:t>
            </a:r>
            <a:r>
              <a:rPr kumimoji="0" lang="pl-PL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N = XXX) for </a:t>
            </a:r>
            <a:r>
              <a:rPr kumimoji="0" lang="pl-PL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ach</a:t>
            </a:r>
            <a:r>
              <a:rPr kumimoji="0" lang="pl-PL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brand </a:t>
            </a:r>
            <a:r>
              <a:rPr kumimoji="0" lang="pl-PL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tional</a:t>
            </a: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btfpNotesBox350040">
            <a:extLst>
              <a:ext uri="{FF2B5EF4-FFF2-40B4-BE49-F238E27FC236}">
                <a16:creationId xmlns:a16="http://schemas.microsoft.com/office/drawing/2014/main" id="{8A90A9BA-9F38-48CD-A97A-AD6D38BA58D2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</a:t>
            </a:r>
          </a:p>
        </p:txBody>
      </p:sp>
      <p:grpSp>
        <p:nvGrpSpPr>
          <p:cNvPr id="28" name="btfpRunningAgenda1Level644957">
            <a:extLst>
              <a:ext uri="{FF2B5EF4-FFF2-40B4-BE49-F238E27FC236}">
                <a16:creationId xmlns:a16="http://schemas.microsoft.com/office/drawing/2014/main" id="{3147978C-D11E-486E-AEC5-2DAD0B5E155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0" y="944429"/>
            <a:ext cx="4267863" cy="257442"/>
            <a:chOff x="0" y="876300"/>
            <a:chExt cx="4267863" cy="257442"/>
          </a:xfrm>
        </p:grpSpPr>
        <p:sp>
          <p:nvSpPr>
            <p:cNvPr id="29" name="btfpRunningAgenda1LevelBarLeft644957">
              <a:extLst>
                <a:ext uri="{FF2B5EF4-FFF2-40B4-BE49-F238E27FC236}">
                  <a16:creationId xmlns:a16="http://schemas.microsoft.com/office/drawing/2014/main" id="{328DE550-E761-4390-B376-21A54DDFE71A}"/>
                </a:ext>
              </a:extLst>
            </p:cNvPr>
            <p:cNvSpPr/>
            <p:nvPr/>
          </p:nvSpPr>
          <p:spPr bwMode="gray">
            <a:xfrm>
              <a:off x="0" y="876300"/>
              <a:ext cx="4267863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79416 w 1279416"/>
                <a:gd name="connsiteY0" fmla="*/ 0 h 257442"/>
                <a:gd name="connsiteX1" fmla="*/ 1056380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4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111102 w 1224695"/>
                <a:gd name="connsiteY0" fmla="*/ 0 h 257442"/>
                <a:gd name="connsiteX1" fmla="*/ 1224695 w 1224695"/>
                <a:gd name="connsiteY1" fmla="*/ 257442 h 257442"/>
                <a:gd name="connsiteX2" fmla="*/ 0 w 1224695"/>
                <a:gd name="connsiteY2" fmla="*/ 257442 h 257442"/>
                <a:gd name="connsiteX3" fmla="*/ 1 w 1224695"/>
                <a:gd name="connsiteY3" fmla="*/ 0 h 257442"/>
                <a:gd name="connsiteX0" fmla="*/ 1111102 w 1111102"/>
                <a:gd name="connsiteY0" fmla="*/ 0 h 257442"/>
                <a:gd name="connsiteX1" fmla="*/ 1056381 w 1111102"/>
                <a:gd name="connsiteY1" fmla="*/ 257442 h 257442"/>
                <a:gd name="connsiteX2" fmla="*/ 0 w 1111102"/>
                <a:gd name="connsiteY2" fmla="*/ 257442 h 257442"/>
                <a:gd name="connsiteX3" fmla="*/ 1 w 1111102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950801 w 1056380"/>
                <a:gd name="connsiteY0" fmla="*/ 0 h 257442"/>
                <a:gd name="connsiteX1" fmla="*/ 1056380 w 1056380"/>
                <a:gd name="connsiteY1" fmla="*/ 257442 h 257442"/>
                <a:gd name="connsiteX2" fmla="*/ 0 w 1056380"/>
                <a:gd name="connsiteY2" fmla="*/ 257442 h 257442"/>
                <a:gd name="connsiteX3" fmla="*/ 0 w 1056380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111100 w 1111100"/>
                <a:gd name="connsiteY0" fmla="*/ 0 h 257442"/>
                <a:gd name="connsiteX1" fmla="*/ 896079 w 1111100"/>
                <a:gd name="connsiteY1" fmla="*/ 257442 h 257442"/>
                <a:gd name="connsiteX2" fmla="*/ 0 w 1111100"/>
                <a:gd name="connsiteY2" fmla="*/ 257442 h 257442"/>
                <a:gd name="connsiteX3" fmla="*/ 0 w 1111100"/>
                <a:gd name="connsiteY3" fmla="*/ 0 h 257442"/>
                <a:gd name="connsiteX0" fmla="*/ 1111100 w 1111100"/>
                <a:gd name="connsiteY0" fmla="*/ 0 h 257442"/>
                <a:gd name="connsiteX1" fmla="*/ 1056379 w 1111100"/>
                <a:gd name="connsiteY1" fmla="*/ 257442 h 257442"/>
                <a:gd name="connsiteX2" fmla="*/ 0 w 1111100"/>
                <a:gd name="connsiteY2" fmla="*/ 257442 h 257442"/>
                <a:gd name="connsiteX3" fmla="*/ 0 w 1111100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271403 w 1271403"/>
                <a:gd name="connsiteY0" fmla="*/ 0 h 257442"/>
                <a:gd name="connsiteX1" fmla="*/ 1056380 w 1271403"/>
                <a:gd name="connsiteY1" fmla="*/ 257442 h 257442"/>
                <a:gd name="connsiteX2" fmla="*/ 0 w 1271403"/>
                <a:gd name="connsiteY2" fmla="*/ 257442 h 257442"/>
                <a:gd name="connsiteX3" fmla="*/ 1 w 1271403"/>
                <a:gd name="connsiteY3" fmla="*/ 0 h 257442"/>
                <a:gd name="connsiteX0" fmla="*/ 1271403 w 1271403"/>
                <a:gd name="connsiteY0" fmla="*/ 0 h 257442"/>
                <a:gd name="connsiteX1" fmla="*/ 1216682 w 1271403"/>
                <a:gd name="connsiteY1" fmla="*/ 257442 h 257442"/>
                <a:gd name="connsiteX2" fmla="*/ 0 w 1271403"/>
                <a:gd name="connsiteY2" fmla="*/ 257442 h 257442"/>
                <a:gd name="connsiteX3" fmla="*/ 1 w 1271403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3 w 1271403"/>
                <a:gd name="connsiteY0" fmla="*/ 0 h 257442"/>
                <a:gd name="connsiteX1" fmla="*/ 1216682 w 1271403"/>
                <a:gd name="connsiteY1" fmla="*/ 257442 h 257442"/>
                <a:gd name="connsiteX2" fmla="*/ 1 w 1271403"/>
                <a:gd name="connsiteY2" fmla="*/ 257442 h 257442"/>
                <a:gd name="connsiteX3" fmla="*/ 0 w 1271403"/>
                <a:gd name="connsiteY3" fmla="*/ 0 h 257442"/>
                <a:gd name="connsiteX0" fmla="*/ 1529935 w 1529935"/>
                <a:gd name="connsiteY0" fmla="*/ 0 h 257442"/>
                <a:gd name="connsiteX1" fmla="*/ 1216682 w 1529935"/>
                <a:gd name="connsiteY1" fmla="*/ 257442 h 257442"/>
                <a:gd name="connsiteX2" fmla="*/ 1 w 1529935"/>
                <a:gd name="connsiteY2" fmla="*/ 257442 h 257442"/>
                <a:gd name="connsiteX3" fmla="*/ 0 w 1529935"/>
                <a:gd name="connsiteY3" fmla="*/ 0 h 257442"/>
                <a:gd name="connsiteX0" fmla="*/ 1529935 w 1529935"/>
                <a:gd name="connsiteY0" fmla="*/ 0 h 257442"/>
                <a:gd name="connsiteX1" fmla="*/ 1475214 w 1529935"/>
                <a:gd name="connsiteY1" fmla="*/ 257442 h 257442"/>
                <a:gd name="connsiteX2" fmla="*/ 1 w 1529935"/>
                <a:gd name="connsiteY2" fmla="*/ 257442 h 257442"/>
                <a:gd name="connsiteX3" fmla="*/ 0 w 1529935"/>
                <a:gd name="connsiteY3" fmla="*/ 0 h 257442"/>
                <a:gd name="connsiteX0" fmla="*/ 1529935 w 1529935"/>
                <a:gd name="connsiteY0" fmla="*/ 0 h 257442"/>
                <a:gd name="connsiteX1" fmla="*/ 1475214 w 1529935"/>
                <a:gd name="connsiteY1" fmla="*/ 257442 h 257442"/>
                <a:gd name="connsiteX2" fmla="*/ 1 w 1529935"/>
                <a:gd name="connsiteY2" fmla="*/ 257442 h 257442"/>
                <a:gd name="connsiteX3" fmla="*/ 0 w 1529935"/>
                <a:gd name="connsiteY3" fmla="*/ 0 h 257442"/>
                <a:gd name="connsiteX0" fmla="*/ 1529934 w 1529934"/>
                <a:gd name="connsiteY0" fmla="*/ 0 h 257442"/>
                <a:gd name="connsiteX1" fmla="*/ 1475213 w 1529934"/>
                <a:gd name="connsiteY1" fmla="*/ 257442 h 257442"/>
                <a:gd name="connsiteX2" fmla="*/ 0 w 1529934"/>
                <a:gd name="connsiteY2" fmla="*/ 257442 h 257442"/>
                <a:gd name="connsiteX3" fmla="*/ 0 w 1529934"/>
                <a:gd name="connsiteY3" fmla="*/ 0 h 257442"/>
                <a:gd name="connsiteX0" fmla="*/ 1698248 w 1698248"/>
                <a:gd name="connsiteY0" fmla="*/ 0 h 257442"/>
                <a:gd name="connsiteX1" fmla="*/ 1475213 w 1698248"/>
                <a:gd name="connsiteY1" fmla="*/ 257442 h 257442"/>
                <a:gd name="connsiteX2" fmla="*/ 0 w 1698248"/>
                <a:gd name="connsiteY2" fmla="*/ 257442 h 257442"/>
                <a:gd name="connsiteX3" fmla="*/ 0 w 1698248"/>
                <a:gd name="connsiteY3" fmla="*/ 0 h 257442"/>
                <a:gd name="connsiteX0" fmla="*/ 1698248 w 1698248"/>
                <a:gd name="connsiteY0" fmla="*/ 0 h 257442"/>
                <a:gd name="connsiteX1" fmla="*/ 1643527 w 1698248"/>
                <a:gd name="connsiteY1" fmla="*/ 257442 h 257442"/>
                <a:gd name="connsiteX2" fmla="*/ 0 w 1698248"/>
                <a:gd name="connsiteY2" fmla="*/ 257442 h 257442"/>
                <a:gd name="connsiteX3" fmla="*/ 0 w 1698248"/>
                <a:gd name="connsiteY3" fmla="*/ 0 h 257442"/>
                <a:gd name="connsiteX0" fmla="*/ 1698249 w 1698249"/>
                <a:gd name="connsiteY0" fmla="*/ 0 h 257442"/>
                <a:gd name="connsiteX1" fmla="*/ 1643528 w 1698249"/>
                <a:gd name="connsiteY1" fmla="*/ 257442 h 257442"/>
                <a:gd name="connsiteX2" fmla="*/ 0 w 1698249"/>
                <a:gd name="connsiteY2" fmla="*/ 257442 h 257442"/>
                <a:gd name="connsiteX3" fmla="*/ 1 w 1698249"/>
                <a:gd name="connsiteY3" fmla="*/ 0 h 257442"/>
                <a:gd name="connsiteX0" fmla="*/ 1698249 w 1698249"/>
                <a:gd name="connsiteY0" fmla="*/ 0 h 257442"/>
                <a:gd name="connsiteX1" fmla="*/ 1643528 w 1698249"/>
                <a:gd name="connsiteY1" fmla="*/ 257442 h 257442"/>
                <a:gd name="connsiteX2" fmla="*/ 0 w 1698249"/>
                <a:gd name="connsiteY2" fmla="*/ 257442 h 257442"/>
                <a:gd name="connsiteX3" fmla="*/ 1 w 1698249"/>
                <a:gd name="connsiteY3" fmla="*/ 0 h 257442"/>
                <a:gd name="connsiteX0" fmla="*/ 1866566 w 1866566"/>
                <a:gd name="connsiteY0" fmla="*/ 0 h 257442"/>
                <a:gd name="connsiteX1" fmla="*/ 1643528 w 1866566"/>
                <a:gd name="connsiteY1" fmla="*/ 257442 h 257442"/>
                <a:gd name="connsiteX2" fmla="*/ 0 w 1866566"/>
                <a:gd name="connsiteY2" fmla="*/ 257442 h 257442"/>
                <a:gd name="connsiteX3" fmla="*/ 1 w 1866566"/>
                <a:gd name="connsiteY3" fmla="*/ 0 h 257442"/>
                <a:gd name="connsiteX0" fmla="*/ 1866566 w 1866566"/>
                <a:gd name="connsiteY0" fmla="*/ 0 h 257442"/>
                <a:gd name="connsiteX1" fmla="*/ 1811844 w 1866566"/>
                <a:gd name="connsiteY1" fmla="*/ 257442 h 257442"/>
                <a:gd name="connsiteX2" fmla="*/ 0 w 1866566"/>
                <a:gd name="connsiteY2" fmla="*/ 257442 h 257442"/>
                <a:gd name="connsiteX3" fmla="*/ 1 w 1866566"/>
                <a:gd name="connsiteY3" fmla="*/ 0 h 257442"/>
                <a:gd name="connsiteX0" fmla="*/ 1866566 w 1866566"/>
                <a:gd name="connsiteY0" fmla="*/ 0 h 257442"/>
                <a:gd name="connsiteX1" fmla="*/ 1811844 w 1866566"/>
                <a:gd name="connsiteY1" fmla="*/ 257442 h 257442"/>
                <a:gd name="connsiteX2" fmla="*/ 0 w 1866566"/>
                <a:gd name="connsiteY2" fmla="*/ 257442 h 257442"/>
                <a:gd name="connsiteX3" fmla="*/ 1 w 1866566"/>
                <a:gd name="connsiteY3" fmla="*/ 0 h 257442"/>
                <a:gd name="connsiteX0" fmla="*/ 1866566 w 1866566"/>
                <a:gd name="connsiteY0" fmla="*/ 0 h 257442"/>
                <a:gd name="connsiteX1" fmla="*/ 1811844 w 1866566"/>
                <a:gd name="connsiteY1" fmla="*/ 257442 h 257442"/>
                <a:gd name="connsiteX2" fmla="*/ 0 w 1866566"/>
                <a:gd name="connsiteY2" fmla="*/ 257442 h 257442"/>
                <a:gd name="connsiteX3" fmla="*/ 0 w 1866566"/>
                <a:gd name="connsiteY3" fmla="*/ 0 h 257442"/>
                <a:gd name="connsiteX0" fmla="*/ 2034879 w 2034879"/>
                <a:gd name="connsiteY0" fmla="*/ 0 h 257442"/>
                <a:gd name="connsiteX1" fmla="*/ 1811844 w 2034879"/>
                <a:gd name="connsiteY1" fmla="*/ 257442 h 257442"/>
                <a:gd name="connsiteX2" fmla="*/ 0 w 2034879"/>
                <a:gd name="connsiteY2" fmla="*/ 257442 h 257442"/>
                <a:gd name="connsiteX3" fmla="*/ 0 w 2034879"/>
                <a:gd name="connsiteY3" fmla="*/ 0 h 257442"/>
                <a:gd name="connsiteX0" fmla="*/ 2034879 w 2034879"/>
                <a:gd name="connsiteY0" fmla="*/ 0 h 257442"/>
                <a:gd name="connsiteX1" fmla="*/ 1980158 w 2034879"/>
                <a:gd name="connsiteY1" fmla="*/ 257442 h 257442"/>
                <a:gd name="connsiteX2" fmla="*/ 0 w 2034879"/>
                <a:gd name="connsiteY2" fmla="*/ 257442 h 257442"/>
                <a:gd name="connsiteX3" fmla="*/ 0 w 2034879"/>
                <a:gd name="connsiteY3" fmla="*/ 0 h 257442"/>
                <a:gd name="connsiteX0" fmla="*/ 2034879 w 2034879"/>
                <a:gd name="connsiteY0" fmla="*/ 0 h 257442"/>
                <a:gd name="connsiteX1" fmla="*/ 1980158 w 2034879"/>
                <a:gd name="connsiteY1" fmla="*/ 257442 h 257442"/>
                <a:gd name="connsiteX2" fmla="*/ 0 w 2034879"/>
                <a:gd name="connsiteY2" fmla="*/ 257442 h 257442"/>
                <a:gd name="connsiteX3" fmla="*/ 0 w 2034879"/>
                <a:gd name="connsiteY3" fmla="*/ 0 h 257442"/>
                <a:gd name="connsiteX0" fmla="*/ 2034879 w 2034879"/>
                <a:gd name="connsiteY0" fmla="*/ 0 h 257442"/>
                <a:gd name="connsiteX1" fmla="*/ 1980158 w 2034879"/>
                <a:gd name="connsiteY1" fmla="*/ 257442 h 257442"/>
                <a:gd name="connsiteX2" fmla="*/ 0 w 2034879"/>
                <a:gd name="connsiteY2" fmla="*/ 257442 h 257442"/>
                <a:gd name="connsiteX3" fmla="*/ 0 w 2034879"/>
                <a:gd name="connsiteY3" fmla="*/ 0 h 257442"/>
                <a:gd name="connsiteX0" fmla="*/ 2203195 w 2203195"/>
                <a:gd name="connsiteY0" fmla="*/ 0 h 257442"/>
                <a:gd name="connsiteX1" fmla="*/ 1980158 w 2203195"/>
                <a:gd name="connsiteY1" fmla="*/ 257442 h 257442"/>
                <a:gd name="connsiteX2" fmla="*/ 0 w 2203195"/>
                <a:gd name="connsiteY2" fmla="*/ 257442 h 257442"/>
                <a:gd name="connsiteX3" fmla="*/ 0 w 2203195"/>
                <a:gd name="connsiteY3" fmla="*/ 0 h 257442"/>
                <a:gd name="connsiteX0" fmla="*/ 2203195 w 2203195"/>
                <a:gd name="connsiteY0" fmla="*/ 0 h 257442"/>
                <a:gd name="connsiteX1" fmla="*/ 2148474 w 2203195"/>
                <a:gd name="connsiteY1" fmla="*/ 257442 h 257442"/>
                <a:gd name="connsiteX2" fmla="*/ 0 w 2203195"/>
                <a:gd name="connsiteY2" fmla="*/ 257442 h 257442"/>
                <a:gd name="connsiteX3" fmla="*/ 0 w 2203195"/>
                <a:gd name="connsiteY3" fmla="*/ 0 h 257442"/>
                <a:gd name="connsiteX0" fmla="*/ 2203195 w 2203195"/>
                <a:gd name="connsiteY0" fmla="*/ 0 h 257442"/>
                <a:gd name="connsiteX1" fmla="*/ 2148474 w 2203195"/>
                <a:gd name="connsiteY1" fmla="*/ 257442 h 257442"/>
                <a:gd name="connsiteX2" fmla="*/ 0 w 2203195"/>
                <a:gd name="connsiteY2" fmla="*/ 257442 h 257442"/>
                <a:gd name="connsiteX3" fmla="*/ 0 w 2203195"/>
                <a:gd name="connsiteY3" fmla="*/ 0 h 257442"/>
                <a:gd name="connsiteX0" fmla="*/ 2203195 w 2203195"/>
                <a:gd name="connsiteY0" fmla="*/ 0 h 257442"/>
                <a:gd name="connsiteX1" fmla="*/ 2148474 w 2203195"/>
                <a:gd name="connsiteY1" fmla="*/ 257442 h 257442"/>
                <a:gd name="connsiteX2" fmla="*/ 0 w 2203195"/>
                <a:gd name="connsiteY2" fmla="*/ 257442 h 257442"/>
                <a:gd name="connsiteX3" fmla="*/ 0 w 2203195"/>
                <a:gd name="connsiteY3" fmla="*/ 0 h 257442"/>
                <a:gd name="connsiteX0" fmla="*/ 2371510 w 2371510"/>
                <a:gd name="connsiteY0" fmla="*/ 0 h 257442"/>
                <a:gd name="connsiteX1" fmla="*/ 2148474 w 2371510"/>
                <a:gd name="connsiteY1" fmla="*/ 257442 h 257442"/>
                <a:gd name="connsiteX2" fmla="*/ 0 w 2371510"/>
                <a:gd name="connsiteY2" fmla="*/ 257442 h 257442"/>
                <a:gd name="connsiteX3" fmla="*/ 0 w 2371510"/>
                <a:gd name="connsiteY3" fmla="*/ 0 h 257442"/>
                <a:gd name="connsiteX0" fmla="*/ 2371510 w 2371510"/>
                <a:gd name="connsiteY0" fmla="*/ 0 h 257442"/>
                <a:gd name="connsiteX1" fmla="*/ 2316788 w 2371510"/>
                <a:gd name="connsiteY1" fmla="*/ 257442 h 257442"/>
                <a:gd name="connsiteX2" fmla="*/ 0 w 2371510"/>
                <a:gd name="connsiteY2" fmla="*/ 257442 h 257442"/>
                <a:gd name="connsiteX3" fmla="*/ 0 w 2371510"/>
                <a:gd name="connsiteY3" fmla="*/ 0 h 257442"/>
                <a:gd name="connsiteX0" fmla="*/ 2371511 w 2371511"/>
                <a:gd name="connsiteY0" fmla="*/ 0 h 257442"/>
                <a:gd name="connsiteX1" fmla="*/ 2316789 w 2371511"/>
                <a:gd name="connsiteY1" fmla="*/ 257442 h 257442"/>
                <a:gd name="connsiteX2" fmla="*/ 0 w 2371511"/>
                <a:gd name="connsiteY2" fmla="*/ 257442 h 257442"/>
                <a:gd name="connsiteX3" fmla="*/ 1 w 2371511"/>
                <a:gd name="connsiteY3" fmla="*/ 0 h 257442"/>
                <a:gd name="connsiteX0" fmla="*/ 2371511 w 2371511"/>
                <a:gd name="connsiteY0" fmla="*/ 0 h 257442"/>
                <a:gd name="connsiteX1" fmla="*/ 2316789 w 2371511"/>
                <a:gd name="connsiteY1" fmla="*/ 257442 h 257442"/>
                <a:gd name="connsiteX2" fmla="*/ 0 w 2371511"/>
                <a:gd name="connsiteY2" fmla="*/ 257442 h 257442"/>
                <a:gd name="connsiteX3" fmla="*/ 1 w 2371511"/>
                <a:gd name="connsiteY3" fmla="*/ 0 h 257442"/>
                <a:gd name="connsiteX0" fmla="*/ 2531811 w 2531811"/>
                <a:gd name="connsiteY0" fmla="*/ 0 h 257442"/>
                <a:gd name="connsiteX1" fmla="*/ 2316789 w 2531811"/>
                <a:gd name="connsiteY1" fmla="*/ 257442 h 257442"/>
                <a:gd name="connsiteX2" fmla="*/ 0 w 2531811"/>
                <a:gd name="connsiteY2" fmla="*/ 257442 h 257442"/>
                <a:gd name="connsiteX3" fmla="*/ 1 w 2531811"/>
                <a:gd name="connsiteY3" fmla="*/ 0 h 257442"/>
                <a:gd name="connsiteX0" fmla="*/ 2531811 w 2531811"/>
                <a:gd name="connsiteY0" fmla="*/ 0 h 257442"/>
                <a:gd name="connsiteX1" fmla="*/ 2477090 w 2531811"/>
                <a:gd name="connsiteY1" fmla="*/ 257442 h 257442"/>
                <a:gd name="connsiteX2" fmla="*/ 0 w 2531811"/>
                <a:gd name="connsiteY2" fmla="*/ 257442 h 257442"/>
                <a:gd name="connsiteX3" fmla="*/ 1 w 2531811"/>
                <a:gd name="connsiteY3" fmla="*/ 0 h 257442"/>
                <a:gd name="connsiteX0" fmla="*/ 2531810 w 2531810"/>
                <a:gd name="connsiteY0" fmla="*/ 0 h 257442"/>
                <a:gd name="connsiteX1" fmla="*/ 2477089 w 2531810"/>
                <a:gd name="connsiteY1" fmla="*/ 257442 h 257442"/>
                <a:gd name="connsiteX2" fmla="*/ 0 w 2531810"/>
                <a:gd name="connsiteY2" fmla="*/ 257442 h 257442"/>
                <a:gd name="connsiteX3" fmla="*/ 0 w 2531810"/>
                <a:gd name="connsiteY3" fmla="*/ 0 h 257442"/>
                <a:gd name="connsiteX0" fmla="*/ 2531811 w 2531811"/>
                <a:gd name="connsiteY0" fmla="*/ 0 h 257442"/>
                <a:gd name="connsiteX1" fmla="*/ 2477090 w 2531811"/>
                <a:gd name="connsiteY1" fmla="*/ 257442 h 257442"/>
                <a:gd name="connsiteX2" fmla="*/ 1 w 2531811"/>
                <a:gd name="connsiteY2" fmla="*/ 257442 h 257442"/>
                <a:gd name="connsiteX3" fmla="*/ 0 w 2531811"/>
                <a:gd name="connsiteY3" fmla="*/ 0 h 257442"/>
                <a:gd name="connsiteX0" fmla="*/ 2801116 w 2801116"/>
                <a:gd name="connsiteY0" fmla="*/ 0 h 257442"/>
                <a:gd name="connsiteX1" fmla="*/ 2477090 w 2801116"/>
                <a:gd name="connsiteY1" fmla="*/ 257442 h 257442"/>
                <a:gd name="connsiteX2" fmla="*/ 1 w 2801116"/>
                <a:gd name="connsiteY2" fmla="*/ 257442 h 257442"/>
                <a:gd name="connsiteX3" fmla="*/ 0 w 2801116"/>
                <a:gd name="connsiteY3" fmla="*/ 0 h 257442"/>
                <a:gd name="connsiteX0" fmla="*/ 2801116 w 2801116"/>
                <a:gd name="connsiteY0" fmla="*/ 0 h 257442"/>
                <a:gd name="connsiteX1" fmla="*/ 2746394 w 2801116"/>
                <a:gd name="connsiteY1" fmla="*/ 257442 h 257442"/>
                <a:gd name="connsiteX2" fmla="*/ 1 w 2801116"/>
                <a:gd name="connsiteY2" fmla="*/ 257442 h 257442"/>
                <a:gd name="connsiteX3" fmla="*/ 0 w 2801116"/>
                <a:gd name="connsiteY3" fmla="*/ 0 h 257442"/>
                <a:gd name="connsiteX0" fmla="*/ 2801116 w 2801116"/>
                <a:gd name="connsiteY0" fmla="*/ 0 h 257442"/>
                <a:gd name="connsiteX1" fmla="*/ 2746394 w 2801116"/>
                <a:gd name="connsiteY1" fmla="*/ 257442 h 257442"/>
                <a:gd name="connsiteX2" fmla="*/ 0 w 2801116"/>
                <a:gd name="connsiteY2" fmla="*/ 257442 h 257442"/>
                <a:gd name="connsiteX3" fmla="*/ 0 w 2801116"/>
                <a:gd name="connsiteY3" fmla="*/ 0 h 257442"/>
                <a:gd name="connsiteX0" fmla="*/ 2801116 w 2801116"/>
                <a:gd name="connsiteY0" fmla="*/ 0 h 257442"/>
                <a:gd name="connsiteX1" fmla="*/ 2746394 w 2801116"/>
                <a:gd name="connsiteY1" fmla="*/ 257442 h 257442"/>
                <a:gd name="connsiteX2" fmla="*/ 0 w 2801116"/>
                <a:gd name="connsiteY2" fmla="*/ 257442 h 257442"/>
                <a:gd name="connsiteX3" fmla="*/ 0 w 2801116"/>
                <a:gd name="connsiteY3" fmla="*/ 0 h 257442"/>
                <a:gd name="connsiteX0" fmla="*/ 2979049 w 2979049"/>
                <a:gd name="connsiteY0" fmla="*/ 0 h 257442"/>
                <a:gd name="connsiteX1" fmla="*/ 2746394 w 2979049"/>
                <a:gd name="connsiteY1" fmla="*/ 257442 h 257442"/>
                <a:gd name="connsiteX2" fmla="*/ 0 w 2979049"/>
                <a:gd name="connsiteY2" fmla="*/ 257442 h 257442"/>
                <a:gd name="connsiteX3" fmla="*/ 0 w 2979049"/>
                <a:gd name="connsiteY3" fmla="*/ 0 h 257442"/>
                <a:gd name="connsiteX0" fmla="*/ 2979049 w 2979049"/>
                <a:gd name="connsiteY0" fmla="*/ 0 h 257442"/>
                <a:gd name="connsiteX1" fmla="*/ 2924328 w 2979049"/>
                <a:gd name="connsiteY1" fmla="*/ 257442 h 257442"/>
                <a:gd name="connsiteX2" fmla="*/ 0 w 2979049"/>
                <a:gd name="connsiteY2" fmla="*/ 257442 h 257442"/>
                <a:gd name="connsiteX3" fmla="*/ 0 w 2979049"/>
                <a:gd name="connsiteY3" fmla="*/ 0 h 257442"/>
                <a:gd name="connsiteX0" fmla="*/ 2979049 w 2979049"/>
                <a:gd name="connsiteY0" fmla="*/ 0 h 257442"/>
                <a:gd name="connsiteX1" fmla="*/ 2924328 w 2979049"/>
                <a:gd name="connsiteY1" fmla="*/ 257442 h 257442"/>
                <a:gd name="connsiteX2" fmla="*/ 0 w 2979049"/>
                <a:gd name="connsiteY2" fmla="*/ 257442 h 257442"/>
                <a:gd name="connsiteX3" fmla="*/ 0 w 2979049"/>
                <a:gd name="connsiteY3" fmla="*/ 0 h 257442"/>
                <a:gd name="connsiteX0" fmla="*/ 2979049 w 2979049"/>
                <a:gd name="connsiteY0" fmla="*/ 0 h 257442"/>
                <a:gd name="connsiteX1" fmla="*/ 2924328 w 2979049"/>
                <a:gd name="connsiteY1" fmla="*/ 257442 h 257442"/>
                <a:gd name="connsiteX2" fmla="*/ 0 w 2979049"/>
                <a:gd name="connsiteY2" fmla="*/ 257442 h 257442"/>
                <a:gd name="connsiteX3" fmla="*/ 0 w 2979049"/>
                <a:gd name="connsiteY3" fmla="*/ 0 h 257442"/>
                <a:gd name="connsiteX0" fmla="*/ 3248353 w 3248353"/>
                <a:gd name="connsiteY0" fmla="*/ 0 h 257442"/>
                <a:gd name="connsiteX1" fmla="*/ 2924328 w 3248353"/>
                <a:gd name="connsiteY1" fmla="*/ 257442 h 257442"/>
                <a:gd name="connsiteX2" fmla="*/ 0 w 3248353"/>
                <a:gd name="connsiteY2" fmla="*/ 257442 h 257442"/>
                <a:gd name="connsiteX3" fmla="*/ 0 w 3248353"/>
                <a:gd name="connsiteY3" fmla="*/ 0 h 257442"/>
                <a:gd name="connsiteX0" fmla="*/ 3248353 w 3248353"/>
                <a:gd name="connsiteY0" fmla="*/ 0 h 257442"/>
                <a:gd name="connsiteX1" fmla="*/ 3193632 w 3248353"/>
                <a:gd name="connsiteY1" fmla="*/ 257442 h 257442"/>
                <a:gd name="connsiteX2" fmla="*/ 0 w 3248353"/>
                <a:gd name="connsiteY2" fmla="*/ 257442 h 257442"/>
                <a:gd name="connsiteX3" fmla="*/ 0 w 3248353"/>
                <a:gd name="connsiteY3" fmla="*/ 0 h 257442"/>
                <a:gd name="connsiteX0" fmla="*/ 3248353 w 3248353"/>
                <a:gd name="connsiteY0" fmla="*/ 0 h 257442"/>
                <a:gd name="connsiteX1" fmla="*/ 3193632 w 3248353"/>
                <a:gd name="connsiteY1" fmla="*/ 257442 h 257442"/>
                <a:gd name="connsiteX2" fmla="*/ 0 w 3248353"/>
                <a:gd name="connsiteY2" fmla="*/ 257442 h 257442"/>
                <a:gd name="connsiteX3" fmla="*/ 0 w 3248353"/>
                <a:gd name="connsiteY3" fmla="*/ 0 h 257442"/>
                <a:gd name="connsiteX0" fmla="*/ 3248353 w 3248353"/>
                <a:gd name="connsiteY0" fmla="*/ 0 h 257442"/>
                <a:gd name="connsiteX1" fmla="*/ 3193632 w 3248353"/>
                <a:gd name="connsiteY1" fmla="*/ 257442 h 257442"/>
                <a:gd name="connsiteX2" fmla="*/ 0 w 3248353"/>
                <a:gd name="connsiteY2" fmla="*/ 257442 h 257442"/>
                <a:gd name="connsiteX3" fmla="*/ 0 w 3248353"/>
                <a:gd name="connsiteY3" fmla="*/ 0 h 257442"/>
                <a:gd name="connsiteX0" fmla="*/ 3416668 w 3416668"/>
                <a:gd name="connsiteY0" fmla="*/ 0 h 257442"/>
                <a:gd name="connsiteX1" fmla="*/ 3193632 w 3416668"/>
                <a:gd name="connsiteY1" fmla="*/ 257442 h 257442"/>
                <a:gd name="connsiteX2" fmla="*/ 0 w 3416668"/>
                <a:gd name="connsiteY2" fmla="*/ 257442 h 257442"/>
                <a:gd name="connsiteX3" fmla="*/ 0 w 3416668"/>
                <a:gd name="connsiteY3" fmla="*/ 0 h 257442"/>
                <a:gd name="connsiteX0" fmla="*/ 3416668 w 3416668"/>
                <a:gd name="connsiteY0" fmla="*/ 0 h 257442"/>
                <a:gd name="connsiteX1" fmla="*/ 3361946 w 3416668"/>
                <a:gd name="connsiteY1" fmla="*/ 257442 h 257442"/>
                <a:gd name="connsiteX2" fmla="*/ 0 w 3416668"/>
                <a:gd name="connsiteY2" fmla="*/ 257442 h 257442"/>
                <a:gd name="connsiteX3" fmla="*/ 0 w 3416668"/>
                <a:gd name="connsiteY3" fmla="*/ 0 h 257442"/>
                <a:gd name="connsiteX0" fmla="*/ 3416669 w 3416669"/>
                <a:gd name="connsiteY0" fmla="*/ 0 h 257442"/>
                <a:gd name="connsiteX1" fmla="*/ 3361947 w 3416669"/>
                <a:gd name="connsiteY1" fmla="*/ 257442 h 257442"/>
                <a:gd name="connsiteX2" fmla="*/ 0 w 3416669"/>
                <a:gd name="connsiteY2" fmla="*/ 257442 h 257442"/>
                <a:gd name="connsiteX3" fmla="*/ 1 w 3416669"/>
                <a:gd name="connsiteY3" fmla="*/ 0 h 257442"/>
                <a:gd name="connsiteX0" fmla="*/ 3416669 w 3416669"/>
                <a:gd name="connsiteY0" fmla="*/ 0 h 257442"/>
                <a:gd name="connsiteX1" fmla="*/ 3361947 w 3416669"/>
                <a:gd name="connsiteY1" fmla="*/ 257442 h 257442"/>
                <a:gd name="connsiteX2" fmla="*/ 0 w 3416669"/>
                <a:gd name="connsiteY2" fmla="*/ 257442 h 257442"/>
                <a:gd name="connsiteX3" fmla="*/ 1 w 3416669"/>
                <a:gd name="connsiteY3" fmla="*/ 0 h 257442"/>
                <a:gd name="connsiteX0" fmla="*/ 3669943 w 3669943"/>
                <a:gd name="connsiteY0" fmla="*/ 0 h 257442"/>
                <a:gd name="connsiteX1" fmla="*/ 3361947 w 3669943"/>
                <a:gd name="connsiteY1" fmla="*/ 257442 h 257442"/>
                <a:gd name="connsiteX2" fmla="*/ 0 w 3669943"/>
                <a:gd name="connsiteY2" fmla="*/ 257442 h 257442"/>
                <a:gd name="connsiteX3" fmla="*/ 1 w 3669943"/>
                <a:gd name="connsiteY3" fmla="*/ 0 h 257442"/>
                <a:gd name="connsiteX0" fmla="*/ 3669943 w 3669943"/>
                <a:gd name="connsiteY0" fmla="*/ 0 h 257442"/>
                <a:gd name="connsiteX1" fmla="*/ 3615222 w 3669943"/>
                <a:gd name="connsiteY1" fmla="*/ 257442 h 257442"/>
                <a:gd name="connsiteX2" fmla="*/ 0 w 3669943"/>
                <a:gd name="connsiteY2" fmla="*/ 257442 h 257442"/>
                <a:gd name="connsiteX3" fmla="*/ 1 w 3669943"/>
                <a:gd name="connsiteY3" fmla="*/ 0 h 257442"/>
                <a:gd name="connsiteX0" fmla="*/ 3669942 w 3669942"/>
                <a:gd name="connsiteY0" fmla="*/ 0 h 257442"/>
                <a:gd name="connsiteX1" fmla="*/ 3615221 w 3669942"/>
                <a:gd name="connsiteY1" fmla="*/ 257442 h 257442"/>
                <a:gd name="connsiteX2" fmla="*/ 0 w 3669942"/>
                <a:gd name="connsiteY2" fmla="*/ 257442 h 257442"/>
                <a:gd name="connsiteX3" fmla="*/ 0 w 3669942"/>
                <a:gd name="connsiteY3" fmla="*/ 0 h 257442"/>
                <a:gd name="connsiteX0" fmla="*/ 3669943 w 3669943"/>
                <a:gd name="connsiteY0" fmla="*/ 0 h 257442"/>
                <a:gd name="connsiteX1" fmla="*/ 3615222 w 3669943"/>
                <a:gd name="connsiteY1" fmla="*/ 257442 h 257442"/>
                <a:gd name="connsiteX2" fmla="*/ 1 w 3669943"/>
                <a:gd name="connsiteY2" fmla="*/ 257442 h 257442"/>
                <a:gd name="connsiteX3" fmla="*/ 0 w 3669943"/>
                <a:gd name="connsiteY3" fmla="*/ 0 h 257442"/>
                <a:gd name="connsiteX0" fmla="*/ 3830244 w 3830244"/>
                <a:gd name="connsiteY0" fmla="*/ 0 h 257442"/>
                <a:gd name="connsiteX1" fmla="*/ 3615222 w 3830244"/>
                <a:gd name="connsiteY1" fmla="*/ 257442 h 257442"/>
                <a:gd name="connsiteX2" fmla="*/ 1 w 3830244"/>
                <a:gd name="connsiteY2" fmla="*/ 257442 h 257442"/>
                <a:gd name="connsiteX3" fmla="*/ 0 w 3830244"/>
                <a:gd name="connsiteY3" fmla="*/ 0 h 257442"/>
                <a:gd name="connsiteX0" fmla="*/ 3830244 w 3830244"/>
                <a:gd name="connsiteY0" fmla="*/ 0 h 257442"/>
                <a:gd name="connsiteX1" fmla="*/ 3775522 w 3830244"/>
                <a:gd name="connsiteY1" fmla="*/ 257442 h 257442"/>
                <a:gd name="connsiteX2" fmla="*/ 1 w 3830244"/>
                <a:gd name="connsiteY2" fmla="*/ 257442 h 257442"/>
                <a:gd name="connsiteX3" fmla="*/ 0 w 3830244"/>
                <a:gd name="connsiteY3" fmla="*/ 0 h 257442"/>
                <a:gd name="connsiteX0" fmla="*/ 3830244 w 3830244"/>
                <a:gd name="connsiteY0" fmla="*/ 0 h 257442"/>
                <a:gd name="connsiteX1" fmla="*/ 3775522 w 3830244"/>
                <a:gd name="connsiteY1" fmla="*/ 257442 h 257442"/>
                <a:gd name="connsiteX2" fmla="*/ 0 w 3830244"/>
                <a:gd name="connsiteY2" fmla="*/ 257442 h 257442"/>
                <a:gd name="connsiteX3" fmla="*/ 0 w 3830244"/>
                <a:gd name="connsiteY3" fmla="*/ 0 h 257442"/>
                <a:gd name="connsiteX0" fmla="*/ 3830244 w 3830244"/>
                <a:gd name="connsiteY0" fmla="*/ 0 h 257442"/>
                <a:gd name="connsiteX1" fmla="*/ 3775522 w 3830244"/>
                <a:gd name="connsiteY1" fmla="*/ 257442 h 257442"/>
                <a:gd name="connsiteX2" fmla="*/ 0 w 3830244"/>
                <a:gd name="connsiteY2" fmla="*/ 257442 h 257442"/>
                <a:gd name="connsiteX3" fmla="*/ 0 w 3830244"/>
                <a:gd name="connsiteY3" fmla="*/ 0 h 257442"/>
                <a:gd name="connsiteX0" fmla="*/ 3998559 w 3998559"/>
                <a:gd name="connsiteY0" fmla="*/ 0 h 257442"/>
                <a:gd name="connsiteX1" fmla="*/ 3775522 w 3998559"/>
                <a:gd name="connsiteY1" fmla="*/ 257442 h 257442"/>
                <a:gd name="connsiteX2" fmla="*/ 0 w 3998559"/>
                <a:gd name="connsiteY2" fmla="*/ 257442 h 257442"/>
                <a:gd name="connsiteX3" fmla="*/ 0 w 3998559"/>
                <a:gd name="connsiteY3" fmla="*/ 0 h 257442"/>
                <a:gd name="connsiteX0" fmla="*/ 3998559 w 3998559"/>
                <a:gd name="connsiteY0" fmla="*/ 0 h 257442"/>
                <a:gd name="connsiteX1" fmla="*/ 3943838 w 3998559"/>
                <a:gd name="connsiteY1" fmla="*/ 257442 h 257442"/>
                <a:gd name="connsiteX2" fmla="*/ 0 w 3998559"/>
                <a:gd name="connsiteY2" fmla="*/ 257442 h 257442"/>
                <a:gd name="connsiteX3" fmla="*/ 0 w 3998559"/>
                <a:gd name="connsiteY3" fmla="*/ 0 h 257442"/>
                <a:gd name="connsiteX0" fmla="*/ 3998559 w 3998559"/>
                <a:gd name="connsiteY0" fmla="*/ 0 h 257442"/>
                <a:gd name="connsiteX1" fmla="*/ 3943838 w 3998559"/>
                <a:gd name="connsiteY1" fmla="*/ 257442 h 257442"/>
                <a:gd name="connsiteX2" fmla="*/ 0 w 3998559"/>
                <a:gd name="connsiteY2" fmla="*/ 257442 h 257442"/>
                <a:gd name="connsiteX3" fmla="*/ 0 w 3998559"/>
                <a:gd name="connsiteY3" fmla="*/ 0 h 257442"/>
                <a:gd name="connsiteX0" fmla="*/ 3998559 w 3998559"/>
                <a:gd name="connsiteY0" fmla="*/ 0 h 257442"/>
                <a:gd name="connsiteX1" fmla="*/ 3943838 w 3998559"/>
                <a:gd name="connsiteY1" fmla="*/ 257442 h 257442"/>
                <a:gd name="connsiteX2" fmla="*/ 0 w 3998559"/>
                <a:gd name="connsiteY2" fmla="*/ 257442 h 257442"/>
                <a:gd name="connsiteX3" fmla="*/ 0 w 3998559"/>
                <a:gd name="connsiteY3" fmla="*/ 0 h 257442"/>
                <a:gd name="connsiteX0" fmla="*/ 4267863 w 4267863"/>
                <a:gd name="connsiteY0" fmla="*/ 0 h 257442"/>
                <a:gd name="connsiteX1" fmla="*/ 3943838 w 4267863"/>
                <a:gd name="connsiteY1" fmla="*/ 257442 h 257442"/>
                <a:gd name="connsiteX2" fmla="*/ 0 w 4267863"/>
                <a:gd name="connsiteY2" fmla="*/ 257442 h 257442"/>
                <a:gd name="connsiteX3" fmla="*/ 0 w 4267863"/>
                <a:gd name="connsiteY3" fmla="*/ 0 h 257442"/>
                <a:gd name="connsiteX0" fmla="*/ 4267863 w 4267863"/>
                <a:gd name="connsiteY0" fmla="*/ 0 h 257442"/>
                <a:gd name="connsiteX1" fmla="*/ 4213142 w 4267863"/>
                <a:gd name="connsiteY1" fmla="*/ 257442 h 257442"/>
                <a:gd name="connsiteX2" fmla="*/ 0 w 4267863"/>
                <a:gd name="connsiteY2" fmla="*/ 257442 h 257442"/>
                <a:gd name="connsiteX3" fmla="*/ 0 w 4267863"/>
                <a:gd name="connsiteY3" fmla="*/ 0 h 257442"/>
                <a:gd name="connsiteX0" fmla="*/ 4267863 w 4267863"/>
                <a:gd name="connsiteY0" fmla="*/ 0 h 257442"/>
                <a:gd name="connsiteX1" fmla="*/ 4213142 w 4267863"/>
                <a:gd name="connsiteY1" fmla="*/ 257442 h 257442"/>
                <a:gd name="connsiteX2" fmla="*/ 0 w 4267863"/>
                <a:gd name="connsiteY2" fmla="*/ 257442 h 257442"/>
                <a:gd name="connsiteX3" fmla="*/ 0 w 4267863"/>
                <a:gd name="connsiteY3" fmla="*/ 0 h 257442"/>
                <a:gd name="connsiteX0" fmla="*/ 4267863 w 4267863"/>
                <a:gd name="connsiteY0" fmla="*/ 0 h 257442"/>
                <a:gd name="connsiteX1" fmla="*/ 4213142 w 4267863"/>
                <a:gd name="connsiteY1" fmla="*/ 257442 h 257442"/>
                <a:gd name="connsiteX2" fmla="*/ 0 w 4267863"/>
                <a:gd name="connsiteY2" fmla="*/ 257442 h 257442"/>
                <a:gd name="connsiteX3" fmla="*/ 0 w 4267863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67863" h="257442">
                  <a:moveTo>
                    <a:pt x="4267863" y="0"/>
                  </a:moveTo>
                  <a:lnTo>
                    <a:pt x="4213142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btfpRunningAgenda1LevelTextLeft644957">
              <a:extLst>
                <a:ext uri="{FF2B5EF4-FFF2-40B4-BE49-F238E27FC236}">
                  <a16:creationId xmlns:a16="http://schemas.microsoft.com/office/drawing/2014/main" id="{4B9A16C7-FD59-4C79-B414-8316E13900E4}"/>
                </a:ext>
              </a:extLst>
            </p:cNvPr>
            <p:cNvSpPr txBox="1"/>
            <p:nvPr/>
          </p:nvSpPr>
          <p:spPr bwMode="gray">
            <a:xfrm>
              <a:off x="0" y="876300"/>
              <a:ext cx="4213142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Key purchasing criteria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8051754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btfpColumnIndicatorGroup2">
            <a:extLst>
              <a:ext uri="{FF2B5EF4-FFF2-40B4-BE49-F238E27FC236}">
                <a16:creationId xmlns:a16="http://schemas.microsoft.com/office/drawing/2014/main" id="{6FBDB3A7-45D2-44C5-AA23-655D39B133DE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0" name="btfpColumnGapBlocker439524">
              <a:extLst>
                <a:ext uri="{FF2B5EF4-FFF2-40B4-BE49-F238E27FC236}">
                  <a16:creationId xmlns:a16="http://schemas.microsoft.com/office/drawing/2014/main" id="{91ED205C-18F2-45BC-9B40-9D1EC318FD70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8" name="btfpColumnGapBlocker965988">
              <a:extLst>
                <a:ext uri="{FF2B5EF4-FFF2-40B4-BE49-F238E27FC236}">
                  <a16:creationId xmlns:a16="http://schemas.microsoft.com/office/drawing/2014/main" id="{CB827566-34D6-4A2A-920F-9A2553E14D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" name="btfpColumnIndicator186373">
              <a:extLst>
                <a:ext uri="{FF2B5EF4-FFF2-40B4-BE49-F238E27FC236}">
                  <a16:creationId xmlns:a16="http://schemas.microsoft.com/office/drawing/2014/main" id="{B9F9A37C-F106-45E1-A14B-050A5EE3EB43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798729">
              <a:extLst>
                <a:ext uri="{FF2B5EF4-FFF2-40B4-BE49-F238E27FC236}">
                  <a16:creationId xmlns:a16="http://schemas.microsoft.com/office/drawing/2014/main" id="{9199E4F4-2296-4BE0-9CDC-46D44D722553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btfpColumnIndicatorGroup1">
            <a:extLst>
              <a:ext uri="{FF2B5EF4-FFF2-40B4-BE49-F238E27FC236}">
                <a16:creationId xmlns:a16="http://schemas.microsoft.com/office/drawing/2014/main" id="{9D7A9CF7-61A1-4254-B5BE-64C0284B94EA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9" name="btfpColumnGapBlocker399388">
              <a:extLst>
                <a:ext uri="{FF2B5EF4-FFF2-40B4-BE49-F238E27FC236}">
                  <a16:creationId xmlns:a16="http://schemas.microsoft.com/office/drawing/2014/main" id="{63FBAA65-4625-4640-B72B-A96E6C410DDF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7" name="btfpColumnGapBlocker397838">
              <a:extLst>
                <a:ext uri="{FF2B5EF4-FFF2-40B4-BE49-F238E27FC236}">
                  <a16:creationId xmlns:a16="http://schemas.microsoft.com/office/drawing/2014/main" id="{6DFB9FAC-77AD-4DA1-B1CB-E8A0875CD7F9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950994">
              <a:extLst>
                <a:ext uri="{FF2B5EF4-FFF2-40B4-BE49-F238E27FC236}">
                  <a16:creationId xmlns:a16="http://schemas.microsoft.com/office/drawing/2014/main" id="{D6210846-DB61-47AC-9038-355118611C9C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882158">
              <a:extLst>
                <a:ext uri="{FF2B5EF4-FFF2-40B4-BE49-F238E27FC236}">
                  <a16:creationId xmlns:a16="http://schemas.microsoft.com/office/drawing/2014/main" id="{5BF96C33-1F9B-4586-B367-0447AA4BD471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97AF0F51-DBF2-4A18-B75A-C9B11AE63C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/>
              <a:t>KPC: </a:t>
            </a:r>
            <a:r>
              <a:rPr lang="en-GB"/>
              <a:t>Criteria importance not indexed </a:t>
            </a:r>
            <a:r>
              <a:rPr lang="pl-PL"/>
              <a:t>(% of </a:t>
            </a:r>
            <a:r>
              <a:rPr lang="en-GB"/>
              <a:t>respondents)</a:t>
            </a:r>
          </a:p>
        </p:txBody>
      </p:sp>
      <p:sp>
        <p:nvSpPr>
          <p:cNvPr id="14" name="Rectangle 13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cid7dQ+Kub8ulUpaRu+ZvkeQKYThSehVAux+2Z6ekEhlACpPBIDl4idFwS+LkSsn2aCAhAzE7txIQZBtXYAPdDOlkIzHanGiRji3OnqMlu0vTb6pQS0Ql8VqEqDL8dlM6DYLfMBLbD5jGVMWQFBfVVvP26XGrMkkUhOvDZOKFsJaUQnmmUUL3yQqu+MO+Ysyp5mTwX6m5oFYKMLMuHdHCrAwRT+mNfE5UyfTYISoA0BQdwYZ0oe1kINApzc1vidfQodMYcCEO9jg4wmmiZbDcvNSa2KCI0GbH72oaCpIRwSsXxUAYL/Hc90jI+dZVDTwXPIpK2CEPqf33dh14L3Ut6gUhpKGZJcaV3hUOeJqclfsLnd/h6SjqcEsdi0LACtaTh2vDjPcdGfMvy5YjAp1ZOdNjY4MA5IFlLYRC6O16Z1VftfeTJKaLt6t/NEmVospsmCInc7YR8f6c5cHefggiMxPx9RkDIqt5cTPMYixpmZ9y717W6fd41l7UOb6OIu9V3Zr07luply7Ip5x6MQDj4zkp7zpkvjZxrig0nrwKHtI3soPiB3IEElF6U+5zacWwKepKrum+YET9D1K3RMmEVvfLWOfbGYnO82HPrR3LbnbFrEQ4LQtuNzSf/Ngbka5bkrbz/lfJNygJI3KT6DyuQuog1Sld/BHNJ7QrRk9T6F/GqadToOHl0+5oljDO+YrtByZFqVGDmshgb6bv8M4kHXVPPP8mebnNzKoxykjh6tkSu6MBlexVzWtECiXamWILosHXvGMWAd88MP6OMf5yjzr/omYpVm6Qye91FdwJaObjQ6qJDNa0W4Oxyhmxj+Y2fwKsUEiRuA3OSwKEfnHXF1vPtITeAwQNO/G0U9P5He5r/uWRHHm8ZtY9Ttz08hw6xnVayrHbPMWhNdkqLT3hMPz/VupcpZd6BupQ/15uTdCVWcaVKNngQjbR1CUTpTSAaunD4xKaovXqARYV49sVZ1gnCZu48ECA3f5NDBxJKpPjJMh6Xn5OUEg3wEuMunixp6YQDcG1PxwvwlU4ASeJLL5YaALhc8+Jo+iSElwfeGcLYjmDuURsByMF2vTxteOhysNZ94N5Zpd7r/RYnII22P0Bx8k3SK/KFJ7gjq4ARD6D2goM52T8coQ3cHiME4CtJbg2vAnACD3sQAk91ufEohyjKQLO9B/RHkP5X2TSVkT5C9mar4lg1EiUYFeg+xvwowIjw/QfC0gwmCoEQaxYPx9eawBctc1820atsVgYMFMqxNIS4i8RB2rPXTYKIdi0hffHQvYKLhVwyD1CfPLo4+NuBEbLWieXyOdYVgskoVyBAxjG6FgiOiqVaTp2+05ITeetbGpMeu+xu2My2fXGojvasGq4uVWEO/Q4JbFiPrOf0FVsO1Y4eYmYX0mQ8XhdLlLiHMGYNyXUicaELqprpTxTcoWThCvmlRQilxZHVHw+avcnoJDVdfyIjlrob4WpQIhYABxxANxpU9kLyqzWnpOFWz81ovg29uVFJIMw7LZvJeRn09ZP3Fk5xWqhOCToVy7K6ZMsvBLkvXyDxzglYfcuy4IodNnfJWi0Z9bNYxxsSrbuoP0K90rnAi36wcGiaKvYV80dMz2oEmgFOW4KPuvGHWavRRSiIGV+zkwvfq2LdudF1nN/xJMpamMtm4vsmO5cUlpUuJi9gqpd2v3f9er7xsE9LW6LTU2q61PgCMHps2thd2shM66L2ziI53Yw4cP2SDdN+XFaja21IcyWigZDycxsUu3j6iVgZFOWPGUq/mf9D0aJR0nD29Uy2xvIi4c0Rl+2pFmwu7I01zio1zxyR0l+YjpHCMlIKx+FywhnTIytnVj1U+45qzn6dc8Yomuva7HFk6sCRYOqzswJzzN7+J45Q2b35MoUraZjUZVI402iVURuUbw3hKhv9eTxTtY5nVw1oV2XyKJCSGLPQmQ6xV0f9Se/QENorzxoXQNf9Ejvi82Yecx13TZiijXgSgjaZ4S30lA22Vh5J09fjg8DTWkZP+L95pWYkox2Hp++PHdSXTxVN8w45lcc6yKI1W37gejiGTVAYqCpKMttUj2xZFJKBT/cAq8cSiJcRMZeF/sBVteASMumgyHFS22T7gH/K9YxxXvZC12qwwF+9d3sQeL712boUIQxN9QS5BY8cdGkiyzDuGsUSmQPXTi+0kJoE7dxDM149Oczds8IhnnD/KGe3wSbDM1ik4ubpAlWgWXWqndsJ9TmaVHeMuiJUBLcyVxQox085XO1lilGd7wSekw73STNIWko/+YzJF1jO+vrVzzmnbjHceCT2obcZ95QtcrUe9HVEBI+A1YwVKVpLwU7f3Dg6E7JfjkvAZkBmNdQMWQi94ar2qUpsOFtnMhDlS4WDjRRoxlqHxnGvJESimMrHt3is++4IW17scxn0w2AW+mZMrYdOBFt7iAh5ocSyhxaeGi5ElqTgYt63PbdXmAh1eVbpsOG5pjtDgN2mH9+9pAYE+ZEHUVuBUm23hVpgiWapJR4aLk8maYoARcNEkBwDMrcDdOXymlohY8F9l2Jg1uhAuSCpbGlRi6iUdtZAFvRgf4wrg6KJCcs5JB8RcKHFLSibJyF6i5QDdMXM8WqfkByIpiWj9pIuYV4iX8xibVJetPfLWtWLG7qu+OuV7up+d2m2xYsn3matmUw8CZDkdfjTQPfXhHsncxqZx99CtBl0CXwl3yphFtyF973rrX9nJnydjPNJ4VW/AdAYdwHDqNz0Jq5sLjnwDIK5yRy2jMC0HVK1ppLWCZvtj6nEm1G/qsBsJQulZptfnDH4QtGwICoB0Ky6oP99XdnlmAEdqrouFxTbEp4M/R1UmOkqGbV1032QNUIlU9Fg5J3+8NZLPrrNcBPIu68JXpB1g9vV7PL2bKS0escP46Uo2xdAHKJW9q1kv57o4i4fiqm6BkkeefkybRay3IloM0jkA8BnFQaYnE8vYEY+gVXU4OwoXZfb905IhSGfLk7wCQiqpTyAHb7/SNZ6gqklXQl7CxHESd7o5UhoNfU1qcGj6ATvQo64dZ2+oQSIYP7dXiC1IozAlfktcgn14UARqha50EWazd7KNLONKBxQbaDtI3ntrcthkTyCOylzhAB/0jG2+v5c1+uV3JKRJiVWkXrV/gYrYmUmALVOBYdEBJXJsmlVlJFPseG3CzHVicT8XnXHQWghqQUOD0CWE7ggiKcla3fQS4GFBSFGSPGdbLNc3vCGFPa2iai812CBdWk6pvAwUYoUc/GUFe5sko6e89xHsSbHne4rW1QVOpxVxdaaQQjQMNaZaV7zQ4d+qLkfXhr4CrW4DsfI2fPUej6PR0Vpfg1Uh3BxB+c7JQvJfFAIhvywFHgA/OW7LOhg+nflC0CVSS1NFJvgz6yhz86+wKAq19vzzvGszmH53z7XdLfYJcqyWF3nzP01vltOI7P7Gwi9UJ/BNypHm+4EDV4XlTCSDsDxrNWo9UygwbmLSDtMbSg6hSk0TihUReOvJk4URqlFlPPGn83SwzQTEDWSAnPPqJygt5d5fQVF5m7Fk2ebijmhOt0dryVQsycPnxYQZnH/XttphN848SQ7lZPhGw4zPRWxwX5BDxYG4b1V8fojiFdi89c7j6vBT2Shf2txr/wz1k5KqHqFDV2nHol2fSzieBtcg4HGfmMnIvhTX6oBQ76atzjvrANcvGMXzWKGdmV5eNtSoLjKUyl4r/OkgscGwFVcCdL7k7rbSpLMlPjzBAczTa7oSkgYxgKEagt+WzosVrNydevYaNi3XSHAAWnQk9+uLE65EPNHaYlVbpEuw1o3Pmmqnu5w+ZAImPpXAhOdSsV3M+Ld1aoW9iM5j8MnlJKoDoLTsjvA4I/zh6gOYhv4UVqV4HfUDng3C+B9aP0c4pz3yz1cXSbx2k4MyojBnSbr6xAQMAQucogJngskY8SSdEUMpqjavqhPDSFH4BHe89vNSgn0Ia+Ugk4yPPGNA3O8KeIyEWFEQcudC0VJpaT8KXQ2C1bOyX2eO0oztSIW8NJr9DGljRSHx6ww2UuYr9hlji8U3b/7s57X9fP8HZ66rKVx0Xu+IgLOoFqX3aknVEyO/IY3xH1l1UuV2Bjr0ez/gTpQ0yJxOcaxhMN5FAm1ftXni3XedURZtLDseXYH3wFp0FSrmDHFCzozqv2S8/wTguFes0PLF1vMF85NSJMMPLapHs0J+4JvrJytCl0tTP0kFIsaTIEUYN/3vSXxFNn+rOmG0ntCYqQU8iczb7SlGa8ILRkkceYDbtzlq1PwQv0Um9W0cwkbIBOVkNNMNXCfXGFMFb/L4zxRseBKJPS4b9xJmFKgFr0QOIfgkW26J6jSeowv16JlWvc3l+tMmqPVIoAMcorzrn8ZIsvCp9cql5bs1bpg9WeZaXckbL5NkPOfyKWmsBfkaNgoWP52MrfD0yXJz1a7EFMdeup4hkPgU33RAx/qGeM+vTY1KPX1ZNqA2PZyIrhYq0TepSJ28XnYAowK5ImKeGGN3WSbNfqfaLEw6w8xndHJr8UCJ+wEBKTnwdNl2ku3YnnTgx4RaHYPdVCoPhRltg2yfKpzHk7cZrHROhaMZQ8xvmS0HMjsq1u52d/Hj94Fop1mCIFR4Bx4WzDzb3ti+RK00KMlxVAOw8SinTSvwPGuFKGDRT6ugvWXuG3e+q7PbfqTKEt8ALt4bhCihpwFf2leygOkPgvgwrdPgZyXLFs7644pJPigFSiAkxkS4Y0im2ZAP6bupqnWmwVoFUvfAp2AdbZL3O0xzeew/cBBIeh2FJNH2ha9gMmQrrty4fV71+dD4uCsq8zyS3USg6MVrBsKUaFRQeQ7I0itpOUSmTdtGsfZLQiaLoUHIgKf6XLfTDEoPhR6wZtIXCR9n571f23gUyKOwRcbuVVcRO3CVsgmWYM0SBkGvs6xDVvVEG9L6KfVVt0qipgb0UfWPeQLwnPACO/1AI86NdNTrIvqwA45FmxmDMhgLDDA9RhwxsisHEwosW9beJ934gcslIGONyQM+D034ZD+UyQGW1kA9l7PxYDH+btWI9g3An9vGeixSPzB2BlcOqY1pBdNfRwR+iPz2+fWvwXj5EcXX6LPSKTd50qIxGujEj7vO8CGr/xn13RaE6uw4fiIGJ1S5kXNSgFY93qpSZLwl80hvTi0JY4KGgW1lHo8WC6TQDI54btwqXvabbsTcjtR0HZUEcPq1TLmvUGl1eA+y6L5vyARvYrUwj2rKL24UEIJt1Epk0dJ8Eeuvc+h27nDV7gnYftukjbiv0nhPxvqf65hNHSPvlr8M5r6+Ig3tWLLYjjO4AHfEIe2SWYFlChJoD51rW3wkW16OeFrWiENBgBUEEHwo1jTvc3fm+O0sZOnvEWsOio/Q+h2VLU+Evbszj2s7lZDYA66fi/hh0qGnRY/PTUx3Topwu8Zpcua8t6VrHcXmBkZ/PW1UFLLcoBVQ1lj7zCnQdMxFsTQI2RBNkoBQL7WT3qEFr1qUH0hjA320LdnLzgtd+FpLv4P2KJI8hJPzcwfGNlVb4oGTnfVghVT4tTZ5R06oz+e9hxixazV1BVN//GA6Pj+KbmmPzquqZjbAkERxmlrQ8HTqP5V4Lm9A1z5FGzjVhqjfw64gUSfmi1jUc3Ucxlh2NGLOfe0Nv7s4uzT709N2LaRVXB5rQwoPwvXtZR+SWUfXWnksuJ/nSz0CQCVHWZhQ+1VdE5VsOXoqMsrDqaBfrZwPXDJZkeXpafYI3wsQ+pfX1tRE6yNFG6qvzYTzUHFx7+T+z6Rmzkr0r0FL6iGVeZLWv4goDqYlkPzQDDr2fyVNIBULToYHSOWb2con1KAC1O0Vt0wqW5ojQaP+LwQT8GHZAl18plb0vxyLJUd1JWL+F7L9cneca8EtYrbx+DuCjXwa/oDxMOCuHCu5cgs3VInsgsMBt0sqxib3mzPXLYvxH2Jc7jHfMuogE7E+mroDB3eeIeYQHkr9rLtNPEtleWmc4cnJeudJi5TPx1iIEgvPYyiEwBmiVJ1bwt63YOiNiPJyIClLhZlgHWn3UvDDBgjcZo4mt8X7BCHcfV0fGuKpX/AXEdvdAvdwQ91p7cP0HAZR2q2YBL9eD+Y+0lNW61r3mFrfDp2G42tqqtSnnplHpfBok8NzA+Sx4rmaQce6s9ozgAUjs59OOytaAvCyfQLeDZoHp1wletadlfyMfV+3fkP26TJDsRNq9oQrIIWG+6t04+JcyCRQG/elM/USUVqzpVOqHMcXUFVBxtyePlPXqnuBKyC/IYUXBD0JtL98bEO7XVHAhpZb9BKFs6ylaWyhMoE2VkqqxeWdUYlNuFxgux/IpT/L19JjKrvLvvQcFKFtIJGISGxm9BGsi98ewfda0mtw3LFQLq1pe2FU0NcPQFSkXLM1Xn44OC4lsueZZeyAjt7gPMLk78sYTB5X440AkA9BmOdkCTGPK50k6XG9cXa3u6oSC1rmdw4Khi75eNVFEssVTjCGduvhkQawAEiyrI6S/V+8tyRK8mqNvDFhMlaAT7lpw+hcpH3L/MDh/URSNT5bR0H5q9K92c3G4uy0O9Kg9h/W7PEVFVzmVAzBofV9zvfczL1DUs79s6EQzoSKhMjw/swjiuVHChBBROElYwIN4Ls+Np0jZYmLQUCLy+8er/D842ipHvsWgfYb34enVbilbo8N/8UlCvwGGtkoe0P1fYet5igmH6rHUgBmp5EMw8xsfldqCt3HAB4Gf/fPxRjePPPAS6OGusp6dIVhcIMzpMq7Va9UlgZ1wGn55FMfN0Tu2qq+OPStQgixZ+SWVtcG09ReKHP4HOM7oC6gBkE/kGbM6cyJs7l6Ga4u8Nu0rMiEg2JOaYrzvq0Eq42MUcWJY+mUKDdDJ329jBn0jqzEOhKp3n7CbiZjpWVWAurMVPMg2CGWWwkOVvLNTsW8ZH6AkSX77FxpIy0JL2vjkEG88bLHIYnjStu55KrOAyMGPxZM2q1cvkly1crzJsrQ5v+0hP8Ml769hc2uo8pbRlk8SKJzX0+fMW+C97xGniILLpi4uxP5Rq+G8/g/Rjcc58/ikGir0O0uJG7w0qNr8MgzHS9o/mEuHf9ocYgQ/xSktcZQF0wObfhxgLq8zjPjijkDsPFUnH5IZ6lJPrfeupJyoLvklEvPrW1Dvu+kT78LQsjV4yTwQYZzweOzoPbwFGVTHpbtLF0hnnfZIxq9KqgW5JBYw5BwHVzxW+TmXcgQwpEs/WWsRxJB2qZsfCx8yuP013FyfAXINm5pdd3FLVyzy1gjJyNXgrJiFEutM06TslRXMs9z8n6rLilZWid9VdNBFgfaQl1T32wmRV3T8euVb/vXjTU35Zc9A5XeG3MPyr2Zw2JUkec7D9osJQjxNUfTJ9qY0PJQfS7RXt8kPjbph06wLexulKaYtsN517xmq3+U93Kr85jAmnscmi9Z4r9+N4aztPhCueLW32Cvl2QEkW/ik3gzxJ7lqXd6niu2gEO8FL713cky3hlqIRqa/jGQeHhUE6IALpYn2C87391YIO811xEqwIf5tZyIn6G2zamLzmA0DTA1/zA6nZUUaML9QvyQWNK4EDJGbhBeQ1jdBl6h8MOX1p504JYghGa6ELwBxQQJxnweUPO4tJmdhcHnYsUYQY2eeKfd75duXrEGc4SMhNJRkg1qWWJzM+t5HTEIc0PPvOmj+vXsw/zPGF93b4L9Lzmo4dz3vVBed/ojpI9zc0EfmvwR+BRxdME8A8GrCD8jFqNnbuAFJJWDmrGF6ylH+iYihsiwpOQ+aaRt4hCsHyltLbFdf5Ts5Rb8soMPuPB4oNz8xBdsheKBvM/FewqwBvkEhJu0jW41aFV4oeyAtqPz6kFmVCZdTfHGfDnhCRgNc8ez//h9xLt9N6DMHzhQuHRUeYy0ngVAxVezqBLqLBGXUI8aQCBdAURVkunZsauZRB3hxRp4VLl/Iv//mAH6LZwEpkm8Kr15Faq840lAj/1pEr3urvCNTP6l4zoP2xLB0oqwoc46r20VJuvDGz1WMj6CoIsUc1VEtfcgHbZHl2FgW9A+IL1UPpIgPVrxUptkbBfu+xyFsMCjh55sSdk9duuCZXJLoKMARc8Fqu6te0jXmtFyuz+ojiWKMlIJ9p+j+2i3Xil1aFWHsgvFx81P9kvwU/9efmjjWhFnWDrc7TtMWS2JD46eBnfCGT0yc/5kHr8Jye+FoUH+3VvauniPMnOiJpHVv+ByvcveV3FqbuSJpPk7u9nY5z6mIvXovt+80gLxvaFWcLVF7wlQPa5vHShKgeknMjxlde2yluLWNkOV0xscC6MF7qnUZmWDqBjZM6XL68ycoijlsGHnrwvCTebd/Hzbcef86PmhOEqCfOWPbvPrAUTR6CKUftAj72c+39kzu1PyNZx0NGR0mingdpY6wNs3/rGvOOE3tudXuNLfz2uMr1w3LQdklF/mJYNcMFBjRTnypsqMiDKapRwBzYCY4n93wB7AXgSXSdeCUi92B4EdE47C3zLgOXVi6fjSghGmBalqGTO8MfTKTIGZktnUiVJCDuXpBR45mfHmouxePWOg/Cc1IfnV6jfItC8XNKdwO4cv73texlAG07otZs/+Kc2DRWb/PqtEGOpmo4LDFFR9hu0kw7AXStdd4JoYxJ6/NNezN820N7G3jNPFYzPaHEDWPflT00452mekcZ04E0Gn7AcDpowkYqRI3AdFGCWxf3DPmxvQvNEuXcNnhalB6MXMG8ro6R9yfuU0sfisOqExOZz0BzMHT5PZWc+wso2+/bV1lcI2xlSsTM0Wsd14ZOXdf+9V+KUJf+PpaJFUj9G0AHeHQsXibWU2boh9iSKPxzGMmfJpHZ6FzLGnjBNLmXcNlEouN9pXvxuxXW2DatChL5tR1Z5wv9q5ePLb5Tow9Krs8drRrjCTY/yUiTv3EhGPxMvY1fEOVpcAiOIYdEFHPztZ+aMQx4aQziq4RA6qfkau0IL/UOyT9mbsnFuncxpSLd069q8E2C317ai8GqYZd8LGzs1eBgk619QEox8uZcfXJVXEG3RpjLF/fF9yXFdjzgTePWHyXD9F2sOof/2J9koimbnOdKkk9ZzX7XwC2r3pU6At5Wm3woHCg/JMB7XEh6CrxuymsAzJaPArNIRH3T32Vx50fVYQNqkcc6vsue8vrE6yLxlpN4mbWhRg8MpPPQ7uPX4h9NcrvmkxXsJQ07jOo4nLkYth91z7mVWmqYtqvABtcrvwoH7o2N887qpRFDGAoUVIv0HQwxgp6XbVp+3wLVWFERvPySL3NKEuInGyKF+YwqfGl1u2e4uxvADSx59agUsA/bGCjNZspelHdUbXP090gE0XI3rJDYkfNJ55X9T0u67RueX+to6L9xHiFjRNZzGS96bOEQQpcG1bx+i54AEsEuXZ4VZA1MUlbTHl3kHwqR8L5hdlk1hmCLI4SIO/HEAnb3RC0HTTiKRqPTDu9KZO9zKSBNJ1xSSFCJhaaJyujgH7/mJZHufZ/guYS5nAAGXZwr3me3MfkGxiwBIJ+WxXzijcSl+a9KdJLlbLCNolvZVwOEhQdXTON/v/SCL+SdHofW0iAxUq0m0fZI6j/X4VoBryz+B56AcaY9GqybOXT8MaizTGb9g/O28VeJHhSWb2Kfbp0wJbJlmovoq4UY9y4dtA8GiHwBwaSPordVyIT6HAK9AkJY3YLhMoUqV7hVK9hE0zdx4CyPA52otYENE2mQRKnFw+TIecSpXdYemh5duUy8tv1Zm92tuo0cxdKvcuL8aYO62PLhesHdlliMrMi2cRA6LiCNCdOD8CTYuSXe7l09E6nqqk6qnlJUROMLij+rv9ZprKqV+p5LlXKxAXlC5wtQj/r4G8/BtFFac3b+d/y7HLg41hJVgwBBl+qp5Y9mf3Q44891TSUtBwUBaU009vUKI8HcIULKfXLVXKSKNUKEjuSCQHxXTCwsziLSTxPgoC/jJpav6Vau0IKr3a99jyxHKIMODdDklYDv0Fz9G+4PmyPSKJDp87eui0WAeRVYryZXF+wqJ4OrHyINerOUvrYbgzAIcgfEpWwYERPB32MkseOklmJMQ2FNKot6JHUvmD9wla2EpNrUlw55TcU4TiaqP+qMa7BnoqYf9TSNkH2FfcOemT1/E0n//awRML+/Q2mcI+bz2rRmj4yxC++O6xJMFMBVOZTZy0Fb3YwxIrGA0nikY0iyaTQWiONOscenM3PgV5tDlrisTPaKoNyzi+Y+x9yyjnLkiJo3mU/UWPCkaO1fgy4uGFMerqCe1TfqYjbX77BCnWG6A8fbFXyFvgUAQ0vEi7NylP76aBsbCAu2WlKH3p+Ke4IN4AdLr+Dz4xRQL/J6yyDZ6n+uuhn7DBLxmjhIba7gTvOnX6dOYl+ZhfGDODBCr9lOs91ej9GoG5Ss+4N6lFx9GiYKeeQ+vxCGR8uZFct6ChmCAxda0KD+8kFEotU4lDk0hL/zSHBjmyFkh4KvBmjvPev1HguPeGh6zM2xMNjT49i9IWnqQ1S/tE2IvfD8kg5Gn1RUcQCI3Rr2dt+YT/rGAmWHGDsMmpCdjF1qOiJa+rR/domP+3DeucV6sP9AiXKWOt2b/b+PpTtAFfkmOXOGramhPCVGje+t2JDg9TbAYT5fXIyLH+ZkZIqDceDesJD2jAgMhQvWpb+6nTlgZxwd+4D6oO/l6J8i076cUhskz5Yl+Zj3sTx/8n31JH8Exx5RTlAv8fxNA0dHlEnPDTFc+91DvV2JHGiPx7xqAcbmdct4ayBf4rbDZZ4MAcnasd4gkc97boSNZXC9WngJ29b1l4fBKEx5RyKV7QlR04AYIbpBVT9ARiqDXCuM5fmOi9Tp6t0WLEvTUZhIEskdVULxUB7t+zuUL5qW+AYW/Qm1ACKYYEKChKp9VSCZLBAwPqvdJDSnfDne3mgA06/p5KWkVcaDhZYHPtnebAsobGYWfQOv7OOqW1bYO44F5txBqrAn5p/Ksf1yr/qdUFTpDTT2j49bUUrFPxr2DiWt5eXxVm/53X3lucmm3ZkkiWJKFALRac7oGjdsPycOtx2jlXyoZ48MfwAdNm8SDBoVsT/pUo3AO6SchRO6y0VSQhfCAeXalI4p1nDbcoS52auJcFIALbrp9E/DMAESDKWYwj7cm71kObG55rSEM+4n55TAeuTjwSz0E/s4MO+BIh8/uO5kFQ1ob5IEh2P4QLtbsqkHqNu2i5qa5NIyE0h5xd3LBaHiHTktiFRxlHrV7oweLPE5I+tL6r2eX1KOuSAH0Il9tQG7Qb1I6Hpj2jQl27tGkfalew3+zQI6Ojwz4Yhl5rXJMwX3nzfiwtEFU7GWEYB7K9T6+kY8iJCY4Mb3yaC66Kyg4nBoC2tKBcAWykzU6vvYBpz1f1ikboDlcXsrh7gVoiTDlY4vORem7dhAVMC3//uAuLW7j8eE7WSj6w7vmV8TzmZoNAH5PFcc6qxYaGI2428qOWwq2HaR+RB8i3usCdi/Gm3kpaEZIuc7X4t8bGrqWBCqVnklRY/zu5HD8aJq31dGW+wqyNmPGly8zDDTsfenIuOiGK8JdN2EwdjBCb+b3cUzURWzPqd59BFotFAaR3ix2i1Klj4KxtGFCWgoHBeifUYVco1zyXBGndwnmamSw3GwP0i9hgDVdut5Tyn/Rxd7PS+N5UzwTm0zcxESGY9U8xTHNdgchch7wPqziPuc73Jr3KYgVZ/jmfoPhaZbz90/NTZBv5machiHkauKxMTqBlUxPLjZxHDPTKL8p/818NkOkpD7JGMiKLUUwimjBRJX2ArsSMAAK++biqj0H5UHY8xVdEQfj5MtH520cOdC9t5uCFD1WbxxMbyDjEmewNEhsTQMLRcKNYk+irmvhtg9DmekDfgBb/0J6+hl+OaVnWNUNf6zAenzvkFbNDpLbihCBtAkxLj64QpBabxyxfoygosaTnDkyk0/G3dXKhaOladmKkhAmAgJ4JvyPgr2HFgkzQHk8bo2/QOlVvp/U+xT2YFlEX9qYOtCnc7oaoeOkimCMC+qHn4nmYitwU88JKAHO0satsCRTLLpdotiET8SFywpGr8fXMIUlBr7sZyiPvhrk8RcXFcPQdDI/qOBg+IqZa5DEpgb/UlxyZrelih7GH+N5y/y4Rv/IAx+IpNk3Amk6SXX4GqDrvkYZ/40RRboqeYavHpl9qTtI019god9msZbpB9RmbYJL+BMmclNmpIZpzmV+N2xIubVVFBbwi+QMKs6YpCCkzL9CYFFlBBnS9Axyh28t+nWgIOU5ePd4dYA1YKyRaDErp0aKProg7wyKIIniw6iHgQt/NR3q1sdQh3W+sHeEO6NvY231zD7fJlpvC7vwiALnL5prmoG3zqjEkyMhJ3NrOu3Uby1TQFfFWLc0/Kh5eg3CXQVaY4x4fyQeOZd/dzKn+uJ1Sx/fKRxkPZDQEjomi/Tsu39gCGTpJeVtRVIaxdsoJnjT6OfCDlfzDhm1hOut9zQxBKm3nqc/N41AehN4Wii9V0cSmpwzvcDo6GXurg4dIKuAkPlLaI69uCL4JpoIvN8/gUdmALU4EHnIWR9yS5ZQ2yf4JeRzn6tNAAut99PQXUassUputDRYA0jEyDFZ15BkO+r7xUJWuVm3ghaH/88ZkqI26uAdOJdxgEp31RnCL6a8Wb+gsZ5EcLEat2bJ9Ce+xyydH0sWcHXPRQeJ1nP/xy5UVw5Y5la6Q0BLz2NN+mB1D/1cxVEMDzv1kYWXcc7UDz3Q/NhqOaKKb5Q9Pn8H+y6tb7zU0AoO2SlGh4L/PiK3L+1jeQuVfviIJZO3t46jevUW5ZBp8wexDnpfaZWrooVNTo9k+zvtAOvQedmlD4LUHjRFaroDtkR+5QBg6SasbnNmmUsVVnGE+rhsf/HvkT1z32p/WDjtqJHM4J/Ukq+ON9k47IO9REejgsaL53NAaDrROe+t4vyeCzLUSlvgTj0AxM8HoudJH94MPTF+0RwDgrkf9ysU/LWMzfVaANC1OJZcCAAJdadN6CPCzWi++dlHQ0K1s2pvZOG9Id0dJa/Y5ZkcjmrtKqyFwPxIOeWsTDyDJd2BjS0RWzTmldxxqUxw1zli13PlpgxFhvlG/afsjmXRkD1oh8U7YD1AXkqbLoMrrV9pYGUNwNcI/7poeneZD0JVqb874Q3fUwJYjQisySucswkW/11eODY+53OgPeJUyWyZ5qQKWO275OVUsnMSzuuTW1wpFgnL1F7l/OpEZmWbjjZell3ebCFEMsOxEC/Az7GNe1ohEdhKGnFGbCAs6u1HhXXUxAaDEITB1sFRGeNjliadj1WUx3dqE3Do32/HeTkWcUEEzXc58xgB1Lf4l5g7GwDF0iwfPLRq+IvR2rg8TX7wT9Ll42fZHFJ4fwvciCqklWgQT22I+lbVDBhu0dmRJHpKHF7P3P0ECaajgruxlDNHLk8xT4NT+S0iKVWXhbSvESOLwIj57DLkF4fpmim1w6JjBPPMxmqhnDH9hn7yWzIuAPhY9CsMv5xEuYRDTww3iI0lMItpVcFw1rP5rh5lmBULsTa9rGkOQWMRHVeVUbcAR8Ch+SxPwf0Tsx9PVQe9jNm4PyGrxdnFUSu2GAyRutA0bauxfMAF8SXJ8GQTlfI7P0G6TuXf9HTkxZJi9HSIQmH6MB7QTbpu0j1ZGl5r2aMacZ7XlrDU5IDQogDBgq7/ab/hV6/crK2M3LV7hX9gUfIk+XjFur1cLb0zr75m3+oU5G5Z+X+H1eA/stk1oGRYsdTfmVfIAuScFKjHl9/jI041uz8XOWjUap2UAka2EpQn3kSc9rNDCD7/Uc8YBhqvIMaUBun8JdDeN9K6b+mCXv8GBZnRvf83W7lhGMgInDjUocsQM1JnD8IsEhSo5BTNurob+ddCH+K4L4gtNtnj1zKvB2JiWf2pbeu2RI6bfBNc9fGCi8kfX2TfHLy0jAr26IIxPYSkN/9X6FzZay/ywYZcDyI6gTfS7Dh5ITIHKQSIIXMzpss28kHBFudK4A+j0//Hyw1oGm/Cq9wb5dSHwRTzNpoTLYpAkwRvmBNP2LKgu2+iXgw3VrBFyyGmrUxJyRagBeNRx230DyRCxTQcQi9W43a3QtwLi/aH//7kP8PeckgKyHM0DCZB9CNzvCkB1Riazr0qvuWlDhs3+sQHbIpQIsqygf7SGjX97KBkY1vo9sH9CxTxkXOwZyC9tZ5oezOx3GTcK9YqOHTERqOZ3RclhNQ884bRdB6P3TVVU5ep5wOoS+UCSrx233QiMFLw90r8E1XcY/yd3W8nFitRHciRoIABP5mql3E4mERG1zXTjfjU6g2OMqSR+Lz/RdR8TjLbhj+jClygpT8HvlKTXWsRNk9cKA4eq7lWrppRXcSNDVyU/OkGTuz22dVoN4aZkSuN0pTl/S0H0srno2ibgT+GP/ffCdN0mX9ci4kGsUtHbfFtXeFVHN9WTzZnWZX6a5vEYaPuB3WlsI1mX7DRNszp1dsbFyn6IGs+1nJQumfxNUSre0OW+Ke9v8XNzSXF/dHpz/DCXfTvQtoIQzZjx5AXxqj6rkDEb7vrtHmA9by4S8YrLTQGzBE1GI8NJx6YHFlb7zOl03SGKnbSRfHsC+FOUuF6XP2fQsDnAaZfRW1Tqu4Sb0OEmwoGvfgaMHc12Dy6bstEnJUT4guGhXTrceo1fxtKjz9wtaCjaebgn8+bkMISBXMfWQTkQugTovHSnIV+wvihydO15w5CZhCV6jzMur6syVzIg0+paYvfRg2oWFLGClJihDYmTsVQWukuA0q9RiqrNaxGHqCWUlqK4qmrBV6s7W25wbuF6RQ3MjBjmTUbNZCtTiZvAtkF/T/bPbQ9BLwlgL4YAOlzBgmsFNWylSRs4HfYraQuLulnMuxnmYN4U63cgrdHwCzdjqdCLiIe3t8a1WPj24Wc0XKNBd7+Bq+EtLrx/nH5GE+LjJBHz5V7qYUjr91CFSwqus3gJsLEGaxGXpwFUQ0Z5O5v5czUYmx75EqNigY7jYt1TT3TZizIGSE2gSf4vEzZ6+GLNnorrqGiHiIATYEYWYMD43MxF41kJyzMY1IaxlPugj6gpasEPlJP3fudB4lmKg+aheLAcm3512dxNoQUDbPDRAhNJU4NwyP4BrQELagPX1xsNxuFLeRY7vTZGN7C+/K1R6DBV6FRBjpL5cGFWjTEeUqltIr8CRWpEBsXwQlc0iDnOID+XKp4SehRjtnXiXU4sXXESLDDoAMP1QcnjGVXm4JzMbZVNIbe8/5mXdRd7qBumNxwwVDIqiZfbRG8sBjDk68zhavI1uDBFCNq9GBgAxxpTsffZsDHUTwkTECHymaDM/y/FAofodeASpiG4afI4HOFvsS/N4BPN+o8aSG3GCZ/mEtlzOGZwQR2ClCikmNw77/h1nJnr+PoXwoodZMDLYwpKiIBDs4as0fZ4iX/Z/ZQOC7Kp62IpW2kDtQYqVIqH635P5RJLZK8LZBTS17u0GoeRGMZLyg34agCL7FdMVssJR+jhnWiVvhZKDXtR444JJkSRl+YGBk6yHA2UakHLiEAKW1979XfSOs9rH1YjC4YTqPcFKLzeQ5JXuqNWeARTaRrU+Pj6PKNln77ilK0g6zBflwgJDrpgDQYXN2TCnTa+hAPZThx8+Pajgi6O0Zj7lp9h5O6Mg7IegVektD0wMoFs62D6Q8ea+965FnWaGLStxQhZ7UeAfe5dELIL1UL0slM8Owz7fLVdhjnat/tGALRlYldIGS7X3OqEP8zvOKqgI5aY3y4M+/aQJjMpcJVWOyYpL3+cANseNwja1hNF8ISJnK2OhCkcQCdz1Ne5XUYiTSqpeSDHkLnGwOcHKWKgDdghnYgM7XtLMJ2Cx4AZ+LigVHT00PmlW4eVEPEif4aC9TR1qVDZj4zNraKfAIPgism4cRyUAZonYRfJywlziHsGaODBZytXcXxnCb8f7DXClPG9hTIAuJuIkpQ0bW1xaPbyGUDozJF4cThl18rE2WB6d+3hFYM9CbIK1bLVtLfl7Cqk2XochwVmh4oHbcKlTpgbm6geOvjm2qtfksE3Q3JU1ofyrcSbE0YqsAml7RGaT/5+c0+0M6nipun3LplqNMFkM9dLzg2XrgzfAzm2mDqPxhT8DZW8xtWJRa++NovkQ+RRIjzNfYhJ2+8idkpI4MNYSebHtJCwpKL4DCsqLoeKSMkvarsynT03JQ6N8CiiWr2/Kh+1mVYx6UsjZxc0mgcqRoZJoWMsJOIo5YYUy0X0+SfOkih0mRPnUG67MoLcyqogEZ4yzL/fJABjw0VcoldnIZBK6MNRCpy7Un7oq7uRsMW4hVxkCQlNNXjQicrU7ThHX761KUxjnYPrJj24f3Y3l/9SdXwDu0PVaziK5zCLxcv1Gu3ampM0362NdBrK4mvkjADdMGNSk89Ob/oyA8lwoPLPR0rl5hCnSoWRkrTX4JH63BZOykXzUMt1HOiLupWPvNOiAnQY1o0P3YiGJT7GJKk/jC1WMbajtMGtFIOivveZP+dzaD/s9sHaNcsaJfOJMr2wzuw8LBrdpglHt8hkBtxCKISUx+jffiBWIDT6lyLA+4VQcHFKDqMANSTYCsf5V7/wpXLy91PKmd4814BNKjYa4DvuRqhlRWNLWLIpyzcMB28fNoAKT+8iuy0K5ahvZ0DVa/5T60wvp5JxSDWKgteV5JIIRJzEA2I6CVC4YQcW83YoxcN97uaaAm0cVIOQrBsAcF2JX9AWCTo26ELL0UPRg8DdLfbhTA6BHdskCuF3Z4Jp0xCsmOKhA8Nopc9o35PhuteMKtmDO7dqHnHLT9MgS7/NETSseW7EnLOwwKImfjt9/SU/PUtms5Dd7XVK4ulvP0enqyk8fR7Vvi8YpPLr/zg4mxojSCX3veNeiKuvJpbw4m4d1qpsrIgxUCy9Rb4Yr2bSAyYYZlK36gzC0S4VGrARwdiE1/fyNhUJBOO5iG/QJ1tldxUWZmTRV5huFCR9ZNns6pS/ylbBKJD5Jj3czAbUMKp0foH5ywYG46UnPal+IGVphoLminPZgq56Zvf7JhNHdowwdDE4MsKnhy+tPkLvIjxReErbUbsj2MK6UpYswtRt4kHBhMDhXoMcuYxc1dRhrUqs7SwqjB2JvUzBzvGYD266ofJ5AA0C5gPMPBCjiTq5anKnWOC19VA1J1Uhk4vEu5NEbP/fndMh5iw3nPuXLqfpub77fkKELnmPCFuFysMAqCFqp5rvO2pwF7ByFFmCg1gAOwfySDO8PnXpfxxZ7a5D3WbMoEha0AU2SBdm+Zlp3E/8c32YgClhSwyfeXN6DSwkeHrpXcZEbJA/lF1tYxf2q00X+uSEB0iPFOO7cvf/xLjwaBML9XRs0279fPDJXmtap9apZwUNitEOCykqEquVujpLuaEwgaA6Pz74jMPXYMQdVEjScv7YKTmRdXBGvNC+pu2xeUirIZ6hIFTAP7kuu+4CzJKcsBaIawrYTJU4aRjUUB+N0BMgxBMcVh073iw3WPwZ4cxQLiMbJ7BcBYwWOAPTFuHTvvL1cXNhpAMPKbjjfU/lQ3FnzYrKfbyyT6N71KuD8HT/N/Bt7v9QmiaLJ6ICfvXBIZEa7UsyaN2RuGK9C+lnR37MjHl4y3GmBmAQbpqJYde7jE3KrM13e4o6YkYp9rU0CNS992pyc2gaIqzqUcUAJLGlIXBMqh2TlyXXLJ1ci9r7b1mSxorrO9cMwx+JBuRNY7Kn2I0axnw6KrVOYKmAwJELoQptD370ARLrlL+mcJymGTTkeWwGK6K1151sSFf/IFwO0or53OvZpgKL+AUy2a2KJ6HUtHv+IdNLR/3V7pU1qJakrN/tdETEZqKE9sRgJGtc7mvtE1qJEfhoMrkUYgeXDfhJRiMFYXbnhl4xMLHoua0ht0qUSnqw+VZEEpPrTeKdjjgLCb5PYoM6BbOnxS7DdSj8EI46V14/t+TK0L10ZLJHeuerscymfxV/XNMiIyJuqXbO2VK3WRcgdrV6egsMLyyogcwPsoqGjjhKXF2o7XOwzD1+Q1JzYaJAM6KHgmE02Ewh38poP5yk72dHxgIm72ntxWRVlrsdbvzpKVcP0KNmyDuFSvftlNfcDjFXOTholDngPzMZawSuk79WkSjGc6JsomrIl+za+wTQ+mtzwuWpDnMpeysAPX6sAmr7om409pr7m8zshn9eykR+qXM0NuxvXrw+YKarGN6VfXzhMtOUIB0dA1FejINMfZ8yrR/fprijnpiC/tPEkiCxNn1j3+rWU7w2e5LQ8l05G+hrQdwFUSdwhTEEJIc1S5/SPPbuPv7gumAGAbPrtBcjPAFIJ1hVapnknTzfkpwVZip0mns+tHxalOORI+MYLm9/BqvCjOPKsu7pnwwy3COdMdsoGXoJ2Z44Q+SJVQwEax1kCtdbqSVM1i2iESPtwtsxhT3aN344Dqja0IhocOzMDn9+QZcIkjfTpCElRzaxAsvShx+GSSUlgmGcGqGc1rfOGlU4uclkh7MYqvQ0mMSM803qJmYcbxFscQz3d8VHwTT9yuPMISExYc0A9cpdeHf2r+lzRruUvUyWUQn7VcuhmLfOB2EplGaUrGr/2rx+kCyiuBoo5qCIzUQxxSiO5bJb5f0CIInYtIVs29RyaRaDZQt+p7n/Ahf9igejx85P8/gT2zGDFs+IsBXKhdFwvsA7QJyywN9D75I7MHFELSMvIpzZEWS4IdPMWfS5mhd5SVs3K8+3IZGGqTfyDNgJ5/2NkgmHO12eyNvplnbYvfUZ1s+0Emnc4uYHQDCD97kUY0rIDUYUh4RASBAKdkumIQTE92WK5xDrRSherRSV2lVGJPHrDKApgLPzELTbHIC7DHrj4MJfnpdw36UfgTycLBzwrY/hBoE66CBnmfcx+5fKVK0dZcERFPacxbDK0vh4GrnwRPVaB4qxEVPMFFw/5pg1jMyn1j8V0AcLiglfnhTFeKJabi9lNim/Qmw12VOPdFUuc6D7ZgA+IR8RlkR6KIGUQUnW16qIn3dXeGRbcLm/7ZR6GHy9Wy8Thb0WS/agI2tAYHDKmcMk8b3qWMgNvEINN/L1grbzIrcY3DPboH7lcCmt2e7jbzOEeGdxD1EoElrB3F3pVU7sSe4r2NULqi/lZ6/zSODyMpSbrYupmtWrdcHYS7BC1lARLfwRGiKT+9nFUPog0f4eWhO7nz66bD1nD40HToX/R4BYmfYCl1sbVzVuU7EzMhcub7CndAo2vNWcwjR9T4B13QXVPkFSrhOMmrJwsPZQYdzZRuC+myNqGED5hwCeh8Vt/OCgXniRA5TYMzCqlKbT2oKlj/zZhFz/8act/qcdefJ/RBGUVFvW3rRU+qiyu0JLq6SJFn2Bemn1nNnmZqg2N69JPgLQ4YmccV8aKOmAXVHlkZAqs2Gn7XJwmiT0B50x/WMdekP2pi+Laob/aCzjtLhP9SUMA5tfNfbPUx0Eir16Wqp7p53QfSFjiBQoH0pa9AWyJXxq9N3genW2nk6eq/BsZ7FpMxkvpq+7DwE6m5NIi4t7dW15sxp4VIobt7bEeX5T6b4JsLLLd0kRrJ0b4eEcDuScVZNZjRTBT3oLTf7t/5jdMRPyS//yLA5rLtc89YosK4LNL23l9A7pLsTC5ftuk/OVizeOpb9tbx1DiohgJ1NSPgEHRcG5Yd5J9xl9fQZtceB8CdR8988OrvlF1kAbGwBT1R0PVT0m1GAiM7WSFY2swCnut1S9opHkYcALGoUSxDgRlSUKSgsKOiv3qmodYKr6F/x6CIBNPVZSxlW+5U6t+66FQlcnh/tyn32AKVmAf0lzEcySOxqJPmWjoooEdeSZLOPsjL+aUO7IXQvGLsLxCxoPS+FSb5aLTz6A3HPszUdzkI4/MKA+3jMCApW+zzpqq/gh+nG17acKdoNdaE+32CD+P7C2MbG/jIWdg6J8gm2RlitTxUgHplOJAP3NS/xj7GxUVolrnPAFtPozwHKW09zaeXnqvWDtO+sI/xNz3kYvBoW3J47CmNaFQqzEVvhmAxKheufUZAeZRN6WbC8q6PfL8NouoWEhgRkFgFhA0pYbTGKz6+g02Ee1Z8bxGorUhn4nBAupTpdEOVt3SY3m7pXVFk7boOOompqYdE0VvTUBFHoDtB09Erv3bjZiZWKyul2K83BZy8VGsRBaPkkujI3wmTTu/G6M06VAQw0BcyS5GpzQlnm42ARanzvaEmUMHicZdFBy93nAN8QcRdVI/mwRj6A/hgf4Sr6nbRpwYWnv4SiIgfbifyFb4ZNDmzQugUcACaWVd6DQjLYC5IRY3J68W4ZOyzyKOUZIr8qz9Wjn3CgpUAdP5MEvzuN9Xmdvv3mrLCAO/n803MHK3AYmSbakPkJNKGPbeEX5uxp/qDAg2tKmNEQv7mpeVKzD+UTByuFvEBGcw0xl/jMiEPhNB8+PpoFZFmZW5wvhhPyIF2YONWEYS0ZpRGicyEdBJ0kQo2ILdmRm7YqLTkvhsYo/I/k79iZT1pjfbqHkGQtBkQJ8GEnJj2CAeB2gUGaPCxYWsvMycrZ4ZhdmkE4VqpELBtgFRkC7C70i+d+BikTNZaSnjs/ai+ExAyUyIbtPKRuWGJym/MyvKajN8E1dZ+ECtGqwFlM16kOfaKBuszZrALJI2t3PiZirnzIG9u7pOw1uprN/yIeZVDP50TJl8njHhkou59FYY/iMMioYQYntUHOTeI7RplHKpZUsNMU8lFQ0kiusQf4RsinOUmzhplUol3nq6AU0XU9UYiCtt8YDforP3znNgYV5ctfkl7ZMKJllifAE+70ZTBETTIzMo/PHhDwsv9KgGsJUH3bsENRYgHsweyA6thhR7QZySQALR4jBb8B+nI77Pl2a1OP6MlMlTmtDJEMxrswY49dvKDuLdKJINvCZFYTzabasc3V9ZueaoguY6pWvnz/ZlpzAp8COU03CjMNIPZMiQy4+GtiSwY0fqf2uuu/keynqXzyOyiOJ2k0YmX/H/skU3avK0cc20RekFz/qNIEya7XtI1wA15bgRIvempUhYf6gvflUs0ObHiWpdVFD3spjVdhqt8hvZOAG/BxpDQfYkxDV2qBEX35ZgZE8NqeJJLutxIlXcjSdLiptj1II9K9wAaOKgoi7I+nP9Qos8yVcFabdpsVKtPzPgrSA6pPKQXB38NdHH6Rmyej/HHUyaNkRkOmHAv594wyoNCnZLgl3cJ3HlImooswYPewhgcd+WcVkr5GuDKcBcjGFHdAHJrK8Dt25dSC+oca+VyMb82RsPzqPEGRi8ZxY7QwbY16yzP+rFyqLGfnIJFXsgDr6gXsRqSy/1dkm6RoWS5F7QTSV+2vsdyeIPncEBZ1YMq4ImuBB4rYcwehm72l1x7nAGczjtg628m/vsrt7PmQ7pydYCHplE/g4z/1tHWXgxAp4Nl7ydn+49cbHDiLz0lt8YbhY6SSUPyg1cDfG29ggguGDr6nu9W9LzECdZIkNd/mwvSsesm56/mqQQ+RB/Njtv73Ec7PleuM8K3wBCkfNn5IrcIH9Myy5y/BcyaxA3FFXrdAEDo5iHoAyjZJJF4WfgIDsZUBoq9DV/UlD3Cp3lFkohj2scrzaHw95r/JHkxcUryt66C3xqnFNrx/4/QQPUToy+QctZyNjW3uD8mFNQgFsa7sxvL0Q6atUxab93t0DRa3evWbcYttCLc/6sShQsdXNZxmUloTn9P1TFfmYuCcjNQ+DJpeC+uOfvJNHRpILCYfCOW+aHPcOjwrfMWoR08QX7Q5XwSKy1VwLjRKZoqczB3i7seGU8jUXZpQTOQb76r+LgD9KKo07tRR5VmCoArDODPfpnmX2uWeWliZeKgqg5UwXJ8Nxn5oRRFTr6PZREmt5ly07BwBp6VPYeUeblKjWVU37cjklvwcUyBaabIxAmgt3E5sZR8QT85XHdRWBBG7zm5XgsiXUThs9NTYBmzcfKc5gYu6x2STfqRK29rTYudda3ri8qrV1GeRE+CkRYW9PSZxNeWtdR4WUVSe+ufuOzG6PidBT0ZslQk2fFU7R/2P3kIdVIsuHPiNzqRfG49yWx94BKTcEIdV3Ndpg9kgK7DQe7dvwlsCFGWZuf0FgwHK/J9wsM8cycfFAHp8QzAPWf4dVk9Y9JLQXBzOE1IQuPmc3GjzWDJy3NFr8ifsL70LSBSjq9cEfjPvxAbgWB/6vGOtwJ1pxJnYeQKrVyianVsfP1w1svpaeripjSQkPrPm2nLaQyzmNrqhzJbP9dYPqOxtSDg0wwf/VeCjQAEMydWbtQTeb13F96effd3n2YddFgDl6kxQcUGvdVrRjDUEjjMU1E0ShZ8S87ZuxJDey32sqFkN79HwnbH/RDXUa8Y9fPLvCjy9LD8Zl9D7JdFpOLmFSJz27mGsXbHeQp/vagyPaKsw8z08Z/mQ6b0LXR/64fDNvEEQdqGVnFEWz8lPx72akzdIr2KLTS5SPYv7N+2XdiDpcR37pdM+lamAcJABwFwhYoHOcL2ZOMd0PnhMD0sNDVfgCThibk5eV8Q1IX4WpmTYl9x9UUl107q/w9VNC208eJNszTW6yL22O7+piGUDnfpL6OPp0dYEQNEnw/HChxa2xU5wFkcAscHHBgIwkQZZwVA8uTxVT6PJbGubNOPgjVQemqH3uaqQ56e1HL874cMrKrDOVBXpikKX8yaw5tRVRuSfWC54wVSyr5A+stcKhrh4euFNuxqBWK26+knc4O/wUeLc2sIboo0+0gBG7yFbWShR7TXkAXxKpD8mKr4E0aYfcvmmFEueH3gO4gt6x9+q5fbXrh8VSN00vaA5t/ldctuTDGbXSNSTjfwuSoWvKUAAJVMaC5zu8ekzecHxopJTmSDTdVOLwPfJbJx+8I7DgDEJC/z5f1Z9yfrPdfm4LCmmzmGI/QTZ8hCJLRaoI8YiPW276G8NJnKRLRmw0+hf13yvKQxukjNlfIIMYTArmUCut4g4hwHSZXab2bADYZoXdlpgLEIu7RUIIj8R1S2fOrNulBjLZ3lG3xsSCxvf93WSznmvdlWaoFVttvav06nXxCoE9DwFmd7m4OcP6mxH5hsxNKqv+lF28g5cE3frDlHv61W/7NWGtP0ZOu56rL/+4S1ZSbLokLaiywVE8RoaCF4JsIQH27pUCfvcu4xepXdpNwkkpXdK+GeEskxlr1puF2nboQEMQQ/zfWWzh+1vg5WtuEE7VuXiLXdBAC8jmyo4yIhJcidtdvcfTQHsGu5eh/DMF1wT4wuLI+leLtzcpAgET+spgtZ19Qx9jooXJWFpca+iDPZy/UC6Fn6z2Oi+osm47K4egwfFqNwuItBzJvLXBvpszndDCciR9oMHUYyfahJGGAwMdrSdf0Ieb4b4fX2wEJii4HQIiVOlvkBsPp629Yl04akfacM7u6zy5G56fKgo/ORY+pXZ8NZGkDHe04T52MigB2tA8I9+cL81Vk+VWRXOwCsJWDfAD+25YVxKAKDP67VNh8y3iAKC3VEV7k3Bcx5irkEqEd8D4jEzSEn0dZi8XXnolwB2BD7DcP4TeUUkhN6cNzEFUOSNFlWFSo9dpJJ3+mHhG6FdCGS1bNu+B2BCPjJfoZ9RpWBEmlMcindHfDhYgRqG1538rA1769AccY3Zblr+g/zAlZKwIg2GUNyLCi9xcd4MEJ1mXsNHPqz8F4JdPphD2aiLZd2x6ulSbPhLZ9Z0ceTq+nd47Nr4hkfa9Ftn9vg49IuPxDcZns8Ioric1d7WQxFEjVHWHxSoDxZkmq31/6/B7aoc8d7yto64YNliN6BjFyd/h2aSigXRMSUAXsV4daNRAt+XLvMN4pr5tYZ9cRKe0cT/ztP+4q6/WhKiIibj9YN0Zxj4NUZGqgr45XvyF3HxvloTYgDEa2renW6olhwUYtU9P48fdWWfngwmvv6AKx1paYCzm6SWy/fweWKlrm6xU2ZUUe9uy4aZ6hHqd/7DbwhbfrOJcTDi70oqNGkAthkADXtquGLgtuWP9TQqc071NnDBZZwjDSFjB20pfhXr14UnjPnle6PijCSNhDZBnf2WuXJDYB3F2I5FRfZz4BmrP6gC7zxNuyb0CFiQca9iZZPQTQFgbDX1kqtaQYYu7EBCU+IzFrPoZMh1mx3HXEFfcWnYaBAfmBQzNSgC3VXmTwqpfBLRM+lru4wDiA9E1hA2bGi3ijiN92urggib2mIbSY/4MnaLicmfFTkOjD4QYbPEhHP7SRQ06aOwkJMK/UBM351/BK1I6sZlJsw4WU2cKQ5iuweIPV089W4+mQNAihjsLtq5Qtz/ihPpiNsXev7pNu+AyiP07ETQRbGbYmwWfmmUbPfqUjr+CwuTqgbjJBOEjmkeOj/tTag+4UA2NpW61SoDz0GsiqsrqoujZUhU7Sn3PRBrTeNF8XIYmegEiFR0BMaw5DQ5PX3JNjimIgIRj/DqK+/LySjotip6b3rEZ6OhrnuraPkqDDJ0uZnkq0v3YsSoFc7Dwb8c37u5QzmG009/7LR/kbz69wS6p1GrSo9EAQplgZ1pcfzncuO5UcaVw/9m8Utd5qV7LBa72zgAFZzCgFdmIXNHiXKvmxYWC5APFpd1wH0I63ViPZVrd3oUl1eVI1Fsd/5I+YH3ERnx0hJahhMmMKPrXZ1cigbIpOhhixI9xfBAC/zcA8n/+930E1Ll4O7ZKmc7vNrpYFCx+Qa0EMw5ni+lrcIwfDzky0req+PbG1eSgO0bDBKBAsWsqAN8i13Y7uXYTDtB6bYRJuWqHtmG9z53RdaY1YT6NaSU6qCD3cRTOdceeL1Y7zw5YqCdgI/l+WSfJ+xLGWLXhQgxzxPBWQfD88d9a0+x0nOgdy/Bz6dA/8aKvIxxo3z62vwOmfCDsE1gdlolCtDRiqreyZV9lTN2uG5KReqRELnFWxpE0aUEJsO8X6tt7eHpu5Xoo8/dtGl+bpcMaCBP7p39IUEeFM7K4aMN1aAL9EcNWZYRM2ZGu2jiX6B5r+Fa//+uV8LONFKeboEc0ZDxFO3L3sqjy/OTypbORZUvspMHatjFumvqwEI2aKKLI1u4TDiWR+OkShvEkYETWIvaiMz1hGyxTiYt+68lfWz0h3HJLv8YAGcqSajhewgLzl+tuh+ZCLFaECwPyOg+8lEszUb9APws7Mm+eV0JYsCdrAwitG1VvKIPVFSDcAvCW68v+f3HvxUWOurmFsXcBQQUIcOEvgpcjXjomgHJKxt9MFKEyWB0yycgDminqxtwyvaeuewgtygUZ69FdSCDLvyOmMCgwjY3ArgbRfld8zdNEuKbJi+act/DSNF78sjti9+KHgry7/E0ekc5H9KHQsb71zXxIW3MAchLCBVFTGUwmquI3YgIZS0kvHgURlT3gfs/IaXIfiM3ooNPI+esC8r2Xpe3a3fK2ZAo/0iR1w09hCXHOIm49JGt0mxwQZZaNPtR4dRzPKyDHRxVVsItZc59kJYxg7qesB4wIP55zpQWCUluJkE3LLdEIIipSpRZFfv2+DppiVNZnPTYdkcCE2NzMozkajof35sH892UsKdBj6CIT8WDppHKaOQeA1FForwaqck8tebYzP0f8KEd0mCwHB8UkAUYPA6Eg1m+LgmtXH91W2GueZnDa82dHJLuWmi2GjCo6iCj222qHdZ2bqCRWRc+/Asye2JAOhiHZ5OYlOuWLsr3UVvoqPSQa8rxk8yI2m0CslL3KJ/UzW/e06hhzzxN3MDseTXydsDpwndEAbFvyRXm1iXHsti9y5+/9TqyTMp0+JxM2kox+B4Mlkwq32W15BkOUuq876+/EvuqlvZbAh5zj8WWy5aEUTwpj4SrfKVrfue2MRqfVEqVuIUCtC2u2xPJX5a3velB4yZU1MRJwL7lO8FQ2QAH6R18Vy5UrhRnVGILaqe9UUh1HW3/mfMRKBgxr2qSuS4tbHPSIHSTpI/PpneTKu0c2JbCeX46Z4YTbjRhol24LXibKyHpqiVeL72NwLB4dLvkIkV/g6Msz4hHESrFn7Y+n46kgzIAbhPrYWaUrbNyl1O0LUUnZUhc9eneuvYUnFNTwk0h1KSP1Kfy1F/I8tHih3u8dPC/hXnbgk0Z7ymKSBVIexEMgoRLfINZZrxwdRZ2EKKnCTces9H94Eaj1ovme+c03fq5X/SQ6iEbhEq+GrTaHIPyVTY6tcNaflEeNd7iwlw712RxrBfa3KCHQjS1HCbYAFZAisYLGj+jAdb5O7pHWQcfHFz4LOQzpv7GHPdmz3LAMWzOzQeelevdD/Przw1ZeF9EKoEM+KClIMKpCeNbUvnR9hyUhde6LgpX/c3+rLUIoQwkaFpnbGCKFTe5+Rxr42Lau8BmG9oIIWa13PbMZGDGJL+0TVl+eF+QQgwlB27mCJ3zHKH57eyQwr97YfqQAimdNHljNhHIAYQ4H7lcePRMXKwj5H1nqAxKDxhbYxYHf2fH6eHQtpnOxGRz2/fYnWDzMzlGmR2X8gcluUJOZXKnKLsVUojMfvmvywPdwyDUyVZaZemN9OD/YlB1Lx89vpbqDcL6AtogEThzBuUy4DtnnKuRqAMUnF8c9WTPDZxUKuBjpBymgPd3gJwUvyvs44poFIrvL64B8Y5Rkaa3BAuQRgtbxNAyd1qbMdAsmuzeSFOGqZW8wm3j0t+DB1tOWQBAAUWghR0w1T7viSHZotWVe51EHHG8uySqe/IovRtz/PRTeGNimozL4QZI1ehneF0QTLz7s8CBH+FgwVt+01dEVXSCRyVSK7EClVa1+39anRRlSo3/ZPece3HKICpf9eaIev6iMwKA2N6oCl/wLa9ldumEyX3YcTyULohdr880awS+zraJgRZLje5txXmTzHVpUGci+TEbkbISq715tKmcg3mJ7HxHiZyeFJXJ45S881SviQnZVr20Gk2sI6E2392RtWve+MRptp+G9byjvzqBQkrGgSG/09ZSyUFTiTnc4fFvs3tTGiuZeQBPIYKB1XFi8bMjesZgTcJcFd9kTqSioWs/FI7YjZA1k+MfsjQEtMqciAsUuhB3rdaBFTJo0eggxBUsTG7JqqWOTEOSicmqdWrpR7bzpRv+IUh0XPulx+G9Wx/KVnObFhtfOKlcYtMMjSF/4q2QcGtfbiAOuPwNGg+OmjF1wfMGFn+Rb3Y8nuZXQ1lZdUF0Z7tJpHUTAwFNRcxFcLiNlaziK18lbCGkN4LTMlT8Ygvu5N9UJDf0kbkt598kgIVvYX+tsW6q8TTurTUIWvry6HmRCQUHtkXvqJqktxxjDs7dgPN57uCjFWucIsRHOmCBrAXe/fSbeql0XRokAVouExY5FRFSh/9oZBeNoipDMaivDIlAEvy459Uu1BPzExTXpyLWbsfJAsy6fpNFnd+z7tn9fOtpO79HnxJ12KDPHWWEZHnAScSz04NfXnZ8MgjpJA6kyfKQpt74M6PJvOcDdlOC0anwR6PePihHjfxNo3TdEXWG6Wa+79UzBCJTpLFsyfCeoKUMt7640xq76HVs9UeDaH3YPOTmg3KMIQmdemfKRIyiMwROb2PMKWaZABNzR2H0AH0F39a0Ic+S1zkcEAdpOhsZAAllSayhHMj5EUVv7nd6/0AmfrFsVZrCmjCBO0fjQj0GR2Dg9wEvBhfgieiVlEoFnvOYGcJ6mhcgxBXQADCH+BIgyerV748EarTL4mPDuQhhkbaAoD4pG+8+S+Y64YFQOhOoi2Pz23UtdJYEKeNssrPDUr0vqH/Z09bGVmLXdg05Bz981vLZljrPpeMEC6L6v3TMcqd04vpi+CvG6z/zHmgsg0rvn/o1NTG614VH6o5HnKv28YBiHgkJacD8/lUvfAysQgp+TwD1/RHQumCIrtLbOyP8073d6UvilVpQtWjXRLf3vwN5eRwt8h94G4xSBEx+3t+TW8omM/gl0c6iIQx9xYLZjOVPQ9OdORCvB8apSeAPJ/niR84HzgRZr0sB14mcVivd8rARvCvaaNp1NY8bVKA4n5e1AQfXCPx/3zSSCZrhoI+Q8NCd7hcyl5QPkvyfyNy1ucIiJHZIqBG9vKKh/X6v22skP1UxvMlD0PUZFR7at3PK6xVAB12y2vZOiNC/Rr+B8BEtu06ZDOwMe0ADZM0qZZP3nvWODWqhaIxCZMUbrzAVmFbPxgQ5jOXPGlyjdyQypMAktYL1hfwkU9FeFP/dl7RzWKFHJUPhELjggoRyUAJ5mIX0GODWuj4DUqUJ0L57miWHifQ7QDFM0t+/ryEyvgb+kvbx6yPBPzfyIZqSm+td2Wms1fpnX/LuWEc9kQrkjsvrI3G1v5ICdWVSP9fbfGK70zXGJRlT+Kx2IgOG6ILcCA5iNLCXNVom5xbvWWlYALAp4H0BpYNcwBqNyprhAb6na7sYsHUg5UWA7os4RAwDBH8dvDmVy4LJzh6MlZ6hl7PPdzKwnFTbBR8t6m45LoaQghMffmELSEIwCs78vUOywb7MWVadoVZ6CRs1BoR8ef0YTzIsK+XosuJBTSvkRbThN+xmeYoM5rOvCk0EVAySlnuAXr+J1B8Isrxh4r0M9jsErWvc4/WQki5Tun5OSW8pQlfPVuULJqe4Ym3/Sa5hP4Hw4I6jkxBENy02A93X2/bTknbKzJG1sxM/Hh1I8bEkusu4QeMDFVf2Ch/T0CWqODBVRsMgGuf3X/h7Uov2xNm61XqvkgYvkd9LIKaCwwZHk+dCTfPrJO1WgwrsWhAwRaNQZjy35mxYjePgpXLNSlejEdleGU+TjiKz9ho1DRrE1zGrtigsjRqk/FPRzFYzpO4idcLZDmOkEQ6+M9ysFV0yoq5nSplZJOX2fa/kbW3CftnA9dKcBUypUNJWC9r7EmoCpYzEoirat8GOjsoVWvLT31buKr57Qx1VIwOu3FQOTseoUwfFbyrnR3YbyY9Zk9rGTwYUnodPpXx6OSPM5EUBM75XWxvYitap0MFnYxJBfRqCp/sYsG5ALm1gAOEtSZmYRhiwIY2piWJJJqCjqSxKf+eMDLDVEEFah/7zNWhXXQ148xjItmufZ2x1AMStOS9gAUv4bshYZpUyCq0Mdr0NflxNvogXyavRCdpY4mqUuxSUFO4dCqqdf4Cy75iNX5PsBiAZI9CoTS8YtEpva5QfGG5lvg2VUIv6xVMz7fEUipkx8x4k2TGGUo+dMDin84e8eYViuCEEqfxtvn3JVhVT9DIX7iwDu6sGv+yD6r/b0H25LIJIhX56P7xZbw8MyxOI/eLMSad9yTaYQq/dfd35KzC1JQyJoDFSYnWlyMZP4Jh6CQcaQ6w7WA3Nvxs+iank4xXLfOhG7QlM3/Vl7CU5/96VBF1vKoPgBjKTl6O9nsYSpAuYmEfSXIsq7i1Vf7YusIAr5ebBHKPXxjQqVD0MgBvoMItslOfRkgkFs3Yr79M+VsfBhG4ab2c7k6OR6w5BkYUudwS6t1HFJqc0EhgYXAmL0ETPkdE3NJk3gPc0JXcBYgyhnYZL1H+8bWBJsV8z+SZv9ZnEh1kG+Vn2s/Xv24rCFn9FYtFX/C3L1MfLFtH2ygbcB/RsZIRU2MomS0lPHEN0Z+BemMZPOJQwA6hk4f3Y1hoPThHYgUJitTukxljpIZBUvvddR3342YQ4PrVJFyqTGTJJRhlPsca/RLD652x4n0AiKypDsdMAtcQavaCfa3MeMVztvF9Jdfk6cu6ixUL/Yir/0TS0NbqdnURRelsHwPqSCK+9+xEkAJtTwR1P4VD3/wPPx7X3ln9anL2xgALnK8+qiuN1Pc4l4xMwrUJMzb3ZeMtJ1+5quQ8ZobshLrWqTst42N+dognjBS66wvNqLPEo3KhaVFCviIgEBLjk5rR5bATLJhHIJHSZYxsaZr6FC1XxiZqZBkz0NMFp3cB5OAd/hnTCm5da87ZwDh/RVKY2E3DrAfblaOcACuowqpuwdwW4ILP14dXuqBLVsVnNbL+FZpHGesMZwEubYey/FSAtKpUHFfbAxrmXS14hVYjC0oeBS+LKe4Bp+jwLWE+OG1KGU29Et9dxqdXbaEk6qI/RMqZLlMW2514HzoH1pL3NGo4SDzKpgwWTaY5GjnERcc4XghCedzE/x9utzPxJJQrakYOX1yZxc4POAcujID5mC/oD7KrJK9qzdYKfmJ1ZffZOTQMAjg06iq98DvKa1NKmj9zafQKExOW5veA+GcaC6D/K/ociUbIlrQLhkBP7/bKAhNcWYIY0nKhIQvMw+8iVQj7KkHvFOY/rPPxXa6cbFULzsfZyAeXQcpn5FPJwPU10n/N0Q87mNEdo1WWdq9IQ0yhug2h7rkpuBSmTxEXehMwCymld64XFMa1/xjygeQLgt2fYcY2D7OJy/p88ZWgK01h5nUUf3h6iC4XrI5qzVxApQQuvCjyYvLSvUSXgZpDnuELNDawIx3VtLc6P8u0JqGlkAqPZtflIKsTAEuOENgfu4RfSm+R4TbQEkA0Pe61l8/dlJo2x8JBlye6/NOAs5/PtO7LbHNX15pjpOr/6Z/yy2FhTUc/2hJ1D9srJhEyGVUjAxwCGToENCsmvc2YX2Ms92qdl0O+QZtKX2/2cpKpDbUEpaBAJZ9PCJuzUwzP96OjqQxiwCqGHRE1oRvtY32X0nUAEB2mvrgvC+H2URyu7W/msiug1KBQzWjLGRQ4I5exWfmp6Y/47amBw1Na4iWnK1waaWksQj1LIWBxJeo9Q9gNaYgZV37M/JFuaMu+lC4t37mhK1Mehn4CGW9MVf/gh5W3P9V1AlDeJYEAPbx+RS4PW1DfLnlEzSopDSWjOSwvkKZFufSItkc1H8gTFUTb/lb3/m0hOT2xaNqdOUjIal1AO7extD2bdypuqYCq1chRoFDB6qqZ750sNaqcSRY7HdZakXoP6MVn0CN1xPk22eT6I4Kvgn5k+1sq9elVmK6vUQDg2DreehdIY+VqoNQwx6p3KPCYvceAybsnHdXIp8IGD79Gk5MgKdXSvhFFhtH6OgUi2SqGO0tDGArYZb4lkd6VtzDw2kbBUGlbmyGpzCQClUW4PPJ0CW2zUc8fzuoxLYnYvsLcbZ+lsJwQgJx6uBbkSRLTvvi8UegttgSGrZmlYnWsfxhbO7qai47tCzapIUbZiBEszvLTcnQ1xf47vqQht7floMIKi77f6c03AsGy1cmdWPXAjCEUrXapm2zaCFur6iN9oF48yn3ItWOjjBsgbE17oRXJRrqkpG7GToUwQrbqtEXhjD6o1clnK6pt8lC8NW2IlGx0lykCN67aMUZDFX6Vf+m2RwqwPOn94SDxrheGCr2Wmb4ET+ZoOwQb0LeJGs4nYYMrENvLPkVcKphIb0mtE0WkcnnoLh+5FEwRW/MAA0E4xGyo7PIOKUDxP/JDRXqfX1W7l6IJdzon3hLfamTkSmk670hJXifASijDniE/3OUU1hUMb8Nla/XJyIARYFcnsdrbHMEEDdA/nfnyBJwP838hQ/bCh27hX7TCjjkeNsugVyFB/Hc+XIsoddcR8nr3SOvapWmqnrEmo7KlzIVPqcaY/VPO8hhXcZlvn1lmDAW8S92zlLDNLNMjbSxBPSIsy1CI8DK45QGrgHuTbAFR85sKHHUDe0FcEYy56WEJHPsDs5eP0HW4Sy/Amocytl7i/o6v/th9ZwuQrDxG1+Bd1lJie3kvVoNuOQ3WsynNLHn3/9VFhamTzKCsYh+bm9nCuk2pkk45wyvTaxYvhkBffwx72kWVCQbQTmYLEq6iafzAGPstFPLMTJdbLTnTXwdilofmUOSBhxmPsDD5y3Z7Nt/HPbH3qUQE/Do671WxcFxsSr67Hf6NKIP55FdXNjOmfzXgVz5HU4VSPa5Kb0WvQBJfnfTpHfRceCnisfDieeUDiCd+/HUhVuLDpvFuKctBF0oiXLhh4aRZ3c/tJbY2M47lORya8vgELs8PDKdSPDNOyDtDErLEBEwG/to7L7KkjO8dTi8Vp3y/Z1X0bSSSeMNNbiW9/XCteqD/SAynEEXd4he+a0vVX40JO7d9yVl2mtO7+AqkblEKH271kr2s1Vgx1ZO0w2n5rpIAd321JIt6nO0kq29Zp4MwvTn+P5DrkgYrYvoznH7EyrEZl2VqcReD8hiTbNaCa9XgGdfQBZuZB+VXQnRtR0ghzMeG/XrWLL67z9NPTD1f9GRgkRKiU+YjGuY37g2U5aW7TJKtUwsdgfT1NPyvGVYO/eC2lc+9wAgNu3k06r9/K7AMYPtoM5S5fjXZNFrTzqxAGSQKjA8CdeL3D1EkDAhU+dmUGFUDUKllKTYxTFap+dIuaPYXgygPNE2fitr4eAm+w67V25OIDCnOVjBVtgftzaAHfTl4iKIHTn2i/cetzCVccBYfQtohivs7FAC6cOm2pkXX84AIE1Yb6UrTFrsZweT49MdLGe/83P2L0jpP87KJ08FlMA21vdeTxM2sqrOkwXrDOQpelpX2WOjon/hyX38sgLvWgJbUMyirPx0ybqFw8AJiBT/FoGg/U+pyo7loT2TS/dN2e8inERJyRMdSEJ78YPhgdOVmLVpY8gUq/8n8VcKhtzo7zLhoHjaVnaG3CeJdxWI0sX8IJMAsdYuUuFjBBo9kQ2/jH6bLAiVAAx/NoPKPv9XGnIXZ3Ea5UwPpcZC9vAL7gMDg8mGPRygsbz7oKA7NKjGsG8J0ad318CNoHwl+sS+eWXDva+kZj3C4JOhFAydLh1nFIDufmnRJT4ONDouC2lbDn9/3VvgPo7I2uFShDsr6oDgro5NzfaiPVhpC8NGEOqLQk3LBtLC5Wr/ZyoO31ESLtJ0tSz2p6dNeGpuORusYoVe9D0iBKGiruZJ7elVf7dgt6LPnubmNYK0H8buVzzlWIzKviDhksUNTDKX1bxtfdKmbr77eyEf5ajpb/yKS3v3biSoh5Y0lbGKxpueqoa7uSTlSO0Q7N1V7wZLEKz1eOj9QUEXUyegChqw8VEej3B93WMQPOSjkwR7xrITwpMAsazshgxmqbdmuD4EU6jRQNCbuEAF/1Dhmp9KVUMgT8inKz3jdHNYhta35uNGPmrbA5imLeyCvYw8dm6Tn2C9ZMi69rYcsQ+vMCrGMbdN9cZCW+qsRfHWmvAodAf+VLyia+udZO+hogdiQj7Cvt4XSYTmDy66+c1b1dl1zabj4yJGuv+CtBHP+7vWCcv0IQ63kJHYREU3gRn3C8bOkuvZCy4w/61cyFsmXcpB/d7JZdQm0cEYaztgbKgqmzZ8H5bHQhmZIADIj1AVjvyWnMWkqD08ePHyMJN79oiS3LA/bB7PnsomWSkH5ObtXZqfoIvTHNsqddigIdLXCcXGGDbndEQZLOoQ2UCMq2wW7zzhHu1/Wd7Dfq0Tg4J4/4qNpGjJvKU44WhnLTOtYBUaF/xwIiq9aO45wVfYG8owTU8eZSEMt23biCs1PgVOhXegEz89ePkwJac5VjAcJ1be17oRpZMY+GKicAg5BsSkxnsbC6Fy5sfUcD15Jo2wfEuEsja4T7P/D2jpNQUIubpQMplF8bT/lgn7wXupUPue7T1TZ2H/GkviLFOno6qUul4nBkjff3jRGKNvVln9ipMO5dFOzRh3ZpvHHQK+buVJCf+ZE8UgXmrOEXPip+u8ZlF3UI+n3RqKNCyPP3EYB1vKa7OZCu+CezmNG3NEKc4imy3G3HGkgZlE+b8laNDiqdjRR/2uC3vm6+yZ9d3ngV+NWY4CbXvilIoGH/3gmAZFo4pdyRHjTSGNCHN1tqBz2nDcUiZEr5HxlmYPnMF7Dm4iEwrFWyL10A403abPPNnE7FLn3JZ1UFr9DQk3b1M7kEpM5Xrfs7JWjBuAzdlus7MSP/BVc9VG5QTS4ZCnbWuAblJ6k5we1fjWojguUkADPjj9cKaVmLmokM7rVGRfDRBDHb2EEgtJxTUlJB5t7ibOzZXthd0+lWSsFo7N9g4/slIOOh8ar3nbB1wi6EezdjFljWmlZ03rapBJlCmN4AdlfH1zs0wZEbejQmXG+XSTx6a9QK3JhI83KSfdYJciZF9crHKi3IGO4pJPdv3f4ipeuUd5fwRe7oWb8vAASrDXF/GJn4g05/0RHlTeBKce33UC3FfQKZWht59inLSnAy+Io6/+EsrIBpLWy0dDXsrafMaoQhpq1a/dkXlRlmPdw5vGXjn/+Luos2bapB/w2jk1l3fBtItKX/ymt7S8+zCwuY9ODVxhJTxNzm5TzYYNACh3hLhsnCS0qDUNWiFkrEGeEI4TicCh3Lj90xX0oY99yWH60bidgvo6QDWE0KOOyjDqXzDNTwUJdAlIy8tlgcyVBSWS61TqlpLCRNMS0Ej4buJFaVsIopWsJN/Kvwyy5dsc+PJsvZEiRwoNTSWNDbyTjIYDbKkqjOFWOKuxY1Ne7xrdVgIcpq8jpwRD4Y7Hwx8SG7WkAJnNs6WgapYcE/R84151uXKm1I+OrXW9H7CN+5jnymXkBTiFMpHG82LEOi+uNtwfnbCQtwizZ0A0bse0SqyyX2MZ+603w6WACznfT9rE833UH7nMsss4wEjMxedBduqP76chQ39zT4tXTb/k+m51JsOC0DLY5SY2PyK+Af0FGRhSZs4MOGV9f232xe7cAJBSTp1lrajJ9N361j261v01e4vCNKULx9IWdhkIntgD8vEC29X3g2XrJjexgZ1uPyISJrnegc/Hvt647vwpE8rE2fGGrMgVTPcq9BDj2yrwTYrKNr1LDqfpceyJ0sdip2mDSI10z/Ycs+OAthojKgw+I93znL3MeO34mkfiwEXyBONkaNJJsSlQ4N/tj91f+nDrabQF99xXdLAIG9wp8/vzb/xtSoFxnduG06/ZrSJCIwZF7DbER9bXNQfO9F+mP/ZAzLWIhYuHtkB2zm4519D8hsWIJJF2e1xP7/JdBGICxxV2IVEZbWr/ZOjlh7xDqZfbmYHEsgxvH2++6mzuULiBkQPiOCynX2I5nt4IuTLiJvVZdqqib19/HEwi6+v948iwwznBmvHzts783nyqFEQPls/RR5aF6HPrAVRq51qTyLWAJLH9fTIR+dF2q07boZ6zmVBsK1E7PkYEJ6fIvjJ27qbrnHOHMoqvtvn8BYdoPzOe7NTwUI/hEfLfLiElQCD/q8FmqeUQULpAvhVy4227OnvaZXXd80P/cx5Kr/GiJVX+sNlisKAtMPAP1wJbFtF2tZmRzDv8hZyKaa4CeBxrpsJC7qWwTIMCJseifD2tL+JGMike73wR7bB0TrcZwjhrhpwRsWwBEUbxvBNdI729cbyvXtEB1m82LPZ0Q1mTM7LfgtevmERLBNVUjlIEthR8eHXi72fSHXtjMSS/fo3/7S9qBER1fiGKKdWdca1zyJAkx/CfBr/I6cBeMTWmMRb6PBwVVtUCoSJG5u0M1yTcmUf6Y2fFGStJZMiiMESF71kQ7eO4IY3CMKFTTsivFidIt4k5ia5WXQfoe+/iVx8z35LE1wfZW9OjAKu6LEap5zsvVuGqkHnyaKKDCaPWtepEHVCVwJTMS7dPZFFstF2th73Ci+yolLOwlwuxfzsyX1QRM8jzjFuezLxWwH58IgAx0TEI8G9XcoXW3lUq3UyHwj4oKUAd3oqWHWvOy6KTpJCTn7DLmqGS5evMhKTUEpUzGU7GdacpCgV8jRbs7rtjfNvafSSi2omRkspikp0gTUdZdLf7DN47OT+vveU7vqXMqdj3u6ejEVSDPKLzaJWYFFsbW/4pqg+zqCxOOHPmG9WtrBUYXt+9cQNn7So5RSZVv5I6hcLKLBZLQrpsxZf/UIuGKAHHB9zIHvFEWvRDvsjGPd2oXlPmgVBV+Mbp1DiEFszjlaGyD3OutYOo53ImYwX01DMSqhwOV1fazDWXLuLyNuRnlZITUqyh7v78vmdiwD10bv2NcXzCnUmrUalzi0WC49GLiLmU9UOfY2r8eBF5NSFtvHjbZd6ypKG/tWxw+3YFwTgVdqrNWw2MMcFwpaNj1NkKCpPf1DZSwohf2hnJsgdeYEGKeAPMHF1JlormdelHBFN4BJCVXASawMAZedkL+u6cATGmWPjtlMa2Sn/BJaViY2SnqPApW26uE6SLK6ndZxzP6d9tsWp97KHhQm2mQA7EMmjsVMc2TrJ2xzjE15gLJcQD3GkIApCpOalczONQXrjS/GfDCKDJTfzCh+3F//8y7PAmWyEBxSldkpTHG5cDgc4RShQTGJyxxVBKiWQaL1fPJxNk/yK2NoCH5YHgbaDey8Hy7YdpIIVfN8J7Bi20PhrSN4kqEFK/rmbe7+Ge0iGZ44+y4VcFsU9VRmJauKODl2MxyMNNt+9Et6I12wGFg1IVWH2zKYFeR2NBUkjftb33r49EysgVk30mUncFli1075juajph1SZ0qkouseZqYumtcdX/JUM2JfShky94hbbVDjQ1xYHxYkwyGd9I2vFILPmNUNOQlW3vAeH3KvUNayBJ+YZWJ3X/KL7GiwDF1db0SkFEqXGJ8U4MFcjGPU0FbomSJ6BWueVFHJGH7YKEl2QHec3oSLmO+bEV0aUNlvZdzhk/76w1jMZfqv/kfzFsr1JfVg3ZalrAM1QCfxH0lgB3V+0N13NnhGwgENX667IaTEdntBIpPeBmjlG0OBL1ltfIcORw44D7sQ1T01Vv5e2yLXx/JlIP5N8gFCsJY0NrfZN3555goe02XwDOgkD1kzNZVlWdNguXr1TLWhDcy/XCq16CRGosfhhhuMzCuhtB+Kn8Bh6HjJWxCAxOWpRBfg4rsay3JfANduqOVtmMbnxWWPpBVYMHFwNHh0rHJ1bAz1Rfg4mkRxcCyAVMHINg504cfe8Doy/dVv50eaHLPC/m6+urkXfMbLsclTarLTfXfI67QlXCa1Z+HagS8UovrcjxBhDPfbOU1Mtu+ONO5MA9HVDqNi3T4dEr/mLHUEgx1YHeX+v7JvGmtIn584wrvV24AxHKcHOLtH9v/BKBT3rJ0R2qK+R/sNMRypk+1uEFzaT/5BrPr0a8BsTKOKmmHJX6Rtm6s4yZRLUG4yOwc03RPMJRtCoRKONC2HDHDoU9SwsubddFwLO0Sa+TpzqDP8FsVf7cc8XCtuW9Js/+Zzo+alRw3Fk5+c/1SuVSF9ytO1lmMmakPjF+OhYUhI4x8EOOpsy+Vrxnj+Es8FT8r/IVU8aMrOkROYxyLa1pyitcPzvbX+KiY1CR4N6EmActoaVDqXJJ2gvIE/YMSC0CGOD2NWYxbwM/686MrQmNRdCvyv4Zqsa80ymIbaoKBZgsXTlXabwUheRCClGuEQRsVzfkrmRQG8fV31n55LVWWSi5bb5gVa3ZILj453FMaBXBZvhO0kT4gdaysbQ9qGQPXIRYIBI9H4s+Kz0kyhO3jrCiyecelNwvJSFgFyVP0cZdj3hAeQk2VTM1JF3iRD0ne3nwog4uqE+Ni95fJCOmz2I7MMyNSZfGHLF1Ze06Vm5mRfflJ3Soq+2UEm+AM45hNw4tcMNFvxhs/cfpnPZ73dzVLcpNUxKPQXatWpvsast6wwkB01+XL8HqWWPmUIOsJG3tCeCL7yZDTCUeDhPa4P9WRNRJSlw4ZsxTw8Yxg8c1+GUFUKHHU6cLVAivRanm3LVHR7mzmfGQxjb8Akm43DT7v6O7abdnb15gLmHhPi5Cw/AI4P5Vmzalz4v54Np+lU/vOEf0x4Xe3b2KNUPSFtKcCvA1qsLx1uq+XsVSVmZFr4XUxahfcIuI+BNfmo8vcdEo28SvNM6iJNpkvJ92YIpL0/OSl9527+BvX0IqfqJeBLiEcGMBAKPSsqoPC/CGQOAJFH7EkRdXX3dfb+d6+I5XDFNgmZCiJuO5ENbTmxFG+CehLmI/qyJtRATEPxJwJvlwJmiwaEpItaIAA/x9ClYVAL+3VXqN6cd/xdBHz0J7xnP3QPF+yQ8eeioKKUqrIY749PeSqBZ0CzIwXFlnp8dnSOEXu+6W1HzliSWWryRQjLyWV9e2DcRgqbbi1f6G6uqc4R9nwgr4T1F762TB82QdF7rH/1MUs6IzLP86fJ01P2gxRIAk57wS/UR0gedXsu30gUMDRXtOVETFH3URMQcsRt9Qm6HHxqOcCS79oxPvoB70SAcM7pdhewFXBW9hhzvjMuKX/MnjeSqO5C+3gwcNVv+HliNv2crLEJd/wE5LJTJ51eCp7Dxy0BN6Yl/gnlh+Eq0ALTxn828gxhykNt29os0xp2AGe7D8OAk3mUlMgZu4K6nopwdCgBC2qXkwlxl6b420QxrOO0OVAv0uPj0InVKoK90cHWtrp1Tej7wxPO0NVqv6Za9fgIjFxtvmPXoz06deZ7hmGsHt59/87qBPGAp3RMAFj1faPbe4idGPlRaxqZDGBzqnvoEudFtxyn3z+3HI5ndlTUtYMkdMFOcl6q8Vm3bO5DSZJSMQMFQEqEmSv10jPOzxcfamxs/kYeSE7iacZvLdEwFfbaKAGUtFKQJ1dCCx7VG0HaCOO46j4d7uKMl0Yv4a2ttQAVhVRjsWFC+QVf04hVBM5Zw/DfVpL7PCrdx7CPhVBCX2ilSux84StGhgAcOmjeF2kYWRjXtBYnlHQzXKeMP55zIvW+eZ9iBuzA9Xk1I1qrJEYA3OImTIlPMHIExCQ+wx/uDL9KRaTTiaqseow+QILgnvj1psGLHh1jmCu4tPXGg6/c5VuMMT03QFoD08xxDJqCU7P0t4ZfupgZwXaafk82yzHXKT2ig8E4i9jCAjMjk73wHWkxQft58cL5CphOddaacD1fQKmOzsJQDXjEnbA8xnJIGpd19S4BqW9SvFLmPxkw5X7w5ufvlauSkxK7uDg/XgAdfg9U7SsyGc87Z4AURqaZfcuEa4h3PpNKisIv5MmV+5fxHO54Fhf9r3qto6Z14GEDIEaTGF5p4B6950sxKrDbl3JTPdkFZdZuZevbFMIPoWPSlUmQmf00TsR1E+vhTYxDtp22eMJTf8ZdHgSV+Aaryh08O3FmKKTjL5/geeFvUxml4DoQpEj5wK7Brmf7VD6bu6S+f31hVfv5FWjFx87P7qi4yGPuisxa8+Hh7YtyODFDDonM6ZKWtlyjyEINtseJYDWgwQzNe/udid6b1+VZF6qb91aynoVk3MYCkB1E1ia3+7mR+HTA12SVxh4AoArEAukE2CVgMN/DaO60OqsHLzIZp75eT6OqR3Juxbw0DnoRoyjxoIpXw3IddsCSTiTdxgDqEheJxNvEOTeuVXQlp2nQN2oEDhAE4o97lwNejyHHEL9D6HJjBBul575gVwk39n+jB//jaE1c7AidxJ9PjyXj4YAp/FNxu5y6jbVVq3w1LrxQLnMuqBI2cuKHtTjHqOUZu6pA4lW9PAPJZ+UgJnyqLXgyfsJndjfUHhVRgXyrh9I++uMZ8R4+iscafg/I8aqTYvCReTSIdILpqgzTwoCu7U5jUmGeDHCSwG+9gSq/7mISQjSLBIE9gOd6Ym2yKhUUWlOBxmzIl9yw1aGJ7VB9vjV7Kwl8O9eStwXvt70gaPgWgmny/z4CYGrxQxq99GS2YPq/9aJSs/3INmRduCmoyHRKty2u7onA6FU3JPxW/0zIN1vQyZgr+NhMScgr1kX/9pkl+BjtFQX5wJJnxODjae/h55ffGiCI9sdOd4jJ0+9AxlumZLLgoFnBJoeBKUHW83ezmHHxAgmfZF4VneW1WqHVK0idBL5Tk8uUWWit8dng5/N2wBfVqLKnjW8OWp4VXZAWjQJPkysOrYlDpQItWA762ZsSLeepQz5rO9uJ/GWEPwj9NpHD+MXh2C1lAe3ZucyBTrFhQpkDOwlQWt0kI3UlhoAmX2gHYP6iU9FeqZCXp2mDw+/kFgDVlvWurzC1GAsWjzjyfmexI1mP939XjTOsfoAeUpfGkT3xUgZ4SEyThjxW4VEmqwbbYWAC7LfmZQ+FhXHRRISUiwNe0KIdQ1DRzLRkh1CmgzBOsfUbmHT07L7XgL78Tc1U0UoJ+u73fEyGw2ueQFiJQTTVhdMy4hkICQk6SZCL8cusEtLDJoTx81OpX+Yj/u5iFR4LtEba8QaDhyH1DsMOY81Xk5t9uftWV7rHZZQrO8bIv/+oBxAqEwIjHSuplbfGluFnG73bCAa/CD4IZRmFruIF2UF577uhgQIEP2+AyqXPWgna5x2xx7A2Qit1G9It8Yhj6ute6w8CuhMaKgE3JelbQQbsCy8VkHSMAV6QCZiOlmD0oEhjifVh2yvutQp1LvsYd/nF8FxA/ZYB7JGrR/gBVDQrMDNhZ61qBozNu1Nipe16U2AU9oOqF9ZlBhUH41JoMuYLFiE0Xf1GzPwgeoJ/KfuOWz43pt7ARFqm4vBy9SYvTJq0nFCy1xsdKwFc2muvAi8zq9WHQDIAMQSiIfoRGW+E1FDCgDcZ1G44O3TqjaXQzx4S+SJj+2eaka0ZzKBb28o3aGRtBDn5FpoRCSa/bvcHGol8VMqNEHB8yIp09lfT1s9hugpviOg93rKuZh7LHSseAF/+hW59yEgydbiu1rMy4uNBe9B0Qb3b2yuBqRdJ99/icsghuvjjFBv7OxrGv9P2Ik6zoe+ECjNleb9AdsvcORIibxaHjIw8IEnc2Vdjz0w6pHhq3efFB84W9CED4ByrRfEYcP4idqGdlrLkPpux9C0y0Gi9IK3r6jAeZ6dnsI3O7tieq8vdt9jU2mQUfSF2FRCqqjCL33SZG5LGbYrH211gJdnqhzRHoBKvg6Hv6OueOe/rfhJIu9ppDcVBMcyscXVSiXbVXeSfwoQL8/5yAxgvtvG0URF4/XNaACNFctWbVsohr8xHFlCdLxciEea5cqadNYUaiI0N/zLon/zX+7rge2wEj2tZUnPmYbtnrz3r8MnGyPzg/2nkP7wJhWPiQW9k3EhByFwqptmksghJhpIzad+QXZGo1thMllpTWeG5v4VKf0cfXyDXLFDz0Unol+L3+mIU5ICVlLlev7r7kj4a3pQUefwYQbG9iOnwSkHAQq+je0Z6bjsKSYI8RKlJKShto0j9CxHAgudN8OQXTspZ235At2sceUl27AlR1xSNYpxe50UWLYL/7jxq+2ICkE/f7kqVTawIfAoP1vhFvGYa2ppGqdwqgAMCnc/FpCC+upg386Kp/1jieDLGcgZGIc6gZSezEeH96RlqzsRp4F5ne7z5KEpDIyb+7AlR6AzbBUdlo6vF1eASO0IpgxxrS60hZWX+dn8iarKiedIVq/JO3Y0D1RC//sdbIvFkgRLk3rNnpdwIdDhvho6gzCAKJqyUvss4Cy0Cpa0iw6gV5h2TEis6MgQ8LyHgDMkPSnlT+t++qIz0jOP8ClBp/uqCmf6/J95pFlq+je+OeaN/8/ptEq3ZCPfZCvFeNdU7zRxIMpJDkuNrMfzB0znrotnPvtn3KwlMLEKrvtVgk0V25MeewG1N0CJp0pG1KlcpTfIolCpSlKfyq68i79c76Gl1vhr05DPFvNZM/HoDHKfGHMkhuO4YgiyB+j7GZE/e31TZSj/6ceVee/FKeeyla0lkgt2yjtH/T7Wu0k3D60L3HK2/YX4OBycxOTZe5crvonFt0+i4L6QemH1tc1zvIh9OuXN1N5kJmpKZDtZbnT8i35LeWDSbHiZo3o5w07ARTqBUOOd9sBJy3YCnBl8IqAxFTgciQsEi5s3yTSobtVxwAJG1ox78eCw4zkvUI0pDq+10PF5eKPA6Nb+8f+DW4ubilQkvs9zAS0yCpCdcAhuw1Hm1+dM9IcWx4W3o8QG3+VjlLlzitzg10bDyKGsAPxtCgJ0B8G9Yq7499tOdjlRuf//ooO56TeSFtHX3yZMqsie1ZBquyWwJO+QOSdpzBk7XCrJuJbmWQujdIk+BFVvDpA9mPvbuamO+UX30QGijXcYV4GYJfq6u9/0EV0GLpAMgp1ub+gJdBWMwGjuCMBnxasdB42qAQDWEgfD1kDzWJP9s5i6Rq7j2dMNfMvfUzioF+LxkjwO2o2qe7SZJv4UpyIQ7x354udyrHYDyZBkOk4hpBUUIoz4snUZxzFZsmQrmgzp1OAlqyAh9ttgsP0DrM6y4T+69Pdb0yEl+EOyXyo7gIgxV8MvjqxFZ+4OS+OZAA9qEUl22Vucb1cOVqF00KUSe6zDI/cJWpM0FZqVBBWRz2cx4YgeANOlIgtc2gvmBmq1f9TPIkJk5KDhagQhMyLchPVr3q1Ct0bSYY6QFtrCWiKfutEzRiTYBz6tszpAV8xXGCCvAd3W9M01h3xpQNjGGiYrtEZdxZ9uxg2L/+9Pb7Ksixz/Lkf7Tqq6Cy9FO/nXQzP1R5ikYLQBZeviFm5nBuJmSDeMFJvSgswq48qBhzHOJMsazjnJFhhGvIBXciP+FDlBknpEmff2sQugCqf185qiGkHiEA7ZfM/IMO3CyhC4SO7cpBGmPbmzFCVFJ6KSN67nWp3Mw580v5+dLQe0kxs8cmLYBs4plDvnZpGLR4lwngQdXHiqPYAYIS/gwmGqRbybgSTn+xj2WwTUqcxOJfxWLww2fYfk71Bb94/FWoSg9j88lV6IjOZg59iGVuCbYY6BePAQYbQFFTlfMg/YrYHFbDG4T2CbZswwLVLbYKAqBqMprPYnrra4wIxj+NJ9HHTiFleW4ASDSt2OcOu81cT0P7CvpIiz6AdW1xfEMibr6o4o2/reMCei9ypsqzJFT7INKmwMPVW9+AfmNhZNGZGCrzkDotUnlGwK4WreM6CYxSRK4lsBcHrVcjYRirMjddqGmOV0y0Qh20x8b51Ttl6oTDCPgNxGNlutOBh9wLfq/AebQWVpi4WtvnchAlRmugmQJ7Cv90h4hLCoKgZw6p8OECuztOnlaBvU5bM7hJsVVZzGdTajAt/++6atO53wWyaiJt6kPqbdPXYQLxmBDF0whrOzldQUlTFbw3NEH3rxQBNa1kuyyQR9TuASpy0BIKGHCkXJtmrsxPsa3AGS1Vy3biB6Be0hYI2kOrhB7kuKTpn5Ed3GwgZCaVC9+G/as+ELL7ronQPnifYN4ah4IF3bxizYcR7A7NOfSI+uZ7tFpx0npPUgxB4PowzPsbAHdQU0jU/4zBQFO+sNpuAddvnr0hcUyu3xSG5TQqQkW8veIV0m/ZmQur1v0/i+fbJcGJFlVPcM4goQ9FGftWziFZBkoNSKL5BmLVMkLLSB93hpbJ9S8QBnxsKNHck1YMqSrs+XCxA+OoXji54RzKlYfUL2RydJpLTDvXz2eJAKAHIQJDD3MvsS1aJ/GAdCbI5LoJ8Coo8oorEYoeDqX0j9TwuLTyM+ZSzKS8KaGZAZa5dRAyLZbpkVty/pbTXetGcYFAm0v5xKVHTNwlNS71WnXvVEpKPxrByTaOs30GoaNjFzqFqsf1MA0qUOCbLKZpJ5WEXQ3XwSx1e932yJbRsoLYLEoWPHaBq7RNczJPF3WGSvg+VJqu2A68l19NRlaS8KLp8SdJZR5tkBmF4j9pIf73vTPA7B4EvYdRhgBdequ9ZXwXzTGrpiWgwqFffqOhfIcSsTGYiD37TgvBoewNq8GLpkgOIoppiBgrd9GYd24+IvpWhZ9KdUzLO/oYyRIwORpkUunW8l3+Se+WKpq8DF4LsRtz/i6+2+8SJV0Ll9/a0aSvCEhW8nxIRSh9SYMJY7f1kIqy/BjXf+yf06jeD+QPIYs09TM5MaVKAIHz+J7bUs2lerjj751TeyBkr2weLiuGmpvVMIyW2n/Ei3uCbp63d2TqDDP1+IPeHl+8lbunrSrnJuT9ahBgVsY+J30REU4hWHTmgIBbbGeug5TvyAouHmIqDMeoo+nqR3eEXFxRLPESB2a+MpwGlJHh9SvM8olxyB9vacBwNmySwBEmFh3y8ivq/TN9TD3QlPhhw1qEMI0CEiuEgM95oLTiQugJkYfubA0mJDQRTjjlYu2U9lSGyGp0xpYby7qXKyBOR2rd1xtCEW43waXWeMpKkv/6njgCQJtz/s8fLgGdJ2uZQK+4B1i/afHesG1luMzsemv0DQ/UQoBtei7IaYT2bjzRMf3UvC46PsWu7vyXwA6nTjyt9PmXPgwk7ocR6jSl5jNg1RRrD4WEGPACTcp2MEtnXrPVXDLQvwD0YlNx6CzGRJo7T+U/LJkJFEBkQ6RlcZifnkgqwp4Shi1wEf+xLx9i9MW/bldc+kbHZxklGcqU2mPpaz8W3+2i9cZ/2FaWQa18WpekO/adpot12c7UVMsHZIfaVTIBFa1DQZcWYSkBGujztmOH/to1xTokdNRX7XA0tl5MfaOmBnmnCvMxPC2hglMVjPHH/WgZUICKKrp/Hb1SqdDlWSS8eCXCq5g/24VWEbIFnDi60dQAK9kTt1umwI7UpJCHJ8ijTD+ss1+LhU1KqeLfzZ9OasTHRxjIRsYoC1UaeevJdmi3prQRkOy+m9Rzt0i1v4Eso2f0pfyOo9Fr9jaR27E1zu5qwMY5sW7QOMQmfC61YZyCqOSuQQdawZohOaj8tIPZ/+RQ4sxDobUmb0ZVoDWJ+07hJ/AJi1YGZNJ4fR8LsQDdbc7wjwdFC71sJFVSrKR7JoyoCJeLAe3ZhJYroI58RcMpKX/6b+RBKGCqYcF5woAKsDNeYGdFx2GxEykmLEBHZQpHb2EjhXLus46SfMT907T6xe1cz2QY/CFt31/mQaquI0TntBjw6JQ/OUwdgurr7oEgdCPt4lv4Bf7WiH70PFUAgVvmAmmzSh0rX3QeY2zy2Og3CUklZzHGy9lVIBoM24a9a2lem4O9w+oX6BsBZPnNZ6Mep7/3SbkJHqB2GwFIdmSEXv+j2iWmnGCvqyzp39ykzTBu5LixD6o9Mz6eZLtItC+lqzFsaG0DGjxqsyhlh8xpWdn/X2Gf7KNfp1Iy1K3A5XmDI0QZCZ14js2Gl1i1kEtsqfxICz2tQFROo+YOXKViTXWZX5Q9oGYAnGEckF63JuNfCtmG2f4KJmLWBTKgillzeNWMzBl+jLxl0ScYcAIEjKjgHXlvUqahOdCK+gIYqLBdP+AJPISUbtjd8vHegI6KISCiqk9LMK6yo1sXiCgyCS3mB7QLk98LLux5RLiz4+k+GJsbkq2MEf5jKwWgoymaR2081Z5qbxrobZnfkLQ6NirshRt+oMIoZUHYTKA1AVVgRwSgx0cqwCPHGaVlPLuAt0WduwoTUs2kS/CJXsVEq5HAX9/n/KyR8cE4azN54gabmllfMVArC3Xu9M9oBhfmr4rO7v5+ERXjDo0URFKiAy8CPChVOyIPaNNDWmHYFLYwC20oDZfMLn8hoqsST2FaMn4h/wE9YTiREteow+10vgHzAtFiDQ6OZ9EvyvboYc0ro9fwVpg4Kb7ZZIP5UD5OieHJtm/iNzQeszW/Z6IDUhOKgLNlw/0BvSZ+7Z8vtM1ImbtN9Qnf7sHecpQKtLfxw0hL0iZXH4o8nYdT5ySybC/VnDueqGDOfTo3tBzCtqt9+YUp4cbNRPrcuXR4a3o5pPNRlNYFm3Jka6093xu6oZ0IQVDpymM/8StVKr4zr8FFsdrD2RcvFOQnNgQoiP30VYA5GTopXiCHQB72delCBJ46WvgMQSVmHTlK0iX+JGr6WfCq1O2mL0is6J8zfOK0sMMNOSAnZ2KXXSHpRyDRO/dK+Dzl1LYIHHk6mYptrmmgKuKPEJucpftTweDHBorBtA2CzNz/LetNn3/CoJTEngCDHLmPsmTuEJ1DLkk5Ixsv3EKl0l3v4uON6l2esakIxQCCQf0uKJ97vNiIeGM5ZAgC8fmPP1Q/zpUh2LgllkkJa4+KmUxPLTNVNjYjVunWPsBXCY+elWVVUX5kJzkHoaHfPRIZubOEsafeYQKiOgRNsJDghDX6lpdvqVmvYIyiHQ5i4b4nY3/MEW8h/ezym6ZwqEG1YKtu1ZZOfT/ad0PWPsT68ZvbQORwRTwfRQLOEKLSpLR+sc43VeSdbw9pVvtpoK7vxlouU+Vl2h7+Ys+Wie6ttc1+fSQTntjdPxWzq2swfnn6NtXazjydA7VwJNngz2edl9Q6kIpiOO+GraLsmkByG6srLe2Mp1P/mqyZQhdMh6AIPhZUFVcHAY+0xJb0fN/uce1DvIramx4W33GPjWvGv5Zc3oxAkA2ByVuetOsyvE1fCVP4+XBSdpynOLkVu79uzY28X9Vjpi68Wl86J/xMU13ePoxch3pE2hPS8j6jRfUJS50LF2i79Csy0lNgk1KuxtvFzUtP68L+Wc87cyYZ0PlWxkFtKAnlQsOcY3mwJ0UTVKhUWVHGfykORqw90uSVzfAMoPmSPOeLluErjlveFGyAv6e9JwC3oGhjGSQ6sWGP3nycETA2PdEIJri5SC1OurLZ5dZuh5wZcK9loSFdbApAK6YoCqoq0fRcsd1n7Lle8UD4uKB+Fdf1PBs8hFmstmVINm//71VTKR6Q9TXDaSHoGpGaXvucbI4C+btixzNq8svsc9KTXirU07qh+H8sWC/CzCeQEJm3Zf0S2z2t1y9lZAwt3aiIO6caVzX01PshYL9UxJ0DekHCNLbr9K92zcvGGbrHItx/+vtE2MQgJA37tmjiY73ZkXrxbEUcffYPQAgGg7ZHe5jNg3qr2D/3tWqlskAD3Bd6eO9rcf9kCyCgpECgoGfl0wFOS6ozWzXlvHexdsuRl7j6zeYgIgOh59Ehx1xSvkTXOGOBRJeHu0N94avJ3C4/jivKiz+Rv9xZyvf1PlZ+/pkIytVjOX9AxQzs9JCE2X/alh97XSZ84//hBlxlAzPCNOFFbUy7yUxQJBit850z7DsgiL4zTBWrU0YVjM4rUR2rWIkt+T9UVrUYucIMF3vYuos9wsLZOz9rAOWQPgBn24cP8ts333nzEsWjwIQNdRZtQzojbxN7LbquVJb685gw5u/GqZEiDyMORlbd881lTnsMRlajeU6mc+1pIWKv14T25I5gRNWruZT8DqUhcCyhXWswVlBEy3UOwxe6GNpGC9wFFxfOx5ysAwXUXfhgaKLFstos4ewQEZqOJd9C65mAyhoxSkP7GnD1DLuEwiJAh06ijfq2H9MzLAPnK8qrq5bzFzDlFy98+hEzldoC62OpZz3b+lu7Vuk47CqazCAK9/J90QNdnj74IQFqHGSUiawjSYV1cPtQm01yupU2G4iHaE8JCFxWSdyg+ofbW8rJ7YyitIc9uZdX7e1rOpC37wCWMQQzZ7YSdkzxQFFh93L90ync1U1y5NTuTYqbM3EFr6wBOHj2eigzH59hGtnFTF9Ah4PscycN7F0kYBGLGyDk5A3ZiivfXtJ0mFegfKe/wBPUS2rBRbDCPPNB/1ImvOEfmaNymWaSuGl/tGwo0WdA2XegPkL6XWPy3NGtZO7TycoEfDtEH1+glfazQGpzskMNBiIDfolQooK9T4aYrGu2KDruHG0eMWod7CBg6YrIi3hWOuETBkf9ljaJJiB/ZtqQdFCsPD/PFl5OLLtX2GxQIKnmNtGRw+AEzWHNnEVpzrzGtca7Em+6zqY4NLLztznkjxNSTkJmwUhuVkTmhoiQrc8EBN/gpWFEXOiJC53nIuCbwCIk4IRy3CCoLNPsiP59FcBzW6SdldnhoXTZxDTEAjYsS9uGcMPYyPLrnMvRmzmmakmhLOzXIon4+5GdszmJXdlkh2CtxReEp1iI+76n3XBHI9BBn+Ee+rGglNN1Vu9WHxpyj43PO3bF6SU66F3NB7m/NLmRG91rq145lsOGxn1t2TdWNwm97dtumw1cpGQfkV7hrlWuazJtTvWTW1o11bW/Id1q32yXT7RdCJb8quC70RyB38mHKMiKNPOgMlwNkRvY495Cxl2nD/+809fTf4ZRlle+b0nWFNM0UCD+6QEwYUfPREtWbQQjcrwzK4cXYtgwImes9PYr4IKNNcKyc+hF/FdY4Lt4H3+eoLO3UHXh0bsT579ABi4PXOpYR0595Mn9sNxHgH1lXke8Cb8NiknP32qixrPpy9Qs9qP4wsFfhdXtymkNWQJvjceaFhgzb+1ATFt4uvlx4Ws3xL5bL4Nyr//Nf4/yEEfGg/9J5BPEmU4XkIGfU9VNJ19qlXKHlGz6zod9zDG8zBgYXfJou7eQOk0c/RboJv5mfiQeS1Q13KFalCjJML8Vaqt9PFRjwKbheqia0UQY/dQzq/STLhYCze0PTzAXQEecgPmc71OsLAdh2UGLi8fqNYBtvmqWgrqURNJZjGr6lous3TdDppjWBsBBXrQX13rDUPgfutHTxqXk5Ee3YXBSuudnn6P8xhd2L5Dh/M/4hDK4EVE2VnmLoxNLC6h7/Neerp+mYlZLN0en/L/SzMiA9QmSx6CDZR/uuFVG9YA2uRIJJjTZZht433wsIoeMKyRfU3Dvt/rauFxOaWmqTUkUDqUHXyzkmxLQCRm7AR2FrFf1od5HEH0+fusiIpmpOMlD0lHjQjf7K7ZGccQnGb2doF5CXHfEDuLX+2KDMywLQRmT5khPLJeV2Q9JVDiVp/GhwWtMWWAvaFPASA/bNB3PII+7Cbu9Bhnc0rN4SuwHXsVZmXWZHf9Pg2JPUcxXVqOrf8t8UbHJsTZRyqVSgIPmmsost40YrcNkp/3/yd/kunrV2w2dX/TCp4JZNWgdnIWzDmmvpKKTdI98C6ekRsoRk676o0Yqh9fVZwDw2C5YMYe3xKe0QdWosmM99q69b6dxl57BqiZ03vOWelgYBfuRxgPczjnV7ZKwfFunkfG+02jhuZmIveqg7Yit/Pu11mK6I+CnEZFTH2XkP4cvM6h+e73VWmQ5fmIoEaeG1t6hnfcMx5zOAADPF2Nx9IMQHsw6ITwQPWpRaH+Bl2Uwv0N5j0Idq92ww/sqjMG7XfnbFxsu4lTApqASOsdFnZeVMGyjnlL20ynEhKxqdaFB0CL5K20B/nk3fXavM2+G9Ui6mKf7PEg8QUoTvahBMkqviehouLtXVjTG6FihKyT3rYKt2f+keemMcdVXWJHXCeS3YS5tbTc7jp03cSB2IFalTSkp9X3goZz83U0AMvqtG/8U9/Z9OQQEujiAhD2xDF9QJZ9CiKAuMNWl8SrgYW5B3FzNjGqCtSaiGPYdNLlqDDfWR4rw3M0gpnk5+qm6gIp+CcgQDKnXusXRjwwmCzQunENMX29k9GEj3KfWtROmpDVmelKcim7/D7mwNIe7Aiw5N1gubq7cj+iisQCWE3v7nWafJ9/Oz7SFV73sr53CvdZ7F2W5JpXxlXtEwJRu6/2jY7FBX+FUE1TEnu81TR6OWDwtstzW7UDL/osLD+gmv30k1PfS77aZFgnn4Bvvg27wTtEwn6LG6LIuaqxZx/rBqBarJ6lvxBmbNdfhiOOL33UVxUbN6AMAcHzvdnJo1noRBQ2KSzIqaYKJTD5IyYiuWjp8fvO3HAnTmk/T2NkUPdVROBhPlxlZn3dsxnhaINd/mgi9qTxONr3kzAlgMpBYYGPERBGZyc7OXcv6rsz5PxPvJpQ2Danpdux4mUyOBg87hrTC/Nk2H4OVKM8t0cEcGv0cFSpg8vq+GM+E4xNxFf64p+9zNEsrijFgQI9Nd/ydIlqphHE+OhM1n/4+09Aq8FwGIV+jMIZnLhOEIHAoBLSrEqvi5pNhJKNqhlK0kG6Z/TyZTqSoG/lGtPSzReEniqOp3oYwWGg4rHGnPaM5KJuOs1Oo9FT7JqHTcypavsl86K8BGLdnk4lC3PBNmwAQ/TNytCkuNlUlROPBol8btWMTGY/XgxX9z+5z5o8CGqdCxlM6/Aqa8lKfO/1vLm1NPalOzBYbDxQIVODcpV4541RcLW70/9kI1oBmmXUq9gOkpDbRxhPbIO7rjSMVgXlaSDFo5PfZs1ALsVs1mC5YtwC5aDybCapW82/2//IuWu2qeOxEQu2XLqQgtg5w6jUvPRKJ83qNa9AbeRMVcM0oFqIx1QrfnmAKHoBhBjdGT/3i1l9Z4mDOWYdbuWfLtoJ7foa8DR7bmmy8Xh/YpchRVO0BWlJNlXbm+SWHf0439jv0/5xVGtps7vIC55If6hZ9r1059Sh8pqUQJrD15YLTWV1jap8JlHSfesX/bE9Dv/Qhdf42UsCAYs0S17MRPPy+qq8vRNgq/9KrpatEp4wYQwXIXTEergBUK9Zx8A2bmbSOzscfgY4MK+RvmNMJrEIbLOQWvJ1YzmfF44C6wqZIzBXNDbJy23UZQVQDnVVJ/cZYwJ4gOyg7yJwNy8sg8urGk/xvGfQKMkwxMOTwPBiaLXDdFu26IIg6YQdyF2fCGBEgW2Jvw7UYyvAq6kXFSFOGXdZM2syKCl/uLhVxj6ZOCIO6vusJ7XdwppqjsU2E22j6eTnmo4zjy0kH+sHmgkcFqS5QVlVqUFTMbyKAvLbsh1Do2OvDF3/Fwxb705tGQ5z+10ZG4lRabSiOfZACrR7D0ZvVJflzQMxc58g9z+UzquSO4f1Hjc3mS2VjzyaEGH/ZfSZD2DNTv6Whtnyudl9Pvy/Kdnl8ZYETVsT6VEDXrhJtEkw3vbkD+/F9am/rsYbNexErKg+rna0eLNI4Q/4GSIQNyoTUeBW1NVre7NMVxg/WC7kW4DvtnoEE3ADdaQU90tuIVTDw+XS3qyxe+OfNes7jKGfCE2xHan3YaT8cax52kRZes4aADmLPpPGD9LF6V+7bgFEQNHO8/PkMY84K3G4cPFfzdoF/RekIN2lqeTPAkKDULephYVCTWpG59gJCbFVzOZs6mTvbeY5dlloC1e7xgXo/N57DqENNfXEJvrO5mvynwb93NFgBXJc8erHISSfjlFkCrH9KgQXjH/yd7BryudmWWo4qdKOWFwBCiXph1m91a/CVF/PTNbgilM7OH3n2K6g2UtU2sIY0xJgHPv9pEm04yYVU1aVa9C5qvxlQ/+0bQvc7ORRwEhD5KAGDS4DIXRAEFzP1/NA01Qo1dFBcgQ7mFsYOUc08z8iPEq7yfxHWQaFp4+7N+fOY3o8JFEmRrcU6EbOJ2tjV26gtzRTdFa6A+JmvYzmRcZWXLhWe8GSsyTrJGfSLLleAUJfxOfJm+eGoFEElq045bWPmFH+e8sX+JPqsSF6TXbNd5T0OR06CcAFtovyIujmscAd+2ZVSjfJmyQ3wr6HycEiUwEaA0L50qOw3FFYEkn1YD2CAB642flGYp6SKUTkBrAkwAyrn7wvMXpr8+oTG9jwmCVJ77F0kvOLP6aSs8aDY8+DKuuQx5pXd57ZFHOFL9nnpF0Xdj051ci/fz6jbbSHqS1x/tgUnTE5jiTQ5hzg8IwN9kDevHfapkZbZ2ehzgYEAZJ7Hwy5JO4fOwppm6J0EJU9gUCbvb8ETbx37zsF1m5VUkamR2mJwLgrhPJNJsjtAq8RUL/TQPgIjcqYjkXK1B8OSNCsJghyy3uooJOX3KtOzuEsbLJTGkP0e0KJDLigmdsIPE6OtFNV2K20OV14jnxM85x96bvv2m5Qb+0ovUfuGKvM1zwynQDPKLxHovChMIOpguRMe7ryVQP1HU6Cx02qFcCcXrsdQAjHingvv55s3VTo/bnHQXFePlJqM3ambbobx/Uq5R649Sv1KVDBGWSOm5QckSQuuungH6u1D2+AIh7MJVDX0Np4BImFp2MW983bic49MY9NUJbY8c2oRqPZTXV9BFmH7w1bwIMtA3LrDOR0iB9OF6pTAKQl6lA5esrnOIP/D6IZmA2RK4RSenCeqxLYdAgfOHsX5FaSymIcZWX20hM4R3BjtWSs/seDNe31MFPJJTPHG+SSRhJlAynU4iTcwv5M1B/886kD+vR3u3aTyVR2AZyhfxwuDVV2/ZEu1URUU2kA3i9o3/4KRVRwv0RgIzrvSDSv/nbqFHcoVOA0zTsSzQexoha/G5/nb7FBFeHvYKM1SvnwDzymRiKr8j1jSTUerOF2UMkiXUuu6P+gpcaPsrO/ahp41hrwl5Ce6JUW6UKYmhmthYDwYqm5EPgOzEpdbPGxJ5k45PLj4mTbOvny1vojOrQvysbB/fMPRSpFlKVIDmVIijGpyaDuXWDEXXkulNmt5B8IrCMah7FilxPYBXTAi39UM/TusF4afgV0YhRaNOlSLvG6WVLfvy+ZI2YfHYshIG9LMzRplvt9Rx01mHrbR+17W1c7QRPaLI2toChBcpEv+mz8O1pRFxw4QLnz8CYWfXfmYNIzDpQfTHdyJLFLeN/wLXRK1I2Uu44P7yANwiGudunBtboTOrSiaeX5civ4qRvwDJ2P1i/CfwikzAjqqXWqkXReLU42CqyVRB7ANSbzfpcLoItUvpt2DNFuzkDqPzvAdn7jjjXStOOxJHz1SvlnUy71IMsM75v0WdtDCsSxs5Z504o3EG1R/GkGiKfN0orNDlzWzPYibW5zH+Kyuf+ZLHxfLI7kJXRsakjIT4x1bPWlJYoSgP3UuQHAt4jVFr1WqVh9PGMtjqc3cA/zu87YdDmtqiVlNiinGewCto5JtkcnSYg+Hk23LgbHcks/dkgg4gNgoRuIIjazMuq77pyFgFcKnRYUn5ZirDkifXkJQzgZ9t6nD5GmNSz15KtUiNuLAwHuNPHn85blT0OYx2C/YIilxnrY/9SKqX0GJcdNY5BgQfu1DhWqv3oDNgttZ0yO14TdjPrj90jpD6kfBFY5D4pxdKtX2xrsrSbLBcFbyTw0qkbnjbKZpozAfxNiwJy6e9OkERtFLYgz6LghvG6XC97mC663teeW/EKvLSVhaYWOqf/r4dAmZ6cpx6pAg2wQ2lszSgvnPUm5HY68E+DuCX71NJDPb4h1WM2VU7h/8T+EBBeKwi3RgiVXGEOe+5jlV4jtMkawVi1VPI0gAUTG4iX33FCLSj7d7RECN7+HQlZDW2sShGo1FV4b3Xzwc02lUTH5mmEYPIWazbgaZvi/uLC3r6Hu6aYRMMWeYhN10q4QXK3FxtP2BhzmATsrz0UmYFb112mQTYc8QgYfo+g+aAMIQ/qmRpqwY5/O2pfZ/aDSPeWbmyu8k0VLKNklcrvGVOobj5vv4HMXih/XAY+CClNVZDURqw1ItGooTQRj7S9RhL3vqzGVKLLUl3HYAVRr2PIbGnWqS4kTwPUIqGCx9Bnuajh9rgdvwNyLyOIb/pgn44XELongjRrBI8rIGT1UsnF/R5v96J003L5jEOkyzMlMJTpxRvZR+lqVsQNr75kZpJ9FyESmtjGrF6J3mDkPzBhh4BG4Q0eWddB1K/9UVtmELH3PRfIx35wvCPXcmH3SkhKhwZQgnJj4A8+3TyeViGlz4Tgj54EtO5bbtXTPY2igccMix3oXXw2exCvOB3O1Or+Rs7/b0wJd/jZqroDGlNY27zOnHy7nB0SS2O2ahoqJANSirHcecTs5/DFJfgRCeOZiKaUWcsdALVoZ1Q7dTE3P7E3pg6idVjw7orHq2HKZtGfX5W9cwb20FoK5uVnDwI/ZdaGHoWzUsCERukC9vuj2N7wDVPGcpvwUzjBO3XLK3dNc4Y7UNE+3vi1cIRyKF94cqfDJauBmy36LC3AALccISvNNnq5ArSCLquNQ59zS1ZTziTSrldDRW0E8npVPJp/p2YNgwtjEoCEuL1KqO1n3REyi/8Qbwy8VY4gkOTAIk5r1kBOVn6sGYc4jOGphbpSuf5eGMQmeha95nllRcNjpBvjBU1qf6P/Hpim0IXYRAPOviziwbK7xRmjOxI3byTMVrEhQq5MpHKarRgUY6DdrcqRo4oZmylFacRgqnn4XPS/+XymtgdC99fZF9OcKlUnRSYmEphbIQ2q8pudwdd/tqDYoKM3JTu38Tup7B1T4DjYj4dy0kjjpkgKIOlD/9OtNYYo0u5P9+OiZYYDf2C3LwrAlnToX/NfQxO7ZwzFKlzJ/H04Q8IKQxMxxDPDANZzG6Mb+QnwUQ7tR89ZYLaKr3UrrdwRKZCdUSODJcav0zp/UI5nlCustk9focDE7Tut1cdfouWyGYCrtgTz40biZZ9Z+Xxx+HsdCOi0sXFs988D76Xf73U/Zt2x1Sj9YHS42j/DuHmQR6oO2yTEAMbcc9TITHcL2+Q4AgZSbxZZilHq9/Jnw1ZnX3T1sqiX6JgwMMcBE9pBxksXcRYvgL2u5WQUlsui8qz1+xjzsBEV68yoihrhMOqxRwugF9pD8QW9TnVpI0/zoe2H4SbCDb29We2oXjBIKvTTNrRn+7ooVwwWY34VLA289OF6CELm78k94rwPAtVrfp8sTrJQmEtGf3WEIollJX/L1ywq56SnPcn8jltepaaNRMJN3UeyDRVTVEV/gtvrsZq5sJ3c9yPrphIBNaf0/6t4j1T+0hXzcJ0JCOU9sqMz/xi9LrNA4Bs7D7XyasVOqIevuaM+tcAhf6sEMw8yPHyjP3rinmGbtdSNpvKGor4RgKi6oXTmzLCy1sYPss290bfZ8w/Ip6nTizK8WFJ867ewy+MZEi9fJBDC/UWo46Z7UOqKvVheG0uIb/uvp/TR+Ji0O34tfV9tkAHCG94JJFXDFD7ouYyZU3hiR3ZDJ+1yh/c3uvOPZ6t+5w6DLrq+GY8kJAjcMhCtvuV78Z5ETT8EZ2/RklKlVhAbkGrAjLijTKnfJZT/cFcQ1DietSjwh4PAoIxbfBSX+HWnP8rHrlkA28CkPyH/L1Kc1dX8lLl8UbfhVQyd422FqXAiC9f+mE4EGf+YneqhNeJeCkYY3LT47FM0tJFMItYYPfmH9NxNWB0uJ5OhPc3q01N/AH97H9z53/9lMZDsPpNRFUaweUqHqcXUdjWUlEWZhS2qlAFUz5G+UbuNoAue4hRigljqDPgJ3N9Eruh7LZc9QvItOqELYDGUO51h1OqOR0JXpMBb7fWwsS6SywCG61cYi8HwV6bjv4xj2x4eiNx2HZ+GOe75Ty8F4fAPEioi23IHLHvyFeRiW8LvMY3An8n37DCSf4M+CkyrLBMLK0ciTIDHIYYlbp/8H+gvsui66hUQte1aAtGUQ2LsK4yAqFKURqWAKgI92np4CVX3iJ3iPw4vXy4MVjOXQcJPEVEIzH7xv/h9Ee161qFAefduNNxflAt3sgjt9AwFH/EFbyXLjeBbGj3IDWGYnqVlLQKlvBouL8JPdQ+HowwduUHnstPQQ40nM7w+EI8+0De7yHw5G+43vXdog4BLZL1j1yVWPD5rzQe5uJRAh/4HfPLput0SFYDf18xMjzKqg3ARzke45vLWbAh3sfIZb/8dnF/Ytm0iyWI0KmZKcGPH/tbYD6s1o7dhu6GbBwJFLMj/hVgjpMK12s/onzYGUkxTXT5MsggYCBHw7pSZpMW5yvgNXI2wwh0BmEcEXCrNy1sJtE7lL7z0gtlkxdJPMzCDzgGP5JLUlaX5DDx6BKhvyWDFXro0FDx0EK6lwnJ5F49kUkRHQDtxlIBki0Z0T1KAcHdwUH+fedSbPHTRmvOCfZkRR2TmOy0TEwb886nFQqZjlbC9qQCT24o1+93pzWjr37v/a1z/BjAl185h9RG4xGhNDUAa4pmPEPi1r79iezHq7DwPmH78lsbAiMAyG3Q9WiFzxJJhicpssF8LlypkR+sxGNrFj6oMsozBRrSlTxA0S7SsV/9roi6gDC0KVghIrE3lddzG95rTgRGlyxOyug4fo/StaE4l4VX0/v0+viyzA/dhVJ94voz+1KQVuo5kTcvbTHkxeanOGSYFsxT9pYa02UpaRUncpVNHBoBN5bzJeGn/TDBvQDVWbxNcJNl3+nw/bGVCHH4X64pvCXfCX4DsTXv+JCxYx9A40kjT9tb2mysmtmFb8WwDBVg701RUi85LnLKAyra5S8JpQRegXH3LnIxkC7kbPkEhFc+Kp2Be9bn6xu16PdisEEZWJmjY7dHelJgdDoKwgocoC6Wlw/+bKJZop+dMIZyz4919oN7MBLY3t0xUlvXsusxs6+A+xW+3pFNA56HP08o1ZXSYGdgL9KMxldd7ahsdlOGXSkJMPLp4ICOFJS1B5anUPmGpJF7W7mgNcb+nOIHt7wcbxximPkaXCOabZeOKK9IXRR3C+w5l8UaLYvwsp2N7ocDk8Abf4+/ywa8K/PPlldomqZwSE304UcPsSfg+1fRC0T9MZ7Ceab+T0Mbx4g35eU3UG5z5+cSt7bISFPSktS0zzIZ9kh612Q6mk9aAAPNJKTYI8swZt05WVHTSJRyXURLq/0NmJLhOiumfYzHDm/LD1yD4vc2Lpz0EqbCCvX08ukzs6NlZ//GKvc0goxw+lxLDWzQlqD5c12o7Hy/pmUmFHQ9g7Pz8T1pg7aMLR5IqitRSL4CWN91AcA2H58E8z+lGeXolt2ZKih0/WnEKpzr15aH6F2fdcorS6sIrMbYL2dtstsS6ocKk90etvaGCmvvY07NNBiR+T75M3rp6lBRWdC4MTldjr7k4OAE1Ea0gnKANNS7NGSo4JArMCexysrCgKP9A9eZiBgHHOsJO7P7MCFD6dwlx8k+o+Jj8Ybd1T8Sx/s632eq13JzYatvUZPpQ2U5WYw92XxZKXXduQ64eSdgduhgTCjPJwljjrdbkogHZ+W9YnCGRwCvBHFSa5hX4XGB55HJ+KMCeNtcj9q2eScnFyScsAfsbdVcv+++RiNODb5cqiUDZzsuCJ5042ui75QaH9nnMz++Gx0G/LTnuHlWPG+H9L9Z1pIeLP9iaxMJ3GWb0bakESCfTxZMVmVULFSv+IPrLJEFgoedErZ+orcWOUPG+SzbbWKI/6MBorhHPf9R42jEWtbmujd4ma80etl1XK2EXyMSOG5hmF3gXfr+QMHNwPgxHGtzAqWes+cUBjnfyMD5SnDUNZPonUqBF4GiV9lz6eZV5BbJUBlvLFA4PqMkU+2GUmUICVSJ13+GXImMGjxExOkbLMxsyPxPao3WMhkRgQ2vkP5kxzfxXO354iLa0ii+TIl9Uef766qoS2wQwSHwPK/hO2NEcA9b7uEsKcuj1JmsEXLEGNxrvBax063VOapTMjK485dhru/dpp15fLdrtXXMurUc88sSon4nyqjbT5UWvXyTT3TcvYXzGYxV+gyu4zmoHRKnQvCLpChqF1Ri+AvqbaNhSRA2iTJ7AKyS/UdfjJBIBYgsEq+a/94bVT/lEzLBVXedPtLCd43JoFz7rM8Rlktz+s8lZLN3o8W8VfbAyY2TTSE8sEB/dDGNrbbwLXgKO54ZhpHGf+SG0VNdyEQq7vUodrt569c1wUx/SzaflVy7MRsJidV4TyBH3XeTYrFef3UpZ3o+1QfXl+/3STRh3ITECwP7shyUF+lf6kZzX+NncDNMMfuUHd0djI4ZFYb+lMfLKklpX5IQSlsY1CJ6N23qHZ7GWsytYNdo9gAwD7syBptowfAVQ2+PdlFPtPrm1qxpCSB9KfvJN8KEC4JOSYBiehYTTzl/6aJ7Rrxwp4JvhyvnEcnppA/5lUfr5ZIG45PtBS8eP3BRHzkGbstn4VkdWwQG2mHziPqH8wHrkl3NTCgipbCJtVxgUhWpgn5aZOjY3OucMUAHFKMyzFZvOhUh+Qbbv4XsLeIhjiaYg2z8+O9ewnbB02ayHgtU5o3i1++lFlhlaWzWv1ZjCJQ/Njj6ka7pnhPS9mC01kVRKIhwfJj7KdQWDsoMgUIww86yOBJwpYp+jTIlvKmEZW8y03uSPBYhZBuCGJVThx5NpwOddaIpCWa/64vG9WytY2oUHVf2rXNxnx6OEblaoCLt1+JXh94C/N260RGyhkW/+2T608SQTQaI2NEXeJQe9Q6iqI8290SHfA+ER1Pqp6zucvO4WHJLf38jyrPp9W1z2EmDMQQQnCvOfSPdX8OCLojRvY26bMoiBjT+elmEBA7THJGB/6vdRmqCAvBVcsF/07UHTEOdvFMb5z6j34/eJReFaPTEVzdIaKcLJlYD1ajluGnOMwZ+IRgvKVOobInmDnk+ndb0H8CO3orcuVe8MzsaLQNTbyhcQxBRd9clF31+Pjehik372pQfB2wkkcRvn8wnDPlhkutsfSXzDaUdgsezhIucSw4rU2BqjbYFekrYsAFmygrkqaFjx3T5Dkwjem0PygWOxZZ7Y8VJdURW89Vg/U/iiHTB/jZIpBp6IlMiqUORsGJca+TM0CMQ9S/wK0EMvmxWQhNwlT4SSJbOVaDbVCQ0VU9xZ13U+6vVhGehE/ZerSYsW499PRigwfWRHHAfWUabOTr66hnSGgkW1uv01HT7UxRg0dfiKpSkk2wBor5Zsc7w7YegkjAbHsRYw25GjizpdkPf4nJzqiiDbceY4mdP+pwMejOQZys8U5FeGkk3dIbVVFIa1weZb/9LHhrr07HFpM4HHnebMxsrakP1cEkpdrRRTndnl+4073X0iViI6q+Gsp6+aQvuN2yXWNK35sAqqNbrHlruojuIBeKtW05DVB2oh0QhZENjzrzJJksm98YuPuI+uH+E0YGallXfPmOpIiYUSxNQB7HJqTJytWc88Njz3fwl6JH08PI+Tu4CW6u35nIu+tSt87/Qb8iZ8P/wca68plgs++pI66Taj+UgIkqbGnjIMCJvUIXVUTBdivhj/lxyJy3QrMMy5fcuLaJyEWjSAV8TeQCUXu3Cs0Rt90wHD4PoT9dZaYpfMUzeCDBgIyz1ozGPejk5zTMcBkcFGrOUlFVDLU5P2EXaAPQ4LR5Jr5zJjet/8mEQe8ihpWb9EbuFntwk4d7/dDb+X6/yBbkQPv1Klq/uXSfrKZcPmJAW3HIZklI2anw8o/CIt/nUpeitryqoaePWiNwxjvqJESPTM+AgGS50cdXYuJeC1cx756kM3mSqCnefe2ptdkPm1ZKyzt/X8xgSAfaYsW8yhS26d1b1snUEf9w11oxW/7BvICKmz8K+CfTqcGclzbNfBMHZqWS5CzSm8jFR0VjL16o9q+EzTyY7QcX52zF56S+58CUa8Sv+71A87+N5ciqestXN2sXRsC5dSz6Wain/403P7NOXJM59Rq4D06lLTgECv46RkXlt4500tfGamNwR51HjQEUUiFsOL37sjkV/pIUNdYqgIIwUCTa+mKmNuWAZrfnL6dkPJq/gZgJV7OZ0I9WKWjkWrptyLmdqg5jFAlS03NMSNAno5O5/zD9mcsttnr6hCohp+KynFQ93zy96WjpeEKau6WzzMiZQ1zE41b90l0FYde2tcmd8Ieu++lN56/uD42hQ2EU1ex56e+Tp1430qN/RGhuwxhnyrOL1dN5coD4XnRKrKgngpy6luF/1bHEDLg+T5obO6sOEPMtNRlPPKFuXoaJ+M90Y5uhsHAa56kbj8jVNsN5wya7/vPP0sFtxABg9q2BYjj0sxvFlsvTi7E/gM/9h1vW/eTMK6rYYzGRl5U5zhZTVRr5SbhGLwW5k4jfdLyG4lNT6AeEerDtOT1hJLJ2rhIceMduhKoXjmR6BLs6hZQHvTF1kVkIxc1thA3nUhtMk07iR8TqnsQb+nq89Bd1CrKIh/Nb1qaFbpjel2RcE6BHEc/IwJR+3inhy2/IWoI7/vronC380jZiiHOfpEgDNVWlLhURWLluri8XZRXuQE2HtnVWodvJgfQ5FOp3nAq3E/cg3+KJf9EmVe8VwprvPBnZrNcBU/GotrPqD9JUa21hJuLKsd08dVpvGpsoqyAcpKlGK1J6bii5k8hYWuLhibmN7L/vRZBDq36bx7kPIuYe1EYmIL1QxKo8bBKuq08JcsaUs6HYe2iND3gwUcIN/mIr5vpLnaCJyNtvDs9+WkLhR9T7ygCLsfgJAalYavQPYw+vQrxBD2s/KHySNFWEvZbxaNwTkGAnSeUoaoB7Ata2T1Fusx2LSVAA4BBFbPkwlu5GYlzgCHbD4+bphy+GxJDpurf69uZHNmIdl/RRNhH5r9zbM9OdUTsBMNx5DVPn4F0gIZc1MUdcPryf0ytyIgPeElNMW1HY0KyspneFP5WjroWq0ANAnoMFbROe1nDdX2czsP0dGOeTySF6p+xDWLMmOFAa6eZprkaqvEsGMC9UiMn5fRpgejxjYPazDInAFp3g/b+p5+6apyQInlL4cMCKoYCmYTE5gIlWD91A4Fbg9wVtOfjjeelqIYDJJMJttMcuTgsWXmNMM/Oz58ynp1XcT4rfwzVuNUJzMld/9LwBs8bg6M2PuAOCks57qZMRc1Mk4tRyOz43d0Z+0ceHSOHIi+22AGvIZ3N/3bJ5/sY5Cl7sG3r9jLzeRrsw1ArHj0fKZ8Qz+/QH+jBnLRfZb3Vi9wvt2P+PJ0nGoK7BA5IIvrlcqkGDh3vv5LJKn9W0VeASfTXEIxNw2KXHycnNCKX+tMEopGb/eAujewXijlDJ6JOBd2DbqLPWbLyL4CBl3+6VXElnU/xu0oDzKLQH2AP3GHKHDpvpNmiGiVp6bbXO6B316U8G4yuZCWerl4WOc95T9ef49f9Kh25KfoOIBIBzN5BxgUmzhAi0ZvES8VMojoYUEwAB/Tm0zn/TUtqwsr3MQhrmdomiZzKa1u5V2Kye97yr8hEAqm0txMLl+MVH1hP+Xdkm7TpNjg+XcSqO2avI3+sBdvHq3Temy5D9OijbXxiWn4wtVr1S8G1f4w1duV/M/q5xNXQhT98VpZyKdbnoCjH870UeLqsIz1h9W0I/LBKx8XQS6k5Zpr59BzJT57y7QHqBBpr5wUWO+gXnjRlBELxrn0WORC8upQxoIwOiH8C5jHwRwpEDA+VuYR4e6+PeutGdC9vmE+JjhrV7BiMVjjg4pLh72Zimr7xahrCmnnRS2aoiD67gDoHk21fOBe9bhW7Ns9FhOHY/K8h6aVoV30B0Q3NWX7kONvInKjt01GgaVWl+SeTyptJ+vY2i8tj5G0vjBwpZKplN7uc3NLicrWxW+a7tgJlCHm3mnvG3aMjMCAEWnrvDciAIn+YMwJ4vYAH7q3S6cJi11sbywWyP7+gOI8PS0q7cGkqfBQK5HS+JXQ+kYuxjRQQlRV06R7403AJ3xj2qg9af6kxMavb9MwFTg0/3Dl3h5MgpR03V3o7IjNaipPabfLstTByzwguuTnCXqWd2y5U2BzwPCjTt4AVf432GfJ7414KlusSaCK5rcnNKB5ALnlkL4SXpe8G4VsqVpcGefD2w4uILlAVsmFMJVKI96X+y0Md+/3dMZXfC7knXx73dZbYMaxGVMgnBlyq0lnh/dEnV/MaVm6XK60j+4fcM0p0zMAaizqyDbLdKLu+BXQ9qgDTz6Q4UM5I5XRWdSR3bo943aXJmoxN0OdC5QnD1xlnjk8uofQJpCW6SlluiCKGdFYcDoVqTX7HBvYgroYrmuVjcfQShhS3knJHLQ6Lgno1FQCFPzfRag9EovlkimF9H2chVWUvyCqnU9XPNGFDcsAALU2qPOP0N+LAIOUJAkFbpTneeGQ3QNoilzXd/xI63yz0BVttLtQfNOnLPky/9h4/p/0gLZXwz+qe0AeeiTB9EyrurpmDS6d056TfLoPNhmcxlK7fzaruj4joWhbZYydpGbuRvTC1rfAyaI4KQR7Q9+VgT6uONwZpkR/TYF2W2AmTNUgaigjxGTd8LkPEPtMD3Bn9qVjAZgCVw7/b8MKCX7jxn+1PDZhdf0zcO21bdOtPw0xTC8gkoeR5u8ZaUWsBcr1WOD3lKEmx2TYxM0RHvpINdJ9M3x0IjPUVQZpZjCR0YFrYJ32AXBE5S+jQkYPwjVmKYWRc/mvDOMlfu/t3VTY+uYtJhnKijVWLPx1HGG2ShfF6ilTf8kImFgKDkJcQXUvnXYEJ72gY83BUpvGjJ+sA+UAyCpb80QdU65sIF5aSYoZvM37ZRyPIPGUQbQjkE2ZlHILK7IVwmqM7858OOxUjWEG//89dTk9juOQuZ/89LS5ON2gHEwYMvS/OOHtiwriVBbJoFFkGxleykXaY62mHqhA5Gc/BqOwideQU6bzjmLxOzhJSJ6NQizW6u7a6/K14+u3IcoS2zIpSpeQipqxHad3OhH2bJq2eZWKQULhCGQROtGPnqpbzooRe03wdUvT0hSV1aEwotI6+7WvWGddoghTeyw/3mOXTY3szVyrBKK70NWWR+h1oUfnpr0bN0KEQjs4SIRpZ1MhrxuT9mGNCSaBpatB9BtjJwQT92QFp700LXspvcssarB+Xi5z+cYxtjnU5UX9amNR7jBIT9o2cqpF4gmRivbrJKQHKSdo7SC87fKmGD11+an0HxEqzcTEFY8Ufp9aozSMYwhwpa6lylc/CE/MyltLR4869fEzfE0zee6RajdrrmQtPnGJA3sxWoSYdBZ7cQ1vFCyITjLaXYWzgtRJq9myNKBObImlBfz+AOTHqnzEeK7NZGVMS2AOVmcRkaBffdmlVOEI3gzVQa8fxl3Yz7Kmd1vz2sEPPmhbYO/Y2lqjHwM60d+XSI0DiJgAaUExVpf171VD821j4ooRjlZTRzOarNB8GZP4kZElmD/bgpk/fDtIJZyZ7nfZiVjo7destlT3IGLq2d0zrat74FNII3LsYqKbFBLU9VVuDM7emoDpUMVBKZs9EiEtPx3Q8NhOPjIpfzXoLBc8OhFlesPGyCTBSE8D8r+llDltScgU9MdJCkvg8RRaw+JiPOL+gRAZvxZN5z+1apj4a6zymTcIbEiYkwdV6REYUKqte7dV3I1Z3fj0bYVZ0eBn8gRaEiRzOytDOL3WK//muvEmwW8S2hfiH7LzHsYIwtmWIG19lUCRWREOk951P3z2OIdTw1Qw1WoXRfHHmLKyySSWmCft0haWzg6c1mrJBgx3ALthLb8UzOb5CzQTYI6oXWYo8QBDsbEXVAFu9DPifocBpHZl2/hLDppR02U8r3m/OFqM0dbvW2md1iAULBni8+QFNWm1F7d4c5qeP0+lGEei6kZ3r717DZZZ/18WUBeU7uOYd2RsVmoIvBQx1R9gyRnsiVKgBhzVUtheOWAO4zUi4TnIZIZRop2mupwKVrFS5K/srCOQcwlSEFRO1EiD6GcuE+cpKJ/ercsyLVbe0PbQza+WCs4WC+hsblU+nKsh0zFxBx443q9BVxMsW/09dmi38qptyqicPKWZRXRxQuQh8YNAHInfrRwA8DCqDzRhCGKWJBLGsG9KIctJNvgfYgHmWtciblMBg2FRe2w2fnCyEReZ5sf5qCzakklGivway/UVpYYWXERCmgQ0kOKkesmR1ESdSogZbCMsYorIcaANRQooi4r50OctRIg/Y3wXsBS6v0Y5YP4ntUYI7GwddaYd1Bd2dntE1l8Qak6PBgoKy0pB6lKqpGxmWjtg5oJ4/prOdGihY3Kqa3m5o0apRRpS9JG68xCciNORjdt1TTHfQExuVuLSI/sYyN9bxbhKPwCTh59vHy7blQSQ59ygTNmRlwtbXQvDlHaaQCVFLr6ozKpLGsVq6iGYi0GuagGWgRP6rxwL5N2LFSKB0tnpIoya0CaxlfaCRL7pxDUlVd+f6FXtMlilQRMP/C/HS9o4aN8w0M6JRcpqFu+Fo4Z/H4QZOSvzrJX54bFnzK+koUqsnyPVJGhxi4MzpDLrldHkKTZYgZAFi/QeRdNc1ibY+Puqp4geOkJBwA/OpnvMdHn61NrKB37GvJ0FcHlSmz7icI+ZYcMuR2vRVm3cBXxZBnBtKWJ0MHHlP1zbNfmug5KQOAqV3Vu6goPsjKIVHOoO/8aXRIRptD80odPT8tIaP3uVPfgyZiUP1WFiG5j6G4a0zE6z4K94p6WGwoatan4E16XyWQpApQxzVFIbnonGJdV8a5tTSmZNZLOEfQpex/sY9SZ/AX27tTVyLcwgP6lZ05gtvUAF4a0Oupur4jT0IfR0C8uWx44mGiiE8jD70sr2dQRz6/3/bAjfTqlFH3Ngs8Xh36On9wkr07qeCkJLV0XgLwepgl272diCnY6V8fJvXVARBdymbeSzeXM6TiSCIUS9P2eEnxq3SmUHyy1/OUnUsY/M+7omEUu0i2l6IuOHtIMPdSboOF8p8yVGb2mCPtObp5A9sCjlASgwYa2sKQxiT7kNgvQkmkX1W92Gd+1+CfBS2avUrBU0l1MKdKM0LjIWt+Q7oPPXvEiTqtcywxIWcAieYnPlhkGdzkGaD9ISmh6uhzVQIAEsXue4qT7+1IGUXWrRSDNkmYngZ6TyRE2IKSCLeU7Xst/+0ZZtcaXVxKyFbIFc0gEWv9haaJiZgZCnLnTeSNKNVT47uw/0lCa0+zHXNTlQnhxV+BP3Deaoh4gcq34W+WXSkmJb5Al+NoYWoOvISNCW5Fw50JigrfuPbYAI6oPL5snzSkp8XiUpYQYjT896f1SEbOT3d4lqskKdO31oKQdwLvxM48XVVLhspCCI43L0bzzQ+TCvTQddqZsT71LJGjbnzAq3Pf/saKWyxqLvpsba+15E/TAATgOyB3XB9ZEcdGtiIksuIb6rZRd0P8wyEyMTm0CCfEsFsc0eA6FWTrpwhkKPZkT2y0Fdw/mOBcPN0n1RBCLLZOSXaZQ2JnpAeq1quuN5RxTuE8+30WX+tMkeW3ncnVJ3jk+WoyMijt/zqSKW/N/FRb1bsBr/F+00z+XODUe0arOYKjH4wAyILE1PdJpAbgjRxC5ypZuK3w8fn/gXUCI68+cevR+HsXIXlkQTMADB90EVnStkBlMyWMED/y17VgStYSDPoh8Rpyw7ogSBzJZPFBoim4hRKM3RulylDSwCCSx62B0RxjYWLAqjyD9zcCYwscrt+MoIBV3N4YJk5jziE8gQbR/YYr2c8GNkQX0xakVdbpFJsVO+j3053W/kfoKpNaGJndHNLdCaufLdpWUSIqH5Ts0K59w18+Neay21NaWIuITwcBhjMMIhx4xsMwRKYg91s8fF2HkWq4+UPXT0Sl3T4AHeq6+V0gDFkCsjIYAlsuZNsjLvKyxAhxbOH3mkLO1o45LqU6mPmKWYsa07lZTp6gO2T1TuShQfUWMLsVfyv9THIc/3xKe1vTe0SVAPPN7JOLU4SlyF8ZYTzTYZbjhnkd5OQ8jvpEA3frqsogK8bXrnQ0rfefcGf/9A5PeML9W/Clk28WqD8ywqqOKzj4YdNRchTdIGROCgevhcFtbA8wgj3H0ho0XyD6yFbj3VS4aJ8olSWH/x+nyPXtm6m1fkksvnJNmQV0djipd43vslwcK7HDx5E/y6pdwXnUmfl8JSQlLI+3bdcgwKiui4TiDu1yJmGhUAzwt5ZL4qbQrRFB64SU/2gmVZUlAcAROABLKHyVwJJS2QItHHlmLzXbWeca7ysmcdcyPIpZzICSzdsAhslr6iTSOKCMMXpdhwfuI3dWEKGVw3RKzHYYFUuOi/nNUpewCRcSrW5pN2nNoKVk2vqkWkpZrrzbFbEDiYtEW5p8L5hCwQP832NA/cLZSQL9L0zFZX8Voua5JYxzUeQMoBmxWitwc0Jb5Jaz+3vX3iMUAkLGziDYHY+6P3DZjB/ypmehhDA7jz2tEyCOT+UlPBM9Z6s7P84liGiXFmiBAfhsDAP/rjgDJXrlPxOIO2HzFXkTL2kzkURig9dVL2S8Lgr9jFyrgi2fDlHbADhV7+Hejeoj7kTrpkACB5q6PHYWI0Vs6/KBTeHW3tQpBRpdxZ17DdA0Ovm+ltYeKx7j0afIqz02mll7pjH0MQ29rXHpGc0s38XTZFxkGfNqdgveGqH2ryjf00WDXxEU4dXIPnOzOuLrRDK0WVQ5AhzWuWInCQ+vRH6a7UKq6A6RpJ7Eo2DZTUnTCrcJ/pHU4kISyYMq8SnsM1yV2EijW4xryyyX3yuNaowuc0WTJXxDnwxe4rmcCO6kkOPJu2laS1xOYtkrWF2LV6LzBJldio4o2HXaL3hwWW4pubQGCn3wo87LJSAMpV3TCGjnZsm5qB6lvwGsv5sRsVVdZmEZbdtcWzEUs8CL/9zsUXYGhSjYU2i3kE+KO06K1JGuAUw3T3wSzi2Uw3Yi8Jw74Hbw4QlvHLKrZksTrNfS27dIgIGUz2/xQ+gSlcg4QYzSQ4SgoLPpp3stFotx+0IoDHYWgPr3TG9cLIJiRLDFapYlLGvCCrmkP+9AliDspIkon27II17bSeMb/bOuILgpgE6YKlfqe07yKv0LKIOJNyy5w9F/pDi0sv67hJeFwW0S4HBqcm1V8ZNazcJnvWS6rKhignIytTXrthsqvJRwsU08ql0RDljGSjXp6xdxoRJidqOYSMDetHtmFKhsSkQVhV1Itu22tidDY76HT/OpowBKqQHB4POfg90ywtFyH4lRjCO3HCtqhiHD2KIUqovs4wpg9KXWRdLwDFyXYYj9iYI5i2IMVw7js/CYjmvQMeZUHWUZ3fVoEp00oAAITRkTI52m0KHx652t6P4QWUMzPxnKu5GOSu763Zbs6eaXeb3azLm2svHfQd/XrpgPtEmYyVXtp6sTgvHFRBkEEkk6x/ZGw+wWjNNJjdVlAI8zsu6ykwJU9600JRLSVfKo//U9JbcfbeOz/1MtGXy5MS6OVdIHSzbuLKiKdQyFUQ9K9eB0Qp2U4CbRZUgxVlct2Bf+DdHogm+nKqa8EXRcWsSOJrVSbjw6El9WYWJi5X2uCCy7es7S3O4xja+9TaEUzWb08rHQLVCwG4f0CutDvlacOKbWYc9a9guHA2HeWCzJ2EMe+Cd+ijwMC35uFLUKcIwtPFeHWRlclpvRGGryOfHmiCiJSPXS3TpOyZYSNN8jvKBFM9/qN/gHY9cR/NTcP0/PW9trI1od27swyNegXOiWionrx7g7GVWVRZdxbRbFYMq3kSTeERO/hAtdeLgsCZLQ7dgRu79y2ixmnwLOiqxuAJtCOJOLtr6lBxAh52U/cyQEAhVQgt7eQ7oo6j+oCoYvS1XRfevfQrEoQavzP6gJ56Sy0gjidA4eaSISaxkFFzjr+mb8PDdCZCOZKNV0AP+8hu0HjigEp1MmCXwgTBdwqqUT7hRFxCgRfK8hM+TSm6wBo9n3xy0I7eVhfYhN02AiUT52h+qKRQy1PyXDWrzWk5jG26nrFFPQUUV7iXz9TRQfAFuwPZBn3dIXx8AkoljKHQtMcZMlimhH27MMhcSASTGhe940k7j2aEFjfDGuPGFonSs6RAWv5IVg09NphSls5u6brii4L8bzHJJXkCQe6JTzD5nsEYqzbtUaWQpf28Q6dPU+R5/CatD/R5q3SbeiVbkAXtp5RGT3ijy+3tLWIpxX8aaGAoIdfmilXFAhYBxFDHUEiLRyVjSUFaTWHqXI/hdyX+O3Zgoq8VRqasW4MNyf6T/DO7H3QQGUPTZ0RSWvylUWiWrF8HfMPD15QgviX90cRK2qOGXcqAqa3eE45lqav3eGIu4DJn0RBotwB6xk8tp1WOGs0VxtJYP93rpJHgbhgH8VxthIKOXrNy5mCM88lx4kTjLM06y3yR5O/+gG1Sjn2VA60+aahi3IFuN/x/7BC2ffzvdAcKVHT1qqoa+8uRBysgSgQ6FYCe6Srz2k5fGtQmBknQkZ+w+Ze3QYAmZn2pJROiqzcMNhm6uNcnqNirLF4wgrorVBFZAchZWi4/HPONMUq3HkqL7X+O2+74gFg8MBNuZVfQMbRThuJ+cIb8E+k7MiL4zzLsjGNwHvDVe9KaGzf9JrogevBnIFro2bcYlWsGujfjD2V0fLu1V7yydULd1Y4e9u5aJLlkLu2+s5qt3o8gbK8lOE1Ejtohwek0sCxpG4vWavL38vhhQAMeNwqESss6Zk+OJtFb9CzIHeMyEkRTUGNxLeNApoNeqbhk3XFN89GEpaHdNKjGuRXbLzwzb/LtZ2WE9C0OwLNi6l+P46O6j/SREnkj+H5JqLgSc9kjbF3Nt5SRrmlIZ65lujw0sYzJnkwos+qkEF+ZtzTbZJATgEl8WafDCLTues3SPFUXdakmu5m7P3IYyuOd37+QAH8gwPpalNlJghX1VybmVbGpHrcHiz99P6KKUOYCr79tgfYcga4SAPRTaf5ibe0RuzHF2tte50q4KnMN6RyEZVCABCCWq6pG5IM3PWgU1wG+KyDgPCd09N6T8TqSJ2r/FlzuC3TS5fWVdcq7dhCyj/Sh6ngyqfka0Cc4m5TH5Z9XhO1gHwjWHVgGatt1m+vpCb4zkeddBNI3CDt8hz/4i0PgA4VB3iUqXeNOZWAS9n2UF4MjcaPcGS6GmXWPhVBWlV1FmFsDxUv2FY8YWrJIy2jFumzDE8qlaDuXJl4A0W9PIxCaHpI0n/PO57iySHZZBIAbG31q4Zl6SGR2iYHbRJfeDuKh3N/VAssyoUNEC9FsGTYgMNZX4m0BEVZnzMZZmdsCOoiiBC23Cp3G96W65SjrnB6ErZsIp9Z8zW2TDBSQO30koEdnl3vWNA13aLwfsgzjoxcYO5TIqm36GJQKdMHdjLCpVeVZmwh5t6TPuD9TKnNUAD05c1PO6Dbt9EJWrLkReOjDIVxc8oeLUTzurk5rYN1GUpIHxVDuuDA6uxmxJAXe+jet99JfkriOEICSJy5Sew/QCHLsB8XUTyU5oHHU9fjeHbY80rqo1qjWvXbtp9TKQJxv/h3hal7hm7wAzihgMsIeBVZ/Ilxa93WR0SuJ+bXXZkjPEqwmrgyfJYsOa+cjYfYzDSpVKgH/mvlJ7C/JUWJNq51Cyd4tWFNi5avv9rQ+wzwZIqamZnV1FGgIly4OkdKI4e1QdJEzqbn6kefscuezJ+1GeYiHpWVYlzm+6b3gvnr0erwyRS2MQxo7eki3kedjLaSAzs6TLXvHeEzRxsZ205C7zQ68wciX4Eb3nO5SRZctuGItYl4OqOkutXu4gyaP+XoQ6DRLaBzpdRcAsLAvwgQN9XwIIuMM+kA4rPQCzeQyPb/ImJ1hQ7xn3WtUi45hAWdfNk17uL5nIQYJNCdHX+OviJH0R2DowXMX0OaNqlEjXrQ8HA3g+Pic5AHjKerzk+lXczP+IvF64UAmOLmnm+5XuNhyXHEUK1BlUFF4FHByhAqVk6yodLcI7LV6EhvfVcwa+exfl06TOn6LY3FIji5xiFbeFBpR9X+F090U2LJwnLHg8dwzzKKZg5rco9ICutRpBOSDlXWUdNwPeyNMl97ZWT6E7lh8U8dI4dgwCl+asI7U0zBGWzZAKVs02qOl2bZiahQMM2tiLW8eu7MzBDPr2ApSztnVqPeLYWX6MdllbxrrssUjJr9CI1Gh/RooNEBHkl/Dx7K6glRz4HT4DyCMnuv3HwzWnJmw6xUngbm/3D+NXXuFKOzNNRJVojKSHWGA8nFPHLiFAXCZLNqf96vXrBtM0i6b+kMTOyPDbU68NCxgLRbU/W4IyVoCo4hNkUW2llX894TbWtJsiT3GxpjJhYo12YBDEQcQPWyNd8zviZJWhEUcHewgXFsEm83ttkkEPGbA4RylwaANtVMf2v+RAnptLT5/2D6Vuh+yeTAZdKGth5P+SEUE1/B2jYAsqA7d/2a37x22ATcx9HBdRAu5YfuIJi50lURaTFqTODFusYnKRPbXHRZKpNNHWrTE82HE7ToOoIstcC1ivKuyCRN3Tj/fZ8cc3ZIvwA2XQXQ5dXWhS/lnZCIZwRFn9iqax+xD0bZ5qFIH1gOhQjYRdTeqlXGUJjbZ3EXpawtBcRmdlOHMOjnlbs7J5p3HrNQRU8ya/fPB6EuU+M+59n9AiSJjvsd/oxRgNia3iaL5RrPRHmFQMh7PI+v44buBaO4lHiiztPzZCwXrgItPyAQXGii/mPy+DZTcvwRHaqISN7HPNoEHUHSGuV4P9SL/6C5p0USQvOthvlZ6C5+s6wlUL//ZqCGxDgW5r8fqNR+S5Z8XJM9k/ygOwM5PkDtRsgAGnIVL/yfNlyohAD0tQ2F3khmvXCLWqDhhDhOIJtwEYYMm/6MBs0BmtZHQpSSewdywvkjIjVakALIfY0f0biP/ODMum7nvUAzfzQpI/TYkC0zvwFarMPrlM/4o9RfMy2nVn8D+jPitZgFDpHVXib3vh9uIXlJTiKvW0DANag7SKC2YJFCuRObN44H9XHWx5eo/rW8f5JedH8+dv0r8ChZ5lTs6Fx7eSkSGwwLVdyuQKYTpckUtvRHMxOjOqI96saAOdYu0iR334G8wruaISxaiQHdLYjvnZgb+mbVX3IXHPfX8g7Nt2sa46CsQZ3AlnHn6tlIl5NKTbAQFRRFuf2gIcRxr8GtV+44arrIYBtttVe7gcKyPx1Ocecjsiupka1J2dk22Q74RWgpDwVAwxQ1cbFUbu8D8AwiOVhKAHyMSzHaeKpo5tnYdZrNbJMRXbiRA3aNOVSrKaa8pODox/kOaKS6inIHmoNDwagNJlYFSoqycsPQgqN+BrDZprop8YgCCcodc06zmfIszyQg8kPuDVKDxJ/Hx7MKLf1/7hlUH5RdiBmHRxL5GZ1KdlEquDGW9xQVwYQTyQpxZpGNxDFYS6DkXLfC7NmyaFgTUltt90LZ46VCAvoTrHYzg8grPr6YL1dk1cipB4Pc92KkTZ3oR5AG1FGJgNZ4ojg6nJl7v2hA/aXL2VJ5i3lvQmxYAq1jxeHgiZr6NiZ0idZoJ2P60ChXDSy429OaTTw1D4B6npRzmQiqcnPtVPLi4+gi39V5O+PfMfyHqrEWMB4GWtTLCi6f2tCri2vBOB7fmSyz1l8wWX2nWLz8OHO+L1xWzEeyxdkBW1DIpNWfrp7A4aSA/54wGXDYf9bxL0H7+KWgS0j17Q+wVw9w1wsbxOw7vv1qS8resSWfEbFI5egnsH+9d7ul+T/XqErEk7F77RUxcjd7slvbCinqlYwJaOf+cvDIE/6i2k1ZOtvJZ6gmK6oSJvi29SG5NCZTGrQFMPoVXUF9w+2B+KwwzKsIboFwFrt0jM19Xpv/sHQHXgyy0FVbU0ks+Bk4D9mX6j6TRQWxlKl527PkexxVXPibAMDXQ/TmmG2kDQoStBadMOs4Nv18BrcPIdeJdlQ2CH2F4BlKFFHkA2OBP77Gdi3HVxLFh2WbhcHYp181vQzzqDE/Gn2yKrWHGo70jwqcAPRNii8st4xX2cKLXeWCJQ701YW5aMzFKAN4s0pfR+ITnXBI3V4R/0mu3hy7qNlgO3vpoD2nPUKLxVYu4Am7rWgrIh1hGtpdUj3Rtz0JmEfOYYgYs6xuGUqjYduYtsZKN0kOJFCQSWVLYiKj+EQ7Sfg9bQ7h7NIOh3Btli6q/i/WNFzPjB/0hT6QxPBjv8l1zM2h36ydf6lOSdy14/s/fCiOzSX4xalmSTrVW+lzbc6JGpJl9mGWPfXN4EuhlJ1VOxyawx7bFzbXfxN0P3sBVw7nscrk4TU9ajdsmo7lbFwzO57LEIVrXCmNupJ1oAPaLcR+ZkdFbIc6XJQZV5ZmEJu5kz6xJS9L0aOJjeHAJR4s6SWAq2kI3ydn3XJg3UnuySpUR95q1oJ+6FUA6QLuhkfhltpniUSN1YFo+jBbn2LFOIaSo3/x871bWgN9SfsDW1GxkCkZ/vhDP3QSUdtVrFHvwWN2O4AXBLLnMWxA19FM/fj32JSCi0XGnaBuHBXQmfaTRZxFWB3C1lqzYzTJ+FpZBpID2C95e5tVHTp2nOuIi8KXhmL6T1HWwMryzfr7Kq+1li2zi2akUNH2DWE4JIyElRrEDx5dY1ko1AcUPfyJpD8ueHiDt2UDPSZDRqUS/b/unCrP8YoJgY/A5MzY6XaOwq8kTLPmLExbPIqjQ8jLZtPyyYDLX8RtgMy8Z8FEIw7Ja+H1+gOzsDMThsocx8jqqaC2sZz0wIID4nNQm81DWeQT37mw9eTqdTe0y3EzZAnlJCITcqE+kUaZO/BbzlvO8UQCYx+B+8tHdynhMBfgeXDXxzFYjs4bswCDbK9Cn6NT8Jzvpu/8hvAfWT1i01RkIt0QDoe3DFGPIVX1yNLAapwBCh8pnoak2Vukt94Lqd/vW+wF5QKp26BHd/eCXlZbbVasV5d2mblMwJnuzDeveJqCGAK+ZFF5JQYA9O+iGBNJzxGm0/31RTgCCgsnJ3dN7M0j2lI81D/JZEAfnSbi3w1CCwBOMCpz+mxJcU3+/kqkkubqpSBxNPeLUmxsyED5rxYigq19m7SVeGXNm71daIRPRuTkuHSY7FxJIqJg7N45AFn8CXwsSL1CxE+69sw+cEk4TxuXJ+mC5gUyY+Qs0bLbTIEpFh0Pdeo6uHyczxozxByEblUxtvxQ5FKWMMwCnCnVzGPFGacDYr7vubsvaRmtf4ExwqTYcg3fcXAErloVu5kXDOMUIb1JQ5mCMJO1E1EUG33fU2qye5OlunPoRrIDWD6pTVu/dwT9ETkD27nYR93IsHeEAHy1Tae3KIEqKp40HVxuwulM/bXcBxy9waYqc45OlI1n5w0HG2r9055CC49877Qd3ZyiJQKhtvjcUuTSoGSiC4i3w8cWUuFWjSbMlubn+scWPFNZbeDpL81tw3ray3SuMDemd762tRcwtIxMK/zJVjVhZoMw8LpR6WLWeE8xPNDEsCkCmZDI99xwgnwOdBTr4X45bGHiIdMc3f67RpmQVMM+GZJ5WxhdC7zxxdu99aH50OkrtWgCtELJneMRZFTTjrJJKpA1BaWLORFnWFBXtDiEGFBpPaOrLj259f8eyKxJFb6MYe0lJJoz51OgjXfBMhXp3a1VOaxSvrb9x9N5l/rdMQAGBC35r5suo9+xh5IT7CNJQJGGgW9+YDJpQQFQFEvrIFyv9BbAcfFIKM/WuLVH0ZhXkLrKeUhQ04yNLDwNO73ZVp5d9vkvEshDqWeBN+g3b50mJ5kTHVaiDWPt4TgRe8QuF1JsLgUXibnWqCHY9xjwPYzXZzFm4qdfJrOtsSpjdKCfuFUUSwaBFPtusyXHR9NlaxmjcWW81fq471FD+qHQSngQ+n/YbqRbEYvXt5uShXR5rLXK0p6ApNQ4s1vGFz+S0pYQxWOVVqdu60H00sU3cUvbbVuePjPeG8AMP7Vjs1Tay5OGVBAdBW8utfB0g8Crj2ilMaeqOORKgzhXIhAuea7HYfT9RDzQ3rZ9B5SQ19PbC5DWCr+dmvfY0vzLzMQ9sSk4UqA1B8BVWBL6DYm6sojdQUBYsvz2gNOkiOf8StK/044pcwQJVUxsZR/t708SqxPgJwhY48tVlSsZ6xSaYHPNALaLJOnNnz2A2+BtT/9mVIj0HY5QIWD/mVEHp5YiF79FW7j/PqjpSjrrWGbceovWvsA6vInlod0T3WbXTf49m/E/IY6eCKU+zWsnS59SfG0BBmcRswOXTrgNLg6I+ZujC1sE9K/YeUabYrmga4gEeK68G28wTzXO92ChfRoczyrGt9Mgu0JOYgQthsnFrFkX9SZiKsXUEs8DrJfoMSX48XVC9SBADYt0QQ9Yt6DpApBwqxOw9VgRfF1Qo/LW9bxptsoLRNcmaVgKKzVE6uZU4PXz9v4YU+teme4+zRXnmbMzA94FxnRp7bRd8sMOSFWneAgv6DPRnfwmkspI7vFsnjTM2BgrcuBL966mggBuxSNtV3+/lHvrQNm4B+3eOSfa9IKdQ82rMHMVt4FtfsSbuFVpS0+5CgQwwjlKCxitGZSRBMPI6mlO9g5P80jtj8XWmqLM+FMjIUQ0zYTisKLZMQ0M2gPlxnCYxtTaoEepLOwdulnGEZ0dAUhtX9EJnJtGZcKnEgpCqTdQRLckVrY1u4mElItD/mUAjk702+s/A8Yf+SuQs5GNJ391OeL7t3zM85yPU6iVYj+2O55LBMkV7voarn7fs/c7FXJbFEhDt7OKwI7vL2mmEbmnbgx25p9AZqm9pWzicrYgRcg3gnPMlE2ED8j+rHLBKHtvXe3vre+Dlf3Ss8bDARgZhES4KAAlXxfgUwvtS4aXg44zz/Ak9O5BEzEvfylr6LJSKiuWVqh/Irjer05wvX44R+CsEnHTMkBCi0VMaaKoPGptt1droums5hWs8/KyW4OTn/QSZcsSKTkEKEGYEVIiRqf3YxGfNOcV9nxU6+XMU2nOKKbiYMWRKtB+QR05AOjsU3tJG/VYP4Gy/6nnXisNDgaqgGMfWejtoO5UxLg4MRs2llT93tAacZ3o0IdwaFi4kBnHDAMeZofqG+hnL+Ni9cfcgtNqZIgpuXxTk0TO9gRoks13g8+g69LyFFQE3bPcNnyif1cwTxVnaTGpVdQnrkgxY5NJ6k8sR2sP9suXXuIL2Up2enImgyRQNyzH5CEMll3THQ8nEVFodcgcEhSu6JOmY32KqoNWvDLxN+bIYaxHKes9q4JI7DT1lCLzKd0y+If2+W8MpsA+qZbGpH63IbtWQ9J00T1PElYOING22Wrd0YwH1yRfw1uM8GD4ULmY0EXwq4NvuOwecinlaGbl1CxTw9w6SgPc2YxYI3Dzbz1WO2tt3ZGQG0ikJfp4YDUZ3yYmsAXJb2ZU+zaVwMbdr3FfYbs6HnlOzTM5q95fHYuvDKElsDIsqqYpmiFSJWEcUYATuWQO581pqkrob4hBxihAzKvti265e8VHNsmwL7vxCC1fAADvvDuwo391IdPyFDup09+S05qmlu6XR6hUxeMUdWB96EqdcCMv9+eV0Q9py5dk1ZXspPQ9EbRhEY5kt06kUNVcvYtXLr6g6yK8h4OeYQU3HieOQU+eN+1l3t7KpPZsInVeNEvIVeIZoospwAyMDQ3awprdUA8YWFqw8FRj2mNwORXikkyyfdQVCyKEpM6M0sMQ7gtydN6U+0yJND4yoZzoCJxA8lfRp4JCppH/DFtxuz0dt1E516q41Ig784ZadYxpCMdWd1y7YiuqYu+dh+l37Jauo6Hy91ErSGlqQXQBTepNao+i1g7/xX8R4sKEagIx4enaaOFx7D5sGoAtY1sayF8E+LcuIEBE8EqvLWCKN896/c1UsW+2zWfqXvF+vYHbWIU5sMzQpHejtGyWtTujOWvW8GuL2bI1j40WMa+02DiIsntyh+hzktZo5kaizmOci25eWYTXNkqRx44tBH4HF3VBCboCQvSlZqgXKuyus7XGOU+KnjnCE1je0QS44diaPnMOUXatLRq4ek3OnmXrhP30qtduYhDU+LTb2Nwvi51OMY2VDCOUBfYbADqQboVuWjzBa1/dEwgiRLA9UnVTL/IADAP5OHFYL3DDB7jVqDZbXgmclkqW5txz7HKuoqpBatjuwSJqZTecBICzHZ7XY4EkMtnZqznvthiTgTw3wH63txvmhXRAvUIxVddEgLWVZXTPaqWejmTrlDj+5rYIjlvmBPwyQFTW7bXfUTOJet/Y6cfDsUFudir+D3FzI4jK+QbT++bFR6n/8mkIj9bz9YsUjZx65oHlSVKvECkQQGEULo4C2E5M0cLnnpCzCQK77sT+GCVKL/Xy7kcTOOgKUM5jvwPbSywPTK0AasQFhyvUrvbKB49fVmccyD8cihWOSvqH2WR1/FZx5usAKiwZHng496yuTt8mGKW/xLsq4Z21t2XpqVP86lqjU3+sZdV0QgHIdDelu7UemEPHsWiQ8xyOwlKu4M5k2Q7RgfIvOKAqgHoEQIWGbvkDh4kJrta2YpC7qmF8GdxYgu+r1ubbl1JMnV/y7nOjZUHykbGMg6TeNSi3BNML3NEm3DjfJ76BQYLkO9Vz45htaGXvC0zlfaonzOj4clVu9176w6pErVEk7WmMrqteyGvHNCq9VrLaZbFF5b1ZEvXgGJK+OhMmzy5619ZxNRNH+lnilEmH2if+XGHnN1+IIaXMBdB/iQbSP5are+oPE0GhiyYJiPQzNYHrUnWnBs4KLbJzUDu42AdaSALc0oXXwjS0gMu6Q0WL64ioh4qZlKvMxmra5tfVbvAUkDVSPypJ2yqW9dH4MqT8b6t3WD6yiagbZd2u5AnKBvAbXImYFARoFDla8pNk+cctwLGHRQHfnGNBzlHPL42kNEpPDbEKEzzpf2pgfU3S3pdiv37o67jzULGm20FSSk8+eKhFV0py+pRkAicDAG6qXefnoWMtbP1kXbMHNm2lwFaFkfwg5XzlS+OHf22eaNIty2dIsWJ7PNWqk2udBt7raZd1aFDbXH510ctz9iAEL4HITxisOSKUXtOEmVbTun+0Xkl3ppDLydyxn+ereQwRPGn7XCe4FgFscmI2Ber5K0W05+V7aNaB2HTXY/cc9prNPrtnZXbUl0/xyswLw7JrTO6YZEZOla5WsqCyKHcMikb71LnEa31WuUiS8AFLECgiZWELLQL54A0/HAnTxLXpjpBWfjPwhxXgryGCE+byoq97MW9Vh/u71nSHCQsK8ALnsOzYPsCJ4nY3UvHn5dEG8xywk5HUNlM4GVlYRSECcnl4KqF76YmygNInTDZVx569wlpuOtC6sqsiJv4K1H9ALRCDi6URPCFa19Vxc8xol1RV36npwHve0KpIZ3thS1gZaW0YQWdPilWI+XhOAenj/3S346d9eBPYc3aHt8DO8w4eW/Ead1pdlOu2LfywgI6J02IeArvI3PZyG63UpUI+L25xyBJP5bcmHVBMO9lF5veQ5NxRqQbJYgatVjzL/uwtvBXKGlbUQj3NhZf2pL/kWrGo/N7WSzb2N7WJOUv8HtviKz4RVkGrKcz1qX79k40vGT7rV4gG4s1U5spFRmgqoxLvChiUvBYZ8Vina7y2MYDU8p6fsKpmtaz0ZnR2J0En/1s4MdlBg6EWTGCAWQC/FVwr5N2iipGzCQlEJAlqDCn00Kd8N80EuvKW1g2oBmXXzg3e8WHfa6yP5yB3wwgOBpHphSCOXYymzGLjXEVDa7Zu9cgVpF6uXlaQcOU/U9SBa/WrpPXtubA+ufYr8hNaIxXKQ4KPFnDhxHzrl/1/UNg5swmu1GX6Fodu6lVacNijE17/EojadrUqgl8Jw5Xs5bEfsCo3yie+bMEVse48nnowq+MtoqCmXYe4rplWN+z/1oGSA0JovFA+MPqhGzshccF72chz3y7oJnutMR72nkeZobrZT1fTHHwOHMSI6oOTELk3gKDuED7qkP1Ap8LjwBGSaHV1QwGqzuAquBA4jgwhAq/NPhTlkI/uKl3TvXIPo9rG0CnhJjr6DWy9N6eDcPyuFvgA4/9pj3pWMBNpesWw4iCmFG4y+03WnSaCVAxZkIJ33DSrcNCx6YI15l7sEp3KxNkD4J3FdKU6dv9SvUb6yUY/diG/oCLArN5mrdCmIEaTl5D/LWpKy48GEtLA+8u3Xijjd9K/QnlDrnzbqSjGQtbQSkFSTx5uZtMdhswCUC3hjeMj1M17VrqwAizewnN01SxMxodxA0gv25buTBH2crzTBGequszqC2F2w8xKIfGzUkfGZHpQCOEwEqoGUmQEJtO5tnxZO7UYq1lAOZWxXLEvnP3VSWttYiUeAMcYVT9Zra7jbRFQeC3+HYtZ2ZJV/cnk/1cnX9BIRJ4BxxmyFdiubE8e+Pke6PELtyUSIqNDoWIUYqVcie9/0lE1rO2cmAyGiC+jaONjOnDRWLbwO1ggTTSoG8EI+Nz7a7rZTElWuhdEZ9u61m/FJiJaTKTEFJSvIlSWS0ee+hfd6AeGsRxT+aShbjKC4JEdVOBEsIf1pMbSj2+3vTVp4ZiY+89lK0BaqXoIvkjwtk3XiP4mFJ5F3pNuF9T8ouAj/ZYPEXQ3Yd6VprBL9OgOQOZTvkpMGDLo0BRuUO/mGmjKju65bg/B6SxbVIOh/9xvj6OYZSo=" title="Mekko Graphics Chart">
            <a:extLst>
              <a:ext uri="{FF2B5EF4-FFF2-40B4-BE49-F238E27FC236}">
                <a16:creationId xmlns:a16="http://schemas.microsoft.com/office/drawing/2014/main" id="{BE4132D1-E69A-401D-AAD0-4FB4F79D725E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 bwMode="gray">
          <a:xfrm>
            <a:off x="346844" y="1947054"/>
            <a:ext cx="11508907" cy="4461672"/>
          </a:xfrm>
          <a:prstGeom prst="rect">
            <a:avLst/>
          </a:prstGeom>
          <a:blipFill>
            <a:blip r:embed="rId8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2" name="btfpStatusSticker721941">
            <a:extLst>
              <a:ext uri="{FF2B5EF4-FFF2-40B4-BE49-F238E27FC236}">
                <a16:creationId xmlns:a16="http://schemas.microsoft.com/office/drawing/2014/main" id="{3008C5E1-A58A-437F-81AE-2107526FE35B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100356" y="955344"/>
            <a:ext cx="1761444" cy="235611"/>
            <a:chOff x="-2280176" y="876300"/>
            <a:chExt cx="1761444" cy="235611"/>
          </a:xfrm>
        </p:grpSpPr>
        <p:sp>
          <p:nvSpPr>
            <p:cNvPr id="20" name="btfpStatusStickerText721941">
              <a:extLst>
                <a:ext uri="{FF2B5EF4-FFF2-40B4-BE49-F238E27FC236}">
                  <a16:creationId xmlns:a16="http://schemas.microsoft.com/office/drawing/2014/main" id="{70F05AA4-1BB2-4994-87B4-27A566C7E8F2}"/>
                </a:ext>
              </a:extLst>
            </p:cNvPr>
            <p:cNvSpPr txBox="1"/>
            <p:nvPr/>
          </p:nvSpPr>
          <p:spPr bwMode="gray">
            <a:xfrm>
              <a:off x="-2280176" y="876300"/>
              <a:ext cx="17614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LIMINARY</a:t>
              </a:r>
            </a:p>
          </p:txBody>
        </p:sp>
        <p:cxnSp>
          <p:nvCxnSpPr>
            <p:cNvPr id="21" name="btfpStatusStickerLine721941">
              <a:extLst>
                <a:ext uri="{FF2B5EF4-FFF2-40B4-BE49-F238E27FC236}">
                  <a16:creationId xmlns:a16="http://schemas.microsoft.com/office/drawing/2014/main" id="{4F9F5B80-EB35-4C55-A6F3-043A5867D8B0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80176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766908BF-20C8-49E5-B0A1-DB4019BDFB6F}"/>
              </a:ext>
            </a:extLst>
          </p:cNvPr>
          <p:cNvSpPr/>
          <p:nvPr/>
        </p:nvSpPr>
        <p:spPr bwMode="gray">
          <a:xfrm>
            <a:off x="340699" y="1350954"/>
            <a:ext cx="11510599" cy="54965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 </a:t>
            </a:r>
            <a:r>
              <a:rPr kumimoji="0" lang="pl-PL" sz="1000" b="0" i="1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at</a:t>
            </a:r>
            <a:r>
              <a:rPr kumimoji="0" lang="pl-PL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re </a:t>
            </a: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most important criteria 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en evaluating whether or not </a:t>
            </a: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use a particular provider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</a:t>
            </a:r>
            <a:b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 </a:t>
            </a:r>
            <a:r>
              <a:rPr kumimoji="0" lang="pl-PL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</a:t>
            </a:r>
            <a:r>
              <a:rPr kumimoji="0" lang="pl-PL" sz="1000" b="0" i="1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ummy</a:t>
            </a:r>
            <a:r>
              <a:rPr kumimoji="0" lang="pl-PL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 you </a:t>
            </a: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ank 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ir </a:t>
            </a: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formance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gainst the below criteria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</a:t>
            </a:r>
          </a:p>
        </p:txBody>
      </p:sp>
      <p:sp>
        <p:nvSpPr>
          <p:cNvPr id="28" name="btfpNotesBox350040">
            <a:extLst>
              <a:ext uri="{FF2B5EF4-FFF2-40B4-BE49-F238E27FC236}">
                <a16:creationId xmlns:a16="http://schemas.microsoft.com/office/drawing/2014/main" id="{A7545834-EABD-4718-BF01-9CAEF68ECF4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EBDF120A-57DE-45EE-8425-D02E74C9B06F}"/>
              </a:ext>
            </a:extLst>
          </p:cNvPr>
          <p:cNvSpPr/>
          <p:nvPr/>
        </p:nvSpPr>
        <p:spPr bwMode="gray">
          <a:xfrm>
            <a:off x="9094237" y="1891970"/>
            <a:ext cx="2550367" cy="315449"/>
          </a:xfrm>
          <a:prstGeom prst="roundRect">
            <a:avLst>
              <a:gd name="adj" fmla="val 50000"/>
            </a:avLst>
          </a:prstGeom>
          <a:solidFill>
            <a:srgbClr val="A3BCD3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1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ding</a:t>
            </a:r>
            <a:r>
              <a:rPr kumimoji="0" lang="pl-PL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N = XXX) for </a:t>
            </a:r>
            <a:r>
              <a:rPr kumimoji="0" lang="pl-PL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ach</a:t>
            </a:r>
            <a:r>
              <a:rPr kumimoji="0" lang="pl-PL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brand </a:t>
            </a:r>
            <a:r>
              <a:rPr kumimoji="0" lang="pl-PL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tional</a:t>
            </a: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0" name="btfpRunningAgenda1Level644957">
            <a:extLst>
              <a:ext uri="{FF2B5EF4-FFF2-40B4-BE49-F238E27FC236}">
                <a16:creationId xmlns:a16="http://schemas.microsoft.com/office/drawing/2014/main" id="{2F3629B7-E48B-46F8-AEDC-02CC58AA4B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0" y="944429"/>
            <a:ext cx="4267863" cy="257442"/>
            <a:chOff x="0" y="876300"/>
            <a:chExt cx="4267863" cy="257442"/>
          </a:xfrm>
        </p:grpSpPr>
        <p:sp>
          <p:nvSpPr>
            <p:cNvPr id="31" name="btfpRunningAgenda1LevelBarLeft644957">
              <a:extLst>
                <a:ext uri="{FF2B5EF4-FFF2-40B4-BE49-F238E27FC236}">
                  <a16:creationId xmlns:a16="http://schemas.microsoft.com/office/drawing/2014/main" id="{53E2BB5D-4A51-4AE0-A9A9-85307A7DA109}"/>
                </a:ext>
              </a:extLst>
            </p:cNvPr>
            <p:cNvSpPr/>
            <p:nvPr/>
          </p:nvSpPr>
          <p:spPr bwMode="gray">
            <a:xfrm>
              <a:off x="0" y="876300"/>
              <a:ext cx="4267863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79416 w 1279416"/>
                <a:gd name="connsiteY0" fmla="*/ 0 h 257442"/>
                <a:gd name="connsiteX1" fmla="*/ 1056380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4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111102 w 1224695"/>
                <a:gd name="connsiteY0" fmla="*/ 0 h 257442"/>
                <a:gd name="connsiteX1" fmla="*/ 1224695 w 1224695"/>
                <a:gd name="connsiteY1" fmla="*/ 257442 h 257442"/>
                <a:gd name="connsiteX2" fmla="*/ 0 w 1224695"/>
                <a:gd name="connsiteY2" fmla="*/ 257442 h 257442"/>
                <a:gd name="connsiteX3" fmla="*/ 1 w 1224695"/>
                <a:gd name="connsiteY3" fmla="*/ 0 h 257442"/>
                <a:gd name="connsiteX0" fmla="*/ 1111102 w 1111102"/>
                <a:gd name="connsiteY0" fmla="*/ 0 h 257442"/>
                <a:gd name="connsiteX1" fmla="*/ 1056381 w 1111102"/>
                <a:gd name="connsiteY1" fmla="*/ 257442 h 257442"/>
                <a:gd name="connsiteX2" fmla="*/ 0 w 1111102"/>
                <a:gd name="connsiteY2" fmla="*/ 257442 h 257442"/>
                <a:gd name="connsiteX3" fmla="*/ 1 w 1111102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950801 w 1056380"/>
                <a:gd name="connsiteY0" fmla="*/ 0 h 257442"/>
                <a:gd name="connsiteX1" fmla="*/ 1056380 w 1056380"/>
                <a:gd name="connsiteY1" fmla="*/ 257442 h 257442"/>
                <a:gd name="connsiteX2" fmla="*/ 0 w 1056380"/>
                <a:gd name="connsiteY2" fmla="*/ 257442 h 257442"/>
                <a:gd name="connsiteX3" fmla="*/ 0 w 1056380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111100 w 1111100"/>
                <a:gd name="connsiteY0" fmla="*/ 0 h 257442"/>
                <a:gd name="connsiteX1" fmla="*/ 896079 w 1111100"/>
                <a:gd name="connsiteY1" fmla="*/ 257442 h 257442"/>
                <a:gd name="connsiteX2" fmla="*/ 0 w 1111100"/>
                <a:gd name="connsiteY2" fmla="*/ 257442 h 257442"/>
                <a:gd name="connsiteX3" fmla="*/ 0 w 1111100"/>
                <a:gd name="connsiteY3" fmla="*/ 0 h 257442"/>
                <a:gd name="connsiteX0" fmla="*/ 1111100 w 1111100"/>
                <a:gd name="connsiteY0" fmla="*/ 0 h 257442"/>
                <a:gd name="connsiteX1" fmla="*/ 1056379 w 1111100"/>
                <a:gd name="connsiteY1" fmla="*/ 257442 h 257442"/>
                <a:gd name="connsiteX2" fmla="*/ 0 w 1111100"/>
                <a:gd name="connsiteY2" fmla="*/ 257442 h 257442"/>
                <a:gd name="connsiteX3" fmla="*/ 0 w 1111100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271403 w 1271403"/>
                <a:gd name="connsiteY0" fmla="*/ 0 h 257442"/>
                <a:gd name="connsiteX1" fmla="*/ 1056380 w 1271403"/>
                <a:gd name="connsiteY1" fmla="*/ 257442 h 257442"/>
                <a:gd name="connsiteX2" fmla="*/ 0 w 1271403"/>
                <a:gd name="connsiteY2" fmla="*/ 257442 h 257442"/>
                <a:gd name="connsiteX3" fmla="*/ 1 w 1271403"/>
                <a:gd name="connsiteY3" fmla="*/ 0 h 257442"/>
                <a:gd name="connsiteX0" fmla="*/ 1271403 w 1271403"/>
                <a:gd name="connsiteY0" fmla="*/ 0 h 257442"/>
                <a:gd name="connsiteX1" fmla="*/ 1216682 w 1271403"/>
                <a:gd name="connsiteY1" fmla="*/ 257442 h 257442"/>
                <a:gd name="connsiteX2" fmla="*/ 0 w 1271403"/>
                <a:gd name="connsiteY2" fmla="*/ 257442 h 257442"/>
                <a:gd name="connsiteX3" fmla="*/ 1 w 1271403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3 w 1271403"/>
                <a:gd name="connsiteY0" fmla="*/ 0 h 257442"/>
                <a:gd name="connsiteX1" fmla="*/ 1216682 w 1271403"/>
                <a:gd name="connsiteY1" fmla="*/ 257442 h 257442"/>
                <a:gd name="connsiteX2" fmla="*/ 1 w 1271403"/>
                <a:gd name="connsiteY2" fmla="*/ 257442 h 257442"/>
                <a:gd name="connsiteX3" fmla="*/ 0 w 1271403"/>
                <a:gd name="connsiteY3" fmla="*/ 0 h 257442"/>
                <a:gd name="connsiteX0" fmla="*/ 1529935 w 1529935"/>
                <a:gd name="connsiteY0" fmla="*/ 0 h 257442"/>
                <a:gd name="connsiteX1" fmla="*/ 1216682 w 1529935"/>
                <a:gd name="connsiteY1" fmla="*/ 257442 h 257442"/>
                <a:gd name="connsiteX2" fmla="*/ 1 w 1529935"/>
                <a:gd name="connsiteY2" fmla="*/ 257442 h 257442"/>
                <a:gd name="connsiteX3" fmla="*/ 0 w 1529935"/>
                <a:gd name="connsiteY3" fmla="*/ 0 h 257442"/>
                <a:gd name="connsiteX0" fmla="*/ 1529935 w 1529935"/>
                <a:gd name="connsiteY0" fmla="*/ 0 h 257442"/>
                <a:gd name="connsiteX1" fmla="*/ 1475214 w 1529935"/>
                <a:gd name="connsiteY1" fmla="*/ 257442 h 257442"/>
                <a:gd name="connsiteX2" fmla="*/ 1 w 1529935"/>
                <a:gd name="connsiteY2" fmla="*/ 257442 h 257442"/>
                <a:gd name="connsiteX3" fmla="*/ 0 w 1529935"/>
                <a:gd name="connsiteY3" fmla="*/ 0 h 257442"/>
                <a:gd name="connsiteX0" fmla="*/ 1529935 w 1529935"/>
                <a:gd name="connsiteY0" fmla="*/ 0 h 257442"/>
                <a:gd name="connsiteX1" fmla="*/ 1475214 w 1529935"/>
                <a:gd name="connsiteY1" fmla="*/ 257442 h 257442"/>
                <a:gd name="connsiteX2" fmla="*/ 1 w 1529935"/>
                <a:gd name="connsiteY2" fmla="*/ 257442 h 257442"/>
                <a:gd name="connsiteX3" fmla="*/ 0 w 1529935"/>
                <a:gd name="connsiteY3" fmla="*/ 0 h 257442"/>
                <a:gd name="connsiteX0" fmla="*/ 1529934 w 1529934"/>
                <a:gd name="connsiteY0" fmla="*/ 0 h 257442"/>
                <a:gd name="connsiteX1" fmla="*/ 1475213 w 1529934"/>
                <a:gd name="connsiteY1" fmla="*/ 257442 h 257442"/>
                <a:gd name="connsiteX2" fmla="*/ 0 w 1529934"/>
                <a:gd name="connsiteY2" fmla="*/ 257442 h 257442"/>
                <a:gd name="connsiteX3" fmla="*/ 0 w 1529934"/>
                <a:gd name="connsiteY3" fmla="*/ 0 h 257442"/>
                <a:gd name="connsiteX0" fmla="*/ 1698248 w 1698248"/>
                <a:gd name="connsiteY0" fmla="*/ 0 h 257442"/>
                <a:gd name="connsiteX1" fmla="*/ 1475213 w 1698248"/>
                <a:gd name="connsiteY1" fmla="*/ 257442 h 257442"/>
                <a:gd name="connsiteX2" fmla="*/ 0 w 1698248"/>
                <a:gd name="connsiteY2" fmla="*/ 257442 h 257442"/>
                <a:gd name="connsiteX3" fmla="*/ 0 w 1698248"/>
                <a:gd name="connsiteY3" fmla="*/ 0 h 257442"/>
                <a:gd name="connsiteX0" fmla="*/ 1698248 w 1698248"/>
                <a:gd name="connsiteY0" fmla="*/ 0 h 257442"/>
                <a:gd name="connsiteX1" fmla="*/ 1643527 w 1698248"/>
                <a:gd name="connsiteY1" fmla="*/ 257442 h 257442"/>
                <a:gd name="connsiteX2" fmla="*/ 0 w 1698248"/>
                <a:gd name="connsiteY2" fmla="*/ 257442 h 257442"/>
                <a:gd name="connsiteX3" fmla="*/ 0 w 1698248"/>
                <a:gd name="connsiteY3" fmla="*/ 0 h 257442"/>
                <a:gd name="connsiteX0" fmla="*/ 1698249 w 1698249"/>
                <a:gd name="connsiteY0" fmla="*/ 0 h 257442"/>
                <a:gd name="connsiteX1" fmla="*/ 1643528 w 1698249"/>
                <a:gd name="connsiteY1" fmla="*/ 257442 h 257442"/>
                <a:gd name="connsiteX2" fmla="*/ 0 w 1698249"/>
                <a:gd name="connsiteY2" fmla="*/ 257442 h 257442"/>
                <a:gd name="connsiteX3" fmla="*/ 1 w 1698249"/>
                <a:gd name="connsiteY3" fmla="*/ 0 h 257442"/>
                <a:gd name="connsiteX0" fmla="*/ 1698249 w 1698249"/>
                <a:gd name="connsiteY0" fmla="*/ 0 h 257442"/>
                <a:gd name="connsiteX1" fmla="*/ 1643528 w 1698249"/>
                <a:gd name="connsiteY1" fmla="*/ 257442 h 257442"/>
                <a:gd name="connsiteX2" fmla="*/ 0 w 1698249"/>
                <a:gd name="connsiteY2" fmla="*/ 257442 h 257442"/>
                <a:gd name="connsiteX3" fmla="*/ 1 w 1698249"/>
                <a:gd name="connsiteY3" fmla="*/ 0 h 257442"/>
                <a:gd name="connsiteX0" fmla="*/ 1866566 w 1866566"/>
                <a:gd name="connsiteY0" fmla="*/ 0 h 257442"/>
                <a:gd name="connsiteX1" fmla="*/ 1643528 w 1866566"/>
                <a:gd name="connsiteY1" fmla="*/ 257442 h 257442"/>
                <a:gd name="connsiteX2" fmla="*/ 0 w 1866566"/>
                <a:gd name="connsiteY2" fmla="*/ 257442 h 257442"/>
                <a:gd name="connsiteX3" fmla="*/ 1 w 1866566"/>
                <a:gd name="connsiteY3" fmla="*/ 0 h 257442"/>
                <a:gd name="connsiteX0" fmla="*/ 1866566 w 1866566"/>
                <a:gd name="connsiteY0" fmla="*/ 0 h 257442"/>
                <a:gd name="connsiteX1" fmla="*/ 1811844 w 1866566"/>
                <a:gd name="connsiteY1" fmla="*/ 257442 h 257442"/>
                <a:gd name="connsiteX2" fmla="*/ 0 w 1866566"/>
                <a:gd name="connsiteY2" fmla="*/ 257442 h 257442"/>
                <a:gd name="connsiteX3" fmla="*/ 1 w 1866566"/>
                <a:gd name="connsiteY3" fmla="*/ 0 h 257442"/>
                <a:gd name="connsiteX0" fmla="*/ 1866566 w 1866566"/>
                <a:gd name="connsiteY0" fmla="*/ 0 h 257442"/>
                <a:gd name="connsiteX1" fmla="*/ 1811844 w 1866566"/>
                <a:gd name="connsiteY1" fmla="*/ 257442 h 257442"/>
                <a:gd name="connsiteX2" fmla="*/ 0 w 1866566"/>
                <a:gd name="connsiteY2" fmla="*/ 257442 h 257442"/>
                <a:gd name="connsiteX3" fmla="*/ 1 w 1866566"/>
                <a:gd name="connsiteY3" fmla="*/ 0 h 257442"/>
                <a:gd name="connsiteX0" fmla="*/ 1866566 w 1866566"/>
                <a:gd name="connsiteY0" fmla="*/ 0 h 257442"/>
                <a:gd name="connsiteX1" fmla="*/ 1811844 w 1866566"/>
                <a:gd name="connsiteY1" fmla="*/ 257442 h 257442"/>
                <a:gd name="connsiteX2" fmla="*/ 0 w 1866566"/>
                <a:gd name="connsiteY2" fmla="*/ 257442 h 257442"/>
                <a:gd name="connsiteX3" fmla="*/ 0 w 1866566"/>
                <a:gd name="connsiteY3" fmla="*/ 0 h 257442"/>
                <a:gd name="connsiteX0" fmla="*/ 2034879 w 2034879"/>
                <a:gd name="connsiteY0" fmla="*/ 0 h 257442"/>
                <a:gd name="connsiteX1" fmla="*/ 1811844 w 2034879"/>
                <a:gd name="connsiteY1" fmla="*/ 257442 h 257442"/>
                <a:gd name="connsiteX2" fmla="*/ 0 w 2034879"/>
                <a:gd name="connsiteY2" fmla="*/ 257442 h 257442"/>
                <a:gd name="connsiteX3" fmla="*/ 0 w 2034879"/>
                <a:gd name="connsiteY3" fmla="*/ 0 h 257442"/>
                <a:gd name="connsiteX0" fmla="*/ 2034879 w 2034879"/>
                <a:gd name="connsiteY0" fmla="*/ 0 h 257442"/>
                <a:gd name="connsiteX1" fmla="*/ 1980158 w 2034879"/>
                <a:gd name="connsiteY1" fmla="*/ 257442 h 257442"/>
                <a:gd name="connsiteX2" fmla="*/ 0 w 2034879"/>
                <a:gd name="connsiteY2" fmla="*/ 257442 h 257442"/>
                <a:gd name="connsiteX3" fmla="*/ 0 w 2034879"/>
                <a:gd name="connsiteY3" fmla="*/ 0 h 257442"/>
                <a:gd name="connsiteX0" fmla="*/ 2034879 w 2034879"/>
                <a:gd name="connsiteY0" fmla="*/ 0 h 257442"/>
                <a:gd name="connsiteX1" fmla="*/ 1980158 w 2034879"/>
                <a:gd name="connsiteY1" fmla="*/ 257442 h 257442"/>
                <a:gd name="connsiteX2" fmla="*/ 0 w 2034879"/>
                <a:gd name="connsiteY2" fmla="*/ 257442 h 257442"/>
                <a:gd name="connsiteX3" fmla="*/ 0 w 2034879"/>
                <a:gd name="connsiteY3" fmla="*/ 0 h 257442"/>
                <a:gd name="connsiteX0" fmla="*/ 2034879 w 2034879"/>
                <a:gd name="connsiteY0" fmla="*/ 0 h 257442"/>
                <a:gd name="connsiteX1" fmla="*/ 1980158 w 2034879"/>
                <a:gd name="connsiteY1" fmla="*/ 257442 h 257442"/>
                <a:gd name="connsiteX2" fmla="*/ 0 w 2034879"/>
                <a:gd name="connsiteY2" fmla="*/ 257442 h 257442"/>
                <a:gd name="connsiteX3" fmla="*/ 0 w 2034879"/>
                <a:gd name="connsiteY3" fmla="*/ 0 h 257442"/>
                <a:gd name="connsiteX0" fmla="*/ 2203195 w 2203195"/>
                <a:gd name="connsiteY0" fmla="*/ 0 h 257442"/>
                <a:gd name="connsiteX1" fmla="*/ 1980158 w 2203195"/>
                <a:gd name="connsiteY1" fmla="*/ 257442 h 257442"/>
                <a:gd name="connsiteX2" fmla="*/ 0 w 2203195"/>
                <a:gd name="connsiteY2" fmla="*/ 257442 h 257442"/>
                <a:gd name="connsiteX3" fmla="*/ 0 w 2203195"/>
                <a:gd name="connsiteY3" fmla="*/ 0 h 257442"/>
                <a:gd name="connsiteX0" fmla="*/ 2203195 w 2203195"/>
                <a:gd name="connsiteY0" fmla="*/ 0 h 257442"/>
                <a:gd name="connsiteX1" fmla="*/ 2148474 w 2203195"/>
                <a:gd name="connsiteY1" fmla="*/ 257442 h 257442"/>
                <a:gd name="connsiteX2" fmla="*/ 0 w 2203195"/>
                <a:gd name="connsiteY2" fmla="*/ 257442 h 257442"/>
                <a:gd name="connsiteX3" fmla="*/ 0 w 2203195"/>
                <a:gd name="connsiteY3" fmla="*/ 0 h 257442"/>
                <a:gd name="connsiteX0" fmla="*/ 2203195 w 2203195"/>
                <a:gd name="connsiteY0" fmla="*/ 0 h 257442"/>
                <a:gd name="connsiteX1" fmla="*/ 2148474 w 2203195"/>
                <a:gd name="connsiteY1" fmla="*/ 257442 h 257442"/>
                <a:gd name="connsiteX2" fmla="*/ 0 w 2203195"/>
                <a:gd name="connsiteY2" fmla="*/ 257442 h 257442"/>
                <a:gd name="connsiteX3" fmla="*/ 0 w 2203195"/>
                <a:gd name="connsiteY3" fmla="*/ 0 h 257442"/>
                <a:gd name="connsiteX0" fmla="*/ 2203195 w 2203195"/>
                <a:gd name="connsiteY0" fmla="*/ 0 h 257442"/>
                <a:gd name="connsiteX1" fmla="*/ 2148474 w 2203195"/>
                <a:gd name="connsiteY1" fmla="*/ 257442 h 257442"/>
                <a:gd name="connsiteX2" fmla="*/ 0 w 2203195"/>
                <a:gd name="connsiteY2" fmla="*/ 257442 h 257442"/>
                <a:gd name="connsiteX3" fmla="*/ 0 w 2203195"/>
                <a:gd name="connsiteY3" fmla="*/ 0 h 257442"/>
                <a:gd name="connsiteX0" fmla="*/ 2371510 w 2371510"/>
                <a:gd name="connsiteY0" fmla="*/ 0 h 257442"/>
                <a:gd name="connsiteX1" fmla="*/ 2148474 w 2371510"/>
                <a:gd name="connsiteY1" fmla="*/ 257442 h 257442"/>
                <a:gd name="connsiteX2" fmla="*/ 0 w 2371510"/>
                <a:gd name="connsiteY2" fmla="*/ 257442 h 257442"/>
                <a:gd name="connsiteX3" fmla="*/ 0 w 2371510"/>
                <a:gd name="connsiteY3" fmla="*/ 0 h 257442"/>
                <a:gd name="connsiteX0" fmla="*/ 2371510 w 2371510"/>
                <a:gd name="connsiteY0" fmla="*/ 0 h 257442"/>
                <a:gd name="connsiteX1" fmla="*/ 2316788 w 2371510"/>
                <a:gd name="connsiteY1" fmla="*/ 257442 h 257442"/>
                <a:gd name="connsiteX2" fmla="*/ 0 w 2371510"/>
                <a:gd name="connsiteY2" fmla="*/ 257442 h 257442"/>
                <a:gd name="connsiteX3" fmla="*/ 0 w 2371510"/>
                <a:gd name="connsiteY3" fmla="*/ 0 h 257442"/>
                <a:gd name="connsiteX0" fmla="*/ 2371511 w 2371511"/>
                <a:gd name="connsiteY0" fmla="*/ 0 h 257442"/>
                <a:gd name="connsiteX1" fmla="*/ 2316789 w 2371511"/>
                <a:gd name="connsiteY1" fmla="*/ 257442 h 257442"/>
                <a:gd name="connsiteX2" fmla="*/ 0 w 2371511"/>
                <a:gd name="connsiteY2" fmla="*/ 257442 h 257442"/>
                <a:gd name="connsiteX3" fmla="*/ 1 w 2371511"/>
                <a:gd name="connsiteY3" fmla="*/ 0 h 257442"/>
                <a:gd name="connsiteX0" fmla="*/ 2371511 w 2371511"/>
                <a:gd name="connsiteY0" fmla="*/ 0 h 257442"/>
                <a:gd name="connsiteX1" fmla="*/ 2316789 w 2371511"/>
                <a:gd name="connsiteY1" fmla="*/ 257442 h 257442"/>
                <a:gd name="connsiteX2" fmla="*/ 0 w 2371511"/>
                <a:gd name="connsiteY2" fmla="*/ 257442 h 257442"/>
                <a:gd name="connsiteX3" fmla="*/ 1 w 2371511"/>
                <a:gd name="connsiteY3" fmla="*/ 0 h 257442"/>
                <a:gd name="connsiteX0" fmla="*/ 2531811 w 2531811"/>
                <a:gd name="connsiteY0" fmla="*/ 0 h 257442"/>
                <a:gd name="connsiteX1" fmla="*/ 2316789 w 2531811"/>
                <a:gd name="connsiteY1" fmla="*/ 257442 h 257442"/>
                <a:gd name="connsiteX2" fmla="*/ 0 w 2531811"/>
                <a:gd name="connsiteY2" fmla="*/ 257442 h 257442"/>
                <a:gd name="connsiteX3" fmla="*/ 1 w 2531811"/>
                <a:gd name="connsiteY3" fmla="*/ 0 h 257442"/>
                <a:gd name="connsiteX0" fmla="*/ 2531811 w 2531811"/>
                <a:gd name="connsiteY0" fmla="*/ 0 h 257442"/>
                <a:gd name="connsiteX1" fmla="*/ 2477090 w 2531811"/>
                <a:gd name="connsiteY1" fmla="*/ 257442 h 257442"/>
                <a:gd name="connsiteX2" fmla="*/ 0 w 2531811"/>
                <a:gd name="connsiteY2" fmla="*/ 257442 h 257442"/>
                <a:gd name="connsiteX3" fmla="*/ 1 w 2531811"/>
                <a:gd name="connsiteY3" fmla="*/ 0 h 257442"/>
                <a:gd name="connsiteX0" fmla="*/ 2531810 w 2531810"/>
                <a:gd name="connsiteY0" fmla="*/ 0 h 257442"/>
                <a:gd name="connsiteX1" fmla="*/ 2477089 w 2531810"/>
                <a:gd name="connsiteY1" fmla="*/ 257442 h 257442"/>
                <a:gd name="connsiteX2" fmla="*/ 0 w 2531810"/>
                <a:gd name="connsiteY2" fmla="*/ 257442 h 257442"/>
                <a:gd name="connsiteX3" fmla="*/ 0 w 2531810"/>
                <a:gd name="connsiteY3" fmla="*/ 0 h 257442"/>
                <a:gd name="connsiteX0" fmla="*/ 2531811 w 2531811"/>
                <a:gd name="connsiteY0" fmla="*/ 0 h 257442"/>
                <a:gd name="connsiteX1" fmla="*/ 2477090 w 2531811"/>
                <a:gd name="connsiteY1" fmla="*/ 257442 h 257442"/>
                <a:gd name="connsiteX2" fmla="*/ 1 w 2531811"/>
                <a:gd name="connsiteY2" fmla="*/ 257442 h 257442"/>
                <a:gd name="connsiteX3" fmla="*/ 0 w 2531811"/>
                <a:gd name="connsiteY3" fmla="*/ 0 h 257442"/>
                <a:gd name="connsiteX0" fmla="*/ 2801116 w 2801116"/>
                <a:gd name="connsiteY0" fmla="*/ 0 h 257442"/>
                <a:gd name="connsiteX1" fmla="*/ 2477090 w 2801116"/>
                <a:gd name="connsiteY1" fmla="*/ 257442 h 257442"/>
                <a:gd name="connsiteX2" fmla="*/ 1 w 2801116"/>
                <a:gd name="connsiteY2" fmla="*/ 257442 h 257442"/>
                <a:gd name="connsiteX3" fmla="*/ 0 w 2801116"/>
                <a:gd name="connsiteY3" fmla="*/ 0 h 257442"/>
                <a:gd name="connsiteX0" fmla="*/ 2801116 w 2801116"/>
                <a:gd name="connsiteY0" fmla="*/ 0 h 257442"/>
                <a:gd name="connsiteX1" fmla="*/ 2746394 w 2801116"/>
                <a:gd name="connsiteY1" fmla="*/ 257442 h 257442"/>
                <a:gd name="connsiteX2" fmla="*/ 1 w 2801116"/>
                <a:gd name="connsiteY2" fmla="*/ 257442 h 257442"/>
                <a:gd name="connsiteX3" fmla="*/ 0 w 2801116"/>
                <a:gd name="connsiteY3" fmla="*/ 0 h 257442"/>
                <a:gd name="connsiteX0" fmla="*/ 2801116 w 2801116"/>
                <a:gd name="connsiteY0" fmla="*/ 0 h 257442"/>
                <a:gd name="connsiteX1" fmla="*/ 2746394 w 2801116"/>
                <a:gd name="connsiteY1" fmla="*/ 257442 h 257442"/>
                <a:gd name="connsiteX2" fmla="*/ 0 w 2801116"/>
                <a:gd name="connsiteY2" fmla="*/ 257442 h 257442"/>
                <a:gd name="connsiteX3" fmla="*/ 0 w 2801116"/>
                <a:gd name="connsiteY3" fmla="*/ 0 h 257442"/>
                <a:gd name="connsiteX0" fmla="*/ 2801116 w 2801116"/>
                <a:gd name="connsiteY0" fmla="*/ 0 h 257442"/>
                <a:gd name="connsiteX1" fmla="*/ 2746394 w 2801116"/>
                <a:gd name="connsiteY1" fmla="*/ 257442 h 257442"/>
                <a:gd name="connsiteX2" fmla="*/ 0 w 2801116"/>
                <a:gd name="connsiteY2" fmla="*/ 257442 h 257442"/>
                <a:gd name="connsiteX3" fmla="*/ 0 w 2801116"/>
                <a:gd name="connsiteY3" fmla="*/ 0 h 257442"/>
                <a:gd name="connsiteX0" fmla="*/ 2979049 w 2979049"/>
                <a:gd name="connsiteY0" fmla="*/ 0 h 257442"/>
                <a:gd name="connsiteX1" fmla="*/ 2746394 w 2979049"/>
                <a:gd name="connsiteY1" fmla="*/ 257442 h 257442"/>
                <a:gd name="connsiteX2" fmla="*/ 0 w 2979049"/>
                <a:gd name="connsiteY2" fmla="*/ 257442 h 257442"/>
                <a:gd name="connsiteX3" fmla="*/ 0 w 2979049"/>
                <a:gd name="connsiteY3" fmla="*/ 0 h 257442"/>
                <a:gd name="connsiteX0" fmla="*/ 2979049 w 2979049"/>
                <a:gd name="connsiteY0" fmla="*/ 0 h 257442"/>
                <a:gd name="connsiteX1" fmla="*/ 2924328 w 2979049"/>
                <a:gd name="connsiteY1" fmla="*/ 257442 h 257442"/>
                <a:gd name="connsiteX2" fmla="*/ 0 w 2979049"/>
                <a:gd name="connsiteY2" fmla="*/ 257442 h 257442"/>
                <a:gd name="connsiteX3" fmla="*/ 0 w 2979049"/>
                <a:gd name="connsiteY3" fmla="*/ 0 h 257442"/>
                <a:gd name="connsiteX0" fmla="*/ 2979049 w 2979049"/>
                <a:gd name="connsiteY0" fmla="*/ 0 h 257442"/>
                <a:gd name="connsiteX1" fmla="*/ 2924328 w 2979049"/>
                <a:gd name="connsiteY1" fmla="*/ 257442 h 257442"/>
                <a:gd name="connsiteX2" fmla="*/ 0 w 2979049"/>
                <a:gd name="connsiteY2" fmla="*/ 257442 h 257442"/>
                <a:gd name="connsiteX3" fmla="*/ 0 w 2979049"/>
                <a:gd name="connsiteY3" fmla="*/ 0 h 257442"/>
                <a:gd name="connsiteX0" fmla="*/ 2979049 w 2979049"/>
                <a:gd name="connsiteY0" fmla="*/ 0 h 257442"/>
                <a:gd name="connsiteX1" fmla="*/ 2924328 w 2979049"/>
                <a:gd name="connsiteY1" fmla="*/ 257442 h 257442"/>
                <a:gd name="connsiteX2" fmla="*/ 0 w 2979049"/>
                <a:gd name="connsiteY2" fmla="*/ 257442 h 257442"/>
                <a:gd name="connsiteX3" fmla="*/ 0 w 2979049"/>
                <a:gd name="connsiteY3" fmla="*/ 0 h 257442"/>
                <a:gd name="connsiteX0" fmla="*/ 3248353 w 3248353"/>
                <a:gd name="connsiteY0" fmla="*/ 0 h 257442"/>
                <a:gd name="connsiteX1" fmla="*/ 2924328 w 3248353"/>
                <a:gd name="connsiteY1" fmla="*/ 257442 h 257442"/>
                <a:gd name="connsiteX2" fmla="*/ 0 w 3248353"/>
                <a:gd name="connsiteY2" fmla="*/ 257442 h 257442"/>
                <a:gd name="connsiteX3" fmla="*/ 0 w 3248353"/>
                <a:gd name="connsiteY3" fmla="*/ 0 h 257442"/>
                <a:gd name="connsiteX0" fmla="*/ 3248353 w 3248353"/>
                <a:gd name="connsiteY0" fmla="*/ 0 h 257442"/>
                <a:gd name="connsiteX1" fmla="*/ 3193632 w 3248353"/>
                <a:gd name="connsiteY1" fmla="*/ 257442 h 257442"/>
                <a:gd name="connsiteX2" fmla="*/ 0 w 3248353"/>
                <a:gd name="connsiteY2" fmla="*/ 257442 h 257442"/>
                <a:gd name="connsiteX3" fmla="*/ 0 w 3248353"/>
                <a:gd name="connsiteY3" fmla="*/ 0 h 257442"/>
                <a:gd name="connsiteX0" fmla="*/ 3248353 w 3248353"/>
                <a:gd name="connsiteY0" fmla="*/ 0 h 257442"/>
                <a:gd name="connsiteX1" fmla="*/ 3193632 w 3248353"/>
                <a:gd name="connsiteY1" fmla="*/ 257442 h 257442"/>
                <a:gd name="connsiteX2" fmla="*/ 0 w 3248353"/>
                <a:gd name="connsiteY2" fmla="*/ 257442 h 257442"/>
                <a:gd name="connsiteX3" fmla="*/ 0 w 3248353"/>
                <a:gd name="connsiteY3" fmla="*/ 0 h 257442"/>
                <a:gd name="connsiteX0" fmla="*/ 3248353 w 3248353"/>
                <a:gd name="connsiteY0" fmla="*/ 0 h 257442"/>
                <a:gd name="connsiteX1" fmla="*/ 3193632 w 3248353"/>
                <a:gd name="connsiteY1" fmla="*/ 257442 h 257442"/>
                <a:gd name="connsiteX2" fmla="*/ 0 w 3248353"/>
                <a:gd name="connsiteY2" fmla="*/ 257442 h 257442"/>
                <a:gd name="connsiteX3" fmla="*/ 0 w 3248353"/>
                <a:gd name="connsiteY3" fmla="*/ 0 h 257442"/>
                <a:gd name="connsiteX0" fmla="*/ 3416668 w 3416668"/>
                <a:gd name="connsiteY0" fmla="*/ 0 h 257442"/>
                <a:gd name="connsiteX1" fmla="*/ 3193632 w 3416668"/>
                <a:gd name="connsiteY1" fmla="*/ 257442 h 257442"/>
                <a:gd name="connsiteX2" fmla="*/ 0 w 3416668"/>
                <a:gd name="connsiteY2" fmla="*/ 257442 h 257442"/>
                <a:gd name="connsiteX3" fmla="*/ 0 w 3416668"/>
                <a:gd name="connsiteY3" fmla="*/ 0 h 257442"/>
                <a:gd name="connsiteX0" fmla="*/ 3416668 w 3416668"/>
                <a:gd name="connsiteY0" fmla="*/ 0 h 257442"/>
                <a:gd name="connsiteX1" fmla="*/ 3361946 w 3416668"/>
                <a:gd name="connsiteY1" fmla="*/ 257442 h 257442"/>
                <a:gd name="connsiteX2" fmla="*/ 0 w 3416668"/>
                <a:gd name="connsiteY2" fmla="*/ 257442 h 257442"/>
                <a:gd name="connsiteX3" fmla="*/ 0 w 3416668"/>
                <a:gd name="connsiteY3" fmla="*/ 0 h 257442"/>
                <a:gd name="connsiteX0" fmla="*/ 3416669 w 3416669"/>
                <a:gd name="connsiteY0" fmla="*/ 0 h 257442"/>
                <a:gd name="connsiteX1" fmla="*/ 3361947 w 3416669"/>
                <a:gd name="connsiteY1" fmla="*/ 257442 h 257442"/>
                <a:gd name="connsiteX2" fmla="*/ 0 w 3416669"/>
                <a:gd name="connsiteY2" fmla="*/ 257442 h 257442"/>
                <a:gd name="connsiteX3" fmla="*/ 1 w 3416669"/>
                <a:gd name="connsiteY3" fmla="*/ 0 h 257442"/>
                <a:gd name="connsiteX0" fmla="*/ 3416669 w 3416669"/>
                <a:gd name="connsiteY0" fmla="*/ 0 h 257442"/>
                <a:gd name="connsiteX1" fmla="*/ 3361947 w 3416669"/>
                <a:gd name="connsiteY1" fmla="*/ 257442 h 257442"/>
                <a:gd name="connsiteX2" fmla="*/ 0 w 3416669"/>
                <a:gd name="connsiteY2" fmla="*/ 257442 h 257442"/>
                <a:gd name="connsiteX3" fmla="*/ 1 w 3416669"/>
                <a:gd name="connsiteY3" fmla="*/ 0 h 257442"/>
                <a:gd name="connsiteX0" fmla="*/ 3669943 w 3669943"/>
                <a:gd name="connsiteY0" fmla="*/ 0 h 257442"/>
                <a:gd name="connsiteX1" fmla="*/ 3361947 w 3669943"/>
                <a:gd name="connsiteY1" fmla="*/ 257442 h 257442"/>
                <a:gd name="connsiteX2" fmla="*/ 0 w 3669943"/>
                <a:gd name="connsiteY2" fmla="*/ 257442 h 257442"/>
                <a:gd name="connsiteX3" fmla="*/ 1 w 3669943"/>
                <a:gd name="connsiteY3" fmla="*/ 0 h 257442"/>
                <a:gd name="connsiteX0" fmla="*/ 3669943 w 3669943"/>
                <a:gd name="connsiteY0" fmla="*/ 0 h 257442"/>
                <a:gd name="connsiteX1" fmla="*/ 3615222 w 3669943"/>
                <a:gd name="connsiteY1" fmla="*/ 257442 h 257442"/>
                <a:gd name="connsiteX2" fmla="*/ 0 w 3669943"/>
                <a:gd name="connsiteY2" fmla="*/ 257442 h 257442"/>
                <a:gd name="connsiteX3" fmla="*/ 1 w 3669943"/>
                <a:gd name="connsiteY3" fmla="*/ 0 h 257442"/>
                <a:gd name="connsiteX0" fmla="*/ 3669942 w 3669942"/>
                <a:gd name="connsiteY0" fmla="*/ 0 h 257442"/>
                <a:gd name="connsiteX1" fmla="*/ 3615221 w 3669942"/>
                <a:gd name="connsiteY1" fmla="*/ 257442 h 257442"/>
                <a:gd name="connsiteX2" fmla="*/ 0 w 3669942"/>
                <a:gd name="connsiteY2" fmla="*/ 257442 h 257442"/>
                <a:gd name="connsiteX3" fmla="*/ 0 w 3669942"/>
                <a:gd name="connsiteY3" fmla="*/ 0 h 257442"/>
                <a:gd name="connsiteX0" fmla="*/ 3669943 w 3669943"/>
                <a:gd name="connsiteY0" fmla="*/ 0 h 257442"/>
                <a:gd name="connsiteX1" fmla="*/ 3615222 w 3669943"/>
                <a:gd name="connsiteY1" fmla="*/ 257442 h 257442"/>
                <a:gd name="connsiteX2" fmla="*/ 1 w 3669943"/>
                <a:gd name="connsiteY2" fmla="*/ 257442 h 257442"/>
                <a:gd name="connsiteX3" fmla="*/ 0 w 3669943"/>
                <a:gd name="connsiteY3" fmla="*/ 0 h 257442"/>
                <a:gd name="connsiteX0" fmla="*/ 3830244 w 3830244"/>
                <a:gd name="connsiteY0" fmla="*/ 0 h 257442"/>
                <a:gd name="connsiteX1" fmla="*/ 3615222 w 3830244"/>
                <a:gd name="connsiteY1" fmla="*/ 257442 h 257442"/>
                <a:gd name="connsiteX2" fmla="*/ 1 w 3830244"/>
                <a:gd name="connsiteY2" fmla="*/ 257442 h 257442"/>
                <a:gd name="connsiteX3" fmla="*/ 0 w 3830244"/>
                <a:gd name="connsiteY3" fmla="*/ 0 h 257442"/>
                <a:gd name="connsiteX0" fmla="*/ 3830244 w 3830244"/>
                <a:gd name="connsiteY0" fmla="*/ 0 h 257442"/>
                <a:gd name="connsiteX1" fmla="*/ 3775522 w 3830244"/>
                <a:gd name="connsiteY1" fmla="*/ 257442 h 257442"/>
                <a:gd name="connsiteX2" fmla="*/ 1 w 3830244"/>
                <a:gd name="connsiteY2" fmla="*/ 257442 h 257442"/>
                <a:gd name="connsiteX3" fmla="*/ 0 w 3830244"/>
                <a:gd name="connsiteY3" fmla="*/ 0 h 257442"/>
                <a:gd name="connsiteX0" fmla="*/ 3830244 w 3830244"/>
                <a:gd name="connsiteY0" fmla="*/ 0 h 257442"/>
                <a:gd name="connsiteX1" fmla="*/ 3775522 w 3830244"/>
                <a:gd name="connsiteY1" fmla="*/ 257442 h 257442"/>
                <a:gd name="connsiteX2" fmla="*/ 0 w 3830244"/>
                <a:gd name="connsiteY2" fmla="*/ 257442 h 257442"/>
                <a:gd name="connsiteX3" fmla="*/ 0 w 3830244"/>
                <a:gd name="connsiteY3" fmla="*/ 0 h 257442"/>
                <a:gd name="connsiteX0" fmla="*/ 3830244 w 3830244"/>
                <a:gd name="connsiteY0" fmla="*/ 0 h 257442"/>
                <a:gd name="connsiteX1" fmla="*/ 3775522 w 3830244"/>
                <a:gd name="connsiteY1" fmla="*/ 257442 h 257442"/>
                <a:gd name="connsiteX2" fmla="*/ 0 w 3830244"/>
                <a:gd name="connsiteY2" fmla="*/ 257442 h 257442"/>
                <a:gd name="connsiteX3" fmla="*/ 0 w 3830244"/>
                <a:gd name="connsiteY3" fmla="*/ 0 h 257442"/>
                <a:gd name="connsiteX0" fmla="*/ 3998559 w 3998559"/>
                <a:gd name="connsiteY0" fmla="*/ 0 h 257442"/>
                <a:gd name="connsiteX1" fmla="*/ 3775522 w 3998559"/>
                <a:gd name="connsiteY1" fmla="*/ 257442 h 257442"/>
                <a:gd name="connsiteX2" fmla="*/ 0 w 3998559"/>
                <a:gd name="connsiteY2" fmla="*/ 257442 h 257442"/>
                <a:gd name="connsiteX3" fmla="*/ 0 w 3998559"/>
                <a:gd name="connsiteY3" fmla="*/ 0 h 257442"/>
                <a:gd name="connsiteX0" fmla="*/ 3998559 w 3998559"/>
                <a:gd name="connsiteY0" fmla="*/ 0 h 257442"/>
                <a:gd name="connsiteX1" fmla="*/ 3943838 w 3998559"/>
                <a:gd name="connsiteY1" fmla="*/ 257442 h 257442"/>
                <a:gd name="connsiteX2" fmla="*/ 0 w 3998559"/>
                <a:gd name="connsiteY2" fmla="*/ 257442 h 257442"/>
                <a:gd name="connsiteX3" fmla="*/ 0 w 3998559"/>
                <a:gd name="connsiteY3" fmla="*/ 0 h 257442"/>
                <a:gd name="connsiteX0" fmla="*/ 3998559 w 3998559"/>
                <a:gd name="connsiteY0" fmla="*/ 0 h 257442"/>
                <a:gd name="connsiteX1" fmla="*/ 3943838 w 3998559"/>
                <a:gd name="connsiteY1" fmla="*/ 257442 h 257442"/>
                <a:gd name="connsiteX2" fmla="*/ 0 w 3998559"/>
                <a:gd name="connsiteY2" fmla="*/ 257442 h 257442"/>
                <a:gd name="connsiteX3" fmla="*/ 0 w 3998559"/>
                <a:gd name="connsiteY3" fmla="*/ 0 h 257442"/>
                <a:gd name="connsiteX0" fmla="*/ 3998559 w 3998559"/>
                <a:gd name="connsiteY0" fmla="*/ 0 h 257442"/>
                <a:gd name="connsiteX1" fmla="*/ 3943838 w 3998559"/>
                <a:gd name="connsiteY1" fmla="*/ 257442 h 257442"/>
                <a:gd name="connsiteX2" fmla="*/ 0 w 3998559"/>
                <a:gd name="connsiteY2" fmla="*/ 257442 h 257442"/>
                <a:gd name="connsiteX3" fmla="*/ 0 w 3998559"/>
                <a:gd name="connsiteY3" fmla="*/ 0 h 257442"/>
                <a:gd name="connsiteX0" fmla="*/ 4267863 w 4267863"/>
                <a:gd name="connsiteY0" fmla="*/ 0 h 257442"/>
                <a:gd name="connsiteX1" fmla="*/ 3943838 w 4267863"/>
                <a:gd name="connsiteY1" fmla="*/ 257442 h 257442"/>
                <a:gd name="connsiteX2" fmla="*/ 0 w 4267863"/>
                <a:gd name="connsiteY2" fmla="*/ 257442 h 257442"/>
                <a:gd name="connsiteX3" fmla="*/ 0 w 4267863"/>
                <a:gd name="connsiteY3" fmla="*/ 0 h 257442"/>
                <a:gd name="connsiteX0" fmla="*/ 4267863 w 4267863"/>
                <a:gd name="connsiteY0" fmla="*/ 0 h 257442"/>
                <a:gd name="connsiteX1" fmla="*/ 4213142 w 4267863"/>
                <a:gd name="connsiteY1" fmla="*/ 257442 h 257442"/>
                <a:gd name="connsiteX2" fmla="*/ 0 w 4267863"/>
                <a:gd name="connsiteY2" fmla="*/ 257442 h 257442"/>
                <a:gd name="connsiteX3" fmla="*/ 0 w 4267863"/>
                <a:gd name="connsiteY3" fmla="*/ 0 h 257442"/>
                <a:gd name="connsiteX0" fmla="*/ 4267863 w 4267863"/>
                <a:gd name="connsiteY0" fmla="*/ 0 h 257442"/>
                <a:gd name="connsiteX1" fmla="*/ 4213142 w 4267863"/>
                <a:gd name="connsiteY1" fmla="*/ 257442 h 257442"/>
                <a:gd name="connsiteX2" fmla="*/ 0 w 4267863"/>
                <a:gd name="connsiteY2" fmla="*/ 257442 h 257442"/>
                <a:gd name="connsiteX3" fmla="*/ 0 w 4267863"/>
                <a:gd name="connsiteY3" fmla="*/ 0 h 257442"/>
                <a:gd name="connsiteX0" fmla="*/ 4267863 w 4267863"/>
                <a:gd name="connsiteY0" fmla="*/ 0 h 257442"/>
                <a:gd name="connsiteX1" fmla="*/ 4213142 w 4267863"/>
                <a:gd name="connsiteY1" fmla="*/ 257442 h 257442"/>
                <a:gd name="connsiteX2" fmla="*/ 0 w 4267863"/>
                <a:gd name="connsiteY2" fmla="*/ 257442 h 257442"/>
                <a:gd name="connsiteX3" fmla="*/ 0 w 4267863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67863" h="257442">
                  <a:moveTo>
                    <a:pt x="4267863" y="0"/>
                  </a:moveTo>
                  <a:lnTo>
                    <a:pt x="4213142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btfpRunningAgenda1LevelTextLeft644957">
              <a:extLst>
                <a:ext uri="{FF2B5EF4-FFF2-40B4-BE49-F238E27FC236}">
                  <a16:creationId xmlns:a16="http://schemas.microsoft.com/office/drawing/2014/main" id="{5D8F9B8C-1B8D-4ACF-BC91-604FD3C28670}"/>
                </a:ext>
              </a:extLst>
            </p:cNvPr>
            <p:cNvSpPr txBox="1"/>
            <p:nvPr/>
          </p:nvSpPr>
          <p:spPr bwMode="gray">
            <a:xfrm>
              <a:off x="0" y="876300"/>
              <a:ext cx="4213142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Key purchasing criteria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4992323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btfpColumnIndicatorGroup2">
            <a:extLst>
              <a:ext uri="{FF2B5EF4-FFF2-40B4-BE49-F238E27FC236}">
                <a16:creationId xmlns:a16="http://schemas.microsoft.com/office/drawing/2014/main" id="{F26B1829-1AB0-4899-B7B4-A84E4DE67720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0" name="btfpColumnGapBlocker384317">
              <a:extLst>
                <a:ext uri="{FF2B5EF4-FFF2-40B4-BE49-F238E27FC236}">
                  <a16:creationId xmlns:a16="http://schemas.microsoft.com/office/drawing/2014/main" id="{370B13D5-D4D0-4012-A79B-85586C322D36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8" name="btfpColumnGapBlocker993581">
              <a:extLst>
                <a:ext uri="{FF2B5EF4-FFF2-40B4-BE49-F238E27FC236}">
                  <a16:creationId xmlns:a16="http://schemas.microsoft.com/office/drawing/2014/main" id="{B1A95EC6-97C9-47A7-9C69-D1282449F50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" name="btfpColumnIndicator181391">
              <a:extLst>
                <a:ext uri="{FF2B5EF4-FFF2-40B4-BE49-F238E27FC236}">
                  <a16:creationId xmlns:a16="http://schemas.microsoft.com/office/drawing/2014/main" id="{140C9999-1538-45B6-816E-D415ABEB4CB1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669631">
              <a:extLst>
                <a:ext uri="{FF2B5EF4-FFF2-40B4-BE49-F238E27FC236}">
                  <a16:creationId xmlns:a16="http://schemas.microsoft.com/office/drawing/2014/main" id="{1162BA67-030E-470B-A3A0-774ABD94CC27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btfpColumnIndicatorGroup1">
            <a:extLst>
              <a:ext uri="{FF2B5EF4-FFF2-40B4-BE49-F238E27FC236}">
                <a16:creationId xmlns:a16="http://schemas.microsoft.com/office/drawing/2014/main" id="{5BDCB0CB-ED46-4C36-8297-8D694EB857AA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9" name="btfpColumnGapBlocker242024">
              <a:extLst>
                <a:ext uri="{FF2B5EF4-FFF2-40B4-BE49-F238E27FC236}">
                  <a16:creationId xmlns:a16="http://schemas.microsoft.com/office/drawing/2014/main" id="{8A2F7CAF-7528-4CAE-AF76-7A079C4ECEDF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7" name="btfpColumnGapBlocker723589">
              <a:extLst>
                <a:ext uri="{FF2B5EF4-FFF2-40B4-BE49-F238E27FC236}">
                  <a16:creationId xmlns:a16="http://schemas.microsoft.com/office/drawing/2014/main" id="{B50D5D89-D26F-4059-9764-EB4EB6A20E5A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422664">
              <a:extLst>
                <a:ext uri="{FF2B5EF4-FFF2-40B4-BE49-F238E27FC236}">
                  <a16:creationId xmlns:a16="http://schemas.microsoft.com/office/drawing/2014/main" id="{C2173119-CEE5-4AD0-A31C-B831940B42A9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513473">
              <a:extLst>
                <a:ext uri="{FF2B5EF4-FFF2-40B4-BE49-F238E27FC236}">
                  <a16:creationId xmlns:a16="http://schemas.microsoft.com/office/drawing/2014/main" id="{A51E14CE-69E8-42AA-A469-7BFC54B8F020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97AF0F51-DBF2-4A18-B75A-C9B11AE63C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/>
              <a:t>KPC: </a:t>
            </a:r>
            <a:r>
              <a:rPr lang="en-GB"/>
              <a:t>Criteria importance not indexed </a:t>
            </a:r>
            <a:r>
              <a:rPr lang="pl-PL"/>
              <a:t>(% of </a:t>
            </a:r>
            <a:r>
              <a:rPr lang="en-GB"/>
              <a:t>respondents) - Ranked</a:t>
            </a:r>
          </a:p>
        </p:txBody>
      </p:sp>
      <p:sp>
        <p:nvSpPr>
          <p:cNvPr id="14" name="Rectangle 13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cid7dQ+Kub8ulUpaRu+ZvkeQKYThSehVAux+2Z6ekEhlACpPBIDl4idFwS+LkSsn2aCAhAzE7txIQZBtXYAPdDOlkIzHanGiRji3OnqMlu0vTb6pQS0Ql8VqEqDL8dlM6DYLfMBLbD5jGVMWQFBfVVvP26XGrMkkUhOvDZOKFsJaUQnmmUUL3yQqu+MO+Ysyp5mTwX6m5oFYKMLMuHdHCrAwRT+mNfE5UyfTYISoA0BQdwYZ0oe1kINApzc1vidfQodMYcCEO9jg4wmmiZbDcvNSa2KCI0GbH72oaCpIRwSsXxUAYL/Hc90jI+dZVDTwXPIpK2CEPqf33dh14L3Ut6gUhpKGZJcaV3hUOeJqclfsLnd/h6SjqcEsdi0LACtaxdC6GG76pTdyGYNZXlJYlwWoQ5cVHdRiwUs3b615IsjXcPZVNFHtYnXEbAqxqX8bLCsLBVrYTHBRY2jsegWi/+ydXpp62AgSxUbQlAnnCiDZ7WdndiLmWHDXyy9a+BbjoJomCIR4d+atEnRmIBwgN85A1s/eLNSQC+P7BziSFapTy9CDuJ3NWVwiXz0ANUzeH/VoJqPHZ76vvRmAoHWKSB1m3ZxiGIsPR/JmTtaGenwdyAPAlJUEy6Q0g9h2tY3ggkzDAHWqHty4vIJ8PSHnTxOd3GTCQh8UGCEl1CkqBuJo0pDeKD1yxWecVfug/CqBxyudWLw4Psn7rlmIg6LAdMUVSdmXQU5hEa6OccFhtnUQXjwJdhF9IeKwt82QCacnIRKrLoSkk7iSbGh7GDw/HSpyzwFuPJxpXlZVuLp+hVR8d2+hbpyVJIBEeC85c1LItnplmNeVmLZ0SVkL3+XSsBtWJ4gFKcFnMH1AXevh05ugrGALsxvTjCgasdzpC5rLRcwKNV9Myk9dACdG5OcpnD+Vdpr4bByu+aEEgbdZh+0wDAjeArzwDLCoY6/kz4E3yPaviql7Rt/33nKMWwO9Itdlk4Z2Vrt1Irlw+q74PQC2GafM5Ph0A+UuQdFNIltKXWBZ+hiiB5adynckMNHy8OJcvc6jXatoaM8VffEw7g7MzFp7hf/0Or2ZgvVDWwOsSvdfx4a3EgQuQYmrQtuaZhW+VqTc+yBSYtFTrCH42cZeHNAaKQndA7Hjzkc3F9ml818iU9VgcFwjZG9yPO/A+msX96E0Ia9XTO/Tajye8jGdgn7Q3fKu+4mZf96K6bZ7q0X3Dj5xKP78SfId02W7ujxdhS7beByCSe9UTZzFjm1GGGLaFdOVYfAyERbs0QpCYc0T1F9qXnCW9kMS2uXFnBn6KD5bAXxozvDbKa4lYHCBlYJf0XMISGLwDLjqpyb4AgLw/bqpEHl5og1swyPViJyg4FO+FbqLcB1ekLutTfLL8MJ5kIp8df20XvUOoEFTrl5vZlDIuu5dsRrrBLxuV1E2MF/IdEkJI5hzwQESJocEh2DQnCvOJcKwU8On7DhjIlTRVG4Cg/eG/T7/a5HxBePN/qzSPPXtCUkEoBoA8Jk8ecd3gpYLTEd7nYM5ZPR73aOxDuiVru2IXVvWJ49fEW84qo5i4nbWC3bvSNFdMfmO+u6EYD5OBlxC518+Bzjv/fkY+jv5rd1omcl7Z0vng/7wJEv9y8Vv187hzPtmL8449AtvMIX9aJ2muakgs05/6TcM8grZfKZ/h9yY9ocqZG/fXwFBnDAZhaxIi/HCzCHOeeesC1m4SwJsPnPQyAJ2k+hZpS72aAFeTr/27wMrGuM/1wB4SOP8vfEEEgxs47K3dq3aFPL053PzMUwbMhuf59jxvuh6F4wEGBvY9vxQ3yskDFM7M4a29lXbHgsVuPS7j5brPA/k7dz9JFTwWuDf0W/qC7c6spIhYRbHuQsN3V/baZHbtmEzelZb9+OasffUqPO24vINAUMZPo6NrzC8799d1pkWcCAw5lVVYLKr1ZzaMkf7EZ7n49PeEnoZzSuTDJ5ip78xbnEQPrnYY9rtstBTumoyN1HSwwDAzIRNxKa6zd54wzbjpDIDyGQAVfv0CXPwlT5CrvK5cUHQAbQvVQOQYoBFtozk/a6/Nvyjtz0dAImCe1y2H4cXtwEeN59G4coZ2pFTMOJSwYUWEv+EF34afoFlSoB6OK92jwKacosuo2iW9XBnIznRn4nEiC6bVNdLmj4EaNbV3Bwl6RQugrVCluKcbM9WJKhAEu/XVPpwOAjFYuasZLSJ/RVCQ9PaFRd2dQbCe9nZ1BbfHMvSRFblZZH8Rz0poccdo2b0aG1RQrMz2aq07E5znMmqzQ4m+f7q8hx2BXSdyPqTXhLHVd/8go04O3aSDRUN0SXpH8RGauhb9UfGkKq1UwnEjX97ATZYARf/RYZ7/zVZ2wiNTJrL7vmIzz3uSq8j6NNmMkMDTE784lCg8hHCxOC9q3CVGy6AVLARuciC7jw4jGFacdW/P7xleedZgk7TfDm/Nwm7aGhqDm1VyALjPmbDBPqrDYLuIMHVTyH61/hIwVPm04vWjwt6zdS0bF0ZDIJGAC8lhEyw1/gGMRBC07jX8qytRsd4uOdVJYDMXWAXU5cUR1kqtn5bJel53ILqzTkiC2gk8rToAsSxFRGC3cie8jR3Fo0kxNNKpKU9tIeI6q9RkQloiBbg7jQrVXbHqJcAXBmRUdz6xeTCeTS2t32vqDfijIWH4/0jikI4l44apXTv+woiXtbFB+9qhH3+Q0sfjPBI2FRjulMmov/q8nh2WIx+uvzm5ASqbWFHfvQw/EjI75NCQUHBFFhsEPaXcavBhqoI+ihkkG3k2VaK3WS+Do3o9s4A/haATVRt3vTXyOEYl3NHzECSpnkiCbm790pFN4MWfIxeQZNHYDjYMc69en4y5SXiEysIKIyYtpNh/iq3gyjKywrcZyZIAVbEOMOLa6GM3aTxajz7EKBVb0VbxJ+SN1NtoGT6nsTxooUOKPqqSPn7jcNaYCFqka5KoiHJnrgqyDh2j7ob1FljA10NTnGRY5gF5oh1YzNGcMzZul5IQwru8FXbjy/BcOSp5FQ0q5WbJdoxTedPVcBnpIRhh4650SJMvbP05D5lyww6n1E6zJyF81Agz4s0Or/Dp6NsfSySVJ9TAE1crxQ+NxMz0MLv8V83VzKeQxbyIeo5cPjyDw0WtHmzdVmWoRcmwpu0TDzfv9XSgS4jOzj768QlUtA+f9SB11OR+B0L9qGQhQBPecrwGY7q5FvIm90PRQ1fP/W3uysCu2kylIHuEJRYfmITkpTzXcrHaP6chTYQfUEJQ4gFauyo+01iWtnF+sBnxqZQFTLrZtyV5m9LQX4zUZC/+xo6Sr57BfTpmZGqKQesPg/f6ojDVWIFFQEmrz8TsiTdWLYv6oQb3yIDwYfxcSCdXJ/ehKQkbHlG5nVfn5eoWTGAcf3JrzPAT4Q6VgyjB5pQyIZJmko02/P7X8OLXZBqvp5Adq8KYroJmrs60XcobLZ/X2dlKHYCD9qK/dvlD4MiOp/11oJ0KX64zIeEYXNwcOMOI41NqbXahabhDsUMDryrIsXpBUd/bA3D7Cq97ll1HM8flbL6ARrDOKA1gZ33zDnGPXgpsJOkJHQxxGN16tYGpb5WFt3jKAi3RjFHVTjw7hbdPZLjHYmExfOcOTm3jzoiyLwxJxue2yWv0emDjc56CmhOd7DRpl+AVt9sx4ZT3IpbZONafjHlaRYkAXJakIdTjZDZCQjsns+Ji6SFF0GodSiNYiySl8W4IIk+3AkfXQ5xvXuxOqle/eayW2+W9LioAzo7pZcyUol8zZW1B+gKPOlb0WYBAPH1T7APvvM1TblA6BjwZA2TuaW391P3sg9vrLLOmbf92lPX5a8NYdgpn4GOoqWbbMP4jGlIcaBNiiq4z/wSeDHj/5H4PEburwFcJv2oQx/AV1+hKCMDPx4d3ykfT2aRcYa9Va4Rg+RtYlRAISrIJGFfM9x0APFiPxzFZT0O6ta2J9Z2pX7ZUkfmYhmWmbo4cmtHIC6v2PD9IWlII+DyQj0zU3w8GsSX8b7JvZMDLWQDAU9Qh55qbWLopiQi9TXpK9yW+7kmX9hvYJPexTNZX36e3ocdnggeSu59jv7kmBJGZB7q6PxXN5bbOYLFXb/HfGiy8q0lQkmuN3Gvu0SJMmh00oRox5oBP2NmqtGJZxjmTeNwPVOSDOK74FCy54XSMhnL/3e1/VS2s/Qcm4ZzwP8mRZfZkAXeOz0dXN6cDF5b4bMBoKNns5Wiwp6AKVuAdaJ1WQ/l2S2NtjJslwqRC1zht2xiA6bgD/yAlAL52KaRjI0nQafSkFvUtZD6P8AdGMXCLbQfBxQSs8JqiuosNZc8uiz90AQrXb3oPVOabw5ec34k6xdQ8SfcVANhR0eSl7H277QbbVMhnlgrHdmw0EEJh91sIX81zdPDNOmKeiBJU5wtrUYjL7wRK/vyrvyk0OakpaLoSIP6X+OCMbnHLeA7vt/FKtvajPHnT6VkTb2aW1P/Elmw9OwcbjHXSVLOUOt0jlmTB8fNyeclDkfXPrWn/Ke3+dheVAJOB76BgnGqrdDj3ug/njA0ghpkqLDn3TOvOCd0oRAEiaHUaiBOK3XC8zK9106tSwS+ROKFoe3a/SaZQ1plHNQGB+P9ldOsKz14UVuMOW2OnZvnh/Su0A4zM17EvMRtAqG88BRsCvBnP05Zu/CI168lTgVHRufC2OgHdnjorrxSV9zR+/x0eSJs0lqiamfxUwg5W0EfqUiZu+E9i5YgaEt74+5/8+b5dzcMsEVyKcOh4XBVI6C5urEpjrXKUZ1gfbQqRHiMrPF5dxKS1KNm1XdpfSnG3wlwUQbyYaFtLjFqHWG3AzHacSedJiCITz8gmyo53qBxOMNn4KN9vzBD2quw46ecUtTPa3PtjsJ6xkgEz9JEuI7hQX3UpNlHFowioHKPZPxE2isauxj+jwh3pZZNDUQW185Efwvwi4fLCDKM098HW3QN/XcotOKDBGiaqUZ+hBOnVKyc/sd9YCoRu6W+nxfIz8l7lIbXx3RfmOH9sZSEduCjmEDJaZ4NDSlYNetlSKi2XHdQigFcqOc2vFxIMd4JQLCsgj2ASbZ8HxdBtvfONhBtj8OmPQOEHJ9eKcOsj33bfDf2+8lnyUYtuVox77rAf2eqBh6IVTrFFWZ+11ujxrcMO60NLilgrEpSW/PFznDBaN4t4OJA5HAFtBRI1UhTFR1+tO5p4eLsPuSHD5+m/K7LixCw6LQeaZEFUQv/QxJjAqOFMEdibCTTfFy/uQT1AU7a0jY2FHwJQTGy4++8SpbVUMVjw1vV7rW/5HAHjDHQa7lg0HSp4Xn/EPECuCp31A+Zgk1LJPgZ2sSSwe6kFVdU+v8/JfiC/eDEFS6goAfJSPJuM9IwwhjwTuyXCXFUo3cYlNrP/uf4a6/n2WjYlTR5tZTUp4xjEjNCynZfXqsbKqXMas2sHLROOly9GwpjA3JnzrRbkAcdKdhKJFDIyJGiwJkjfinXRsdnq9aZv2l5lPK6YRDWpph/ZxhwEnt2yjW55elswZmsAtVUx/BxmqOBtei5Hy7oLBFEWIoEziJfRckzDWpK89aqKE09k6DU6n+2lusSoBwzN0S69ZEqaEkTeSyzFvTNQo6JYGLdf7qw0eIcCIDiTa8kPbyKzppb6f+SHFxv2C2/5dsy9ecodprEl7/p+B5/YSAyFWbjM3jejojuVXrCYxiOYNNlKQLHxoPkWCyuSZMpwZLTbdy9hj5vnTWuEkvsNoeEITqRaHxby18qEdZRyjuGG5FTUH3zYso7keRXFWKr9nm7OtgIXwSPlr9yPWenF/hFDcqCsulPzFbbZGZUOEJR/5MXgWF23xThcO3hnaIAnABL64uan+V40R6s43ypYbe0fjAqud1RwgHh0FLncSanRM+xByELOJl1DuqialWJ4Ew/X/9hVrSvh4u3z1SI8dr/CvbGU1ZVrBplmMIwVq2WrkHz2vqx3TJyBYYBF+kbVcRBSuiObjk5IsulyHrk6TzkyY3zkT6dWLPlN+v/YHRFE/3wbFir4R1vTREh5teJuL7gzzGVl3tMRswWt1mww2AMHwI9zR1uR0cRfx8K2xDc0fbnKhQvJnMuyNM+lHDb+JdaQdj/S5OrVF3PkI+lndoIfpETr+HLRu4u4cY7SGX8lvfYxfPNEU3e8gBafhUKdW+bGNouTY4uMKuOb7q0hnjPZXZfhr3IOHUJZcbgKl/s6NOp4FSz8fgdXi+1rs+2UlWf1cXjUPpCRf6ywV85zBCT433fCqh8DB/qboLlB0+L29Z+96CmbrJFqs8tSM7AinxaqSWhf+JlOTjOtxYbC+hm+w2bD3aIl+RodRK5BeAMTlx+2z6SFEPK2zBO7CK/awV/RMPF/KWbsKsBf1/jdGNJ08LfU4hN5e77lOn8CsFOg+45hKyz75tKOyb9VElKGm7J5V2FRY1ymroKf3vgO3bYjliieSk+4zowIn0J0ArMmmuh2VuyDIc4DkFDq/H2FXT8xcVNwHWkV250H5RwwobFOI7BGfctWiN73J1920EZvSGbU97hokVDZD243aoF13DakkQUHBhV6vM2pBYw3rfMu4i+UdGRYTlpe2LDc+4y0JruVi8+Pby46ySI++LUF9VSiPGSgXWEOt08LxD7A3xJSGeL0cpQ95F9efDxSNbC9SuhbFabKw5orboZCZO+iGrUCZopmRQ/z61Y/KHFeMedmC1JUU1ngwL+/EpFL05cDSLhPjNlfeocXq28ntpeF2IpOkBopar+YErnMt9ziRWxhwRHRga/LKkv03yJmkqnjdx8rL/OzrP1yjy3ELIuXGFwAjNTEYCc6r7swbd4jGo6Hwcu6Z71D3xB+V670+gIjhWe9381xMv1N4M44oKUjtZbmJyjO6oJBeRZTWX4lzlmAORBD65Of+x2cZxWCPIyo+xMWUHNG3Tm5XQ1pqjuBT/OUL1USXcpmf0Gw/SmA2wiUA1+LDz1lLj77gfU7P640vs3Rx2a2CMD06MFqmVrcdGDDPkppzHNLlcoCmCIFv5ORmYiClS8l5LmniROffVxTEEgD7ozl154fEN5ROAwuF2N6Wk6E/RDpsT0Mw9Vbzu4rc0YAFzyWinKL2ghFksEuTh1fiw8Z0s0QeXxcWf0pO8/gei75tSsqSb2nFlyYhaB059Z3qmwlhqXDb0zX+MnchTqX13Lxlrw2wcfn0h4szR/XQI8ue7KQix2a4dyGN9asuG3qCdbN6Rbl/op8MFCHlLKD6TeBGd3uxs2z68bPYXeerZaeC8YXfVI8ERkK+Gp4akSHOIGWfdzK6Fo2hd1KG52AYUo2DsrhDFUanBP3nimMgB0qsAYqp6ajoRxK5AQY18C6B2O9QHjmyofnycyGu5EcHo6XbMdUeb1GkMcU69eGKqNyhjiG3emdrT5nKeWaNHxNymg3a8J06Bv5rhNdOlyQerUsOXS1eJK4G7L/JtNIoFAvSt6SaQdNjcLIs/HxsOBj44IRh5ckxMFlZM8ivyE6FyGuMPIDYj5PfLN3qcmhijGnZvOWPUA5UPq+IoJZr/XWjOfUOh6W2hU/YAlW32OBdgJ5nyLjnaHMgahLNp6fc5jh3l90cBfLwbFh4+OoRN0P+4AEBshKWk4Pl9tt6zZmYerui8RIBxQBl+EjKzSfpB7HRBibehmVQ9aY3OTxP6agx3SzE2/aH8UCbBfpY7oXhM8vcHBKhNBFHvoQoeUtwrqPlYXZVdxsv4wzeUPkizlCplVfzajnco8gSuUgur78qwt/4oOKgqFGRsFLvloL5sYt1Xf8rLXizNGSwBPn8UZiSJmphCPFw8pR0vet0rBuqUjFE1txBX3gTT4oZ4xKPW5rMXsU+aSo9E8HceY4t2vswAl8OkXZZ0yG9gzP/BHGPAY9XSmP+lTsXNBbrULDF3O8u2Xoy8PXzpGDawEyrPDmY2BexJXlZvsTToHGr/QVD4xphYWHUsB5CLdooHD7s0av+/j3f0W+a6x5BzvW/WztKKozL/zlxi238DIaUBgnDnLB7KgnIjanLNYn4U7u+vHLcpudDY01gIT+XYjOORwPnWSX9gfZ68/RuGaOraAosGqVIkVaWYY+DqJZmmUjNM7fmQKBvfphFuBUxB7sWvClhHswOE1BhJDK6IB4heCVYaR7HzXHiL78l9vTzAhNhVFXHV5SuwB/4bLbUS5p47+gw+4JWWPcgWMS8RpbuLNle3pQvJefUuWb67abpwv9S5dGHzYaGaUG4kWMtTfDpW5MWm9aexnjymxem8enwV9om2rNr7J9pYYcwcdfL4bQw5TLr6hKbRstDTFX7pGKqNpi17fsgaYq0U0hyC73kOy+yct2v5eUqeXFYStbPA7W//Vms5L7d6c6sRXepXNXZEnNllslHavu1gQh/AsuCGerJ+1zkv/KMzgUuBCtlOTCFsoTQQS08DkHJ/uCtpwQdHNNJS6/MgRl/JjbUYk9hXK9vGERDfuKg1W2Zu2FTwDIyLUjejQBrY99n87IMiPDCj32aCtgTkNO8Yf8jJk4m2QSitq0baNBvjnNiCQgsFt4h5QTjxqA2AjkOBnjsP+carCeql1CBbTccgArcdgPMwg7LvU89mMfadqcn9JUqKQzw/7j0j9zvAgHkE2HxZGZjjs4CaqwH8KXLU8Uln+ffmZNtGFf9SOymNcW7afZ/Hxf1Xyd7Ijr+EC7wa7zzwegWmaz7Nt7HOZ3Pi949jFzrn/ikIKeJK1CeTqN9xnIwLtbGOHfgdbRrY85SMwN7USbcTKjbE+tJU5bI2G0faFtCSzLqkk8Ztp7DqzxfANP27ILLdOaYlKUH7kgX0HHJmTuo2z8Kx1KYpQT55K/BAH0tXv5eygubmdQZEjKEosF+8nHmCZ3g0HCB+Qm6eo8H+9b6oDBg0DarotWDHxWb/qe/8yjWZ4jjTyrkbY7uYFZ8a+5klq2Yi4koOoYDcOTzeNMdIjOdYbfDu5DVQtCqKBK1yhFYkThRteSW0pxdvMgccB5SCUec67wiGc9a4KNyWKioQQzurCG24C7LG5yYdiKGquLJSNCoptetD1GU27ix61v5FQTMafu8VQvHbDl9a9gI5TBH1fOAZ3Vpp+j7UwoPmuwqPl4Mgx4dzKH6JKzbagFcT+vUbarzzpu2poPio4TVxb3z0jXMG2SoaueokTnfpz9vty5YXH997mZhilH3ulOxe/wvZ2LE0CL+jD3p9qW0cTIBc7uyO1OgRyJnH22f9rX7EHCAXKVa8gpWsvu+PX5JUXDCQpK9cPO16L78i+J98iI/nH19cdEU+fZ3dAdDmfD6I6qisBjW+rdNHngeh5sEhSm4yG035uQZTMwl8s45eF5qyfoGuDmiuAwkOh87eLnLn3aS/ONnMmEFyiYREN3EFz5+zfeZKEwj8tjUmXGQvpARiS7SA3c58n8WRMJs9FInKXVsS2mlQXkwBF1aVXslTKkxyRdx9NVjwxqDI9gZS8AVHlg/5r1H/Z1RRUqAlEOYmTaB/ZJqo9popQcEgeaOCOYdjn9V496TzrgenrVuWFeqP2RMWx23HGIwTJFfBjFzO4plSeI7UxNKFjl7Rd9omunruOU/2VvcijPcQ2IMTgNLTAQJ9DIT2NFW83njxMrmfd13IfWEjXbenPr6caHUC5PLVx0ohSkepgQG5V+TlgMCtsdvj0ytYHnNwZRXX0kYUA39hyE5rQH9sgihy9EscLVuaeJ6NPwJyb+lIkNIb2UkOBWhn7EeaBK86S0xBKckU8sTKlFVYjkMveKx0RaG1ihOR5qTnyXzS3froXq1AuLNQ9ybtRWicn4Oi6mnXGKXznFuQyD8jE9I9i1DXrVyuKnEi6IqmjuwaOB+GLrmsa6MzcHbdsr3jSLEOkmR7Gl1iLVZJ57ccMOnIbbXpJYPLP9C4/DLBF2M2qJVcMrrPnma/j+n0QGj5YzHDxWQBgLiITS/qhMvjLPrBMH8Lq6eNfRpij9ULaK+ELBZaiZD8yYGn3qXJDZkZ3YqKL3p72O0PU0G6Cm3wXcai38a+0SadOroUipObv8xhg5q2q1pfMFugnXeBp1O/axLn16qjoB78YaE1pnsDcLywNdb2oIksddH4J2oQPrPXPvvAKI/q6g9lda2kDUtNtwbB2814+gizEL/5fUpOdy02txlmcZddoIzLsNVvtO4loUa83xyQ9lhP6ChTWRFnOUOkRx4ecwYSuDw2fo2v3lt1IcCemejBsGR+WMsGAQOiEdR6NE3/BFVMcVkGfRqvJuoXiXzmomwSj6kB1XkO/6DYISCojKp8eae+DHoPkBIj/4xaql23To3wp0e9H291N/2kXm/+FZCHs1mlrL53fU2AFjqH6nHNniWaGHQba9czebMb13vH6a5wBa5fmDJEhVMcIOJEDv2eZ6XcbWg2Mvx/6cgECnYhFdkPM9xUgOMQNq5aJpm9wZhN/ZG4hWG5Y4FmJiO79pvvpx9p8YJN2YPvHZkvhU5k7abnuoS3wEryTralaK+QfByUFqRb/EGUPSKCQHL4Igc61avQRuRtECYOzJsG+mkg8T03AVnJlHLklV7QRPNSHWZgZ8eJmoCuhLVrE1fJ9950O6YHasdrGs/511TZ0faBe015CO08DeOZz4cblr37HhhaLUz1MHfHzIFwDLdRgBH4JRePUwPhK4WusUqeCjUT2RKtAKlw0vPOURjddLQIbwW7WicuTypVhvcm7WZ5I9K34Qk5NC1F1dK9Yoorvnw+up1Q9ea2lDbalf4WCd9/eaL52mWmHt55D8Ud3E/8X8J1kdqNr+KCRfUVxZQG7vdkKM2V5JxA5VobE5RUoN5tHQvJ04rT7SIzgX0Ujl6+wFFOOkF+HeomrQrYcmrs+k0ttUSgjLp0rbOmBmP4zpHMDo5hUGnSyv9aA/2VsOwHxi0TFm8KxWNLCpgG8fn23/NZP38cCZ17de+aWHAoQdhtwH29LLe9f8ytLp3OMBZJSInZN7i4T4oN0MXme2EYmM8x7UMDBh3ZBrezWe9EMWfNU3NyRrqNuIi2UkREPulLESGgCoXLY4x+0DXP/mnVN0R70AjWoVqKXknUPLzCtGXuRfB31vlXZj8F7YoFZVXqyAQ21sXzmNnFn6qoZrGa8g3qn54OBeUsQRh69qdW4+6XzxTa5KOJcPWIImOqB63FZtjxHYKKqX9JyZanAcdDApNc8m667Ozo2l8DCCc/2vBXTj33aF5fSW34FB9v8pSRi06EVUPY3ppSxsfmn7ei9mpb3/AvCx1QHAU1hNdy7ddM2BmwZx2Re43/u2IEfnmYpyhDt2tci/rmYGtUBoe8cUAVG03ZgDO8JEMwd3Rn0e7Ads30+/71pDEi/19omjBIKvPRstGupqnOdKZd/Y8/ew+DOUvb19OHHCCnU3npfZl5WmjCUGYMjnvf9XdOL5jdLZa04A9B1ourKOPtx7Y7rju5WJPWdvvxEwWpAHj+2jnhvqfCGEyWWX95Fb3l1ZONmSRiKtmK4PRpJpVS8uzka6jvkqwajKUC0zUcEuNjoAEVdHuUH6yuXhzfOaHXdGOCUoGlwp46ikaRBzEGwW2lkgk3I1z+0eip6AgpU4Dp3Kv5cMRcTJ1zw0HEogUNsD/DgVfyM8k3tIqOzA+IEvRkWFcnOOIHDoT4HvSZYrHeO6hty49fu+g+laqI3yD6US5n1o/4WCgpcV4VbHMJJ4InjFN7Q+9VdRpIhrflKlDF/QIbQ8RG53ccucsci9vNmeActGhkICDKrZvmDN/oZWtGaS2T5nJVsiOo4awpmoUP1ZGKg6zAD/Opu7wmww84C310RcUWipZhVjbHv0HLzpxjeWnbGprVOJ1nydPOkkacK1OS3UsMyHRjqr7T1Cv3floY0Os0CJ4y9EIplTA8IhUDLh9AdmWZvPKyzAld1pGqbaAaOON5Pa51DtdQoXPSG1f4ZJ/vUEoFmUGFcGh0p+bS/lWT92/rPbeIe6Na+xKA3k/VTtkkwMYKqUPy7MLxNrgfv+amyp88KtGB2Zws3d/OxWBgpCi8HZ+Db+kcFwp0YThH/+I9ABZzTobhuklvSDe9w7aPLWOCSDWVdrWuzwrhZ5cWNKQ5t9yw0bVCMxEXIzqt+ZWIgImeHG2eknBfc1H8s6LVOagKJaObHrm4h4FE8DENFCuF63LgAwpUkHovAbU+U4XrTtjK6bVVKAkXoB6xwzqmcUdCEGTafEL0yAzWlddFeih7d1pyFeH7V50hIYrFqZn5PE1fCPx7wY/budv90REEDCQ6QPHsMT91TfmhOPeRxY0eCZOd+bHM9RQmDYrHt0MBYH68jNM8UZlOJcljE2K0qJKlrShatcm2y/Zs4LyzWCPuf0d1uFPNFD8p6Q0V9YaGjg3ZiZhTI3ZUZ2YHlWzrLA9WAdTAYV+uWIF/2hJX/qJUC5C5pa3gMsTQo1LM9I4ydWCExnNCoX1VqEII872fRU09JylqGcMpOECBfXImC3mX9EcPrO8Nq2BWXMsy4uVdxHfyegeo2qN26eaUZDzqp6kAnNPgAxA1AB+EbUWb9ed028kvfh1m+f10VBy/q0ExFXY6QB6XBv80CDyMw4540IA8EbuOakk1eApBh+jsD15u/2W5EQiAt87QThjdqmITlgEsTBvVmuijG3ZykHmuV8doEYJHSBt60MELpyNaONY9KQBpuTTiVAJw6zrJ2qeSoqX4X69aci0QK3G8MtHIYt8mXbK6NGa/xlJNpYlfdJ8kW+/oluHMSyzqdEEXli8StSqw5M0/E4yXtm+1kkkbmBxwDbF08GhBx77WH4VpSaecMyWlLXIId/kd9dFkBtQ+g6S0BKgx72/ZI1B4wZj3clxjjCtgPzFi68lo293EOFHObeKt487e0dwXamwFNd97rBPJyBfxZP7RYEp2hH6HNqVzJ4439gRLcItIaHabh9EKt2SlX7EEpthBwwA7X+xgJj9t22Hxh3MOuxwF8xreCNrEzoTSNgZXC8upkJl32zeoCoPUf5yEMhy2yfiJS+Evb7wbFi6KZFRzQaOqu5x7j1xHcQllUqotFfPhq5I+Ruy9Q9EKoOoiyKWoMdjBm6XwZU5BSEVA/r/4cRacSC7rgTuR81CXVrRHOw9Z/A9Kw7EwsppQIo2vaLpGKhKVtwgGremsyD70k/h05enATmsWnl0tx9YUHHX/kkF3rqAjG5QLS/ipPPL4qioMePxwMN5GI5nKQ9pPW2QEQuqjDnilaZE1G+ZHdRlg/NlS7YaYcPKs6Ib1FDU9iFck0JRAjer71QgbkkYb53jPKJLq2bXo6rlrBotW8uP8du61g8wLTmgqhqKZjUuZIv8m5BW59CALw1YTv1Fi7TQJyiid6S3iohs5OgKq7wzz2oBmqudP0jescUR1GliUc9uMubkYeFNHi+0MnPthzpNlBhcbvcXOgJZwuG2vsOCh4SDYy1XGxc1/utpz/quHZdkOb8qFOIX7rEBhB3WC/2pyJCn86Q3PNYwkTIIj7QxFud6n+Lgbm7vm4mrkBgQm5PsO4dzggznpiCnXptIjrfLaXlanOvu1ioEhXVYvTi5yRxCGjaEYBLRLZxfXggIk5hLOUAouihHr/+fd8Xo9zGGMu6N481o8aRbUXEdjqDiw6DT12uFfPFnToSnKDrogwcUO6aIXY6yVeOEjmvybOJy8aBgNrAkK3zI1mweiTzp/gO2pizxh9JlmE8rA5fcDMmfgA5ZvbLk6/UQkYdAFJ1/bMNIVdRb1xAR2f/9LusWrPMDxltcJfZaj/GpWmnSGeXH0CyEgjaRSNjwm1qgLSkcrcj5jL+prVfeQrRXFA9nsF89j7ey8KDCb3jKkGiiEC59bEwoxTZmyDcLHyw5hugjeNom7QkFw0+dy6kEMpNuggMTf4L6RYlaySHbN8bouJvMBxY+vyCmL7sxjyeHQQPpUaV/qNuNSpKNlYudBkMAlAHAi9iif7ffFZJX0vGnYdr8bUdAQBkfain6NrmWYXa5BV5BkRPkbtsuzt+Urn5C4o8cPIpkM8yAoFfGYpFzTI+esKaGmS/bPlDR+7MwYiMQq80RPWp45+qGt8C7527Z+CcKTGDZ/pZHKsmJ6ZPys+uxR212gTHAWyX9NB2sK/j220jv2REBSEe4kDmReYUdTKaKft0a+VcdwAW0Wgaa67VU3FjNDZeQOgFfIOiJ2uDgI+3rberq5QuU835oJFYK4uGA+9+ehSI9i0+ZxajyHeqHL6QJfp2bgGbFcouevbuye7i/RbEGX2bFKpIfSlkgnWa4Mq8W3WF0qkEVnkyCxsXsW6X5SNkNe6qMKzzOM6lFZDtZL+LpRBwb4ShSms8z8tGyHYK2fIkyO7rpa5jviDrlVtVMcDSbasfv0tWkwTx3gHOOm/bqHgb/6K7PDjagPl5iz0c0dtt1jXBK4YQn96iZW+cEsy5uNCC3tNKcPOQEDVUq+/cQUI29FXQqOlR5lt4mX9uk5ebRJlRZpkeG4KOI98v8MuH0hQqVhs1vt/fBGBPQoGUHYiTN1PYOfjpAJW2+Qt9PcS+gshv0dQuNxIsZdt33nqV5PGYlt2IKx61vVsa/lrN0uzr4cbElJ0T9pRxiL1e4ZBswyJwYwCInMFhxVzA+Np23QPaUF6NuYI7rnmDzRONEwEkCJ962o2QYQyGMRgnLLZ3qR8aQkcKb6G8KT/zcDxv/vxHDRYOiANAxrotL26vMscrEWqHr4YU4huMmlcIN3HEJEKjo+cm3x63GvUEwGP13KDoLSh5JHdI+4yvTixUjc4pl/kEwm6Nlzo84d8nkSgi15rklutu1Lvxk7jSNWxV69S9cFe2BtbskeFGxnGO7LQxPRKNwXs32LTRrqo8TCPyIF/fsZtfUZxmCnZSVDs1u5uLLHRCbBwGh57VlnD1YBaH+QUe432Pq+43+iPYuyNsBRimEI/SYAuBabS5RUsgt6XshLIDjFI7k1wKDBMHxzR1naOwPwAr9dyQZZufxOXii4xdmhunDa91Z3NGp64wRZwmHkQR5PKLGn31i98EiV4uOprVg8sN6fYfCTEb0TFJ8/bmS/RxpJIJ0JZqywrFU7eKd4viMLz1XkIkv//nr6Ls7M5huQ+2LtKV9WUncaTeGxU8VgOdWVjUGY78XiuWbqhBDloFDzfL5SmVNu6l6MrenNyWUUWXAAzEA8UTn1VNoFQpLgwvGe3IeT/4THnc/WUSR7P+citOMc+pbcuyuVHXqYIkTZmJNFOXynZl3YKnTfD4XfkvZ0rka4pzYdRb0z9/vF2amJS/aDhnLajYAu6Bd4aFhsP0Sux6gqlKuJYca0D7hyvGE+AwxJ0goRttx1z88n5W1cIbljpRn7ny0LkoRGkA6BmgezSnZcYpu4+a4xj0AQN2SQA02MV48kjMiA2xEGVXT/CuSsx6CSlebPNNFfolmkaIt4ly+rBDSwcNIYt+/nPC7zLLK7yCIb8Yy2Q6QAbu/QucVDJW/pyaVvkYuI7e9ZmaSOee5Jos2CUrElkcHMMDSgM1vcxcj1NixUglFoR6fVDxXczTXvr2Zw9M8Pmi/DW5LgeilD8fdt/pXY4v/t+TgRDUidk4pGi+bs0ewIjo1mXdGeagg24NZT5oe8+eMuvFxZn18YbJs4ZfHVzAjyNqFNWmH5GbxOfw8d0dDai55eV5LLNK0q3RTg7RchT31y68zKGPbk+3bR6XddewzFxqKdAnUGrcZXliAL1kO8E5kucZ+gU0FZQ28pD1cPock+V7WeIu/hBEIIQBNGTySbv85nzBGuJAUO6mBJQUfMu9Yv2RwsQHLOHd+aIA+gJcUoKUQXw3tH0A/b1XS0eI0lbxk5yelGXZoW40MhlQOZTpToyFLJsF8z4MeSYfItNUV0vREXHBBoiuZBATGHLigWGj+jizgUSeFuMDApAyt0aXYivJLO4hk5WhbafG01eZT+PTMscoBAHyjfggs5zSwl0vpKPejOkga7Wzp/uu/wsIzNXdHskJ5XLsJnmf0+8TpYx6iIqQr/PkN4UFf9ZiWS+Ipx7m7/wqrBJnIoDF/HoKYQ2/1p+iNqOmfXkmnGXUy28JKzfqOHdgwJjcn3xo9pYFayCQx0hFjeugRblFTZM6B5t3cvUYm+34AOQrBr44Y1C5xOg+taDAzTh5qBHOzHfkdsZySKUgQHEvWrMPowNsoYhsDrik1iCdZxp8qAMdLbebJ38xRgvksmU7vt6XF1Qx4PK1Ql9uXj2q9wvmJv9pzJA0qGhCtZvSiU4tAzc+PqPiutV/EozeCqSDJU0Ns+RgSirIWMfhgBTBk5POfUlViU5nP06n4piy/QDtVsFAxTB6zWvyRsGVCoaq8xQjtiB00XU/kltvsxIrbVgnP/ZOliMVw7RoGQkqwhayNSv5ZMBVcU8wJ1IP5v7ZCKMLx+k7cTKuMD86bd1m9qEGLj+ApEaTp8q0Ps4+AaM77ppJVys2hn/31ZgduOYfhwzV+SENzaVC0xwz8Ro8wSy2dklYX1kU3uIxdEBtiAD0YzyYapdZ95JGsVY6RviHzbjhYKcsQ0EHimPc32ekbot0ddz/ldRGuZ7MNcgg1iTY3J2TiLkHEZ0CF3zu4ZZdOwFF76MOGEkGa4mVEJ9GC9W5UZSdjdt053WoJ7jtes1X1eJYv04/8TL7EQ/Ofg5Io465BAw0S2havT9mu1Tjge5fSVbXGQYS0guCcp8TDfzfo0j54xUg5CKIKH9HYpvoiJMyYLl2sginuRuzG1iiz/yqTXqmvWnkHu1TmyXKStLpi6TuEKgUL0Ms0v6GnG0BbAG0QGJkwy5/tGZzmzEMrrtOVq+Cy+1y9YLDo0INcDbpBng32pklVsMs4uabrBmJf7Pxr3Fks4Ynvy/DEfdYE8i8qadF/7E3dZos1z8EcjP2mLqqNWtAgD2R1Jyx4JjIVwYcoeJfyJ0Ro6nlgq9kxra+3h+XAIPRfxrmGJc0XF8OcEHSOqz7G7vrVn96mSAoGkUyZA5xGwwPL2OxKh/3Y7KG8y5tkjgeNNQHijOXhtKqdznxGqDmsLD6+zUJRNuzbIjd+D75GNi1XzjHssNShZaq612wQw/CAVNcWvd5NtR3zR+SKvWBpOJZ82HL5lzgiDSbcj5SpgHgH5u7GEitzlO4mWhc1Te3newdKW9du/aGPhBt8BBTb02k9GTPyhMxkvppliTRYk/qplw9Sz64pqJ5yDX8EaDsJfMwQHspj69rUgAhIzfYOnCVNqX/9dNR3UboH26gXbUib0CesFO8+jkTBJJncfA517yaSAF2PaKfTFfCsoWm6zLyrmcvZ6Jh5QVyLWiPadJbWri0CmQjeN1EOh3pqs7G40Yj+Hao+gMpc7eZPU9CCq2ue2eV7VoxZhGyils8tOGn5GrtZ8VmosJw5TvYqHiMWzOcQsmt731noXRP0EtnHHa4BaGN5DrBCKyHv9AlHQjvCTekVRq/8qXlMZ0pDLiCfd+pF6iW1fkyt4rDS3foKq6mXtX1uKLIdnvTz9E//gE40mXBaUc+A3WKE+aGp2e9256yTobNEvcQNo8lPAC7ENANEoMFgIMxT+uMQyvPC1QO+h/riKJGLof+bclNhs4LThcG3zMN8a3uxlwmXszTSH4/OpeN/JS/sBVWfwWTxp3W/XXAk/eHTjYPaAedI8dTRY06Xe4P6NRTAvM42ZjRvi/2OaFCZMRxiNFMj6aitA3NqYJbfDZT1pkI7OrpnDtsWYGQORg7DCyOOP6M8fbHYZljfzv08k5CrS0QNwntLqIugZDzeacvgdTpLLa0mFTnaK9RUvbRxmoehRz4hni+feGc4I17rVd8V0L/i7FZoEUfpF4nj4doRRrC4U0USq7s7yAAogPq9/sBMBv3HZmJssnlQrF+SkSzs0w3leKSbnFQrVP4YC7uN4dCxaIxKHCYh4/2qxyo5m0cKmCrr+JHHf8anXMEV5YKj00JozM2Z9CM+ftwpPoBWg0DZ6dg6g+6+qoXH4NVf+cMS/G/sf27QmQAPEgFVz4S84vqD7rs+Wsl+LSd8KDPQfFJ9P9JukU1PSSmLUZRMZu21HZbY8ECvXAzDvSx2iZD19S4L6EOxjp0J+XUtk7bD2eA6E1Jo+ZvuQo/q8QgMaJxZ6/ozkx5loxRBSYoohU8exyJHYoKuUCu91plw6+7YbzMfcxmvdKGE0BWHLpRZSoS6AOb072aPFaeXKN25ltn0Nq2lJkccBOdsR/ezVyxrCjYyPmq0qDA0s30HNFBrCCsu3SRkAkAOyEde2kUWfRC1LgT5xR7n6Y/Aa6xq95sXCRydyWAeMnb5DKQMNnasM+3Dbuc26YncW1ntAmeMklIkO355r2PT0cbfDIwebbPvlSW0jD89lh9Ze0e2TbUASBLBf9D/+kllZa4A5pRr/NSGns7rbbLh+pagSay2JR8ydqSdHTWvjqxw5SZmzYyKRtaNOgBS53DEkld7lCybHySUJSjXVjiLPvqE0mjnrZFUN5nmtFkWg9vjt81VHOM6+ayOi7dgp+0Ki+QgTG7H0RabmrnwZDLa5Wtg0jf3YQIRXFsZiY3riTEBtivSwuhQpF5ZRXXPRgqpt8/RKYTnmFCQPUFv1eDKWpslmlEhtfhOUy+QfH7KQUc0L1FMcUieh0X3prcBkhM2EvuM2ThRg7dPTZrlXXwQDxhmUfy1w4NdFncCMBpnJJJ4NeUWn5kXN6Mz7kk50v2nnHmfz35EsJ2HQDFQsoKfp18jC8RGpVVQngz2+AmTBZuMre4NcLj3e6IgqeYUMWbRs+8or/8g1mcaxuKb5Y/Z7GE5mu/jYbbXTRl+HcfZeaGuyNJ1atWOoB01HJK5wBaV3eHgr+OAdbQU6HV0hYwXPDnxsNoVA2aJ7MDmOd+Ysf/WQkh40Wb1CWSQlQZ7Q/oqWxtGceJwduw8EEZIzqSnkx7x0jkKI8/oi7Id62b7CIlPwoY24dCKklZuXK1sdsWng11caBnSA6RnzoJTOBdKnOQ5VSW05L+PUAp2JJraOdsw3WglQ/EA1duy+PLtykGJXOwrDyg6CqryevR/eDkEN00e1EvL3tcna5O1ZCjEmqt1bOouVIXzMN5riZvDu+t2ok+lIl0SBjk8eZjy9qXb5oqze3n4JCyHqUMTKvXlhdojUlwTUUV+maJi1yH2ZRPk0RPHzpTm+t8WwFAW5dDPXXoNHJ1Lz4Wk8VCF0GvyYmcdsnUNiQJQZto5WnHKwymQCnr6L++eBkbwvrAYvQ6a0ytU2xqFZai06ZJQpbjwHCkGnY1jxQRpGUiiHCXYr9IA09tCfGNJXkt/izoVdi3/G7miYV00S/95IaPEhBoyK+7g6F3080C10cIbaDW4e78ouykqoK7lzH4NVYXyrTYAvawncvlUD1C4/eTBV5mJXP6sBHzUa+CuTWoIiQRPKHTuAU4HndOlfT/mMjf/uMEyHlap2YnTM0i3qjBl3/6uD+XcvxeS92Xy8LX4ZAMkhqfs1NL5JOgCeK6YRek38+d68Qf3EyLAbnWARBV9FwtMmDutBvtoZg6WAhXKoP52pk62BwHMQypPayaeOwYkogWShsmwUVbF5m1Kbut8cFXZ+cuFeNxceXoBXpHwestIRHaPkbRBryal//nRsi2wmdJLqWMd0rVMpKqGGIFDSAy3VEMbY7TN2WGtuA5tYLWPTV2OgtFGiTo395+ignrnKTViNEGAdrlAJo8oVe/nUCvAX1LqecqHJhBjcRoa9oYpBCnNzfgvg8HCSCy516dNkIxNe1MkBZAckfH+LQyx80ocKafABMSdezMizZkR4WsWgb16V/iuthlA7aWVIJ4IkWpFGWaC6OLGOT30JXZFzpRxDn0fEyLn+9OD0PdmT931ZF524satnmPE9Kzo4UO1Ct+cu3Uq5TKxR0cN0lKUGzcbEzEajOG+w30rUYsDghsU7Ao9PFiM69Bid5lQk9PhhW9J2kHeQI0GhbUNjc9HSP6c+xnI0HTfoPOAVQ8j9Yj+9jSawdciNCnvDnUJHT7kIE72nmlGbbu8/dMxw1s4F4RvJeuDIPQ0VaR6pxpAq2Cyc9UaRZjSH70l9VlibdiGAtA7RhEtRvCC//WP87pTdCaaiymHM5e4LjG0THi41bkb6IaEFz0E3Z/tArrRYYirdEzlcz3BpIvZp4lGGmq4uvZh9utwULl5mesbKcd55Kjfxp1ofDKiCdfVf6J7kLWMcrOLfydnUuVDVe6AhlaIsbuZhGCHxjs/Wup78U+InR6iCVDsVGb8eaPmYOQRYbJUejf1rVxzsacMbjeRHm4KCqpXYjtbwSWnjNaZYJHivDT8PiUE0DdvIZCrwCfO5XD2EBqcK9bwaO2ujtvnw2GJsubnEhwj3tCKq3+2aK79BaozE3uflMJs9huuG5fRA7exF93iHxc+KR7gZqnByOZGrnRKNPFE8HddE3ap59Bbo7Ti8xKIY3vga2/UIsp41OIW27XseXKWcNtX4vlv5GyPeNgPVK7UnI0SVBV8Fr1sHGAzNqt9C0rDfELAA4TmMslermXOT6nzZHjsfdhRciQfRjJmdFgOJqQuPeujphG8bYm0yneyQ+zfmhjzRBSWQ4PlTn4rAv5LbURqJaDgXHPJ1cDt1sEZnS4DjhD89IQsYiq2o2NbBMzWdquLZBp5LSOOHxvXpxSF0oG2TrtFhRElE6Oaqj8WsSvvQnl7jByutYvjCyBOrLTdD7T8oLa1zFPw49WFaNIjrU98TQKS+sPi1ZrzLaFISCn4Na+tbge8NutGpjg9GWJAuaUCCu6A8FNnvewGhL6JyG/ibV0Y2QmcFzrmKYQ8f5tljKlnPNRV4jWMcWbOkuAQf4Fox+4UnrPywW7e96gL1lfcraZofTwRWljZQVljn+pFY0x6kn+3Fb82rX72U0b+OtDH2vdLvE5I4OBGJyVjA6hggY07f55CCI/hWTj5xdAqlaU1Yjot9GxCO8QIDxF4TsBJpiLAEBvgR1gzd+tmWYfIw+sVKq5bXRjWXXHQGfIfftqeb0RUKJnyZBsMhGBtv1hBVsvyAherAA0hgFsCemyB8WyXafkYXUBDNiTC/zbkYsX2yYnuuSa0gnBHdx9u050Yrd1buTENoE91w/SQDUbID3GcPptzoSebBF7gl5hV/b21+HDlp3W9EprwxD/Bsbum3mt+zcwOI0Lv2sIwlZIKs2bFgk2nQ13jcwL37gvq8WIxrBtEfJOuMMFcLxyGdq5y9R+OWAHR6A11+EKXC5ZUHy2tI6HXVhl2/v3GEq5FJcewcyeSugHI56LxItSXldjlabeZzdRyHxTvVI+CV8jyqF8RAdxCJQKrh6axcovFTsz0w7xWyJ4wC3Rf785dXEOwfk0Ei3H0guC1giSIh8+W2ylROh9b3PYtldG1FV84OXy/SfWPeFkJixNjJ0x/9CSRrFGZCZvyqJFC1vIqEcBAySsRXfYc7AYAFtd7Hvwhf97NX3cHzxNtE6OhtTUra7xLn7r91AXB+omVpX5SyYXqDHCN4EmoW1Eif3bhehvTjSKyEJsEPyCgfGGOu8nB6U1yfkYKYd9bIVSykBqW0JsdA7qlQJwf1dxjuqJoQ78I5D03GlOJ9M93nkgfRNDJ6otfX0jyQ5nuOHhVE1e9XPoeeU7QysKw62OKgJ7HZMMpWIGnqclBnne8/y+sVmFM68aJNSDZGiNqqDeEvGY48X1q7BFijriR9yAYN+Nr9jyX7xx3+3WR8fVw/+X42S82IQyGf5p3ZAcyl9A+tyLEeOgRaxJF8MmhAbvyE2rSWB5MFwVsDJH1Q5qXsidy0oGwj1hx9UBnW477vsWcr5Lj2CBkMHkouA5+Rsz1ty+1i/6htZP6aQFu4n43XQbMlMRJSfe5p3gn6V7Na+MxJ29BXIHWNSoIaIOhd77+a/bzDOS1+uG2Xfiy5a8XTOpik0hrq4iJdBMmC38k9TjpEtCTJIkGYtNsfID+gkwWgszMxvl6lSDhhYU9683tti+5nbeDS4aTJn53sSNJJfUoV4At2yJpJd2ywus4PunvHnovntVpOr/J0dnOK9vZbw3m0M2sGXm2y5Fj4txYxUi77T6Q8GOd65V6Ospa1G/JncTHKHE6HeuxSOgn4n4Nj0oPxO4oj3kW3gptKvjITq1nW8p9fUgBbA73p4yk7zUGsNkNG65eOdk98MnOkX2eZe6VLMpfqIXtBLAeejNCqW24NXHEL+tgPdQQxTlcGNBITlVEX2uRe0SAuuaLt7OrkNoHOuYtbvSslzJJM6JDfGdYt6LuIVXA6xjMredFWWu8kTPSiFWC3qBDcL0vvDOdRda3kDGxoIGNZaDNxW8K8tbDecOTrBbVSFtB32xxL+FfRdtFbqp0XyrSlwYe96zofsT1VKVZY50XjV+9+6D3soFYOvmoqDM2vh4lryjWjc+aL+t/CghUcGyj3ohPG4uTUmprFtWeeHHDNEukM3/MVGHpCFkjSA51NDtnWfYbIVRkYGvmx4SXMND+pW5Xgf9hlzUTCqfJkW0B+fySt+5AaH0Yx2x+bflI7DeiET1/15Y+Vck94f9D5kQqOmtmUfQk0RQkrgy33YUyKjmUghxVpxBps/460L565QhUWRWOXww4F7gndH5weAObhpeEB7MEvgXFkxKWNunDRclM8/uKOXghMPJJk6/ubTekdSYqdVyVsQIvWuXSXFYQToXViprfPtF9K1lyxnKV1z3xBJvHLum6c0TzdSWlBJ1dv7l73HCVZS/RbMOO2Fu4jipXismAcv9ovF0HYcHZI8Jjy4R12NkiQC5S/WKnNqxRVsA8CqDV71HVKqBA1wyGrYWLd3X1a/BvfbszyGJm69jWkrwGFy0bJa0ichNu3XgjmUsjz+UYdwIetn8lxQV4MMzPwt5rSWbPxxKthTjcwe5IquiK8cxofipBbraoCc9UKZquSULTdriC/UvOKKhm7e5E6gQodlRzt6oN794MBssIFnJUgclx4x+w081B4mS39j7aBUGhRPasAXNEiBxfAp0+1pmddqbvBkRNM3rWn/EOfL/Lesj/aZt5iuEwU964mnyc1pUYCfTLd1eycUGQk43IuPcTe7B16Pj8kcL9wz3TwuRarBkuP0SnTb90+fCJ9IE1glOrF1rjDNKLmBGxk6hwy/nxsJVBk4s5c7aPuXXeq9uoNhojvkCwNRPTlZFrCKxkyMiH6rjBwqdND2coSRxLwjREjOjVam/grd56bISX+HRXdivZlHthavQv1EmPdoX7l3VtE4QQiYQeTsDCxolzpTyQJ1SUP4NM6iWtr7ZohnB2m2iiJZPvscv4a5DAdzLHVhL2Sp2FdrPrvFypsofIwEt7wGexeVRSi2oSStq+uZEYGGVynCSNG9U4qP0NR7qvSBNdSqc1JhNrb4lyj1QtBkLUZEjmq2NlTogqsEIT0u1yqutFzTpiv+mud3qrHOdyim7acAUp6rrMyTTwQTECttQvMBNdX0G0h/eeAY/5iEEVIt2HcjzuEU+u3LaX6fTD5TyiOLFTY8+/o7PXccyyaTVc2597jUIcrBztD1sTNbEKmi4uTAOMdGo1FVc7d58vUujpBB3YUL+CtLC/kJ8lOFJrQxJNPgREuziF4n2V4KvwqfXfmE2B8ULMRUtENr52RYK7/Ngq2trq1RWc0ubKshkcWZVPjhXZWpp+ktpRsSGNM5L5TagacUwOZoPW3TAGKfEjXfTv33wtTtgNc0dg+OAqw49pKhc+9sEyK/PGeGgZPHVHIJf3mBDGKuUirXdmtjy6xWVOdLSLFPiT29JkbIobQ7nNMkKuAH11FNTxQfemhXMsX0RJW/T9FmIHmxKeeI1hjoyS1N0lD+ShUxoeb5drIhx1a0V5LCxI6st7ga1cWO00omWR2ahvdConZjI4u74zaTrwLWxEQhrFxhyCFu4gC8IkMWY+HQa7zSU5tPRkD0e/GktA2qFcBrC1QQJLJmAlH51ekeSNPA9gfXqENiLrs1ubtnVXKS3PD+YyK4x6MeX6EIbBmbDcXIa87F3znaggoc6dGEjodCmVd17YMMT7GXzRtxjLk/kCf9Z5gipZWrJIxAUkfNPI+L8ekcFVX1IOV73vrAU4FOz50aaWYxujQmJYAYggO85JfEjuwlwbhJ0EPu+xUFlFD7TGn1i42vV9yiq8i6ONKJtyj+/b5xpVnIMtUsbvHR8H04Kkv+Rtrbj0dhayI2gpEpYzPZLhnRlhu1NMJOSkpWZf7K0HcClyQMLjQL8VMtwZsYY1yQ7XcfX+AK1owSfFIE89vzoZleB+xTSK92+BTEDgcw9vhozXVnifcr6BOgqPPyov2qRC0FKY/VSmXTRywQnwOoJs7RGZbI59KxyyTJ5pP+iU77XrMqr/fTRCp477QbxFWX2bthrtYNQcFHLua5QNqW+6y0Fz76vq1rFEEplMRsaqAXhGS76SB4V5eUEvWaGZdLGU5BpzWF9PBEHW77jfJd8OTZoeiT5Ozs9mehQXXr3LzpJMutJj5W2mY7Ib3JCxlLLJEfMgGCcp8EEQvaKnn+AUohOXgkIoylFMDjxAmr6bNXGqRW3AQABoHUyvxlAaQnZOJiyQNDxrGPpZPCeJfiAR46979i3vp0GKqPAjnrdKIffAgiqtssfJI7ETJ54GGRxMS6aeYe4qFSZ60laZHl3YQg2NMpa+7M0CLdRXgAxE0r6/OytuXtArsjYUixxBva3XI1rgpr9TeBIEOEpWLgGVTO/g+tgasjhD71H44fvVyFwFYr7DJw7jzkaN4KH3vbu8ZG7epUGSlYF7I7VPi/tR7xgJfNM7HJ+5/+2yW8pkO17/Z3DVCzfo60hBwctNBMvIbX0cRUMjRsCv50kK0bzey+wFXXa6lO7lSGMDEfspztrnOTqcS3VYgEfISrJjYLriduTwr1fVnHz9y24twVitP7m58eNddGblXt09o61LmcOISAUaj6HMyDhefxXxLijNJRWhFaY1V9hkmMHTHFD8gChEz+slXGO6xsjT8incF5JdMaHERxx0oUBcJlWlvjVQsNJeFQvb45DH7I+Emt13D1ST2WU+6Gkxl7efcwxmNw0bF8PI3E3kZu4sS68cQV1tg7PSJwYcUDQv1YOQxcbNBjE9j4DHiCNqv2DupHP3Up48HO8t4paQwOVdXPHXgttSx/0rB2AwTBaQZ5boFOjf/9PleH/zzl3V+ERjBYeS2BeELiBW68yuJ7Ne7cyfaXzqOW0kpPv7fLfvTtWLeMNDaQ8bbPcWcmWlST5zOgLtryq/sYHHa/rPwYqTVzbOhjUW3YPtNrdvxCKu/BnuHDr31Hs807fQBG2lu9KM+P+GuIrN+fTqlkO8e0OJzIuTYAS7FY0CII85P0Beuiu6OqfuJ+DwBEwaJKcGIislNpcS9SX29dblgDJe+nrzFn3uNDNcXn49/Hz0h0PW0Gb4Q3MAA+v+ZYBytFsppnr49UhyYLU+VoL5ElR+dHX6bhafwEq35nAttcF8luHPhBmJBwFy5rL6MQ/n+CkjNIb6GzzFsnl/WEpy7Onu4l+hZOeFA/BAMiW6fROycQIKCWyZHh4aFKJ3T523i/yfKeqN3zUcDtpogezGWzAhG125IexBdzfF60xJyy85xszHDetUp83vS8xC68O+sSfovoc8BreMLB8q8f0/gIThbu4BpxDDb8DQ7ER1qquczNU4njSUcAj0Y/SoTx19YMNVA2CUKzhKyHDqyqSm0g9P/IzXkLzU4Jwj91E/UXnI2maxzWYg3Iz1dpypatEfbjXW+Bzca5ncS4it7K4SikUnPB3Kni/Cuwb0r4Aom/Wh18in0hhDst7Otc6mLyIGsfqiUfqRZO725CsVR3fE73CJylBnfdFveBXjsdWNTwwmlhBdppevjilA8s6Hh8z2orZ6EbCw/q3+8+Lsjg88JIh99LsKTVWMgP/LB4AKcStTmONn2siTZgGrHB6ACjl4grTJNDRUkxJ3a+3epZpba2Afnj0vFf6kLj6eUVFPSUmGSdE8TpO5OlOjlLNHOuv2hDIjkw+Wk93d+MD8HXzFLB6pyr8bIslR+GNd/VtEQ89fNHieoAHUsjcxxw0F2+Z2QtNgpjVIEM6MnJIbjDnyP6+mlXK2/myiodrtH8l7lwK2mZWZ7CbbBUHcE/QIR/Moo3/RIdLVX0+hCWJWn3zp26d/GQG9k5Cqt2RtFRgZD1YKdLDVMaVlg/bI9YuK7+5xEMP+KLkV+txEeoYOPpYm3GqCVAX0Y8dTIbzAf96rx0yua3G1g99td7eJGpgXQALzQ45W10yrHnUaLls/vRTFlW6VJtJ3A6zhFRiGU7E+kyshKxhu1+lY5YtXASd62M5GT01GA2bBk7QfP5bprRRssaA773iUnbR9r58mx7Yy8+3YSVKBvDagX2dY2eK//iaWjShyg8omtlDfr7LUSsL9mGbCgde+tRaXNBQ9iz+O/W8MURZLeiAHK6L18lviz46cIW22zHzWSdoxsPKQLZAr2BUdSHvPk3RuA76m6sOhs7p1Bihy8RS5rn7/MV6Nzbo2bO8hTribbXzr/hWQoWwYfVNV2z1ZDCY6zDXUxcQnbM84hpLmhPfBeqItqb3ZMNzmzvxhpjDplcJwViau4V5S6nn5o1Z7IFmSE6qiYVf2DM0yDziJmNhWZcr66WBa7Xo8FZoQbL1coDB7TyoqJ4K0gYWwjavi2bwu92xrHoalGxa2xwTtSh9ae2sCo/rhpS0/lVxrbl5zlzSUnn0CA4r287b8cEVYD+EzXgyBNvVoMveTQpIq09CAcfLiNVaXM4ZbfOabVYt/HEf0yXXNmoofIuVpmHMX1R0vuXvtor2c5YjIFAR2RjtlBAYaUfNXrfdkl7+E+FksUY6hMJfw5bLbbfEaUUHszbbAM0Wm4PPG5Noj5U/zEnXrLf095XP4Gfz4RStcRD+iCbg6XfTx51ER626eyjlX/18dLO9AvDmjPTBt7eoziuODwGmAw8iNy7yj7cB8ZCAcvsiHY9fXI75oJGfyV6xTdWccXqKvb5iPdqZO5zv0QPGobc4FNnwnWbuSSK7UoJziT4i1426/c2gqT4xcSc80+vzQRqFmdBiXwq43z/krf7VYwY+GHTbSLwbedLvffwysSu3aq6D4uYajPrD7yWm/pCiIZr8S7+LQpHuJnK7dMImKSp45IQyUxx+4ZbsClUfhs7l8cfw1ilbP2+ymUTEj/xCIFqJq57FPXFAyS00J66q+ozz6wpjrUvrBI9OTrmA08hdDFwSM2I7Np6N8CthcZDkgBdbkUTy0GZIU7DZIRm2QbdR0kuAKwwFnF1spsMKjUpO/QMluZe+i4P71KjnFj/9LoxnEZGAYhXhqUauu/ib9vysMdC6X7Xd/p7UrZXIRKrNTbT1JSvcYfXSiquAJ/gHLGUTSr989nkXvEe6HITu7G7sDPTaXh9EHGCTRo5978PShWPbu0bXflte5W3/Lvs8FQEp6gns9hECe0Af1rd5IQ40khDGrRRXb+BO6pTco10Lc9CW7ibHHtEsvpW72CEjKnVtxxYCI7f0ULNsLVbYyOPxKGgc5Xf8dTfi+XCPxtJUwWQ87hwcU+iX9Ze/gExzGc3sjHM5Z7tFjc3GE2TPfdDng440Q6V3/A8rCek5cjroUEDGdHuKbqxXi0DvARnf+FP85GFn4OCnxHU/tpU0Rf8FQm9dMYEkI3U9x1Ykm7qMUi/4WpdJng0soOagef5t7RN0S/nJDw103RHGAVCze0jyJ2PCa1cH0rrT8vQKCbNedfGNzL6SNv+aU2IZnMmuGb9DkZFDfyJSQI7WOwKrJ0/wrOY9aAj+cwixmNcOUnc5hRLFUG8i+J4U/TdoPSh5oaLdxYVHy7sHLyU89fJ//ew7nuPa+BwWKhVB5H1bOcL1UNVI7j9J662rYOdPNCEArMoS0ipebPIiMvGWf3x76cxAs8loWebgVVe3apcoRzYJaJm0v5U6oM+2ukz+cBmjuPTtWqpPQetx3Jo767AQt3huFDixPmzokt0W85QBniy0RbWpVTn7ujHiQr4rDnXNVZdOLOugUQxfJ8H59kiaSGIJDB72UKOogyP/RtAHh7m1P4KDIOiKT8mdIX5Z/ziLixShNY2EK/6n5D3eyB5FHxZm7EBFh1uDWCcGmt+pfYautopYwjhRueRag2vGHgFrBit7v211RsZwgDhbGVBjLCa+Ri1dg4iidVpJP2H22A3cy72Y+mUyCPbiHZSmokLOMjUCTORBX4t5LvtYCKOuma/IiQcyivQ0FMzc8mNaQfgpwTPLRM8x2N2MlgMGKsWlgiMcguStjWNTDixNTP39ZPlzPmhfkzAZ23cn5Lh49TLZA0hLSnNthqs7tGNZWWjvNzudBbUiILkrz5pJ5T4LBlyElJNARPYpHHX0fxIfiT4GiAYFGQkJwNNtWvJ5VMYJPc0+CIFCGW7f3FNfMUqG90WZrm1pWL/mG2PhbMAFqCE0wIr4G/vnhkDMn9Y1h7XYqmfi+cvv+t+u0gu3B5yts/AdqFVWttjvu8kBRJJdd7wThqAiMLuCBjjrKrXU+cn9PhkVDGcuvf0o7IMuHzijYF8dw9RemZxjIw83EhJ0knMMMBFt3ZbMPpNjbNZHn3j8ykUtBX4pRwcreeIFyzsc/QVN/gA/TBSbo7iECgLZE4Zw1FCDZGc1yQw47B+JWUP5JuDN4qQ3eiQpFvDrgqGklZLbeBfgFDoSRHm1rAwbXt+CQSlXqi09XocDvG+JWsO94RfW5I/axGNsEktFp9lY8/dYkovZoWNirdkeuKRmrkD1lqwztDvpAwupoE7zRjEl/hfg235IXQX06d8twADyJTxpJw27NX2zwq32AtToYC8p8tyoYZF19y+wldfl64CBEFM7o4IW4/+CViKuuwvJ1DnErOzYufSEfz+MzKaifI2x7ktXzUuIo5jA93I5vuVGkfAEZN9ZMiSiX4zzA+MWczLi3EryqQN8Jz/GG/MLUcJxyg8NdOV55QurHvaLhFrCa1+/NAwBh14rETGG1U02ynHybyO18PNDMvjA5MCZLMQHn2K3sdea+VDCP2kAK1fuR0/Ma7R4LJLjeHv0XxCCM1rKckxaL0u+Qn7S5RI+GhHu+JCYm7GYNn6dCLeq8YjV0UxQ9JWzvn1SXwiPN+O59U87eDY6Sg0Fc580g0a4LoGyXd6JDcgLsvWWo5yVuOX4QT4U5BzMwPkfM3fe0olZWKFPNujPz3hW681c+akvYbxq5HilswS2pxz5HnF6+fCWvzMejif8A3kvzWzCCrqrsZ9TX5anRy/NMGzsODktxqCAUImmeOCGYm9I1hb1q5Ssj+z/BVt093fG12FnbDHCGfVCwfdXw9C55PxoLwzEvTZDZRYivW4opLMXet1PNtvNl950EklHDSrmWZRHs6ZLFUReKxwNRAzief0z38WUIkTW+WswFFcFnUOo0V2THdTptcpaPitgHjwcWzKXtsZj2K76OwUHDy1R7Tz6BBjvZAegQbQkkdkNswz7fNFy+G2NUamO4mZ7v5+pgVHcfPvjFRctFGBkI3qdBabw9GtCO0kST4xHpvCif6pNxLZrzU3ECNcqX7qTu69MXDqeDzdD2OWLOM7mAOM8gBNoTv5AfjFISgaOaHEliDDPszrIr3jwDpXNSQCFtr1ZPav4Sb+n6z5ONOlTJ/swpqc6nrwgUPTYhgwKeD1GdphytzkTNOunroVoWsCZS5O+/ZKJ4jFy6e/gCRELHh4VW8GXVCbw5DTRgXlL/24oY17AqGRXQ5hJPO08rtGjhvezcxNNNCKFV1ZtmCb61LPBJnjVl3R9jzkeuhSPsi5TwKyMVrhpwCfVxYs9Swk0qiKApBVDwknBkSWEPIkRCe6r6daOnviZl/mTWkbQBpEkeaKV/uwPL9b+oB4xHOxKg/GDLn1gCesoi2JzSK8KtvJwiZdwmrIW6zT2LG1d6Tq0u+iJb39x/BW8UbCXM8QspbkAp8W/XS7ZVYDhGILuOUkUaRF/xK5xC+6397lFyNQMj2lEAQe5+fopL6zW0eOH0OmQfmOU4LxMj2I0OZmbwA5h8Oy0euUQjZ53onGmPg1uHr9aORM6OshNtwni2kjOgUkcmbT6bMAxd6gHnu1hUVWz2cM9tSRQCbXB7mzX0N8R/ZCQs+tEACSQ/EoBf885Pd5UHR97r0yw88Y3tuq6tfNDONP6m//pD8ytquzI5JBAERiedHUzvmde/zELa3Dq9e0KH8pjmCVd1NdqyBATMPnUMG7h+iNl0Oj05Zk5Ei8J5Y+AfDWEJKxoXTvnpb7WoHFmbmK6dqu/V87vBIDfXpdEk3aEYrMTU0U8YJpm7LGRZkznYgIj5KXK2Ou8+H673+jRB8x2xaxmih4NaacsIa7HBK1tHyhP/ruIL4I6reWirjq0+vi+9/i3GfqdCfpQ+0Hyi+9K5JZYCTQekNDBvnfbwfcLblTAqnW24M59PYd1GrgkmyLZodq9YQcdnI4jQtbid1/ht5wQDIjZm6AqoN2WYoBAKOwbtL9u6zXA7eJMB94BfnCF4ofh3Ozy8sl5gmgPR/m+YhLgxTlQ+ekbnHhv+ffJoh5Mb6ZcYe3nmJeyPT7FBRYNjr9+Q8fruVpC8Bx1OVLrBaqnk1AzFR19YUZaxR/xzLc+l9Z4MaySYH7YocYDBzwO49VedPJenw8YPMP+kC12rffbYsBiVzKt1JOvSQimV9zuN2VrdaXeEfrFLBj/vwmekrVUocWgYDbMcSl//iXwpI/0k3nh2GqurNkJejQYYsK7v899NoP/ynpBx3Fz8JJpV00r4TgA4aULSD/4XOQLONOjJe2dZ1MrdNpqSmCiy7sI3JT3XkpnFAMNOhX0qwJPmn7o/xsuzrlt1YB8wOoeA5FeB70L6LeVn2ZEnIHfpJ8lsqW1C8qvekHWGL5+Q8PioFb+kufVJ36/YzAzTUPwgEipxmK9/e61QCURrLOeg21hOfr2AFskIRlHclQR6Y6gdTbetA8AKTdZ+/zz0cQ5JEDn96E1rySVzIWaMW0ManLAkAros6eJ37hXD/hwLNVDY324eWGIZQOl9BxSAACoMXhmMIzPtcrNXsDAQ93qpUTFDcbxImyEuOh0APq2UEKoKWxw08H4G4Tp9x4nRwjAJAv9mSXOKLgHZVWgRtjMAqUlESOFZz5dp1jHtrySA7Ys9IQxNHGlqTu2f4dCud8HfJ19EEMnVAdozyk/pSqZhSLJTjmLe+T8NIBBsg1yanuVvXs60Bfq/RMgRNMOB8ot3Hg18ySa+I4y31GtOFTsFl6ADa8EBHzhrNdQnzMSAqRXcTR1PB/duyaIijmS58qhQTeR7EX01NTa5Hdh+ey3Plw3Rce64JBUDnxEUWR6wf8vLs1347nmo0ewjPleGikGuY12M8Mh7nKoKrIg5yy4ceqAXqFkjt/KtAilLRh570rNoLr5E4JQoRiX5IpSSMMHKLTRLhEn+D0yYss188jZp/o4DgYDO1T7lX+7nLfheahl7isOCct7mJxPx+2ziVD3SYsz1a6Sz9wMVZSOE7209/t2QeIVxUwrOX0Q9RD618UvcO5wyDLF8/LIlNPNcXwDNL26pbzE4ME2474HyFqYBLew16S/maWTGU9WSsDNr20WWpCW+MgwfUptemDr0w0yXsZD8D/HE+d8zTAloSl9jnGURx2eWGB7bNU9aaub3OODCo7vj4qUihAt7VpyRCSzRfi7x3hpANAGWRbnjLvit+Y7GFrua5lmWLkkjMSY4xJTP1R86jUHeIIbvTH4NhgN7NtOc45uuqDtUaU7LXGRVKk2JITWccNSngN7ubO0NJ+5jIqzd0tTEjN1Oo4xpZjTgksZzuyOS/WqiiMnM5Xq48/6pzZyyK4k3HIw1z22stNYB1CDKfxUHBv6R+mo7IEk3ZHGaRwY7zbPPL9eHO8aSUo5nVUZPLFDzZd5CaHweDoFxX5DWI4nWB+CpE826EI1Z+jFWiCkOy5M93KEBgsOlFI+1x3jy84UyH/XqE1jcQO6Ni3IuvtRqJlwskFMlwdWlDYXCEDLR/hZrZDbgUKQIKxpxSL4vLSrccH/BntgRtMoCy7M4pTvNKKH+BjXGFQMf1Gogr63UuPotgiRjfoB11T1TCLqreRTf5Xthlfah8jegqnRAI6of/7flc4o8sxixcrF27AoisFPP3hUth+7PADcusB9ATCyd2RJEKK4clsfydNBvYAfeRxQtVvLyROdo4pxVQkemGDJfCrkopNM1ZAt5myQh0QJvFxKzmNMPS7nEcZugqLMR2Ie3XgDPZgbMdgA7HrAN9DmPVODV8E3INRaobpUqiRTVcuAN4cwGR7E1FSVWc8gE9EtSN67G+4zEREXU/AQhPO/CcaNx06airOfs+9+xxRwE4PwJu6Nl6/9z4ZCeYXA5QsWaarBTjfiRF7m8h8WtT6JsbxLfZI8dIkSk6DW3wscMJvPE75t5Ur7EF8Kwksbd5Y+Zg49153pV8/mcLkNjV/lmE3JZCreo/WevPouTaz7Xj1QTl0rXJovuF2MdBY/MtRwy3tH6HwaheI7o5KWn7eEyV1U2R1JUJv6108OAzB1LQJxwQno99lr+i/dxhzTDM2/1VXHIr7NkMQdv/39W9I0ysGQW2Wb/YF/iTKWLJ2eLjP7BeNuvXAsqlwJL4sECW/nNG6dOWG4yLkBLF1Au3YEy/eROxInvO2qgnGJDX0+vP2O1QGMscl5OyP9gZCs/L1s7gcUfJcZnRxXusuMPKvDFaJ7Nd1H02fUg5t002Ia5TDEC8Mp/PlHa+9rYgpBeocbolgoqmOxKPjzBDhml1xI7lSpfTfk9nOh9SJGI7XeDnq0CSkNES0ZGefL5lTCYjDTHyQMUnYkBzM6Z6mqLn4aXSN35vteffqhPL5xdAJmZ1oZ9qiOu9ryJXAI5gUEUxqFue3ZXhYc36LmgdOWpUspRe21c7ukaWo9sHR3jdUoLiDRNfZELOijP2LaSqIDV0QorCgp8Fzd+EgQ/NzPb6twXKuzPTs3ya00QBi6MoMdqiSmaq54NNstiLC2Gn4rC1KrvC6KYHuhSq5QP+TYYe7kRHIGcjoE/VhDEtlAlhDGH4qwKdxg1Xeirl/b1ssgAdrVJrJi1CBx0s+sa6JnPbyaF/77lw46neSb8KWNvFsxPaCLvx3GR3LK96LdvRdep0XcuC0HGOXmnrPAdeQDsV5QoArP3Vbcz5vh0Q3dGnbqBjsKjmBrONw6QDE32x0aHTLbTgit29OQs7KOSqBpaZdnom9OY2VVs32CSiHCQOW/RiRRtNCEU0w6QCubx07ur6cczUJelzvQyfAhgMGn3vXGl6al9SiwK/0ZuKF8PFz3Dm0GNrYmZuJUaqHpxOILEchc4eTHNpCl3/BHyeEnuriq17XbftCMZA9FlQ6sPYy9iRya0VLPvgnbyLcLKs3ShaVf8ZgoD1Myz5DUWlXIpJKBXrcZXZQmqe3Mm10nwZpQr0ISfXESK8JbtM8UUcabfD1rH6b1w2C1PwAnL0iR2FnoUZmdwuOfj4rFxo5DPm9TQWKQlQle0xRx4ge6cRgD2tnln8PdgWYupaWp4Rr4pUqH3qCEgUaqtmwqJUwk68ipigoRyX6t5UUDD87DuJyxZPgPayAC3E+SPikKLgAJtVxDHdfH+6wwnyGzOmOgf3xkjlRlO+K/E13lxW5iDdvRwxmGHSwYye1tPCh3VaQr41MeF+4olp8WViBclwq82tXrwlXnz558AjhCSlg+yfZU2yrPSfsgRotIHyCPtJYZsZXxmlqW8gn5t6ISWKPuDo2HkZA/SGv6vZavJ4grnMj0u05DHoKripR+Cfr8VLISste6xj1+aQiZjnMCb16qhGLhDXtHH6deW5UAhjzkHRyx3ygtRZN6II05badY6wIeZ97vqWUrgnq5NzE/P0I1yKD+u80cc7hmC6NNzxcCKet3JiKIIJhu6Q8IrBCcxLj/hYBHSEDQ9/x7dZF7b8QbhVsluLmZafL6bHqUmaLEa3M22k1DTdarlwItc/teMTJBQkbg9sMAtEBFiydlgJCS+aVjcorH6UYFFI2uz8qS++xJiJSDq3kdw3slbwTfV8opHbC8gMeycTE7gUdICNl3JAybGMy7Gin/EfyOBLH+1ODAkso1RVwYGMOMHUt4naqR+vfnbPzIKohuYcv7gDYQMJ8BU7aIrTvrbPecK6iDUJV1QgASYSGzv1DTUv3NhNCl8Izi0eGnCYxfW3+Lb6qCpDzBcGPCotdvFSgHQ8MAOwkJTL0uYcJCAjDA4aGcE1ESbKabChSl+uXNNf6Y6k7R7UaRstUJSA913SYqlWE+Y5ghBPqtMfND7xPtJzR3SzUEWxjOglx3UhKpBMYYQ8ON5wil3O57EqTXXFTZHiMk8cxjgLBYwRWAT0yYO/MEkydiMmHGpOyHtOTsZSJdpcgxtUzCqXqfuihRXt35DZWwmbW9asKtuHcmiDiNL27s5xh4nuDHBcf9DqdKLGPP+N2sA7pDmK1sQNy/DNjFTlOL+7bOG7I43YwZf82IDVqlasI555tXekJnRDkVgxDDB5UIPAZtzX/LyU+uEws900Y+BJC+N1EFHl/26G7qmq/uBh8bDANV4bx3c7BuVKyR5ZY8q8I0ndOUb4q9T9yy+q5UaDFxMojh126oHLecTbmaSvE9vT+JNhgOEb/2+Wa5SB7N/XYqZBFJeh5j/GCE+fT/frkbHW7xXJIM9FSYZAF+1nSTG1lEpd4A6QAldE7hCqXJtnjYybLnxlPrTNf/cmE5Zn9NyI2Nta/01ji5q8lDPf1PMNWna5MbQaKtpISfIYVDNybmddKJL6yB7FNiau2FiLF3fcT/iGg3hQrB7cwkesd/U7ourwGJBv+k9QZsKdx/ebE/y9UWG72byI5NfD4OjtkRM0ZVpfbmn0rxa0kcH0mw1Bu5MxyxOcYeJ7g6Dr3o8euOAXqIKW3Rcd74LfWtXJoepuChe8R23DQ8fwgpRyZLrHiPYLBTn3HDs7c8OP+ZqAHurSkla5F6qdv4ftLVdgjNwi7BkX2Qnc2ReESyWI/ZUWZt505Dcd9MO+TyxnKe6UQ6CtRfMY4lfnrPJ8NfO+I1CP+SwcRzePBa1VbAteVQFISGi0/H3Y0asXM9niQlLnRNPi+MIBn5xz74pg7i26fBLqgPnsmwnMr7duQwljoPlsm40vnHTpNQL4KYpUGZ+Xd/zJ6GSUa4kzD8UqmVO9tF1W8JW2Oel7O48spCk7rB9efYb1dl57W/puxO4fWRRn83WH1DfF7B9TaaqEjrp1E7f22Td2sXGf95F1WiLH5HNS481ZwjqMBzmLZ2kz7Hqs7oId0jD48LZua0iMQARYKAsJEOMT0Wvv+nWapRe+g87hW0DvutqQeZSY/ZfUSRuB6fn/R7jvQt4eUxCj5YMNdL3p7poVbIfvLwXb9vGBtqMjX1hKdB38AP8CVDyXVjfNxzQ9XwAO3UlCN2Ond9+LN8dN8PjxsTueN//Gu+cAQv1iyqNPm8NH5WLez8s0rqHy7qhicFtoUU4cUEJt3bp/EHLJb+z43Cihf/HawC1A0LrQ/lVoSdKDqdENo5Qpw0f3TltTDIoeaO61/E5Y/AXzbp0k90/66IdHuUozpTKQ89cKxRPF/Us8tvknlNeXY/xIAGGCgZguFs6vLOzJCW53umH0EC50IMWVk13R6JT4KtW0lLiVLCXqm2nHuz+lW+KPp1J8g03tO3PFNFgBv/rBJ4jkDxHy/EecMlEcKKF6ceim8hy23T5o7RokJ7H3ZR3QhBwgN1q3Fnl6z4Tivd/drnZk8UbwmM0eIqdAxw1VdrBHKZV44cTHWJYw5sKGq5Llc4h69S02R/T5cItp4ql+J3nsp7V8qhGVFqBKd9KKsqS7Kva6uqObdIc3OhsEMymqmTTEz5UvKC9V3gD1ZZP5aaemO+704m899hWK5e1apoGHet5c4V8/mWuPc3yEgs6LN4YviYUBonFTqFb585wcMj/etV0WhHxX4MEkWuwlpC2c4UsSPtcp2AtFSQv+Xcyv+ZLNbXd/G9siXO95Xj5CqdWUgUdsk/roCnScy3EVJc3iWw+CFQt51S7FRJEaKnbkCkdr5R0pfqBdDMrF0ZD0m0YS1ESs1Cgf5ewPFkze1wB7j8Pwu1h/cD3k0rpukHmivEkSZuc/o8dfZPM2DBP0wTXg0q5hm/ImgTNiyk0uoeflocuJvI+sc4duuoAyz8aH9u7IAWEqnTtS9kwzXxeyRQoDk4cki7BgljFK/TKYfX2kHfZMziRS6y8SCA1tPVxNciPihWttpwYex1AgfS09swIsze79KiLsyfrGHU5QoTUlVVhJXC80c6ECOBrPC7Kgf8zhyshjERwheXv29B10mgNufjJHCMnwxbYQxDRwdajA5QgJM9hKjaKG4fy0kyhOLpSPjhpMsyHbVZDb+3uVmQtEOXLqjk8RF6O3RnhRmfkC74wLw3AXsODqcK3pwXxO1A/3aDRYoqKIeAHY6WFkNrVBNfg4ms3i37z5IBYuCCs7fB0h2vhrvlZnjztiJiKQAALJ7CN2ZyiPzPq/l4RK0STQ4v45ILATxtzyKT7upWlHF4I5TZOxviJBqR1CuFcnKSevzuZ1a1YvCFmalBmsJCtSqJej6dzK1tR3JBWibk+Zen06wb3Qbl/wasEuVd0RarrUizrXFwfV39wmqJdh+Meu5RkZRlDtKZ7OTMXoQpy5uI4gNzl7xs0ANuhOWsg0M55ck/IzyebxspWRZ19i0NmjCTF8xSUvNPSqtuThQVTfYRb8jPC2Kj+ZuBzt+wkCuixEBM+giIotnawVTRCGxoCG6sJXfgYdjicWquNzStbgnwb/q9LR1YGbBAR4VHoBTTE4RPBJnGMHQh+2aeX4sNwPBlJ0u2QBKo1qmR/ISf/nglJwnb3nlfJwedj+F56Pjv5HwkK0jJxvu+8hMVSyA7uNP+iX/Qn7p0hErgZrRnsG08uhkM/z9KYOxfdfQtj4aUWzz/UlIc9HVdwGXHx0KmhTKRDS3WLvMZcte8bRbyaMZV5lvtwHdIVJorvE9kfNTzNQnwIbc9zb6kXS2gQALCO3VOFhQZo38yCHz5uMcCUShzvCti6TNYufcNUwLTSa9QNpbIAusnK7Yi8W5EToJ3sN5E6tDjbJQ+hwUz69qTXCU4WqcMRbslG+f7s+lxlqjOc+c7ObbfmJeYfAMyODYqF/cFCZA6WYPiUaNbngr2b3LdW3PlGfs88OUqZ84GRwdZia+3O7zxs0rpN2krd6CguEVOliWR1tWYMuYj7fAzJZ6w4wzTpQVt8mbijRLnn3FWT1Mp7AnEmIPmoyP4Ded2zGYBFGkiM8LFAQ6sUuWY1ae+YYDPgTnM2dJnSsxZKwToKOA5KIxJ276lfMF3n3WSRzpb0O/3rZAun71RG4dVI0e9Smk6XlM3GfsSzrAFvC2FLAo3Lm/UR1oBTWMgdROIB9rrkqcKlUB3olI0IzxZcjV1QSpaW8MsFrRXPesmxg/GGQjSf+hrHsJjiB+e7rR9GpmioUMJJuDlr6b1PpEe9mNCcFs+qaSCEE3LPtZ2NBPqAA4ONxpoENSHgnUI34bsZifUrH/lgndEdpXHvW+wZD1mT2clNkhlhBU8EtOvMqZeWrWEvLlNtbAz9hVzx0Pcu846Gm/z4AB3cEVBolLmMcTWx8X3OfGE7aeKslt/vW6ytVYaZmQrJKUsPMHCq8KxM+1M7n3t3D9v0XBdqjeblWrw8IaaCaKZTlkH2TVvWEspFONWjVVlOFfKQ1B+fk/gLs6YNxF7vYyl5/euONpqSvdqlwkE+2xpIgRgZHGlzEac9YiI6H2/oeHva5eYB5zHd2eqhM2ClR4YiZ/f1d5yZT3OoXreWUjRtKbr4yF1DAUb9XdBJXaD3EEd0bXAYDkB3S1cjHonLras9KdtnTYUBHFI63DL7ja0ckfsWks1KJDItAHZHwHMfYqyDf4zqZveJbJpSwCFLulmvved2LFBScTdho82vgT8wXfeNk8duEDQhGhpuDe+pSbb6SqAYt1Yz05CpKsrZFX7eZR9GQAzQJ8JSVPfmagL2LsU+SS1SQkCSexY8IZOLixzwC8tc1BSdZ5JVSwownjDdtmhVa55x1cHMU7mmAyxtrBRBrHNqRmwdIt4B1Z0uNkYDpiiRcVEg0UCOP5lSoC+QEM518j5V0RgQTK4QJwSkKEFJVI8TYQwI9CoB1w+oC3rLc015YsOvRkCk2tJrEFFmY7DuNFThFqPKFU7S7HvPZrIz+pKqq5EbITuQFoNbDO3L3iSpcy1AXM4hyjjQUICwywagMBcTjOzXYlImZd6G8XqWkIWLzf6M1Ra6ltNpcItCYafWlkUPu8pw8qBnWxJbnn0l0t+oUEFyoMlg6N/Hy6EeIfKno7lqxW1AQB5pFHf69TwMfJW+GGgqmUKiXAKynUdhqkS+DPmJz1zlP5WR9PpMuXWYmaUfVEjE+VCbophoU/xBzPu55+WMSEaBafdAtEZ3KcH04S+HtP2hJF8BGmEe6cW+qPUMk467huRDX0lZHa2hHqTQfF05rflBERLZFKHKD7V0Kukd3zTvfdJTsKDNj1jc/diHzu1EfYKypV/wZqJRam6MLdb2WmD2iY8L3xfEsoBJM9Noz/9MnisCYXRCkr05QFnffGZ0Z73rP+BGKN9kgSh2618tmylVDgmdmAkXkopt6AiyIf7E3qlBbokW7Iygb9Egj6x/b5TgbHXDyFntrPUKuJ/UKqloezGz1Zr5IUXpTwK0EUWIAdJAZq/yDUDyN3rj0dmG/oVI0E5E+nQarE5l4w52RPNfkz3iqvnT770H3exk/0oPPe6E+a/mdt0q1nZ9wqdjblESSB6aLEF513Ew9Dx2fI+y7i9bmbibqc14WnJIX6F//utDeqmEJ4q8ULwim1Pn4NjOqRsBUuD3DJwR+4GfpCxb9/k16a62AQJMOYeQe1StotQrKUGN/0NAxxVnzxfFfN1EGsFW4eRIjAyjEZ7Ffu0BPmBxPefGgAscHpavbOJrFQ2pKkFcGimjX+CGGqywtxJz/vy3fbq9x2ICmSGZDF74JQgb0MtCZ4Xwum4hUO8+pzHqNKBXRwClrsqVp44E7TJcI2yFTWWbeuz6ySYqed4O71O2wpiC+daltmFcePdIi1aYymKMo75LXAl6VDdYNKbUBHaDwrp9dsdtOvJl1G+K1UVV8nGItuBT4qTDMDEeLbxAsWI/1KSwGIrxVzHbNChcjBWzPqaO4iQgKm/yfH9JOESMG5x+O3Dz/xZ7WDm64m/7LGhBoYoAzwZFNhp99d2hD992rk5ab/Zad9PxeG1YrF+G5df4QtXb+w8zHktACEDptNiPyGxM1kPcSNoNPDf4qQwfUTUDmPopKYh8qXnHqFyzn0nGVMXdT162rglEHqdQTURA2wE+s9U19fK/VR+e7ANQipUzPRfi52GAkyqcjdb1pt2L+qi3ovC9hI6gq9k+IG4Vgd00weibljxqC5WfVbGijv/Sf7mN9tR4qRm2vruejnMsz6C2/09V5CosqBuiMqhPjA3EO6hHop1yHBXfF6wEygAMlzUVoBqWVjHygLQEXG+AuAjjhB3jo9qQI8nUCcANUe9nVsT5KaGe5+BKq5aOFPcoOkdC3oNY+dKk7u5pMxL1UdO73nEWyExlpGm4vh8RBwm3C19rbCDFQYol+AGsV3XzkQW3aaTvbhO9AQ2ckuS8c+GJLctmypPzUslBqQL7rZLwftnHKSRsaDdDUbdw6ZoKQSRtU4L+Li1fhqwD0B0R5xQAhcmqlPaoM9Ss9lc4HwpuiMJJq9+8AGIiMhyi9lcDUXmFqAP/KALHCHx77QU4RBSNLNRJgMk3MKSyywq9xhHvJKM9Cs+C0jG9xY51gGvnGl1kN/+lcS7mHD7pM+kZqd4Tld9x4qyyJfmKH+vGIa58TVvq+QccDkPKQ6GJCvs+A+bYY9cLZebIlGtzQJWMcFvC6TAle2pthzXBNwkI4KDEJD3n7hEIzxlWJl8ugSQjfNh7qFQ4Ht01DFp5saWNmXU1PUhdJCqzvwO0cLlxByP0QGlpIo8zHiSP4I9yaCrRlggiNCjLuad7cnQ+w48fp2VN0+FUbBYkVGn0QCWFZ7rBQ94qc9a1pAT//RR9LWwlJZMoXi+cgEPjYe3aNAFZ9iHr868gVzp6uWDxFlAqeDiXinDDX6ttMPVMOswmSzeYQiCPh3MkdTxNs7cZV4IcS5fQCQrM+Nhq2xvX8qgf/GUmUcUYG7SKFpPn31shIhhre60W0oZ8jIvwxSUxNzsQlDp29Q7GZmYuY8a3fWDU+uLi9YIauiEkdOCyMMM88nPj0WfsOgRzk3/RpLda5vlTWU0V83E+F9F51MDqpsBQp6qxkeyflydgnHPUyxC7AH881/dAKTEr6pO1G/pGqSq3lDyyzgR2SfjJCabauNE6+5MGbhTyN1coqSmem6x0QIUHwZQaWnKZO8a8AIb5exd+2NrrHStaJRC9u37TtTXOIozQa251BfpYaN0oFTG16E6F6XhPGTOmKbl1/msjXpQnvMiqfZD60xOWQsvwD4E3Kt393xMrPerFRlG3jdngRxhNC8bbBBuTa37cByeLtwTOPCcEWtA8kFIy9EZHiuSKzqDo8LSR2OB+ZNLlcTAi6Q8poANO9w2p9pXF810PnHXkfHHA3tonb1rOaCm5cRm7F0F2cpGZcQlWH4V0wCgI5n84ClieyjP5pOpTJfrKR7WTCvP5d4QJTcw7AU1E/3anG9jgoiPwDrsHh7ehM7nNiFs/gkBh2NZCrSV1CxYFK09rTd6OAAalJskR33zKoVL/C1zdgC/kEhtMKU+G5WRYf8vXC3qoNHF0H2hhlFY0aqKnx3BZ1BQR/ct/m4Lt1lqIHcp3hJvGb3NTf0l90aR2d+vRebC1cLcpW6jqUMbxGbxBfQ98Uk3BRKC+TNmT6TkOD1bOcsxtbmIsj/BYVx8IpBtMu36pGrYMtoDv90j/hEG5mbt1JwVvlkhqBcktgyMEWLaHkOMVqjlYltKcr9lBBCXwxL3uT/62qJOGyG5SIBQYZTuxYK3ygIeE0a1NQlMdFbyzRuI1IPqhd48pkznS8AC53zTW/2cramHacEjcYf8mfFW/yghxulR87jXyCdJcBCYFuKHZ95F+78OB87Hlykhv6BFG8409iIe9/+eXySgTAtu46OEnB3V8gV4okHrYEFUWERitFeKdbGPVFoVeXA6QdtPhec6RgEEtjdLQmtBkK7GR75Gu6ranZD1zEY5uH8VipO/eUo6EALW9nv69bl3Ke44keiCXG7wb93SXUARy7r4SmPl+8JfMqDlEtNG6lah24zW9NyTh3X3j2Rx2rlrHrb+uS7yfu2AbQEi8Hwn2eKWBYzFImiO2J2q7MnVbO0mMLXD6qpBw1P06cnZauJPWxvcJS0k1BrcrmfYG1wKt33IvP86RukiFETHagfVyzBfc+3TzjuJsI5dNOaoMfibGeAaALLB+2ziKmaQCuGaPhA0aluEOhZAcrvj+1WWLE6UqEhebvOMX8I+QsGh4rP3FbO0VROF/B2tqm2ixscOYegyfdcCUK1LY7s6EmWAVd3k2nThQMtwmB8raE1x2Umg/CZ44Ja4doRYUWJlIGH52thkVsqhE4E1dzYB5DJV+BJoXi0nY12pmAgUvADDwu27wf6Vdj2SKZy1Mx3SEsTeAvc8PaTZ2YhFVv0PlhrptAl3FcUXIXNFnb2M71uo9o4tuy45wVhpqTd2+LQOdJjNUyvLQ8o22B1PNeLwzJjC1q4P1NRlWnl4DeaYdyw9I65c5+fGY+XEStEGQE/pnFdDnTK8nrJAwixfx232rrQ39LkW3mYtC+hZr9F7ftBVmRfgz4ZlVPnLA1wRs7MEJ926CAPnCm4PrpVib9EBsdQOhI7Y5eo7H82i/IdqFDxpbo7A/5TGYQ0roKktEpfRehizQFoZi51N4T0aj/LIlK/r7NR8MDN2ezuwg4gM4lu3OgHZEsMHoV0CQpRRZedMgxO9Oyymd1cQWMCHuUthvhcCFseaWaRysD9h68A+ftV8FJBQ6kPjIGIq0gkS7tEJul50sxk6mnQCAgfdTn8aaiLy2ubL9hOtoVGIQa1RQbXynN6Su9oJu4a973dd8DzetqUABhUkcv4+sp4PdAe3HSbKPhjiaZcCbxV/3xGzsOzLPEUhAQuOFEeyGuDyeJiNGneQgmb2DaChZQisYbuibJ0SHVvQL389iYUL97FlEjiegEVcFrs1NZiUJp96n/udqe8tgXKv4fHu9AGhUHAiNPJRebUJZySy7cu4WTSR4hsLGA1LLZMlCUZCPQtmH7cwP2h+6L4AsUdXLhtTK3LPxqcXzBwdaKute66o72fIg9qvE9Xa0TODYLB7mac7ad4c6WbpyCRoocG8nGbA8PqjP12mpFe1MKa9/cdCpZ6z4iUy6SLqWOlqkWF/dfJ/24/PB3QgKmvIpNKTAEwQKgkAAjvtOO/xrHiIaNwNJ9YbJy2D0lkyAtxNi75jfqaFRWSjaIwmDtG3XKU/bg8f7MhpQ7z6isfUsTtz9ijp7QRcDXa2kHQvqMK5hKUZrckkAQkYLZ2yOQw/B/Trh5Ld1Lpo12O0oAdPhgyM3YNG7I/MPuVIXzWgIetey587Ms/0SXRmrxxPnhLt2U93r+Mba+mFQreFk+/30bBMCYoCjHfuUbr8mpHFSc0k+jLR01PSIxhJsRYNjickLsD3hPpadqpibSpTKkDITwLy2iBIkHG10HysLXO49hzcjrUp1BzlivauRVHCIKgzlVoYPc2pmIKRhKEVnHLuzEZsExBD8gs9DLEaY2sWFAQ1205vZ4pBOY6AkCD9UiANxQb0Fclb0w2jUkP2f/56c1fUiE5wkmJfCYqP2koXCePoq+Q9gezJk6/z/3R/rY7TttJdclaXLFM4aNyc87PSWfXyjjKFAFy6fdcbJ6Uk9VbB5qoaJSnDX7kpVo5vbdIw/oRJJnHPGUGHcXzjdzcP1Q81VXJoxpzkREU2flbmMGOrYgp+iKecvGNkiLSs/dRN7tBrf38XcJTOkG+qrrQ0h7yH77n5S1X6HEtPNOyFSKcaVa/KStEjkVDIs5qc+BBbcpNOVJ23FnoVkw28iQJpSdntr/Ya7G2w8uKgptTX+uGsU2+2uAvuVwKmyorDHqu0qjTwJ9WlZx1dG/pNsPkmtJCXdS80N+pNV0OqUaINYxoiGnNamXtHJ0vVxP39xniUxdWhJEZ9EFoFXiepxRla50Vtq4+mdt9M39qXQV8/L+dGiuWLKYoX+Qjan/OuPj/sU1llKvjhlT58v6wtJSXFjm537Hq1SqYbYW38ygVkMsJKXG15d7V59XvJuBvCvWbxpwjCtcsTAy1rKjtkoTK9KoHNLBgRD4Rgusd9UkUQ7DirUl9qac058sKwPsv/cY41w0xxeeV0jkONgVDjbTTU/QErbmrLsdwlFak4g9c0rZXldxt+hXUPwEeiCbVSgkwOzff+fPanOcjGGhZUGXwmkaCn6LstQQjRpio0HFiVFgvXWMl5rEL36TuQi3k+Tm9OobJvS4xA7K55FEqCzVP7iFe4egasdqxGqVT7mAV5IEeln71rMyrpX1vAsZn3uR7B1LjL7HshI7ILh3VaQK+fRdktHovQMGj5xDwDaBPj4bszhb6MRvqqfhop/ogwJlti1GjtReErbtznY9bH/1d7uiQ49suTqnWCHwFBo0buJuv8E3Zwym7WAXjOcJZcdP6whl5y2vW86g2aUWV0dj/EZezmwcvjE2f+FQBWFIkzZs2rEKrn7LV6jyCCaIcH4gWEgwo5QsOoEl09xlTW/VRTAmkhJq/dzVDOPpAPHX7qTUoYVAWjBbZIYDE8sh3PoM6nYiwFwRuC+BzmQjjP4AGQe6MRvBnlrZhsNb+2Yon/RGdCcxOOSzc2dGh84c8Xlr7HDnFAJO9zA/BqMWUqhcqfsWBbff5aPLQxOYlVWuvZLiZ28kLTT635t7jtiViuknmjvYlItjK+flaJ1iX1e6qh0d2v4qsrcyGXjacx6dHAUmVqYnnU9ZmDwu9A8sTuxR0+FGU3SWqSRE4ugyylwGsk3WeIsKhcuYGUIcVoVxR/HBe7swa6cCd8VsfsX4NrMAm9A74Vd8Bcxknoo5e3xhknHrL4zScq+PNWemI1wEMUl29D9Q33bb4ieY71/75llXo665lmyEM/JVh0JbG6+ZBHEILJ/+0phq0JWZg4cXmdFMHOeuxnssV7QQ8HjAhdSEsO/H3B3U52viWt+s3rrPO/3lQHAe8h7TsOwHzyC8xc31r4hue8YBYzxw0eYxi2kmR11SZMELcP54DDoANOH3rwxRTfcpjKUSIjx3+HwmXQOLaYUfMR2qf/h4h+7gntVb38URDwysm05F1t6ayRab1rlpErKrefsHp4XHzGVOKyXFrHCLnfB/mp7BHkvuFlHlCxYys+PyhtUTiKsH3zUm88Pqe9+sSsJI84l1dZ8qKvXNBSWlipjOekwYxx+HF+naulFxwH9IvHF6m5+L+PILQbUrqWxdq+AHkBrw9YsoXZdxEHR+nSMehVGOll/Er7PC/u+GANqGff0kbiWxy8gH1Fprh2cYa+Sis58i2K/NLZCa5gffKAX4iGqyEXR8hlRXbnDMm/SzzhK56+RjVW0AxsqT5jFUinykrOvblkDqwK7u9iR55/JaTVtYM98Uqg6enZY8AcCy4qps5BI8LosRnTt8GoiAU5MRQAUQDgc+dOlm/Ec5xMSbeMxc4tCWRTnr0dtEG+43LpdMnJZpyGrwtoM/czIKnLrlxtA3kBoOq1Vn3PW6xzxgqdylc4lBYFOjYW2mcVphFieZKF8wmSwAo7sxVSqrTePRQzTX/WgFCKPrxS58eYc72Fcg0uvDXQ7w3HVZIduaAcdGrnWobgRbU5cRzNoXrw5mWoJz2gb9u8nAnI8haCKIF6oQYicfEc+P2NLCcRIavGXWg/G8V9lAuaegShi9Zgd/Y6KnSsDu10dkbxmPC5d30HEcQrv8/YXjbzN27vTj/166M2m2+yQAcAJEQq43YK7oMh5RBPo9mXK/CvFF/8rkibjMZvo+ToP7m3G/czIqtkCR95GgeL2O1pABPcPm2dhzni/vf5baCgR9ruZ7eJsfIBrj3QPzuxuKRQ4hqOEaLPZKpXKD193FUTBlUyOPvreX9W+KSdOTutdcFGHevGPjyJyo5uUx7LUMUaPhC1OXfWOkCTApD2RbWbZ0O2bOyM/W6kkhYswb2fzgTH+D74ZuxEQg2FruC7qA3gf16zGrQFNLhXs7mbm82Si2+Ob+yISuxjh1UvwcrKtf5WGqueEf2Dee53Otp9Sf8BC/wSwkL079GBa5PwivNxpYxgOBWZDfX/nGompcS63sQQas34hyPL6A95ClT4pyBOq0yGJXsZo0vnqqAJ7xQn77d91D1mMYa9T5s7f4GTv3HSJwkGDMehyiSVo9yuIpiHC9unCQ3mOwP+RnKwdsrd2KCSddKg6bNnAm1GSm2yBTNBR/oFhiPSiHEugyX/eW2oyKpwGIRlLPpK4rShAGdbj8OW9tFjM2Q4M8h9qS4gJWcubXMaK6jBAWflrU4gZPo4hKy1vyYOtL0JuVtwknb3oftjK9rfItWckAdSaTfm0Ug/7U4mb5TT5MIZVKdCWtNTLjzzDzii6wD0WFZr2lzGTx5QBL3bZKwramOuQDviBuXTyYN9QRYLtdALdSlIac85NEdNHsFjRt+ce6LT94RIMc7pv7IbM7CmUefnxp3ZMtBnO3i2ZaakuVR33O6hiaTcpE6U5dYELw6+uoVjD39LfsUzMlOhdlrGBiM2Sxs3IgT0KvrWDcpV9rZmxxX0BPovQLeWfhPgyy1I3v8PR0nd5THLw+B4ABGvngTMlhT+Kv+5J0wwIDvolS9Ej9CRo5lhYXeEX1n/UDblltSuFJ4N6zMb8fI5w5hfIV3K/W8jQPuAPS3TK8J94hI9SkCphheMvO2NWPYdoMXeoZ6OD5hqUVVyQYBAezU7yNETSoouzmlTAJIgp4mKWKGBIoyeLGNd6onE1cFhaC/hpM/7GMtApm1759tzvMN7sQrO7rboCuDiY8WmvdvClmm7Vx/2QX25DZrKji+Et33WMrJXzD5xHO8GHAfGwpUVLAf4Qk96l+whdL7zOgOxxcr6tqmi0H26DmMLdccOSnpiR0S35qvRC98mnAkFNghioERjB1cIg/IQIgLOdqG1XlLUil/mG9UOgOuTuNWcuFEphldDQtE5fIIYee7NSnIMeNTYafVSf8Ro5+PxBcuZ7/oBgRgQp4kV54F6WYzFjg84pQX7bK9XDDtzHQs7dpskv5dMS/1mzDSd0w0zi/5ER/Wz9ILDWgmRAZigID7oWB+Q4j0CaajGc9/4bcD/NvxtGLz+ZkEU76KVv3sT22jGte33oQ57Qa0GOEwrIx0q/E2ScysWsgXuxReBPC0nVBmxBTTJFsvhXjmE/apZfuzqx7ntXOi73oAsSiCZZbhMWQEsRobKzFHMO8oMgkw/JSeTJ333KhD4CPGYiOdKkHdRTF/awpemluWAkpowcyw/5bWVsbKK1JYVV9+IjapvMq0X1NMqqwCWZkpJdZNd1DGy2QwV8KHruUosbOpcW3TQq5635S21wv3B8AqZTYfQ+meY/rLCdx7cEU3mitBvyPqUSquOyqgIbP7L7Luh2HLZFROuCny+jxG0yeIJRxW5m8tyUEEK/WceI9wSvPx0gYpypmxtyk87kJrFRGO6j4iWM81T5KuP8PYhqf9ehhBafpFrtXu1G6bpbmdJ5LJ9ieo27Z3MxSfHnPK8/c1rV5Efql/Voumt7qV5IEXPfycpcOzDSCtT6W1qYWx1S8FC8Guapl78KhAfwMwcS6C30yFeJ5Ac8sqbdZeyne1kFuV1Ht7o8b5oCj+LwVgY2S7v8ar+T5GWt4blXACQxu+r2WQBkyiN74IQBO9DtAk9N9GKicGRyNyTtdyTMqYqQ5uTaS9LUek7w01Ldj7vOHUzSltxz8GkyIEU1R/d3lZIBxYZ9c9M/UXlLLoFu5wyD7L0O+Pi3+3UDHv7JFb+DItV/fuWHQFmtmDApcazmRw64J6QZzsp4tT12zPIEbD2RcQfrQyZJGXlqYE5mtMUuL6Zu/SsHKUqok00KMIJAmk8XoR5DPqpGypnk6rFFECLNsIIdpaiD92Xc+fzN09Llt9JPJnmxQ1njuRYVaq4LF9I/dAImOtvs70Pa/4ur0w4IwOnNfVr0Pph/TjE+xDXpbBY8IXl6KyupzrJ9zT0mUducJQ3Gcxez332rmHh2HJKMJkwCvJvTWa0FoMc6kSE4ey1iIEKmFcK3y5BqAFxBDpZ2Lfqj6xzY/jm9jIWztgMEsziX99FIlw/LC1MhUNROGKAXaS/0hFBa9g4iaeCmjctVUUCVo2sVTRRtoEHZrqI6NidTbmog+jHguOBbZpJzqezK+JhukmWQ2R/9/zjS0MAVcGf4Hb6y0gUTIgkVQIh1nwNK0yEzwMtO2REmfMZbRDYf3ohM177CpC8n/58DmPu1p4UJPd3i/8PnKJcaBOqKNzXn5I7hx4isB6+9URRCos8xP+E4+TyXFpt5QJosXTxReYnw7GTboN0rlW6K2u7sDm03BxKLJ9KIdSYFpwHlQgUiN5OW/KCOKStNT4Q+Qdj2xsWnOF07K0Xug4BM4zblAy8bTbqlbBjNFzWwwiUA8oIbPx/56Z5Tp/OvP1q5e02kkqy/D11M0grBx1lWMKiRuoMSGr4kh3QvPkkmNeb7IAFSxp0vci3c/fBhTUemg+hN0WILR3BJFEYcqmB1QwyX21C8Tn6UDil8skhX6+ouhyGL4y+Qx92q2xDTSXWg1eufZVbRpuZahDAAAWq+4ZzJbdVBTSGHsxsGKLAUuENCAn1ej7xDGVAWp2grqlXsnIy8/P8ebyk8k4WB6353Icd2o7IW2WwdY6qYnGv0GUrMdj9jKy7j2c9gfThx0OX/pDMFMuqwCppaTC/ZhMtZOIfOMmDotvkW5efQdcvx/QQXnd6ZmGzfLu3O24CY3JSKVUf61EOuhSbCoQyNJw7qF9jz42VclPOcvaBfB6N62IWVLnnjP81yayaZt2aOk7P0tZJp8g2IdiKwVYkKLSt4UnfyqOpozLm6xtaKDYOA+X5zGkG9dnXgZYiPmOPlarR030gnreQdnAkTd6sov166/VfRFnAVBwcgLetSG+DuNd0lwlv2WbXG68XP2mGbW0uG3uMZ19vPAu+FmVwtvO0bllUDSw/JX8m6RqfauX+9imTo2ILvtQF6FxyOulT84TwLaWUG4PKHypk2DnO0onzUyLC+w3ub+JySojMuRW3x+yxPAVGKAAWUU6jTRYyy72zw2zkz4XOVWXT3CWRu7uJ0r1oAdky0tGcqyC+ovR2TyOUKkSlcpVGzSTtmrdeYM9aHvKyHBp2Et+vGhspuVvEBjQZOnmqccgrgwG+x4gdJLfFAKqvWP4JeNx2muEMIgmvtySajNDtCo/etib/Vdw3gEVFL8mnAvEHN3jlFkkWrZi00MWTLqN8DC6WmlhEcL8J53pHlCja0R/0UCdweZczGuIQOLLzVyNF6U/j7onQjNswzWAZEuJ7R0mThH1RZhtum7wYfPnw9oesRYDERRthcaVBp1yTXt3skTXSwkrqiuLl0D3ggXsMJ0PI+VnKY4R7Bbip3MG3H1kjW3I2j6BED73ZbQJgpo9J+gVBepd4DNcmM6Z53uXRPsXiJNxnD3vaoEBTnUOegZVY9HjwhFLWzEFhQWaiX9CwLzJCLMqqEMHEGmtHevokH3URu8fpGaEc2mtJk6BzXHQIk8E/saj7aQ7PHbnLEAURwdXGxwM3ggXvvSKxjLOk5vqZbTZ5ektakJCAr+Ogha4+f1eza06UHW3u7GtAcQEaJwgXisyFbEtP9vusQ7YXeA/7wQTsC5YONXWFhon9UjoCViyYxJ7hrVzRVWwMJx9yotYtjlf/tpujs23Zw+8xNUkfFQHZGdJulFYYEtIHGBSwfYJr7Az2T7ayNfQ4m0T4H6ltAnhoMk3puAPnfFqDFVEDT26EYckb6UvGQSVbktNpYl0xiwtrOFWcvMN4f9WiMsMjOAsg1fiEqPgDxiF6ye/zW/fJNJSyAGWiqajPO2Amq1jJ3w3OpfhBRw2oUmw8cABt818rQZxOk4LAv2wxiQLD5pZ+D5tJ224ewBvSy1B8Q/KsFQ1EmXrs8QUQF7xqNOSkEeZnupAj638hz0K2hx1SOpwD8zIzPdpG8zlqpkbk+yJRTEL3cyp7HnQF8sk1dCBbCbyjAeBdLUhOm/K4KGiYSGtV24Bjybd9H0aVnfkxgdJU3PYRufSjkucjx4TI848ljCKzKrDQKxiwVZXlfeLidjptx5NLY65nIvFh2MIE8F1AZ14qFJb82XV4ZO0LYngMlpcHtEN35iYNkuEGEmR5S0wM8WuYLAN4uWOtqXgQCg3qs2QXkBlK+V7YM640LRIzTtAIYAIBEmbpVBCSDu2gTldLrtQKrF+mpP8UXukUBWA1etCmvgJJx29cZTHGo7Oy0CGrze3/akIbt/b5y1x+ooGz+8gC6519BWOEbBN0acnFR/ovUB/HzPZVbfx0+Xu8cNAoY6egInYARykuLRg93JVrM5BkzQq8S1lEE8cDy+EPzgsd/oKhnHLJtScIR+uzgzMalq1Tra98tJVvIIj2yysFYt0tOPc9bJxusAY5iaz3u4mD89o1Z/7+VP0Xjd6QUQYuiQ4e3XtJmfMAED/4q5TKab7Vhid15lx/ViA0QB6kZQH10ADJPyXZhQFZrbYJEvQJybCUWTjavg3qZr6CkylglMR4e4NiRMYmf2T4HxldX5YTUvmwTnom/9VDAW2zL7i8cnxv+yFJic7N78mRTMTPJrGLFx43qocuyPc8iPGGCuxInKpDNLpxCGr4BVjspXraZUI1DOBHm4pT5PY2WEiRefmq0s64seaLN1FITwhQC5TvI7B/9auNN9FEzZhUwwPBj7zXxVl5NWBWiLsAu3NkpUS046ixu/tIkSgZnImNFKNlDwyAScKrLAOb1Sib+OXg7zk0L3cB+/SV2tMp16pV7Y8rk67diGA05yPWkykRKCcH+CcmC69pZhHgupzkkaE2NVl637ZRSDOMkSBbBAhZQF6JekF01X6ZzsfNhQpc9J7hNuhuIxa65A3KK+zXM/2reQ5MDH8YAtUi9Amw52dk4xfXzli/vEfGBuRR7FbVmHK5z63iveZWMi2rvVoOJhSmoAoc1wtc8nQk8wcZT6FRFGNxsdecrtx1gBMlRdaJ7tYGlS1s3Kan9+n4y/wM2OgTFs3S/6zQWXZnXV7uT3Y0Jer036J0K3ZTkFAXxzpdBvxo4O8tjZzlTiQfCh9lk/5YNgQaWBTsJ8bkIAh/Supyy/POR7bf5NZaWDQrhiIi1DvU3idz5x2yLFrcp8K6MY8bKUWM6r1P4xs+kFuBiqzQwKDJC510AGiYdsgUm8l6cThv7+M6sVLNOumJ5llrX2q023A2VNEdkEsKKq/G9og6yVfj+tyBqFdLKoLElFcyP7DqAneEk484uci3zDctaOwdzn0pNpZd1cuTntcuTZxktV5sYg78Ucw0TeSIGp4Z27qdLuspjL0r6BfNAT3iunVYTF/yp4npAlIJCjKMKKBqNmR+99qZdtRwNExMM13Dw2Rc9ZKAnePirN9HshfS4s6yQgzi2FVd208aIcD7L5JQLq0qaJo+5/3/ajQ7P8WHOSexuL4u7ZUYIbDbcpkod8c+dBQI2lwqHOBHYDwAQ5puQH4gq6rTCihiXQwdoMee14dhaQfM0yCcerYQ4N047hlFqqpu5WM4zY7R+hoZDUxcBwgbU+UBEojCactYF5AzxkTxN+/Yt9gtpFnEOwLvgZlHpsvssW2kBB4Idm5ISONlhBPLfjjx7xLYPIDfarrRdYECU5hGgMAH2VGXrMOqmaTqSECPiAju1vfi4L8VgEYSJmWM++ITgmcvT7fjqoUUvbiuH+9dbK//3cFpgZNHZqm5kL2SdJ1s9pHTq8/k/2RY5HIZDhu0+Hcd3dl3qCc3sGa/UMQQ/oTblxpvJN5L++MdtbmBDlKALONTbzC3gegfwl2bWljsghxTNncrl9lZ42UqY3GP28uVTT0Axtu8+yRaYjm80u/qn8JivlZ28TvcRIKMZSVSvTZdLfvuFEm8Z6B7LFK5pZRw9iiyqOOa/VqKdAWtwMEwsERUpz9if4stZRok52gBLFRuUIXi6zjo16r3+IifsVBzrNy1p19w7OZcq1zsoAcOiyKPWMrdHGLBtCq4IrMIswHtI1ml+JBKSJbHC/TpQpwZDou595zvwx6r9n6YLnx57W+gq09OCTqyCVheu9/fKqVxCSeLFU6EzcRyD2i/U1paHBm8mUM6g4hp4++QGoZDrYKmi3yxm78aOIbg0MKlMWeH1nTVRtizYgp6USPqmth9aPgMwIGUtm21+jaWqp3cPgY8QEsGeAg4CxkxrQeID2dLZlbmEioHJNWlOUQSMrZ4Ub22g9mhWrRVe3izqLhefss4z3Eo9uzrjyrpmgUTSzheeOg9Ydu6OxElz/iFo3x+Ly46VxlMviXI0hI/WU43EpE+7MNR5c8WsYPltaLg+oywIuIIv9ZDf7NojIT5hCR2gsFv/9hAAftKnI+AF0K8G3z2lV16/pvovwKCaZB1pLLLXkyLxH+PR93ZL91izkp58qWZ8Ude3Hw+XnXbM3Pdz0nU9g/dsrpmFT5mcirtLdSU5P5jwyNDK3bfBLZWk5Bl8HI2Yq2E0/sMN7wBImZ7FycoFKvMG13iV6Aw2m2V0PnxGuXDjfRRmTcUYF9Q8wPVc1CuFVikSBQ6sY2TLpOnYA/EgnNSSpk9TvRkin5A5xZV8gYrBYVktMC3dPgj90Dj1GkAn3ursJd3koQ89GEFaMvjmPqljEUqsg3eeDCsugpYJYufDJWUciLv+ggmTFl5Xy+Q6D2t1KPmkmj2KRUKqFd7qXdOzyFGacDE3Al/JVBNLaaXvL/VRVurAgnf3Loj7JmA4rRbd8IMVDic3RBv3DhZEWAxj9lhuvVRbNRpLDchDgDzXVhYwTM8QDd+hZaIrz/dZuQ2JyqjsUNDKU6OKQPOGhGMe5SLUQdZx3WqQuFreuIphpxJc/kfzazAc5JvOArCRrI9RGNW+j6tR78FBA8aCZBsNVqofEImiFMx0YWHNjJm9Br6fyt2vQbsrFuT4hYr3fpLfdz9rGzLZ0yRPD3Ieu2r1Qe+8oGgrgaTl/bk9o0AC2r34ComArrJGJICGmwsTi352cQhbrKwebcyPRzZTvJzE7JLsXrY9RCX8kFvZtbjpYNdDeJKwk5wkLnA3xVuSRnlBZlN4pbL6xhUv8prmRTdCH83Sm+vwbLZhogStF/q+ublC6OeOk6LANzzpIjKu/IOvfOxd/7cgNtJFZuyYE8n+CmvOJZ4ebd82By/e1lZ2/enXbNPxNcgiQXUTB/np3mk/pjuAM3TTYeXriHNVjYvs1awRnl6No4KisECI0z4LlFdE+cCHjLQRrG/b1TlrHLWbiS/ZlKAcp4xl+xvOoAlNPbf1ngsv8ERZt5COlIJHNBDKk8+UjZqwPzbNYvDkDfBwP+p/QjeU4VHj0sldoeXHcL3jCpLAbQ9D6RuHrz39NE92b8iUCS8gcs0Tgq5j55DW+30eRbyjI46wu7I4qDFUoWtyyLLeh4BvoiYtnwBiGESO9P14b3+f/nWs1Sr858l8Ivs7QiU+gq2BxDsYof3yXe/t5YUR2KDVTxUb4nvm/d0lqkkJ9kzniXN2KltzbTwNvCtzXcUQPkL/pX0aTz/aEGLwnVPsNypq6yxqnMq260njBdbSra5q0+9swpFAh5NoX1eBK+l0Ejs+lmsKJ6I9IjarghHJtH//Wwh+ObJXQ4zqOGUxDdgi7LwNka3xE+sy8EA7vG81KIuDJUdNLlN58JgwgSOdalBvtmk9TAI1DOcgrbUZj9FzmIJMiMcd9b+eaSF6WporRXLcx9nTM6r9I9j0onDHjkIyqJsazKE2xCsfMOY8EsdrcURGT77ddFHprEB0ye/XsYzLbpC1nkj2nI6DbZFl/9hIPyq3qBax/XtK2WYn+42d0oItJ2Q7i2XN2wDw131jkBNk+SGh4a1Kg6PmeXWAPpdOvFx0CXLQy92v/0LS07ReSc5/NfGkVnem39cpXYLnMIIOYDmnOyC/IPuxq3ZVWk0cOT12UpG/l00Z2imy9lKyroKO8s+kQK34jAhreL3y0lrUb6i2YpIJmBmFrAIDjlDeVthJUR/jgVrPxB5ZU1QoNbYh6dAYpH7iXd9t/Eni8ThkSn5Uw5yTi4oP6x9fMG9jcIklJgSaC650Soi4Tx3x0wisv3xqbKt/1m1JI5MqVajE3Wfgl+ol/Sqi92FzPhvuy2lHRVFWQb7l6VYgXUohs35KqgP6DzdEBLlQQwr0IQwmyLXt9mxbCfiLjaClGS+rgru1E9r1/+Vs2SmORF/dhH/zqvx8s28qt/XANUnj6bSlWnmlXFIo9j5wi2mIBxBGA0bp6sTqYBfEbOUUPJuw84Ss/PZqoRjHY/RnnuQNofJEAXDYCML89HN99PNn1Qy151o5cQSpOYV1aqhVWyCxr+fCSoOGQ3l9/ETcimmPEuaNOUnKu79o1Ng+gwlXcwRjEk+gKEK3HfFGDqRIwNsR1EwimZ+tXymUBoZMXxC0+foB9sCBbC2ZpaxUtxiHAgb+/3GuVLMnUzDeziJLT0zVBGsxV8ReVqdUt3mUPjyNqBkcWx6YjLIxwcrlbibXl5iepPtbJfh63U9WqpJ72o4F31XSJv8S8J+Pp8Ayl/Cn8okNo8QZMOivk+6dhoRNx3Qrc/UwCVZz7NEczHo0Vk3ipvCdttQyxsrMrR7ywshqcYJcB6NCr92utYBZ0kLvR+8gF6lQO5tgmHPcVb7c/Zze0ipw5CWUl0YWrA+7aWWSAZr/XaZ++LK0xM4XPd8bbN6DvhNPhbKtoQeneadgjX8xzDxTKSELlCP74j/+u3RTfEfm4PesSgAsuU8B5IWJNiNrLz8oVSUBAF/YvimJ+pQJhnBtE6jSLvd3a/9XL6l7L1bDi1fqDBIxrvMkftjXe7dCHHNIc/qMXA/jUEEGyA+orywWEG6tQRxVIUElG1eE+VFBMYRFe0AJ/38QwkJE529YkV4IiAN1RavP/2TWrQ0O6MHM5E94d6SGvOdMlQpAuVXv2Et00dBRcg2tHwQ/Mnc2TRUVwlbqGiali5P+GZESau+usCq+D3xO1LTbSqm2Xz88LuI+RG0LySlj577oW+JK/EeBtQnMWhKcZAa6fdBqnriy77VnzlgYafMzzZmMqsNOopIzuVccqq2Bk7q8RHy7PO6Ody/Ea/MTIYINengePmx43yUfmsaO40k+yz3e08Sc3goOC72kGJUJaGgJVy/IOsSqowpyrqkl130wc5JeGBez5dMYmB130W9I8nKgMOURSrNlr2rvn8LmBSWmACpJgelD99/oW44Cf4gsJS+4hYKkzJnhwGFxeGzvpJ83mbucRECSUSFoZtm0CnKsbcUpdaOeFcA2Y2AWNynTMmyQxmdMGUPyN1CbV2zLc4KSHur0aKUovJfrm9yWSm8aICOlA1TjIx98kc010HJtfpamy37FvkySW6SMvOBaBQ0d8owf2ffUIqGa31FU3//6L4A5tt+zWNXPQsAR9aGxReLpAtH9REMfaIplAlIPfOpMzB2fOkR8wcuj43B7PfEl9L6z70yV6Kc+FhbTKR3hEvaxyXcO2jv9LCIrhDHlfFI+rZp/t1WJ2QAdR7j/ruopu0nNHa9rQv4e6YbVcAbGnZ/XQJRKBu0xhhsO6yt0yH0I2k09GVRg5lWw5KLs/XjqB6LGTOzuAmisX5z03rl4xTT0VNWLMHqBttXrcwD/U7BLcOIsTQa4egRl160UqzWlkkct/YIFQrKl/6KsFuiJDMfri5lnZ7tBqBc0Cez4Q+xaGZ9nvWvB7HpiyT4F9IzCMA+JeHnP8BuUDAmVT4cbt6xuzaGreuxwX4leEz/BQSce6apOxRLRmyuQosO2AdwIZ/ijAGsoLd0wVfjFp/Mj7svSQfC74HZsssNNUU5ajoZpXWip1fQQR2dbZTsELLkklzHkikx7MayJe2jyC++w2YkyFVlg9fYsUuMS04SX/omIfmRhtsRM3EUSinwJ7VLQQT7xScY+Vj2dgCnotxsrTYhOFSPW4g7r4jfg3eYq6ssiuirGaumzpjNvyHyaoMO/MTKjNf/aWRxakb7n2x27A/c+SQXf53m8pSH3H0QwjhpPJbbI09AT58bFqFYWm8l2As6WfyDkda/Xu3zJpMk7gczIUuRNKe2eYq42WxKiybrv+Sj7O6w4gvXdgAWIeP3jF+QfG5+APNn2L5BQMHBAxAapXDjrGonr1u66tRGK1wJbx/2DXY2IXc/1SVDQDR6HeVA55UIjZUL5DeoM22WT35GCxTtaM7TlizYQw34zSzDQGVZbidDmPclJZIJOWz6a3P2NLuQqwHZKC9Ke3U8cK8hYOhpjTlo6LkbLamW9ulYBRGZbgaNUzGzbq+QlxwA9+M8lx18bORSg21d6TatmA7Eszg7M9yNVYVa0cVEn5ROWs+jAgsHg4JUy+giHAoFVyGMqs/YVPtSyl8+ceuA5ghpF2ci3uMXIeMGmjEDd0WFdCtX5ijyIeleB7dT8ovguv1aeeGVtRPyaFd/ccTBkwXNX7p1+AfLYwbgxWQjYA/Cxkuhw5cqPv8mQKLNyWxdo8cDZCIMIl/CMPaiaHJmam6AmFZWGGig7Qw7AdOFaidQ8z1wC1VX7NT807Buqx3BXvlqK7wlafjR8MEIv/v082A2fLq5CuIe99Yk/D31tNSrGocOUs5Ut6hF8Qpuj7Zt89e59JF7XAAdGV4d/xo8UI9Pd6cPu5bFQMzMuGpqZzM80V2AAVTL9LUd8Z4Qp4enDNHj9AMwE5nwNXT2rn12RwR+8/sJRkT2GicTpvBS3TQrQ/dJpjZ8xUenLJoZ2jMq0JjMy8vRdlu/lnsGCY99lhlM+9YSnAPF8v8ewDYTmYYIOP14t1Ldv+RsdXrhC4OQDb2Uxi2NF4i9MnyIgNFhriYlCTK3VwZW6DShqNCJv0p0x9Zc/DaIAaF3Wg6IdSbpgyAHM1jt1YX50Vmzp/BEwhE/ScpRmevg2Cj0LwsQ1JBkoEd1IR4ofAE5g2WhOGR4IPbWFoHfKmbO58xEDU18Ha6ckqKj7Sx1K0oE/cEtCwQLdjDo417YlKgVNNBRwjVbY1BWdw32y4/yjbgSdQ2boNQvfCXdS5nmI5JmAdo95cvJbDsFThgHOb5nEXx1pnG3uC/eAbeihPCQnwaM0v4WS1givuovCLbpvVYxilQQchni13W5eUQ+hQfrGsew/P/WaFaDUOry38Cv9WEXqoltxp/dYcvR13XE2v8AZBReWXi5Xm5tIRB+eS5fFy4+e+rdM/JmwlDYLQsxEMwo8LXalbVOzmfXna05bwdnu6/gWgWHDMunXf8Q2yYC+TKT41hkBO9hI3J8whOSYOdq9Gw7AzakoB4va9Rtx6M1Nq4fqLCqTg1h09aXrM57MDbmPJ1mL7FhFNKcJ4Ooq2nFviYn03K7NpV/TnHFN/vpq1D8ETUTZBH5Plb42RDyOMxSAROcYdfEYyT3r2zxreowhhWYI8ub7DxX2zIIwvE0369WnkGjOwIg3mDnJ+3Mn3CKhFiwEUttq9PJwBIv1X2lq7wwbkTaSa5uIW3BqM/y185lCkChUJNGtRctDSlP63VlBGvaJx2Y2g90BEc/zL2fh7z7RrFBdIC4sFxhtDbUgeDJ3Zdhx1sY4Y73Pn1SiJXCsjAX06EOXeAjJMGXuG/+n2zMWZ4IQUwSXXfDLofmwlsspDO9xIliMaLc7yKs052ZddvituRtUk5rA3awL3OfVp56r5H/UG1OG7A0IgjditkXcbDhxECl8KX/rlFEnvxQmfEI/2essWfb+3L22dWOa7O7EpBLuMDkYI19Zi8CtBPWSj+ZmUHHopdgHLsyQx6ThlOOZn/y3WsmOmbEJ7XeoiQk4mb880fxxM0HMWPIGPfN5pEKLKO0yHySzvLnqhR9yQAvhIR8NswR/JoznnYqhm3g0aijvld2V1DUTtUWOCmoHmn5fb9mCJNxEm/V+UkLAazyYf5m0O0/4Kpi3Hcd6TPgcD7bZEE+piHWmy4v8STmn+atrIiwVkBvQNqwcKluxfQoOjKePXaW/FjDqFcB6n3Z5Ru/52/Pawwi3dHXUKEEz2jne2S7hSsU0+kUINiulJhtsb4ocLIQEb9S/3UdypXVAtS2nBUwHic23VE8NEYka/gUQR0Px9FXdxfXw3wzk3P+gTWzQDMknPdbvrcYWTBXVX9Dc6qLpkfPuAHe6Kv9j7F0NAzBH3HgiwQZvzvB3s4Ed/9d2RQJNX2un5Mk5jxkRXPl/YtT6UwhufHZM86RQwZNlaVz+WMPRFyN7pbeYzz4JRCM8M9IQUMk6hb6UEbyhVR3tSWsFH/eDXfMNQ+JNbszAagGS1aGDHdHCHyYVbq8IbooIUd5CvDlHnMIrKT9wR50kqt+goMbQFCDDtCIvt1tFE69+wtEEZ/1WdG+/wVUWUxOH650YtQoQV3HHl2/t3OUJLFk05S4sU+RVmQ2s1RPsFoeos5OFLbICQyE/kZfONDNZc3agyo3uYbvvgcAPhW0i277UICuyciKOCGrz5vYMnGo7bzu+ucwK1F87UJz2uPdCraUU92hrXUepg0RfU0HHhNEYLsGaBbaOxbzVXW9GVjRMTJ7U48/QvSHA6oGdGRwpb+Imn/l6NLc5OtLLjoU/zPRbnfPKibIslVXGpxO8t7WgkjAx3cZklyLqMaE2eNQ5l3nkIR6WOlH1pN8yHNTkkNtJBLBNXhsEHK6CG83es2/yDdkft8Sa/TXKsdF227OEF/bjrB0aiUYg7cp0kBhbRor34OBbLp+UKI8Qf+IdazGdgc7ZaiSL6oWH9MZiV7r0UvPwrVxZt/zLPzf2r6GXb0lTEnndSefHAv0bkfqaX658SDlGdfodS9W+CmSnfTa2DWSj1TzuYNhNE4WXXh7/DT0pV0ZPLqNaLfxx+inDzyhojyyjpSSjncQjtGbgV6Z+ACfet7t2eTqdOBf8Yp3A+mTpF01PGz8Qi86XHCBbPmu/pVJrp6cH6DArLG2mJUUxj2tq3a9wWAPfr0k2gk8DD0WxSxSIMpHNtO53ZVAu3oz4VXifnCHlmSnhO7DcDE/94xfmuQVOc2jhXaBY/KXN0zetvoJdSt5Iw85xCj9dq1qfXvrYXyVbcebe7Df5Nn9n1XePT4KFapyqZY/mIzyrFqqfeFOerqzHAi+s2gNR8qusB0TVDN0tOLaAcxlLX+ULgJhk9hTYvu/KueMgIeWaNf92lYLa9UgwFN+9I3mceJIiNH8TcmOiYi/i07P/QfDA5oUeg5/VRcdNG4EGOx0wXsHmfl2Z61X8XdcBN/27dS9Wmx8L4sBRNgDhUrTu4WilzQgbNgqcb+vEk5AoOifYsjk2bMD4JouVcgsLKxag/HhGfsPiJmSJKiwdBZC0TfiQNDwGxfB8LVSaPN0O/oVp++DpzddC5MRq8xo9FDfuTVvUIcNckMtIEB7dDEQMWbbyXCo1hrkwmkbOm/u13lrRkwPFQPGGEx7Iypm7e/F5EYLGUHqm4GFGSJWrD0rP9szPLijhiJ2e52Yb0+L9aOqkkgmf0kfurfZNwleLxjVvzjXrF7hPHVkzzbYScB1++BrD+Ec5ctj+9I3hwjFcs1uh3HDbvQ8NFP/ueqrBhfO6iDm7bQk91RmZM6m6fNaO7VOaU39tr9DB7rRuN/y8soriHoJGo0EkPu1bJNnwlud2aowuM/2cqylcgW6j0+gGtqNb0Yq8fEENN9CP+pATdtN1qhqQmVJsUAc6myXP8+Y1Q1qTqnExmfJLIO3lQbEjfnJuoojv72GT4SLtW8ATHz2b9PP27OT2I64Pry9+ncLWIoZB22buXQQ6+JN822jwS45YFlQNLMqPnpsIBKYWI0e/o76aQO1JQGk3pyqDN46I5zKu/hLWOA+uDeUEwvzgIh83vobVXcfqK5Aq3sOtl0A+omYrCoBALEC+VUrSTBx4M0v0VtalHXz5QQn7Zx/SfcuWsA3lxQcj7C2z4bQI0piLSD3RP/eUzDm/ueMAa17+sig7nRa+OQUtH/pPW2BBTCQuAShMYPIHZxlPPAexxBCJSmj4kDQDXYaXnnE/9QYsRI3Z0b45+HLTumwdq45Q5OxCkPAdryo6dvCmhxu+lK8+aN59CL/Pj/J1mqJdxMzxnFv0bVPAGITtHJWr+zeOYQcRKWOg1FsAzMUXC5EN5TyriAmVspMWudn/SUxXQxSfwucPr8rUs/AI/PYM24zIH8Ee+8MPAdMjWSBfwEd5nMBtrk/bX7kAT574WmV6VWDsocaLsbTQmip6VtTOeR7MPEQhFHOZkqvsar1HiCDlQZjFekfnEp4eg+LWeGUHvkTY28iqVQJVOkPti/x0GLX+aUeDcSsjifCZ/7WZtSCjkA2oZCFkx1LeU4X19ZB/+u7vhvX5SPIYeY0GRpn7KqdPKhxGxW7+/iWN5livAVR3zqLXNfoiqKGt4BerSP3M3Gbl0m9HrQV1xdcIVDGGe+1cqMG54Y4/MCN4QqTjFMIMn3pAiprLmgNWD7AxKk+222dR9Tmvj3fVVWLqO5DbWUIIhHAPPbt3vin7ulk0kT2ENyQqgHSv6uZ88vW2xQtegSzakuLUCMJ8x1zNqeu+99cLAvWjmDswiRR8CkNN5ez0FQUFcCvqsHIZ+qP25FPMopeHTf/6uvjyuX4EVGk+VjknwEThmEEnQkCucB/dKQezofSsePMVXe5cpM0QMzPyuhQ3SqvkUN9QnTekfl+Vl8G8NzVC3cmUgfO0zB0WSnC7z786dj6gKeAnVTayIA8K+zXtuGl8UVxAoElPdVhRNZoApsyi65UxOjNPQrbhnqUf1/5NBJRQpp0h+fN+nH6Q4cumofpPtL54GdWO7RlSegUKePbhFo0SBiyLrcgzgmH7ONP7LyEe4VEr4VWaKfp/6/XVsRl3rJ+sw5h/0S2GqxdrJNet6reasy9aEQO2fgqpqejxp34172eX5MOS0oqskx5bjQbbD1pR6vhguF6yicOXAGjVDRvRzfq0nQTkycg7q/rHj3YjQy+yXeEYU4q0HN7OPvchIs3QtBU6iRdLIfgB6YNExrJyaAzrpZOvLLzdG42iuulJlPF5MO4QQQT9ZDuKCXMNaJ87K8FKCWOyj+5D+SynaQeVJnc/HZJocYoX4SZAA3Y3fMcT8/2QMXUdH8T6qiiCj685Yaay+33scxDVLIRJaLcdl83wvG3w5m+RpPwbwZyS1VjokeBNvF1CHmDdc72+CO9VC2Ak+D9hVn8mbGqfYiirjEsC0yAOGb2PVzr4A+rMACwdr03RYWn0fGRn+fIORK79IgPZa8whJUU6ZPivoyrRwOwZMFNKS+zv/TngmPQ+PTmY0MMHNB3QmUuUlI3GpB+vKZ3po0hSk8xyjQVLlQLOXjoLLWWYDBPSX1lCJoOmD1oGclSu4c8zzb0CxpwilNK8rGzM/63i2Q/y5/Rccv3kn+srCUUcRoDZc76qj1HQNnlmzFOSo0LfJxHCGILN7JqYbjI6/BTy7MbzW5bByD3UH7NUwD/LL8bCqJmbixqOnz4vymvSd7HmChprwuJ125JCKIeDCnN9ZYmzNvpw3QVo3CkuxqnPQkRSMhN/zx0AI3fXuZo8tCWCDrVBehXN/HKGFVZQaQX6Jx9BunfEZL3iQFhBhTVa6kfnK8JlpRbN/E5eBhV+cZoetTZhVZNMsLT5ymgkJVx+j2sKrsCdFhDRRwTwzM0pHHreXAvMeEh0aHb+vWhtScFra7W2Fc3LT/KtF2gPpyzpy5V+ekbQvhzFS3i/Rgo6mJwVOrWUVE7eI6nIHnthgDzVdP13JW5hpl9HRqkqe9N/KgttuHF/l9OCI5S4my08PETS8f+ewx4SM8iptmHg4Iw7pWYEcxJm/rlcx5rFlDEFypmZ2+i9rrEh5gXf+RFL3nYHmCPm+4Pf+f5kfzU76bRUFQt1o2VrKjUU8+b3Oeb9cEpg8NK6rPfQsQiyBliBtwZVbhsx2zeY/tbwnBil+tmX0oaiuRaYU++pWFm+uoZn2IUeybYkiOVZeHVGbjzY5d8oMliycDMNhICHtl5h6dYoNy7y2ZAQ/ROx7KvrRI5+MhEPtNLgdoddM0GAPX0HrpMulf1KMiW8KKcPXn52VDaKiUnIOOO9ar+gphHbhCl0F0qCL+g1cQj/8uteNO9JwsDFURW5llf4L/yy/BTHOhbJ+AwFmGX40GwUBaQJYR4XWXM75O/DElwNp+EeOT7TwfPzHzlw3H5jcvplEA6XHU6WQgMrQVa936/imsiOGE+0hyh0ThaOIRSE7thDOjYSO4GgQ68+X0/qCUHZdV1El4CSOGX53gGu1ZxC90q7GiK7qQaupuyrLvp5DRQmWtw74D/AGhyBBv+L413Y6Q0ZI6VyeQWjvbiMy7g2kmo0oN2FNdGQ/h1rVGytzcW4f90XY+FytgaZfKujxqOMYHZKiX6k6l+mYJpiHtxReKkHOjTs7HNQd20Ss48RBmVmr3epr8lumkWe0BmS6v2s0UcvqaqV6fA7feSg1Eq+W1HCKE/pZuBD4LWsuGbsRmKyF+wjuEdZepTmbRI5twyXzlLUaXMBI7tl6PKRn6UTUVEWJD4fPos1Pep8aQgJAqFeEb+cVQG0fi4VAU6CUd3FtZIqab3as3z2Js4E7Ax6CV/fww1OE+hc9IE2zxSAe96N/n7miXUhjeYI+rtqqGy+pBoXqfbhSkgdFuxm9oEmkjDWYjuQYNtxujmFqyqb2w61TSlmCagxC65OOw6HqvteGVau3gDCcNECx0zMXPJdQYBYCe4VaJQJ982g4sLTJ7J/L2lWEskj2tQx2F59bUQ0mQawzUG3jAsRH4UKlK84VhAwdNPbBrK1sVBbobpg72TnNpehJeGX8GFmVFfa0bWGu1hdC6kzqwMyABL6NxKZPHXeHH9fSVh2FDh7movAErUXk1oOz7hwrmKJ6+jcn+Cw4Q2XF3jKRJbpK7bMriwk/ZFCMAHjCmU01ZRVtJlksvhao0M6TI2uYXmB+6rYBNrgRvhk1c8h+vVuVp/fy6i6K+e19e5KlHUN8/5tETfCQIK8b1Hbje+3Iax/x1vnMk+Kq0/Z1Ybae86N0ICGpCo5D9NOGOVx1zJZdYylZ5bBNV5IsMMwl8Eq79OW9JpJowCYRdu9QV4YNu3O4voN2/BtDCZUKWMaCAewqCGIkZR/x+4tzV7n5vpeZDUkaPlyQMG3elaetwcW2wY4CWSqriyzNLwNShk1lJuman+kvwADfzibN1hWQyh4EI/AGJ7UwkI7dVS3ieX3dtFpFfOhxSa6ToLVEMB+c5nMHP48MoJt7LtoX2mHQlCssSijYSqJ3mCVJn1UzuNt9rpzvPtie6U3eqMkrrSbAQbBNx4g7G0CCHRsJhYYvUEqAB4UGhbyQGQYsCijB7r4OX5BGjSCKC4hEKzeT0gtMlv6+LWEnvUfb8bMHVvS2qWDR1HKtoi3RYJZaYYRq2GwXP//m7rJOcHsbqv3+gmytIlTP20Tb5Uoen9kZO+fYvH+/reKd7V/10IJzqReM1qgiKNqNvLPR0xPrzdHdnAgmek5K7M88/gXRYPSS9ChVq6mswNjkPgG06xNcHHrOTVIEJ22RQVPoo1YclkYOgCx6xDIjFBMhgCxuILqJyLhRCsr/nSomHrRKFZQLfdtF0EE6+sYijbfE7Prc4Fh8A8jTyogKOLA5LX/HAqikG+ayXRhXFRM/JVF6NWmlDQbIujm6kvujIeIWk1dPXdklDHqkGPwSkmE7ubPs7hMi75AIQuiEzvZ3TA2MCejrGo+6qp4HwM4IVzXdfizCCGLsgR06f7yYvV3TUuSntsBtre9lDsCJIor7bA4yJr9iTDuVtBjxHKMRqTuuzDnDXUdkJZyOKsjGsrE35VJHQWtcPIVZmZ9VaNIXl0UpdMTHV4HFLQjlpl0OraN/nbgvbHSyI1qOYgNBJ48VdvR1/Ign6FJmTzIVWQN13U4RuHfpvkGDdE2mUtDNCPxb6ZVcP40F/RAkw0WxVSAc1Z3EfSmgNv19QAy6ZWsMwekOAflxhiR3qH6PMI+mx9W5eo9TCbiZOfDt7ntA99hvndhmWvYrn+qSJ4szoizi41UzdnKDAKiI6F57q8apO0r4V1dhfYD9sEYnnEBOSzxToToXb9y1Gmxm+yDoLoXQmJD9UtiaTUEngsNc9snpuzXZsN/thDOeIEoyYD+CmwhejJ3XDufVTL3UtRuupe1DCb5LHyg9jcghF7qndrXlHwGVF7czc98/AD2sObBJyZhGcezW3Xqt5YolVFrS7CUAQc7lk/9eyhpD5Fhnpl/xAiLTXaxVVNMAdO7oPpyArFilTwAcHotqCInYvAUPv830M3z4mfOn4I4bKPYN/9kiuv9zabkRzlXPu31cZIs0TVj9SNuDMbqrGLHLMTZLY4jQDMccFW6AVRXyIqPrM34Ym1aY9eQ2ZWzmf5ciyaTE3Ih2ig9BxqWbYjD0sDDHyOISSkTb+tSB6abWBL7mDi9OqziKQG36ZUErOOQWb4B/dphpAIBVKGxw0WSyhOXdStToB4+oiWjYxN1hneQy+5q+PNfAhfBLMSeHcYhEzcwIPl2xFbTV4qbtwQdzt4rARkUOhjgLoOihBvbKZNUbxLB1lUif/Fwm/OYL6k2K/9nMH9Q+MemKd/8jpLHqgMAkbg8YeOneBCAD3x1a58/tAk+XmzFK82d4d/MpfIbWPCIYQjvG8w+MHJVJFuomDO8TPy+Mwb7UwBIEaWVZMqi2xoc13Q6QbEOBaBpoy0h189Eb/x59tMBTRdunbpZ6eQ3yHKHtcAghnWM9WXDALxz41+zD6XgOvpc3ekdEMvMRQiqqX7QRGAmS+58cIFw3z0dakoxSPHgPCxKW878Dp6NBm5oE59GZV9TxendcJPL4Y0b7Nu0rY6vrUjvm5n/0FHIiLmWv6yb72O+FT4NGrErB6CNY3yuxVqT9vAOezC+sA+PQzVODj2AtQUUKu8O5tdUppSOSxrby/4KoF1UUy6pRRqCTpt4kQESvE5s4bVnyf/PO7Wd81BiiIDy1QecJcA0/9nLHPxJknIjgQ+3AZQpqZmaKwqlnmABfHLi/8TAV4j7YpiVz8CTeUpl/whuKMeAXFEzagw+0ys5EnRE+6iD2/WvKoF3oFjfuE0+fr+q39C80/PYsxk0+Rr4jD7+DYig79TWiszSVWWN7xampIFpqw+3dY7PhTKGJipL4rJRChjUv9xs7p+j9E1oXNwF9pUdHtc/DVg9l8LRfCOmnR45U0fuODrlx/CHs3097bkCv2tJBkYALeD6PLnaaho2ffhf4LhZHWsHPgFoakPR0D059/6TOpP8ROWVyguRtaiKOnM088hBLNvIwlIJSplBYKnAR89280bdboPn2nAhHlhTnXRRBbRUZaJl2J4M6ZT37s2iNVa1/DShVXyiXwikdPhVeHYs+mo35z581WcCJ6JarCVC14KQYrIMWc9d+LRCefDJAmUDcJaFV1mvMf54xxNTq3tkXSgHjRE5FVL9g6o0dlpHVL3ajJHznycgrT7TpHxIRs/MikN5FAZ0CM9Dpqg3aMxWFHwcqAQCG0L++V9y7kHA2OJk0Cym1ha0nyZ3U/McS0Fgl4hcnrGQQHE3zyl2EV3wEaUaMdE68qH8ujXs2X69kt4SB0rQmHbdA7FH7DjxzyGAEW8CaZarbDNQ/E+mkrLe0+rW2Fkc+ACmK+rDO2nSWjU6gF/u5qY0fAzpuDgmVgYpMUxBuRQw6haR5IYPfBKMiW/NDx5a/22HfwncPSJ2apy94WlciBjCFWAjne+w7DqxvcpKL2mSI09d9wRglG+kPlVXzkJ6OKk1rpnjC3jHbx1PX7GvhG5Itn29fPp/F89JJk46o3Qily3FZaRasOHbcdrm89ABv85KpLUBkKCoN1il1V+kAcrFZpiNsnSE85IbNeOu+crPiN/DZDL2jslX4xa6sPppYp54/U5IxMgwdoX7cWlMjjgCcAu+z7qM6i4Iqdfp7wjLbN01nqzd+WWVJVaswgknUI7UJGkjusOcQLS+gGMeXe/Dw7fJO08kHPDJR4+WmfqT6l4nf5Va5/l3NfdAWABClBIW/Pzmfof5IwsghAN8N7Q3sxIipE6L3ChOaGXqBqS/XouBe1+6G9cxrxwV3asa9MuOrl6tR8/ghQe2WmW3jO2bEqOpLsHd5yndfZKy5IvqUJ4zU0Ql5BryCJTvHgk32sH+rhajGXiaXvG9plm5i0timHfIvCy1/TYs2KoQ/k/aAhVPigdpQWy4SZsjJZ1NU1GxgBwi1B/mbsVIbcYl/i3YXb21eYVxYaLBm+CViPJstRBqKR9IXooOkNw2D11uknlalOOHm+iUfhaElNEO3bcbO8LSpcNwGiN2nJ0oGIPZvHj2SliFuQFtCYc8oc8DEmgDXXxh9yoVcv53BnQl2KkmU0rR281net4doAtO6zRFXJYiIF6el4yj+DuvvDhGUxUJxCx51qyWQtUflCd1bD9bBHPxgACLHK94kUWX4D38H8qov6Rmvy2mJdQwrWyIRgYHYz3coOwQupPVJaHr8PIeXGO2bTsyqnxOTSk3VRnn61UDIa5OpLiQMI+WrxN2+04ZQnKYw05Nvoy5HwMryYGxV1Ff7xI4+GdQqat3jcj5jRUiWm2soAuxsZqQ+mkL45o+ANP0zlvWSmEh7K7x5Ex2S2TfhJllkPh8RQ759KlJmhj9mUNO1o7RQ/GyghCPcO04NGeaCUZ2ytcXMifIVuUnCjhLpz7wsiUrsFMdHX83AlrX2CFkhHGPzs/3SFCUX2wNhyRwlO/2bJSnTtTuWiby53gZAiyWdorHqgyYjVGZLSeA0lAHCw75mRlhEwIEN3upm5WIlGakNBb2FcjWygLotOigHJx4EJ/6N8iEnEyMfyB6pxc0JYucbslR1SutebaVo2DgqqiXprS999zLx5K3LvhyHzgsY375LPfu+Hs5dSltShsbL0bPjQQF9vaqRShu/Rbnk9zEnwJrSupjYRtyfh97y2DghJOC3YiUqbuXDXU3WfYFmSGlD6tpTewi1B4elS+9PdlATYymFXWcfMZaRESFI3I5uLukUtmnn2bySgbs57V0nyCxoMTM2lSQhlWcuY5+x/OPjqF+sMP9mOR2lbF2d/UP1xbCNFDtsqR90FYmwO7vOzkvL023Ju998xcOf5lFiIBKKxdgJqPfoGNXbiiofrI+9FEG9PcZngI9icyPXKJfj/byhO27twplzG1j1qMcWlv559vwmJrKC+FsTIMMEVDPWtAphq+kuzjUig3pdOi4z/h1r5XRXzjL2QHA1/1aT8061adLLceeHPBfpRWK/Q8CMFyOUg04ZeM89+Y8WZfYFMhuWEb2t2IQmHM3pCceYirUHSP8t0fEQfQhfTN5y10zEHcZIlq4oV9GkKnWwyndMQtIgto4EmysXNrpXJVLSkeATZFEvWrTk9SE67UDRknkBHbvqfupRUxYEEuzbEpAekOnoGwEz9Wn01zS8g5Z+8nfD8BLQhU3tNBFE5zZw++X3PYCaDaM1Lqb6dCFh3uNRzxyCPkKKRz3lQbCYrlsr57n94JMglsH0zFr/TBhzXErtG07PJnGHxhtsOvosst5WyRfT/N9xp3xMIpa6SONT3Wa2ULIpEOrzwVNgronVDYiL6Aq2P9NYu/SSFugnWDwTVOI6gPYMBewHoDpfrGEhR1pb6wQTFRk0P3AWqXYNRVtEBLVs/tYnVzdgAWrA+NDmF9hGZ0L8yQqDCR+PsnsfHAfByZ+Rul+LxhOpAXmF/9027yZqkF2pKxa3NLKSCUSfFxH6Oayg7unEo0q6O/IUBLtw8qg0ORynkS8bMAgTFLnVgMcA1nppYlnMcsJY2kyPVhkU6TkTq6Fl0qULoCUZcfiBiSRwt+NE9YAhwG1IMedtGEOf853gb5Dym8evXeJbY14LpuOGfeFTP/d/sgfo7fxXsSjQsHwE/KlxRlJHzRNYUrtCBbNcB2E3rBj2DPzQ+7nrpqpdQGsbs1O4QV1TcZo0lOGstJCXwtbxtvEuVwryhaaeFsVCKuAGP9bsBZFbKIkkkDL3gQ4vOynptM4MKck7sh9GU1JAiEwJYVXi5wnzNF6LjjciP8DjlmBD5OdxO9yqRaaoXqJnmg5ClRrQvggFjsJV5vxfOVQgQYcc8z1AVK9rROY4uj2x5OQlz250fakEFX8fPdGv1FAAbQQG87XYx9qPQBe2zdwkqZnAeijMnoObWWZV4eRkcPqoCQQnAKR7d9ndWTFCiigN1xZ5TWy+8fmIlCJrFYtswgbGNCfIuu2WMayLC4kKZe98RcgUn6UyIQRPyoQLu1eBLii8JeLe6BKoOf4hVkF6gKvXRjYojSH3Mgkhlh0TkSQjT2xzfZ+gz+r9pQfnhCQ4yDln5lnBqocxeTtIPWe780Ztm7k6zdyu22DPzJhlhtmkd7IPfUDNMb+h0dm+a4pEckOBtCPiYcWfExDuzMpf3XZYD2QSfUQFBzbD7V9UF4pQzjmNTIamL348gvZ7O6gDbGQa6LEnLo3QSGshmk3dHhvsFkrz6vC+4VJ46gtKmQ1u9bfZ/Ijy7Yb5B118LyC8HVMJgixFcMNJBc+fvoHl9zbOtp42Z8ikkIyruL4d/AGrPi5m49ECUHdGUK2pBtPQyK3xYTnNoA5wPzNbbTyH4TgDo9lL+vB68+5+WovAOR61EI0hToYHE7lXabtVwpmd1mNFVf5bkF2dey8k8OVnwmp1mw5xDGCk4L1Ye0yWDiQ0hs/Qeg2UbuI3m43/aoEcXJv9T0q9ZCyBrEbjlrKKfXKi4v6vhHX5qBqkHWGZLKDdvUN4TcAMiHnBqHameOcCVdbkLKoS7RXPf3D4CVz0+yLazJMdwpLm22ZdQ3LOEaXZ7EP4TxemtrEyvvkpTCgL6HAlJQUk0/TPAdN2HFRYNrES7r8qv1vC4MB0+NJFHHOB9YWf19+sIKLPGgliqQGeM3woP+0bRwc8XdjgplPPMmnxMNbgCz9KnADqrguec+nXd4OT8OaIz8ScOG4u/Y5LX/a5+9pobwoBh+TRVhChN1p8jz87kCV3IfAdWMgyO1sP2YBXCAJkmXl7P9bFUeGkEgBR7Fvc5KFdsxWObV8+0QUlBCHx4VbRohjCTFIb/hwrtajATMKKRjdfbobxD0NGzl+VS0pYRH1XkojFHA2z8+Z34fvp7vBuB2ibQJfL0HNfRSkxDoWQUh/gRSXUO5gkRKqm5WApSsMKRVRw6tI4rCp1Sahv4vGE79gmmbqxEvLHqviMstvv4bNIIzMSpmAfL7QMgNGJO8wN+Alpe2GmuM13O0eNGoPEv9VvTtDGGFuzqswaRAkVgxy+O8QU7GdrfTMwnTmfxoEwUg3SRwPf6XiURd63jMfeIcSZoik2nIQWOpz/z40f8yq970wAYxYXAGCCqQQi44Wg5XlqoOqVzMoDXrvj6p9wGmY4ki3TNhe5wSru6fDhtWrPHpEsFMTtrOax7VRswB7PCcmquEvCl6wJ8SQ31P+ehP5TuitKeR+HE+vlWfnSIq3DtYSK1uYKd2UUMbKXUiU+d2wQJOak0oq8QBkN9kvBCtp7sZWepf+CAmgMVp0jjE5ho05IoWeR6ci8kWkDl3DpgKwHlkzGkQjlQeguf6p2tbUcyWuZ/VpKaJxCwwGhIR/arbLtKx5NRfemyTOIBF7zQZ52WnEuJO1wQdddajTrWUmFYWdmzk9lxeXRzvVPfqoQ0MKzX7DwWhztx13exMRfW2pA/1edTxG0Pj3Ra+u1X+dO3Aewe0kTNR56nbIXTi/jGuEE23ZsZgH7xrkf+HF2K9sYLrhuEF/dxvm+O1G9u6RT6I2G+xc9tVMI6MhbC4tq/FPKNSYocR734PO99DNHgcD38qaepEthM0n0p6BsUHcyjKT4GDkhUxC1DJzID/jq4khjRwY8XyPU3S5MLWTX0XTxKVAdZGbAITXXuZNh8N1Qwf+t//UWPfB98UONH+G6SY6V6oHRDaN35T9GCzKKxjWzfQ/XW/sLScfRWkNNfp75gHba24l8XUzDl0ZhAQos9mK2p0LJfKL8MPSfGCvme1IBQ9F6K7rkqiQIf7oOoq/eBaVyOUhEuQNg9NlYrTSsECJhylZ71aaPAwRod9Ix+9IuS1V9EuLoHN2KR1yJVD0YoX88IDbZLknFDr3vNmLXTYFSBFFMoi4wpv0UHjE9ok4oyoKdAUOLz8QGaZe3/8HKMqzPSPkYXfFqgbOOX3HEdsVpO6gVd+Ghhv8OJ/pNUE3sJXWP/cWwdUCLUipyPnyLuvcRlxUMcHCLllrQu5ajgryNSA+dPJ1L6BmeNxFcQHDuuZxHhwcFncJuk/TarvUY3UlJzEioc8wcP0WZ9XkJDzjVZdJQYECpfdncISr95WKfMK6Q99mrgdK7+8Yyx7pDRR5K3b+86kAGc4eSttgsw1GaVEksNOwpwRpDeG0hjPyBZf1pOYYFTl+qM1hqQdENoC6W37KMhJ1CobUPjqSv9mak4jnxtjaf4Lj+4ROr5ogKd0DBMEosjEGD/QLKGaDJeZAj0MY63ECJc1utGpRxbW/35SOczpRp/mZJegX75I4uaza1fe7cCDXTF0+2kgqdmYSmzhIz2MH7Pw/4TYJ6WteseJBy+wizVhMj63OcAo57da7QALZNcrV1h1ANVs2kmh4Ix3m0HnfA1fHXGgWTBY2+TcsfEmFCRWtF8Dui0Yc+uZfyWesN8D1OySS1CB1yXSKX7kwehP0ODq0odQdPxz/jtq84StOnxHRgpuMamUdLRih8cuMLaGP3XYTjj8NiCuzW37cRiJ/ccIfwimUr+eFMD8skkgDdfqneNdvoQa5AeHOWXGVJIPZ7hF/Qobo+u3LGhO4O6kwR1IYdeuARjkECFEPCSezJp9+mmKQNeTM2iss4Sx/zHwAEH/fz06RGxHEcj+nMQ6PJulSvUSxzCnXqqOcMkQr0sNbHueoYmJ3TVjIfV8jH3YOF/5ndsL2PWyGuHQFxt0o9RwpBCiPXVDCVDg/IbaXkKPw0GS5XH3NmeIT5t4IQ/k7jX7GOnodIHd4Z3eA05G2Opl5tR9iilq4MPU6gJcP4h42F1uUtISD6/Khmp5Ee0Vlo65shy3HW/JsNxROC6klSSBHtjRiTV5/7GzAWJrimb/J3Q5craebRH7uVDTW9UEynl0VrzekJ1dvFOZtk90ff0tR1Lw/YGGvhQcc4ZAvdYoSD87hbMtNse8a4/JYhfPN9bymjHiq+hybc3EE47NdwOBCdqIs+/b7O+1BjXTW2Ew7ZYhmORwU0RwqP8F7s362czPGqL3HnINtqdtOf3aTgbS0zVE7wUK1DO4Xq8Az9ScnXg01vVgUHAHjLk6gZ8UpUfpP58cRvfsZlbtqY8ryKxa4BREwcTG3f8LhSsrQtm/KTulfE18MoJ/ii2TmbdZElpEOCpXMUUAzxEVrkIQQvIDg874Cuzu/BtvG8t0FXeQMzYunnUf8ED30PcFdHD0++Ct8VdG0GDHu0Ul2/+gAppLu+iMUSwLYRBZlClnlA8frldYueYXxBo9vytmHpzRE9W5nB3ppDN3aXvXfj4hyZsbo9iDa57SZpf1fuUf6DPeAoGJ7dzYDrWxFyhnwu+ujk5+1e3Wp2JtBdcIocWpf+n6sWcSyh1QEQXzuWtPwhEfyK0S8B79sgO9lz8bijSVLk8ZQxtv5WwWo69Gc5TcebX7d/jTcOtT3pvECyGlcY9niec3gaAfb5+Qomliaz5cG2uCpeCorJEdKUKAeRTOfTQS9c+dmNyolcYuDAf3mBXliTPJXP91I3uiCZ25+jmWRo9NqtsuWMsLzg2AIymkUfbJ2Nxyvzcgjr1L+oalbj4KgQ527CYLo3wmNk+n5+8WUbVyouBaVoy2s/8svO+4fnjdl29rjRbE/dpSV6f1qgF8vPmNTq/JE87u8w9WaRFIrzkJcJ9wUVp//aFbihSXN26XNTsm2wdnyzO7BW+3WSksu45WAMCNvGkbJGUB4SdjJeuFkJCesxzPbCl6+pPtv6AHw5k90FkEHGCpaCNesMtsrKdrLah0Y4BXk6TyzKaj1bkkYCzxhGwReGGWK2aAAarmIYaQKUyjRc1XMFOHTwMgTlhEzn4ZKNDP1XHytmvec40sr9Ak9J0WdV/8WFa06g5Uw5cm+oV6OdYiQwJFv73BR+jbIzlUpNzEBa8CIyvXibBbFqt5CImM99//zC4UucO2M+8iwZX5FcAuEdfgy6Hst4xe4LPtscSLkzUzTWXsxx0yKv+SRb2t7cmRC2J9VwQThmD3mp2BhqNzPG9VgkzS6XBzoJF7IOcPDBLbTJxtkT3f0vioTlYY+57SUiLdYhWZLl+3w8iVLwZFjm3W+o6JC/6/2debhqRzERplvRkKq44H+Tvk7cxPECtAyRutFOj/htQvV4fPCdpUSK01/8QtijVggXefD195xHX8VjX4Prt5AwpDHEyz5M9X5ewqxOE3g68UuN/Ekd9zBfRbiF7c2bqf7N+Lyk53Ry0cPwdINDuscPzGGM82DoePYsMZHN/925EG9n+LFBYgRjw9v4F62XxvFZTYBfp91hJ7R0MQKq8AIo5VWwsgmUdsdc6ArLQgf9V1T/GEVmNv13d3VecsuZ0DK1MmgR05UZHunU90nzXXbwkjZXCfRE3Vg/ITxWHLmBCgGnvHyOmKbeRyLFvqFPuAx1DMUDA1mka4kFDK2AonSniaZNcdnvq/rFZx1jMjdD1UM+OKUu8QAI2qfD/xf4arJLKbS3RuqztLa0B2NBvBxojQMkJoTeRy14xv/GI9HVUH1qSksNpPeMMK29LxqK94gbPdSkylSH8tZUxJD/KBxty/GcMZMqxVa1kTM49Y07lrpr6nbLFmYYqkhCdEzTnd4gy40SE8fA2EhhOAqw48n3k+mDrrV7EACOW22M8g0ufNq2zEWHBQtTLE9f3+JKeGXy4wx0Slv5vWaELcKUNlEYkPTx0dwMaTL7sbdpnfHz1ZbeoWsfMbR0i6CWzpXSIu74R3eN3hzJTmB+CjNsApZ0CYVA8NRLsYqgLfAm1uijfcblNWsN3Ob8tfbABAVXI6K6/oc9gzsolHO+5WLQPFNqXnVTDgH8o2++0fm5Vl8yqsHhejd/MF7oo0LQXgXW99gMhpAwKQ2k/vAMyDzAGycLfwZYjRn95uTDcwx8vkVyZCxXunJavspkOr2uTEVu9ghCJFqO/R0KvUpvC4+7+XfHjV7k0JdkYtT7TzHSlqLN4NgxnmHADfs/HISr+Pbnx6zOEkzAyYAKwY62aWPbURDMbajBvsX4b66tLgaZrt194aCgbf/A2kX54YZZXsI/82F6JYpouWc4g5tbpVdOUKpvN5TS2srMXsJ8tG/D39n+lFbueE6uk71t6ltkLQQ66aYJ4nq+UsCd9WLNfd2spM+l23pJOw3D8OV61TyLafYY0MRsbFPsfRSQCkC021pTeXFwR54d+zQGcpLgYzKBvC1r+3TkOqbpP9uPRpDYjZfK7YutQsOQ8EPvju8O05cr3SW/g55/PVQm2ToGcyyCwhuY4e/tQ95dpglL7o10lQcODKiRhh1mFmfAcoj4IA3rYZ7O5bHPNoRscxBIXMc3zVlvRP1ylbVYOHOP43av1PxJ/69kt4z9juwwwhTXpEjG4Gi9AWmVq51S5qknkM9IHLa7DHT/a0xXqHQ1WGFbvDt5NPc7FlgAfofveLiP5K6f7L/osm+Uq5U09juYS469EP+1fU0UbobIIxKYZl6HmIEOUKh0G/DaLbvjxhHBnmt6Z3b+0QGHSBUi95awDwHXSuOGjMCqPn3rGT1IhK+h2doWSfsBSwHC+6XuVrED4i45Gbuh/LXBSVQXk94TJ2sZqvvhCEZdHyaq5JBOTQVb3+Nu6nNO9ljaWCKemnqoeErZJnSQ8RFmqkkIuGgXC9Ov4TFEtXVzH2ca4iyHlR/tMgoGLi7yJzMnnFj0Q7AW6T+Hbn+hMyo/QK+Zg7enYWupEHvjG5MCjb3Y6X8R65Xo1XT/dLqJZK8a84sQkc25G3pCPf6F1F3d/+I3fBS3aH6JE1oIN4MRH3c84jDT+SOksBuBW9bTVPnGE5ftZ+H3b/5Gx4h7SgWkMk+5anDfSfKEz57HP5E36XI+OYHJ7HJt+o7i7GwVx5t40gj7Gkkq7n8dCBiyd6sG6zzxZmv6RFv6cHmCzBRxf/j5Afz6dYOMgpa9stgFWHJ/enj56CC3761qccrn5vGIVFa4sVcrobOGXhuCeKQjSQ+TMAOsjXe9lg463nNYzUu4AUqJh4w2bJKWm+3RNZ9baqQMzqK3mEPuMDnNNO/1Ygm7PsdDhe/xMMZcS8WTJpgx2qLgG46FjqZ4EmAFxmlTSCyUXuTQRURxtiZ8jdvYeNmajKze0JWee71O5A1ALrraRv2X0ve6b2dCpv+w4PeOQZf6UZUFwCGyL9RxfFUTRw7niSgqgzY6UCYB19vd+QkwrBnl3FLV7uRz0PGrnI01yAn0r49/hYYz9IPCjm/ouDDr39bqGuisY/21EDiFTAbtoAkKqTOM1zfIdmAGMaO7SOKndKc5+kVbMxU+yTEtqSh1Urhz2m6WgLXDGyx1+B9zE7ORQX35NW4/yf/ZXh/AJrjp2/z/jNm+tA/CEu5e2WDBBR1mXWliy9xHmy4LrvuoiJk5prQyOtAbQT/w/qGPXW0l4RmbThzJVBj7rg2yyN+4+B23GXlmFv3k+R2StjUYhveaHmiF2waIVsLXML3AyyVrddp86YMp2FbdH/JqZdhgsmAgUVtQZTHchrwxjR0OH8jZegwLBBWRasHtdsMi0sEDoNyJk4pFWrp5xGXgT70qKvvdrnXdeaX4fpDd7Z+Jz7dSxoHFJ7BIs1B/6UBL/ECk/+YSLcaSWNh7NYpCNqVLpHbf/s191/wQh1hpQSV448ESfKItVrA2yVpqHTlErY3WpPyh3i6PfhrdBsXrOVVnjmKSH0ge/clH1ZRFatFEQwjiBb7e6mbgeMSo1FP624s1OPH3zR0UC3t4ZDtTRq6+Z+aFfCv/vA1H+OzI/tIYMNHgGECSYOLs4nTlzKjBGsLRUI2uY5Q5JMRC5NkLWDlClIBazIBLBRMEq3MaBJOFaNa9dhEX9z8+9brIIf2sJdqewd77tf4RqO6GVPOEh2hmI52dtTeM4Aw/l8dD1Hq1BadoOxGUVbRS1SNoFk/GI2OvpJ7WfVFNWH9PZ1nSSKcMozXIj0Zb1rXkA8ZIJ/rhWeKZ0D/4VG1jA7b/+YdQAl6HFK0sGG/mvbfuZY38JY2N2M9geNEcFJhT2Tj3QkkRMRCB3NCB+eSy3lz2cexGDNENHeU6ucGAewqFflBXqE+FxeCu5Ik9SNLwo+1BvK6rBiYQTE3V5Lr1fE0H0WI1ZHxUGJZEE3wQhFFGfigCbdjj36po6uO/XgXMLDMWQ6Ux1xU2xC04closBm4HCcQx/T8HxTyz/LtQwFHudZTDEx8fH8JMhG1BjO3UxbFE8ihsVcFwvVyotOMqK7hukqj6/liHNbPxhnLeoLM51pETexox06Ty9vPZh0mf2VrlzxOq0HyRNUfSeCphJLZi3xOdLmRfXjjHkMLcSVgK2WdHC3mhCc+pkfcOsbYMLMDs3w07wr+exoNvSHlWoVMiNA1K6y3aBRWjXR+/R6d6wuvBQzYU78GHNNj+a0mmehZ3rlx0gsAnLqFdBKJj1PMk00L2wawxqxP+QA9VbbPKgDiRnxuMxLFn1UPPJ8kfiZdD0/ii5s+9/zm46WtTgI3Hbu9r/Y7nzFXtDk0J3jYTLKqXM3N8ndeDkeGj3SZh98BEO65h9zGcWXogZIkM8CYisy3qbLc2CB3bVIvPjU7+aVqRy6XFK50okoEjpfCLWx7xxJ7PGbxkc5BZTqyZoR37AfsQLs1h005lzD53kTQF1cYTRytC3wVfLZKus2OUIuxEUUHjdo9h8RODhi/t0ChL1SgqYTTbzfIi9OYZwT8KWHFOTiV9rnw3Var++syvAykBJAB/d7Pxneg9s4thaBucT+ptVRk1TUYvtr/xTKjItdaW0TC9Rk4zR9OmHZwd13QCqJ+yafRQ8mMyWEiLBN8qZyn79iopNCoc6CD+GXhfNVUVlR3yb645fA40cfBfaUsJQJfE9z5jJFHqWt6Shysz/9Tf/5Vi/o+B3MtAp58CKcBI796xWuqABnYj9zEZ2GmCz3LBzCyvAtK407qP/ojgMbdNt5nRBJ4VVQrMxi9Ob7TqpSu4Bhy2VhTTxU9sMwTyzPi2pFWZvMlc38SJeXQzdxyhXCFpqfebQxqrRuEyTQml0r5Kf+TQDfLDNLmc0aAsB4bWI58w1Ol8CPzXfo17ykR4LeLDger4iR5SrsiB8Wafs9N78OmymzcNlagaNatmHDrwX3Jcxhi6l9Qrud9H/DEnC/FPkAuZf0SaIfkcwa2vPBAx/fPI3uGT1MWznYO1nCD13hGv8KRiM46hgjyHQwntqrTWFeKrF0i0hh9UR0Hsn+jESKFnTWAUnynbnx86Fm05qddN5S3RPWEOJkmTgHPElnAeeOzHaimzgc6q7wwXsaKyW9yxnsaLP6/1HiK7ZN6j8u+Tm8oTRfZdFjRFICSnRlFGI3JOe7GedesFvRJ3juKwh0LyTay9A3iC5NRaiV8SCim2aXyQk5U37QswLelZikbBkfVhYNtZbrWnIQPZOGgoPhzedhBs9H/U1r+iLW8HTFPxrqSOPGHKQOy77NrSkSvwwkfuvAWK8kyKMEENqkvQ5SmWK7gvG7C/VUI+C1qKSEzGj15HS/AcYsyz/x8asYmBowH3BdwX/yw2WyKLrpzDLbQD3ELGsb2p6sUvJdG8qtQo6U85RxIqpic2jrYpftL2dCCaLPymoc9HKVoXtxULjNaJbVtMX6Eu+YTY6Qjfw6f+JrgAVmmO8eafYlRjLTMFnCposdgJy//YSfSeZFbcGp9FKrkh/tK3v5gtrsgLUPh3IE0vl1yGYySSX0f+OZ7kogjzHyh/vwnS4fAPJS4DBXY0KsFq2LuDlYs210A9kXgV4CWnSlMiMoRDyWE+vhcjHnhZ5hd2dNS1Aj67D/VlqIGzO8c/a6X3n4fGO9OLRdFVGdTuzPvF+EDLYGb6V5fgm2D5mNyaqLP3WUAFJZqbB4hCiyNLjuKuCRG9cHq0mPNnm0rlITB7UFaEygSosTyhnYuXr3jxFkO6vnSiFLOOhmqK2zX0n89dPcZVtxF8UcJ/0/a9wV0VYu5HHLw9/2CtqPHOD0BpkzgzmJ9G4U11efCE/zV0kTBoBXKjlpV7Yuh6XvnFmjI/F9HRfFyBSvw1cY4oCoPYwr7U5n9xyMeaYjr2NXZ2HZendcWdQVN9BJDenjxElJmvYmMMK2538Y93VJlTI0NWpks7x8jfxYeYjTosaAof0+451pRc/kbuxPfIqvjWjA7Lco0kqDbIvF3wNmbx34yONn45pITm6OuQ8iViZptF/4Wk5EFLLABrCcVtd5jS4YHGPQmlK44ev9oMR898TZPcaodjjzIHYSvPAN9m9UgL3wBOwgi5mfRFaJrNIitwXITB9AX2CJ7STfDwoN+tEJll4TZXBpAalL/aF4R0e/OvYyEHUCLG4cyNtylym++D9imF6hSV1oh1808TyI0bFE/Ydr7+lmuUKdhvoawPASZz4z5JOlH5ZNQTkgcKU5xbM7PxsgaLnaf3FQ3GsvTbPNEGtgPU4V7r4uPQfoNM+PHSeiA7UtIUba99qwpMjSTwOyF5ZENZjkWfdE6YvoNWWk2ONM04ug85f0UOoTXihyKbokjebuNcGqjO2SiA19mwbQt6JacNBvuffXLmGWHqVBc8QIbQlD1ePKpu8w7LhdPykPEKlCx0UUcPKW9uSrViSMpve7nl1+9Ceg4aUc9RTH/cjt9gjQIb/uHPTEn5YnPWC4BZ08lFOA9iyRqqTZIICYmuexPNcQS5vQuhBNcg6Fby+9UwRdOEhoJfKRFW78HyV3QcKD6Jg5Tlv3dpyyaU8gMUMpz24JN8j9BDrV78px9FQewnO+SlnI6jkEquNv0rmsCxrMorvRBTDnnmy+6sde0NvIQclQBYvpkT8gHsUF+mvZxtOOF9qv7Y+7WuRe7dSuXG0kPzTzAc4BBIHQ/9OmFWcTUd6Dv2OU+rc2DRa8uG2DlodXqghYUOY+bPHPKE+xa1uU8j2fOMBe0iZPBVKOxJbSbzPYa44dcB3vw0brVlTxahcnNFWTsdMz3wKMx44ol7UudekC3poPw/X6XXe8xCZUvlUgdoI0IgMu2KNmMDRofvwOzHJEjBsdzIO1a6cL35I4ZnLIbK/FR5phvAaW7wvmvYlCPfroW4KoxZ6A9N4oVKaC+/LOq1ReqKM/uMdqnLA43Vih/o1Cbr2y3jUxnzQ7FwJELDhFyGqc7prqTIAznd7/CW1oOauN3VgLMAwAToaZsCebSEPrHTCKHg+gRNayEMq0hCakJhujtbZBAJMKkGKrJhbb7IJx6J5DR2rTTvvMkYLVIo/tl67/sQpifCU/qAv4KCq7NEFr78N0IVHHTikasQf8H+Cge6jY8kMOLzdeZ78sE73E7Bk/aZgXsrjL1yxUCbSLw4un8LrEVtyDC1PFT+j+lm12Q84t3GLajOUgv7o/kFzeIhk6zMTgpnbEu9BPZlgitUr3TzUkuzFhfunrW4Mfv5QkxyMPfspfa6VLh3KVPzHWpQAad+UopQbeIp+pOdYK8ku6DWNoF7ci/cdZO1ggZJihfW+OILRqnwose35YzukpvpuLCg6sOV9o4TozP8n5RE4Q4AQ77LchazDGnmZ72yGvmeXnRtP+Gx98PlinniK+7JX//YcOWr+tZUX/0C60sGxYGnNK9b3ATolUoDJO+yV7NC6da9dQTqWMcRuCC99aDjFFw2ppxcM+vl65EIAQ9B9tCSr/5lrnTOyHq8XAMWtwaWWYoPDf12yrD3FBZ+R8e2OWxLIAzVle/Bmv8ODAhK+PB5Lwb7pfffD5aWoTXhRrznWFJAOQylBtx/ncXHG/rrL1VeQ3AqI/og2qDRDSBcJNLFimYwn8tmEp8qPTonNqAK++sGv3hVNjUzBhOo6+0mv+conTc793fNZ2hXwf3J8emLjDx4ajGiliwpDpy3XvN8OaKyr8hdiU4SCFp5us42+4EUP8P80Z3stAnFETEk9Gyawajwt7V+gmQofknDm0p2U0aNvDy5BX1+Y8xozlR4aRYFTYRmcDij/scCDj7m69rW9EKE69Zc1ptujILPqfnapeFgMwxvskV4ayVwTxZnF+xQXwlafmyD4EgHJosZCrVVJkjj3z9w2XNg1ymV2x2WnZJGLIFrWWrd66PX0D3oQ05aCvNFVNXR6zDBIYp7e03lmxHEiyTbkaElAsbanN5ZU4F+w3ZkCHAr7MWcCKcHfMCY5k9vT/AYHohpKsn4tp2bRDVwuMJT0+6WKWWjm+wc2Vkif2spSJEPYLLo3HZL6HdFe3ikaLs1Wc0I+IU6+QpBGPQYYuH/Qfa/UNjVMDKU/qLAIbIQkWtnhiA0VDSBtaTHD67s1CuXKiZuHCae8pxcGODai5VY53gzMmRhvqiAeGVKEFrk/WwTHaUbBw3OEly+avyO5Cb+RSYQWrEKVpxCgJ8c4sbJ1N7BaYCrme/ZfoM0ub6XKNDkRtO4E6fRWrQtBUMmNT9zQ/B6KS7aUFRy+TKfGKgI+l7mEF+3DSBCS9wI0UnICS7kQUCLzHujVs277IvrHE3UXJtgsedeAEC9ct8gbAVnHUjIDwDe3oTCH9GBlqLwJS9Wks6KT6pZwh9mZhwWduNop8+zLzY/eXwywLC8ABoJ0Pz2oXR+CvE5DultNcROBINHBry2a5Zik605OVDKf7TCGG5CltbWBvY42Q2PBiY2XdsVpto8bl3efArAQxCgS/pPM5EJu+s+I4gvZLsLa2IaRxMKAzFcJ6fnoybdsCZgvX8ssRZaZOKaad+6apEU0Yj5DXNMBoQpqkkHqDbnzsq+ELU0i/ULseiQP5EA5XMSaD7IsxTnDd6JoTj13WfbWnRiIXRBztfD82EnXIGspB+p3vPck7d/QVjE6tqiD3ezK56PuHdnLjKwQlw1aCgXXNNiJCfAjWgttRNminn5+iHHT78+Td9emwx+3a9Tv3Ni0Vs9QoT7BUKH3glTXKC4o/SdrtDyNap1LILdOBuPHk+quHi2Ppm0uPqYnxrCC1YJ/8Yy7LGAkI+RAw+VyOQSPDpMKpPKCINvq70T1JQj6ekTb1qDKqQyhcScVSi88PFw0s/DAX0HeO789aHFPt1enx+9ZM4sexHXL1ZbEmyGCIEMiXEEVfD3a8SdPEfHIJNCk5BQ/h1s2MGx4iY6M/P/S3JDfEnWkJqslML0q2a4D5PSYNHld85DHEkLF21aDZl1TYlx4GHApsaJETxLPfY/y/ePIthUD/BT1WIG673ZQj/kS2jpIHuiINcCqH5kvuT/hUIqJpYUbOiWp7nQD7FtqErRzXiRO/+qdETmq891fs/BrwxOzfg8n/6/esaZCWQN7ON580MYXEszzLhS7LKq/JElH1BG2nH5Tdc+BoLK1L3mIqBK8VIkEr2U47+9dn0qQhuLBTw0XPDBmguV9PgMUy4Ib1WogHBfDPvUXK9xsDgTKDO/ED8MYZTRnhmWZ4NgIrcrJJZ35jwzMO0xSMq1l0LizRrMNHx+YFlCfOY/DMXrZwx/RjetikeCkTo81lOh/Ug9hGDmcsejdXJAe1hR0oIwoQuELRLlXAbmqmqhiWtpV0usDPt9TnrVhAx3rujyRtxue1LrlflrjDY00fLLbt4tYYnh8g56bowM4YtLqwUyLuGX3yHsufcJs0XjBCgIXDERH8l9dkdTxEAkqLclbz41RvdP9wgha/rOQ+UrmWZULx1g44Y34N2TZN2ccUtTYMvWFOra50qmVdLsC24DWSq2Yj+VkzseXAQ3EPY1TCQhxU3ojyYn1vPXx2bCX3bbXoF/6CIPWURf41Rt6axSeNLD1/mHAhWjVppfoifuVJEEKb7qoK2wH0iZ9vb6iy4MsWYg9Fl1qjGlwFn+Gux5ObzdWgEYx3gLXs/V1851h8hVQRRp1IU/aaYamPMUTCTDiv9MVBHQOCaXdHU75suIYXbOnBnAc1nzGVyBWS/MtO3JTYQhCXmEu92iPbEReoKGxa9YGKkaXvxSc01ocSplCK4PUfiIFcV7VK6kMirC/cHgNSg8UU/DxargAV43DLaVGjeBXLTbBNj24hwdXgCS7NIR/ViLhdiW3cNCe/fWlyMLOOd9Pdx1o5O1W1lxRjitys5LUk6CaUImEpDC+ousQ4drmkC049cra/5C0D09NUv10t74Vtk+O5u9uOfLbHtRVztsT3f/v40afW2KH8N096cwm456xao4J/K5Ki0JQ2xQdg042gzoGaAcimvrTJy9dbeJ+ysvQda+7VZPWfKPdixt1Nfi7XgbLuSi6qTQeG3rBpKvaFToKKFsBlGiyTu8cRqeELumlZcYGwCedBRFIhw/9mjqJsRnSimEYh932iWOOECRDwAlWinQ6Ltc/9TQnKqGC4/0+yB94rzCuVdVlfhYn3EQ9fQRoJ8IZhZkeVtyAVw1brs0P1074QG+E0ObgR3tVyRKDOghS716z1HbFBvF/rC6d4wFsjINanAMcEd6OL6qhCgFu/hCdWsCWUDfUC4JwAOg5eUTOKbgrMx7rujo0dPumGInKvjCJQyvTewyK1t897D1JQZCHngQSHxPU+hlLUzm6GH0bnV2OTGWrY95QRbTVEckXW5eRCXCVDsJLWwkBN7G/Z9WNWg5hdLUjeDB+ieyeMtXr/uImlBV5QYWgo7Mn/iJGcI+wlm55WouqvZS1RFCLKSO+N5KsRS3zmekRlTjjx8LaEufBF+YxzkhwFGJ2sETps3upkc2hY60I/oyZqm6qrpl/yvDfJ14ngQjr7FIegCaEvZeMBfYpRtA6u1CwCOqzhSR1HnjT84S1zLHks/+0QWQtE531C51BfSwSqsqClTrX8860hFGDdD1fOYjZug73B0exHZ5I1qzQCtoeHJ95ePfHkQLyw/ODTSjtGmBBaHeijbbFlv0WUhYH/tudkLvlFa4zdG060oI8cOXP2TrfKZUTVyPXdXcjfwXut6WOB5A14QBJntizTxq9AKGzQFJNfIaDJBsOJi4M7q5b3/QInZYSBkkIvgp11rz3D5pRxVctYTXkz79QPPrKuTBT37L00FKJWatvi6FhzxyZi1bfRSwKCZHlZmATlxhanXa9BFFyJ0UmCso1So3eFawda6Y6BlAZGAuuQ7KI4Hq+RRoMy+I0EuFHOdxffsz21GcgG3eKM3EmyrwimIrz6eQREETbugYbXGbBPT6Ih1pTkVTZ8djwUSD236sXtgeQxUQiHB5qi06fO69oWPIbVPT1h44WQOOddDhRln8RvXRmHkY6zNRe73U7AnORRPc9zIk8n5p35sikn8e6VzlxgrqBcbLtQm3ggVZY7IsyV1MSMrdOMcwIM567e59z9BHB5X/WkOmx+i82hW2hlQFKL+GKLMqyR3SISR2MV5e5PA5XbQji2Js6rPabwu2136QgiIU4Nwdn2GxiTczheKUT8moJYBBGNOdgSb67IJxJVyDP8FntENLItE9zcyUm+E0t7AJF/fOiD+90DVSUGWSmcaSDfCEiYxCZi0SUQqYTut3ceNjWdIIGgMnCHVt30asxdXDtoz4wt+DbYle5kF0AyyYFgvR1GznRFVcQ7MEEJu735NRPUCAF2Kw1ihmIMdC+i1JluK26ojOdN8tK1TVqFFOmcZIO80QMvdFbiGF6DfGIZsqgk2jonMvHvSNb18MH1RRR855AeuDs9/i6r1yvkLuBBdocVEBSgtk0YqJfhspVOAEjF65xPJzvtMMyrVnojLOOWkF5KLnXgEdlo67CCgQRncvtapFVKQcSvGewiqCf8sHn9Nhz/jHS+b4LnUWvlzVGyiwqJMjn7/UBFNg4AvxZQ6N7TpbWoV+rWt3lN2D/HFtFhWVCxCWhYL69XDfRlI7lwsaM4hVYjN6VJILpZ6h4GdmLjCJv9e7b7I8+Cz5jw+i1oxp/HnYHXV6c6IXtQyhh5P3I7A96OlFTCUGnAdKj9/vGfwk5xoQL54NvgTRr9huaX+TAgZHEvKdPtCXkoGVyXr3upDXJm0qNMlU9wx8atNUIujRdCBHcCzgqwqfVkyJe+1tlJabvTapFKh/1tBPIJvMbP185myAdjQSfquevA/6ETuUfjGL9lpA56Y0MS/bJCUFcpoaySFV8/Ntwm54bkw8phD6Lh0Wy8x0sWswI+UdzncUW+UMOQ3j4HYRdW/meLwewIZZG5ugLLz4GWBf8+8A1Yl4WttPxJYvixPzrYDaCg2rD/ayorzWtPMSrdMX3fUVG8nK1Uk2vl7n8dY1D2/zLQGutNu8NiDq3MxhzItcDPI3OcW0vGt7tTljMyujWXnMdtDPGLX13LIfW0fPbIBPvbDwhcErzZ1l70P4xmqjMcVYkBSSYuzD6D5nMt1/sErfNcFtU3orkfy32w1EuCYp7GRnlBG49JkyVMdiiefpaAacZF5hDhCV0klAbbMhhIt1IOCGiZFtzo0O/Z/B+gRXy9YiMzMbuh3ejrvWZ8YcoRHygcR0Xfn+MQuOZ5f+1sqy60gbW+kP0inEY7NPtDL0sLBsaUmgnWo7dQMEkijsyNxcVnSsfvXZO8L71ymRC68SHnz7efNlqXVoS7qChOvr18kEBEtztmw0LzGaU6FYTOQnVhDjUKxm4HA/3ebjari/XhZ3jGfS/KEZFYdPnMGOXeW/xoS0YBbX0GENpp4Pjf7ONxNnfaDLbVg8C85BCwyF5+8NiV/G5zRJ6SH0rN4JIxOhvyS6SB3lDL4l1/9rElnegZuvE9HtdH8ZioI3sQpPlFx7+YG5wV1KTMED22jItnBh1OgLvpg8+7iy0jjeNDfDEWXVuZh3VdeYMbDTKL/Ob2dSOJdYH4osEe3lRfjiUadL65ehIZ9s8/nVDoKDeB4VMbnLkoFZTgV7u+WBWZ9mRViJ0XFEDyxgXiP0y6nuDqBzdscO7voQvkBbu87WxGEA1xf/PKID82/dKEuZqdHYo+6vWspvt5dX0WH0/fqRqiSBZiwMJyaptL0s93CP+wIxrOwQc7scqldVYcPk2GwZliOsW3E70h9lZgQQhNgAYE3Ez5ALM09ibnbdxY+kOyL5raSUIA2tGGlo3URlhUoG6xxn+OwOV080LlIC8ZJD0gIZnKXgXAsVQt6zZ3sFekZpjSdEWEwRtjdRlSVUkSdNzSRqmbNPO3YOC+2jMmxRyNJnzfdIefmvfpr3ubHv6bXLZqNw0kgl4kByofz3zM0viI/kjDCgEVq9xGO/Mesed9ioMLVAVj22FIAVgNcTlvH7TqzIrmqaIsy7MpZcuD7VNY9tltWHGvoB1noMFXksUcSye27os/WI+H/xprUKIr5tfVI7m+whrap09LbBGgmkDPlt1pS2BUdZdjsjYMj6CHM8PiIsSfUbcgWFQRp3DMGw5N+udfDTYMSpRQ+xEG8guHx6swCp2sRdihd+rssmZetCG58kNFucIKNJOTKsUX37PERXJ29PL3MyErkVfCmqRw8nWE8iwPlLycfch0Had9pu/LvBbai1NAzTw6xn4eNnHzQRNMB68S8SpTJRy64fWHKJpFkgfx2RwjOuSFcLEmdvRKZLhb5fprGaVDUpMX6BiXAA5qn24SR5gzuxZZb78ro0DjNnQ1M56jphOFeM7A1J31pLN7bZBIohEtRX3WvE9kfcBByuhBCFClNDLQiTj3TIE3b3fsit50xKuoxrf6jdwjfCngAzZ+AK0W4YcwgmAwifwAz6ZZsYDvzjCu4OSU5zxr2Sl4qbSe+awZRcnobBm1poELiddzMX5bHcyfV02HtslCAj3yZ1TFTAgfAegpoPOCMoUO09aa/+nsdlkldrgxRkxkeHJwc1BRC7Ru+PRDFqgyYdfhMbqLcRiO807ylzUjGqec0PTOdn9bpgoM2hDB2hNgVCaI0Rfj028s9Dst7UCvo2zE6o8EexNLYsoOmYbxEKSg/G7dakZhibM9jq+jfthChk4MggsB0tmwFdiEWdrPf3ywztvJjJhGDfVj1+ODpTd+oVg8XHFVG8xYOUVbB+/r9tnD4rFRtKsS3579AhU/4Pp08Vpfu0mHrXX4F+aJ4xCCQJdRA6a04dXGHXavU+E5xJK0dzX+zV5DKJP790zKhQZTzvPtUUHL4MH9SQ0tZv2kkt1fmsUXCzzoidnqCvGqqt7edT/aVg7sY137gO0NlZsU8m7UEe7lrTieLHWvddr387V5+EPdBjLqRiGHXffqllfhD9olm3v6j1JBZ7i7gKt4rOgmR+4nd2QlJr4LE9SSBacVzsEIWMqjFjHSPAoQBU7AIwat84/x95WUP7kWRZn3wQhfHG3ebteDCpQ29aqWqnbnDMC+7PzJ5JLIqaeZ7JlehO250E/Qqav51AfRxhlHImtKA07u1TTysd/dKbRNFXth6HQBOZCOeN9k8qlsolonFzxcZq18pVG5M40pYOeRAw9IjpeUftKUMHnQN6qFDqj2+ilUwPxu9eIHAi5fA2yAPN7o0cnFmEfDhl+cfnYtTQZVcuDvXaDmTYq5PABYlWHGKOdm0qqWlqtEICXBD/0rTX4MKmT8IyYGUMO2uleddFyWfu6tvYjvcu4Czad0pvMtekCS+ilM/c1jmbiqtlX/QRDGtJ8KkH8TY4fQi5BhGm8rGI1v+p6j0CQSzSeW2Np6aa0wpSE6/z4zvLs/pVaDV4OgaGCkw6lFBFWf/Q1V4vFhjYlq1cAGqI37ifEQEkUhu4iaPHM9otZIJw8qOUC7PMAajlldgmGRTKW6+I1kBKu4+Vh1Ig++UM2oODTlemOGiThM5JhypRpKFyEnKCSKf/IpHSM2jMesFAfFTar/D/8AtQOO9AUMAlSNqWb1b35+/5s/+u3LhSEHD4G9rcsOJrkSF25CLHzsLueyDeGXTo5DjCkGZnYj4NbGBR/lKRVGV2vwxAJ3dTrXYGK8qH5Nkw1pHCFooxg7P+6b8y85aE4J6IgIt6NhFDaYmv6GXh+P2BaFgisU87eANMGU1Ww/X5H5VcX1ipQ+F79XIA/BJ8WNflllI9ghzg7iipGP+1vg1bdBaj366tPnPE7KCnLhba817TrOYExyHlr+GSgRxI2Z/IOz5OBWPsYsS1zDEWXyMDgBjTUyYVarhkjZOX3Ra7ca/rgMmA1H1oPp4QJeXQ5uN+hKwGLba/TD2H36btmRBAcjU58+J5ht303wB+UN/THKUPT85IsM0a0y3FOArvYnhD/G3etVCs+XqLo7JOfttp289cR+wQLQZs3ALqA3ebrEZ5lE+7srNAwnwkkJSQnnev1lj2bwXfkTHJI3y9/n1OFoVTonYOfbi5QyXeXLuR3CDiOrOAUvt+aEcneLdNyS59UkuBeCobikwKJIX0XKZKQRRga0PD/DDCjxET7Xy4nLApjcanXgDzF47WzU4FlbAW/bN6HgnLn7tIxZAtcZLD+DgSj5cTwBzpPCAORGflh7SRYkqN/N0e2EJdjP9p7Qet5p598bSEMnRZ6H4tcmIyUyCv5An5tes+gg24v6yXLMcfwRaW+sDhGblpNX05puJwrH73OdL0dQyYe9bzfxL+QFZECpPUZp/7eWfSuKa6TOqVCBfTYI3UqNpOX0BkOezqyBfyFjBbptmanqkeEX+kzw1yyn1DKKRwKZnKWMsQKler/PUthRxoxAoEPyGi/UipNZdH7jIeQ9I/CKfnYlGheR6d9YF9L106tFpHnMktW858gzEcnnKr+NttE1F/ie3UFqAs+keObMbdYzC2XfwyJQWifsx3mAH2owFIdKFBX6eUx9YrHzxn/NhcCtDifgbWC0VL1uZULlbN289fdBBzJGMeNOQNQ/YykmXt5nsk3NmAnOPyeMUd/fy5T3+rEvf6ixZgL4mQnPmY4oq98iIU/ncvirAVJ2btkvOt6UI0wm79aqN0AfIhXqV+0K4Cj7IoYEpH+bKkM6rMsD98q4j02vPyXimw2tLW7ye5LR7V/ofzQWrFYJgWwoHWMROHuwws5BeVJGuFvT7Jb6/+SW/zoecA0iuK8en7ShycCY+NTIKjjktsWkA8TZi3sZRuhdhCSPIxGdD66ZQvQXPV2MjYmF6l5PN1QGhhpcz29nSH8DhFUjm+Ssqi4rXRwBgtMj2UXtg9ZE1QE6VjWDyCoIE/M0Lio186urjuzgKMhgGeV6mU54tigDFF6upJKx0N/bNRx9+lyPGTXKNvYMeY/j9wp17/FNHKlePHlH8XSHDKbENcLNOqYrj/UiUx98G/+jjikL1K1Y0c6wrY3kjudoFZpNN7+MBZX6YEsiIOVplVAQlDy2uv77pliCGIwkilELZGSZLdVFr+DFvYu4mWfmL/IgQdYoCLnTKee4oSlOeHyFtayRnrffC3vdjCyQ8wBSpbFpCQwZIfLnt52PNqXGi3ADTRjqKRI1Rplw7R3iuWQcYT3ohCn3RSyp/ubdIIxQ1l7NF7HDaQU/VxqCHIZamML8dnXxzP/Krk0pM9i1CFz50/s2yLSwUrpkXGhWiQr7Pr3esIMUEJewHEfbjMiVUN0dsWjko46mgoVvTVBAIe1/RhDMNrw0ZMks94rAEhP7W1rBjM2JiHNSkeGLStBu58flJfnt71yu4WsPsQOdMbXPYWTJmIhfu8OKYGBSJcr0bF+ZW6JxNeFXyhGKPwm3AfxOVpBO4/gDzFVAO8i/z3JiZk2OVzknqbBZzuSTl6LBcZ56V5/FeXl62ZW/pQKydqsrPa7AVcpKqtZooM8t8saz/yTsFwsNp1GNt5hKM/+KvD5EsQJRzhDnHCAN4XTDKBmXWVbAXXiBtNJp0iXSRt/f6rNydAQgkoZBM0S6bKbnfNerkwnzIhkzDBSWS++75Q5xK7ZAASV3Yjg0Rcv0iGZfvFMW0BQJ2b9vjrbp6mv5qjIO23lhjdCsjJPHuHbM4mOnkWpkwVqTliyq10MS+MIOfms6BeeNflJ9H2u5BhLCXTYST9SasAcB/Oa6Gcyvb/k2mEZrFa2TyMGsRKg3+vIxMTcV65IMqO+iKkkSzM4uckLFXOvwzqc3trs8E7+YESIm93FY3mrOn0/8F/AqFKE1Gmp0Lxgo90bC/lR3VStvEsdt4+6FfnIU3I8+lMHMMI3fL+Q2DnUgWukIcjIYvWYR0AmSmiR0xFEJGo8m5v1Sa+XqbwKI2WyESMPwKkSEBIrfQAFPL9fCltfoyB83ITWpGd9sq4VX0VvW4zivnu+FYw/zE4AIr9iMFViTO3+ngJk6cc32tK3HJvTDFDyknazzN/deyLGvdtQ4wK7XKr0PUlTH66TPS9zNCt7GWvIlsZ1F0rGdLve1dbzDeswPQ7UxTNg0iowDr19NqangP/1S1Y7jJTgLxIcIVp7MyuiZ4GZkIJ2/zjROz9zaO9drUym5VRCkf79eTWjjiMLvOeyRax+3IZaR4Q6bX5nt0W0x4RXOwguHJJpznkTf4YfIMotBkBvwtn9oSsoIIER/FPwzmSYY4GiDQIK3Tfw7CAstH0FYr7r+Kia3z8GzgC5Dy87SO5ct5gGN0TupOq3Yj+qGyaV29DbB6IiIbKhqfSJOh+m90SkUlkbSREibJwfRCNg+wIc95RsO48qCLIXboihGZBt90Mi8hIfsOz61nq/vnh7gtZ/j1lTLZLB22PYctc3ppsyaJ0bMmvt23z0JZ/LOkKC05mRQbv0+D99r5c0FQb4GVPzQ6VNmJDIrgDxyFLCzEqKJd3CBQ43kNgISC4RI2K0PS6dzF7id62+QB4PBXTeugsVgGM1WUlKFMpdt88BVbcPNnfHsuqPYwnBTgd7ew2olpsGN1EarjRAeR8bFjlqXwWmaEk4qJFuilkVzB8zIJ7Oylqk9+8qGTxoaZhkz4uj7OdNanbWIYGn/3jrp0GC9F6o1n1BSLD3ZGBlQxtm9aKl5Gk7LOLcu45U+AkwG8hCkP5aolgb2hd6zB/155dOi/Q0rkDxNu9boQ6/y4DLosuN1vcCXkRx+UciHSmxOKL8GTGixyhcndHL0WmkEdofQiWosaS7ZeVlXNVRIPvwLuVsKHGJL2v7MoZrnv5dOldZw5deGxlUGa5ZYAuGP6SIWE21mWTL5qeq+mWoCqGBwlaTdEJEsx7ZrT3VTklg8BJtdaNwUCdz/8SF9GtvYhPDyiLHOSaG9NxID3jAxCA+sYWpvAt1qRPKtxOvv6g14P6E52y1qxF+6lfv5tVT9dQ8M3loiTbJMk8ee2jWJzHyNvbi2aqijXiOsqymuLTwov74rIwccE2vo/v3b27LnzymvF/1IrzlIX7r0z1pdVBIi5CFLTmHHVsjVi+g/P5H4/4U5NYYx5IeL29ps2Hjrvpq/Rjn7rLGYKWmGWPkOHqYvUCguNaNb7IjyajHNIWB6bYPO8MHyk/qqo0U0Eax/T35/5QkP63ScLNw4cvoHr/9LmqsVE45/pqX5lNOpjEy54EdSqNJtflS3lOw+ho6jndatSrVzDN/jTn7iQqBh6YMAcVAQ8qdZ5O6ITG57W+PhVM9K1VjMgaijcXpvUMFMFGsI21FudMM4Qm2bF92mxIfpZrjzgXTk91vyK8ckSE81Rg/mwKuI9WWWjAeol/72VIoOxK001R0xccyynwwT2PTvr/Y5c8fYpxV22RfYOSl7PXJV7+sUcWQCGZdm8oKEJ2hyi1qKFAz8g+7SAf6Ip5kBWl5TO7Gm+kfhrOP2JXmUNN5JzA2PegeZG8qGBgQKN6bOVpSeZQw3wnEf8optSb8M3K03V3mo9S29z1MBcgtbFLbkZx9fN43TAsJjhgYcpHU6j50Ua6an2VVvtGOrelmxUu+UvBBWOt/LOm78Q2cI6WHMsYnBmI1jwd1nubjEKpJXO6bKzyieocZ2AXtwjoZDoKWfovttNJmW8faX390L6Ld9opkt6tmGsyIzD01dRfqdWhSqAf0IJHjtgBemTLnltcVucdUCarYkQnIXQe0XoaZpwa8BhS7ORXn5HaQxa+RHZoTCBXCewPrTyGYtCSLlNJW06mF5dwG6Pc1Z4B+oWM7VcSLhha0JxNmLJbZnGiwAsMdfQb6O7GJ+q1XM3zDgMVJCREr0FvHpFEbaCeRpvXlvCUwu7eybmCVlRRfHzrp37ZL/0sU9AYwZ1RxVNnvB3XZA+DOyGOV9qJ97VIVqBLz64LBYH9gPCbikzEKj+rks6nsVJOvthDXJVb1a1+sxR8sPkXbvgqQYrRbDD+WAh9w1+l8HkqkB/ZgQEUPpu/gZm/ILBlhHJgh3aKXbGVzQcqKLV0/KiRxuNm3nUaWKy42qp9uhGOU5yowFm/hAmSX/xIozobXsPwY/MuoEblbD6qJFrugww6IZCgIu46iUTIZZViY5jiWLzRBJ2dTeCSA+hfrqiBrtqi3USK8gRvVWJadnQ/BsQ04RzRtxVx1O2ixBy4MgReYwrAhiBRsB2c1RPyIIJ7HIKZlHmCRfsQ0bH8e/yTAl1oPzTLoyxg25q+Gv6i37SNG8XBFaKgqkIMMXtsa3hzze4mJhWy4YvC2JUV9iLYXsR1nb+csL15PtWfPZE9SJXQi1F0sEbNqSF0f1Fe0q5cY10CKp1i10/bKLfipjVpGexHUQRkdfJ5I2a3Xqinzk/80yL/rlF4yXdhRfjpAxQwodWup78cCTDbbkW9ghFaxGN75qgPGE/SIPoi54t0gaJWah3lK+CPV4dAtExwbm2meqA8DPpKG1+/O/j55QtPggonEqtQKRCaMY8Q6bZQDzxNDKAjeom29POhE84/4Czs/ZZnVcRyvDJkZhYjjxf1hOekh14LVvXNcSN1WdfQ+93pzCcvQzA1ZcsV/ju9Y6SAxbl/xTIGuhPalLXVlwDFK79T0mqEdJ4n7/GaF25fJKFNZors5JTP+BM2SbJYjSwJzB+ONx28WIhVoHM4LLeAnUtYPgk9Lnv2GDQLyaFIW4oapYnZnVYQnjJ0UT6ogDLt+ZHdyOdExjqJWwFd74oQc5CSTEFyacrjXX4wVdWe4jnXh5PiIam7bS15k4loOtrduTnsPrOcYROqtujzn86ILSVeqlWlzlSNvBNNwXA2XF7CxpxBqCsYd28DieUV5YkuE+HJa1E23RYgKKP2yvYXRY6lh+vhG8n2QFdmWciNayql1cYQjJQFgrNyldY6xqa2bDpgMkJASHhrOQ8+SPqlUOJDiXnLpnzZlP9GTOtWSsn4dYEcWcMQVBFhoU0zp0e2rRewp8DTbp8aDbufXmiHgBLdfUbotJHimqmnodC030LMKu3hrQHt8GIYxhwqu/f7ow3wXmptuCsLx6wMCLUo5GK1vC5tiVkfsAMyjxsW5WVAh07s/EkqRIJvG8W/Ov5WoLP7lVWwCkhLvzdjxiW8edPqrvywgEwKIwE4lT9c7V/dBW8+T60qWjXN2rhD1W3zDTsnMplROS6FJaNwGeGa6IRkLor0pfxVAafJylK2xUQhgmviZH4FFMaY+SoCAJYTloCYgwc7qCfOH1Qq9K+3a+vZmF1G7vIXAhVD/6EJGC2ZRTkxnQs7r9+sjRt06ZpNRrsljN41nlFM=" title="Mekko Graphics Chart">
            <a:extLst>
              <a:ext uri="{FF2B5EF4-FFF2-40B4-BE49-F238E27FC236}">
                <a16:creationId xmlns:a16="http://schemas.microsoft.com/office/drawing/2014/main" id="{BE4132D1-E69A-401D-AAD0-4FB4F79D725E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 bwMode="gray">
          <a:xfrm>
            <a:off x="346844" y="1947054"/>
            <a:ext cx="11508907" cy="4461672"/>
          </a:xfrm>
          <a:prstGeom prst="rect">
            <a:avLst/>
          </a:prstGeom>
          <a:blipFill>
            <a:blip r:embed="rId8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2" name="btfpStatusSticker721941">
            <a:extLst>
              <a:ext uri="{FF2B5EF4-FFF2-40B4-BE49-F238E27FC236}">
                <a16:creationId xmlns:a16="http://schemas.microsoft.com/office/drawing/2014/main" id="{3008C5E1-A58A-437F-81AE-2107526FE35B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100356" y="955344"/>
            <a:ext cx="1761444" cy="235611"/>
            <a:chOff x="-2280176" y="876300"/>
            <a:chExt cx="1761444" cy="235611"/>
          </a:xfrm>
        </p:grpSpPr>
        <p:sp>
          <p:nvSpPr>
            <p:cNvPr id="20" name="btfpStatusStickerText721941">
              <a:extLst>
                <a:ext uri="{FF2B5EF4-FFF2-40B4-BE49-F238E27FC236}">
                  <a16:creationId xmlns:a16="http://schemas.microsoft.com/office/drawing/2014/main" id="{70F05AA4-1BB2-4994-87B4-27A566C7E8F2}"/>
                </a:ext>
              </a:extLst>
            </p:cNvPr>
            <p:cNvSpPr txBox="1"/>
            <p:nvPr/>
          </p:nvSpPr>
          <p:spPr bwMode="gray">
            <a:xfrm>
              <a:off x="-2280176" y="876300"/>
              <a:ext cx="17614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LIMINARY</a:t>
              </a:r>
            </a:p>
          </p:txBody>
        </p:sp>
        <p:cxnSp>
          <p:nvCxnSpPr>
            <p:cNvPr id="21" name="btfpStatusStickerLine721941">
              <a:extLst>
                <a:ext uri="{FF2B5EF4-FFF2-40B4-BE49-F238E27FC236}">
                  <a16:creationId xmlns:a16="http://schemas.microsoft.com/office/drawing/2014/main" id="{4F9F5B80-EB35-4C55-A6F3-043A5867D8B0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80176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766908BF-20C8-49E5-B0A1-DB4019BDFB6F}"/>
              </a:ext>
            </a:extLst>
          </p:cNvPr>
          <p:cNvSpPr/>
          <p:nvPr/>
        </p:nvSpPr>
        <p:spPr bwMode="gray">
          <a:xfrm>
            <a:off x="340699" y="1350954"/>
            <a:ext cx="11510599" cy="54965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 </a:t>
            </a:r>
            <a:r>
              <a:rPr kumimoji="0" lang="pl-PL" sz="1000" b="0" i="1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at</a:t>
            </a:r>
            <a:r>
              <a:rPr kumimoji="0" lang="pl-PL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re </a:t>
            </a: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most important criteria 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en evaluating whether or not </a:t>
            </a: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use a particular provider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</a:t>
            </a:r>
            <a:b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 </a:t>
            </a:r>
            <a:r>
              <a:rPr kumimoji="0" lang="pl-PL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</a:t>
            </a:r>
            <a:r>
              <a:rPr kumimoji="0" lang="pl-PL" sz="1000" b="0" i="1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ummy</a:t>
            </a:r>
            <a:r>
              <a:rPr kumimoji="0" lang="pl-PL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 you </a:t>
            </a: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ank 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ir </a:t>
            </a: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formance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gainst the below criteria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</a:t>
            </a:r>
          </a:p>
        </p:txBody>
      </p:sp>
      <p:sp>
        <p:nvSpPr>
          <p:cNvPr id="27" name="btfpNotesBox350040">
            <a:extLst>
              <a:ext uri="{FF2B5EF4-FFF2-40B4-BE49-F238E27FC236}">
                <a16:creationId xmlns:a16="http://schemas.microsoft.com/office/drawing/2014/main" id="{395AE04D-299F-4CEA-A1F3-3D750DA425F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C515510B-4B1F-4669-9E2A-A0A9C84571F2}"/>
              </a:ext>
            </a:extLst>
          </p:cNvPr>
          <p:cNvSpPr/>
          <p:nvPr/>
        </p:nvSpPr>
        <p:spPr bwMode="gray">
          <a:xfrm>
            <a:off x="9094237" y="1891970"/>
            <a:ext cx="2550367" cy="315449"/>
          </a:xfrm>
          <a:prstGeom prst="roundRect">
            <a:avLst>
              <a:gd name="adj" fmla="val 50000"/>
            </a:avLst>
          </a:prstGeom>
          <a:solidFill>
            <a:srgbClr val="A3BCD3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1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ding</a:t>
            </a:r>
            <a:r>
              <a:rPr kumimoji="0" lang="pl-PL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N = XXX) for </a:t>
            </a:r>
            <a:r>
              <a:rPr kumimoji="0" lang="pl-PL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ach</a:t>
            </a:r>
            <a:r>
              <a:rPr kumimoji="0" lang="pl-PL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brand </a:t>
            </a:r>
            <a:r>
              <a:rPr kumimoji="0" lang="pl-PL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tional</a:t>
            </a: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9" name="btfpRunningAgenda1Level644957">
            <a:extLst>
              <a:ext uri="{FF2B5EF4-FFF2-40B4-BE49-F238E27FC236}">
                <a16:creationId xmlns:a16="http://schemas.microsoft.com/office/drawing/2014/main" id="{658532E9-9B7F-4124-A351-274D8493BA69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0" y="944429"/>
            <a:ext cx="4267863" cy="257442"/>
            <a:chOff x="0" y="876300"/>
            <a:chExt cx="4267863" cy="257442"/>
          </a:xfrm>
        </p:grpSpPr>
        <p:sp>
          <p:nvSpPr>
            <p:cNvPr id="30" name="btfpRunningAgenda1LevelBarLeft644957">
              <a:extLst>
                <a:ext uri="{FF2B5EF4-FFF2-40B4-BE49-F238E27FC236}">
                  <a16:creationId xmlns:a16="http://schemas.microsoft.com/office/drawing/2014/main" id="{AFB12C14-13AD-4081-B597-E924229F5FEE}"/>
                </a:ext>
              </a:extLst>
            </p:cNvPr>
            <p:cNvSpPr/>
            <p:nvPr/>
          </p:nvSpPr>
          <p:spPr bwMode="gray">
            <a:xfrm>
              <a:off x="0" y="876300"/>
              <a:ext cx="4267863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79416 w 1279416"/>
                <a:gd name="connsiteY0" fmla="*/ 0 h 257442"/>
                <a:gd name="connsiteX1" fmla="*/ 1056380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4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111102 w 1224695"/>
                <a:gd name="connsiteY0" fmla="*/ 0 h 257442"/>
                <a:gd name="connsiteX1" fmla="*/ 1224695 w 1224695"/>
                <a:gd name="connsiteY1" fmla="*/ 257442 h 257442"/>
                <a:gd name="connsiteX2" fmla="*/ 0 w 1224695"/>
                <a:gd name="connsiteY2" fmla="*/ 257442 h 257442"/>
                <a:gd name="connsiteX3" fmla="*/ 1 w 1224695"/>
                <a:gd name="connsiteY3" fmla="*/ 0 h 257442"/>
                <a:gd name="connsiteX0" fmla="*/ 1111102 w 1111102"/>
                <a:gd name="connsiteY0" fmla="*/ 0 h 257442"/>
                <a:gd name="connsiteX1" fmla="*/ 1056381 w 1111102"/>
                <a:gd name="connsiteY1" fmla="*/ 257442 h 257442"/>
                <a:gd name="connsiteX2" fmla="*/ 0 w 1111102"/>
                <a:gd name="connsiteY2" fmla="*/ 257442 h 257442"/>
                <a:gd name="connsiteX3" fmla="*/ 1 w 1111102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950801 w 1056380"/>
                <a:gd name="connsiteY0" fmla="*/ 0 h 257442"/>
                <a:gd name="connsiteX1" fmla="*/ 1056380 w 1056380"/>
                <a:gd name="connsiteY1" fmla="*/ 257442 h 257442"/>
                <a:gd name="connsiteX2" fmla="*/ 0 w 1056380"/>
                <a:gd name="connsiteY2" fmla="*/ 257442 h 257442"/>
                <a:gd name="connsiteX3" fmla="*/ 0 w 1056380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111100 w 1111100"/>
                <a:gd name="connsiteY0" fmla="*/ 0 h 257442"/>
                <a:gd name="connsiteX1" fmla="*/ 896079 w 1111100"/>
                <a:gd name="connsiteY1" fmla="*/ 257442 h 257442"/>
                <a:gd name="connsiteX2" fmla="*/ 0 w 1111100"/>
                <a:gd name="connsiteY2" fmla="*/ 257442 h 257442"/>
                <a:gd name="connsiteX3" fmla="*/ 0 w 1111100"/>
                <a:gd name="connsiteY3" fmla="*/ 0 h 257442"/>
                <a:gd name="connsiteX0" fmla="*/ 1111100 w 1111100"/>
                <a:gd name="connsiteY0" fmla="*/ 0 h 257442"/>
                <a:gd name="connsiteX1" fmla="*/ 1056379 w 1111100"/>
                <a:gd name="connsiteY1" fmla="*/ 257442 h 257442"/>
                <a:gd name="connsiteX2" fmla="*/ 0 w 1111100"/>
                <a:gd name="connsiteY2" fmla="*/ 257442 h 257442"/>
                <a:gd name="connsiteX3" fmla="*/ 0 w 1111100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271403 w 1271403"/>
                <a:gd name="connsiteY0" fmla="*/ 0 h 257442"/>
                <a:gd name="connsiteX1" fmla="*/ 1056380 w 1271403"/>
                <a:gd name="connsiteY1" fmla="*/ 257442 h 257442"/>
                <a:gd name="connsiteX2" fmla="*/ 0 w 1271403"/>
                <a:gd name="connsiteY2" fmla="*/ 257442 h 257442"/>
                <a:gd name="connsiteX3" fmla="*/ 1 w 1271403"/>
                <a:gd name="connsiteY3" fmla="*/ 0 h 257442"/>
                <a:gd name="connsiteX0" fmla="*/ 1271403 w 1271403"/>
                <a:gd name="connsiteY0" fmla="*/ 0 h 257442"/>
                <a:gd name="connsiteX1" fmla="*/ 1216682 w 1271403"/>
                <a:gd name="connsiteY1" fmla="*/ 257442 h 257442"/>
                <a:gd name="connsiteX2" fmla="*/ 0 w 1271403"/>
                <a:gd name="connsiteY2" fmla="*/ 257442 h 257442"/>
                <a:gd name="connsiteX3" fmla="*/ 1 w 1271403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3 w 1271403"/>
                <a:gd name="connsiteY0" fmla="*/ 0 h 257442"/>
                <a:gd name="connsiteX1" fmla="*/ 1216682 w 1271403"/>
                <a:gd name="connsiteY1" fmla="*/ 257442 h 257442"/>
                <a:gd name="connsiteX2" fmla="*/ 1 w 1271403"/>
                <a:gd name="connsiteY2" fmla="*/ 257442 h 257442"/>
                <a:gd name="connsiteX3" fmla="*/ 0 w 1271403"/>
                <a:gd name="connsiteY3" fmla="*/ 0 h 257442"/>
                <a:gd name="connsiteX0" fmla="*/ 1529935 w 1529935"/>
                <a:gd name="connsiteY0" fmla="*/ 0 h 257442"/>
                <a:gd name="connsiteX1" fmla="*/ 1216682 w 1529935"/>
                <a:gd name="connsiteY1" fmla="*/ 257442 h 257442"/>
                <a:gd name="connsiteX2" fmla="*/ 1 w 1529935"/>
                <a:gd name="connsiteY2" fmla="*/ 257442 h 257442"/>
                <a:gd name="connsiteX3" fmla="*/ 0 w 1529935"/>
                <a:gd name="connsiteY3" fmla="*/ 0 h 257442"/>
                <a:gd name="connsiteX0" fmla="*/ 1529935 w 1529935"/>
                <a:gd name="connsiteY0" fmla="*/ 0 h 257442"/>
                <a:gd name="connsiteX1" fmla="*/ 1475214 w 1529935"/>
                <a:gd name="connsiteY1" fmla="*/ 257442 h 257442"/>
                <a:gd name="connsiteX2" fmla="*/ 1 w 1529935"/>
                <a:gd name="connsiteY2" fmla="*/ 257442 h 257442"/>
                <a:gd name="connsiteX3" fmla="*/ 0 w 1529935"/>
                <a:gd name="connsiteY3" fmla="*/ 0 h 257442"/>
                <a:gd name="connsiteX0" fmla="*/ 1529935 w 1529935"/>
                <a:gd name="connsiteY0" fmla="*/ 0 h 257442"/>
                <a:gd name="connsiteX1" fmla="*/ 1475214 w 1529935"/>
                <a:gd name="connsiteY1" fmla="*/ 257442 h 257442"/>
                <a:gd name="connsiteX2" fmla="*/ 1 w 1529935"/>
                <a:gd name="connsiteY2" fmla="*/ 257442 h 257442"/>
                <a:gd name="connsiteX3" fmla="*/ 0 w 1529935"/>
                <a:gd name="connsiteY3" fmla="*/ 0 h 257442"/>
                <a:gd name="connsiteX0" fmla="*/ 1529934 w 1529934"/>
                <a:gd name="connsiteY0" fmla="*/ 0 h 257442"/>
                <a:gd name="connsiteX1" fmla="*/ 1475213 w 1529934"/>
                <a:gd name="connsiteY1" fmla="*/ 257442 h 257442"/>
                <a:gd name="connsiteX2" fmla="*/ 0 w 1529934"/>
                <a:gd name="connsiteY2" fmla="*/ 257442 h 257442"/>
                <a:gd name="connsiteX3" fmla="*/ 0 w 1529934"/>
                <a:gd name="connsiteY3" fmla="*/ 0 h 257442"/>
                <a:gd name="connsiteX0" fmla="*/ 1698248 w 1698248"/>
                <a:gd name="connsiteY0" fmla="*/ 0 h 257442"/>
                <a:gd name="connsiteX1" fmla="*/ 1475213 w 1698248"/>
                <a:gd name="connsiteY1" fmla="*/ 257442 h 257442"/>
                <a:gd name="connsiteX2" fmla="*/ 0 w 1698248"/>
                <a:gd name="connsiteY2" fmla="*/ 257442 h 257442"/>
                <a:gd name="connsiteX3" fmla="*/ 0 w 1698248"/>
                <a:gd name="connsiteY3" fmla="*/ 0 h 257442"/>
                <a:gd name="connsiteX0" fmla="*/ 1698248 w 1698248"/>
                <a:gd name="connsiteY0" fmla="*/ 0 h 257442"/>
                <a:gd name="connsiteX1" fmla="*/ 1643527 w 1698248"/>
                <a:gd name="connsiteY1" fmla="*/ 257442 h 257442"/>
                <a:gd name="connsiteX2" fmla="*/ 0 w 1698248"/>
                <a:gd name="connsiteY2" fmla="*/ 257442 h 257442"/>
                <a:gd name="connsiteX3" fmla="*/ 0 w 1698248"/>
                <a:gd name="connsiteY3" fmla="*/ 0 h 257442"/>
                <a:gd name="connsiteX0" fmla="*/ 1698249 w 1698249"/>
                <a:gd name="connsiteY0" fmla="*/ 0 h 257442"/>
                <a:gd name="connsiteX1" fmla="*/ 1643528 w 1698249"/>
                <a:gd name="connsiteY1" fmla="*/ 257442 h 257442"/>
                <a:gd name="connsiteX2" fmla="*/ 0 w 1698249"/>
                <a:gd name="connsiteY2" fmla="*/ 257442 h 257442"/>
                <a:gd name="connsiteX3" fmla="*/ 1 w 1698249"/>
                <a:gd name="connsiteY3" fmla="*/ 0 h 257442"/>
                <a:gd name="connsiteX0" fmla="*/ 1698249 w 1698249"/>
                <a:gd name="connsiteY0" fmla="*/ 0 h 257442"/>
                <a:gd name="connsiteX1" fmla="*/ 1643528 w 1698249"/>
                <a:gd name="connsiteY1" fmla="*/ 257442 h 257442"/>
                <a:gd name="connsiteX2" fmla="*/ 0 w 1698249"/>
                <a:gd name="connsiteY2" fmla="*/ 257442 h 257442"/>
                <a:gd name="connsiteX3" fmla="*/ 1 w 1698249"/>
                <a:gd name="connsiteY3" fmla="*/ 0 h 257442"/>
                <a:gd name="connsiteX0" fmla="*/ 1866566 w 1866566"/>
                <a:gd name="connsiteY0" fmla="*/ 0 h 257442"/>
                <a:gd name="connsiteX1" fmla="*/ 1643528 w 1866566"/>
                <a:gd name="connsiteY1" fmla="*/ 257442 h 257442"/>
                <a:gd name="connsiteX2" fmla="*/ 0 w 1866566"/>
                <a:gd name="connsiteY2" fmla="*/ 257442 h 257442"/>
                <a:gd name="connsiteX3" fmla="*/ 1 w 1866566"/>
                <a:gd name="connsiteY3" fmla="*/ 0 h 257442"/>
                <a:gd name="connsiteX0" fmla="*/ 1866566 w 1866566"/>
                <a:gd name="connsiteY0" fmla="*/ 0 h 257442"/>
                <a:gd name="connsiteX1" fmla="*/ 1811844 w 1866566"/>
                <a:gd name="connsiteY1" fmla="*/ 257442 h 257442"/>
                <a:gd name="connsiteX2" fmla="*/ 0 w 1866566"/>
                <a:gd name="connsiteY2" fmla="*/ 257442 h 257442"/>
                <a:gd name="connsiteX3" fmla="*/ 1 w 1866566"/>
                <a:gd name="connsiteY3" fmla="*/ 0 h 257442"/>
                <a:gd name="connsiteX0" fmla="*/ 1866566 w 1866566"/>
                <a:gd name="connsiteY0" fmla="*/ 0 h 257442"/>
                <a:gd name="connsiteX1" fmla="*/ 1811844 w 1866566"/>
                <a:gd name="connsiteY1" fmla="*/ 257442 h 257442"/>
                <a:gd name="connsiteX2" fmla="*/ 0 w 1866566"/>
                <a:gd name="connsiteY2" fmla="*/ 257442 h 257442"/>
                <a:gd name="connsiteX3" fmla="*/ 1 w 1866566"/>
                <a:gd name="connsiteY3" fmla="*/ 0 h 257442"/>
                <a:gd name="connsiteX0" fmla="*/ 1866566 w 1866566"/>
                <a:gd name="connsiteY0" fmla="*/ 0 h 257442"/>
                <a:gd name="connsiteX1" fmla="*/ 1811844 w 1866566"/>
                <a:gd name="connsiteY1" fmla="*/ 257442 h 257442"/>
                <a:gd name="connsiteX2" fmla="*/ 0 w 1866566"/>
                <a:gd name="connsiteY2" fmla="*/ 257442 h 257442"/>
                <a:gd name="connsiteX3" fmla="*/ 0 w 1866566"/>
                <a:gd name="connsiteY3" fmla="*/ 0 h 257442"/>
                <a:gd name="connsiteX0" fmla="*/ 2034879 w 2034879"/>
                <a:gd name="connsiteY0" fmla="*/ 0 h 257442"/>
                <a:gd name="connsiteX1" fmla="*/ 1811844 w 2034879"/>
                <a:gd name="connsiteY1" fmla="*/ 257442 h 257442"/>
                <a:gd name="connsiteX2" fmla="*/ 0 w 2034879"/>
                <a:gd name="connsiteY2" fmla="*/ 257442 h 257442"/>
                <a:gd name="connsiteX3" fmla="*/ 0 w 2034879"/>
                <a:gd name="connsiteY3" fmla="*/ 0 h 257442"/>
                <a:gd name="connsiteX0" fmla="*/ 2034879 w 2034879"/>
                <a:gd name="connsiteY0" fmla="*/ 0 h 257442"/>
                <a:gd name="connsiteX1" fmla="*/ 1980158 w 2034879"/>
                <a:gd name="connsiteY1" fmla="*/ 257442 h 257442"/>
                <a:gd name="connsiteX2" fmla="*/ 0 w 2034879"/>
                <a:gd name="connsiteY2" fmla="*/ 257442 h 257442"/>
                <a:gd name="connsiteX3" fmla="*/ 0 w 2034879"/>
                <a:gd name="connsiteY3" fmla="*/ 0 h 257442"/>
                <a:gd name="connsiteX0" fmla="*/ 2034879 w 2034879"/>
                <a:gd name="connsiteY0" fmla="*/ 0 h 257442"/>
                <a:gd name="connsiteX1" fmla="*/ 1980158 w 2034879"/>
                <a:gd name="connsiteY1" fmla="*/ 257442 h 257442"/>
                <a:gd name="connsiteX2" fmla="*/ 0 w 2034879"/>
                <a:gd name="connsiteY2" fmla="*/ 257442 h 257442"/>
                <a:gd name="connsiteX3" fmla="*/ 0 w 2034879"/>
                <a:gd name="connsiteY3" fmla="*/ 0 h 257442"/>
                <a:gd name="connsiteX0" fmla="*/ 2034879 w 2034879"/>
                <a:gd name="connsiteY0" fmla="*/ 0 h 257442"/>
                <a:gd name="connsiteX1" fmla="*/ 1980158 w 2034879"/>
                <a:gd name="connsiteY1" fmla="*/ 257442 h 257442"/>
                <a:gd name="connsiteX2" fmla="*/ 0 w 2034879"/>
                <a:gd name="connsiteY2" fmla="*/ 257442 h 257442"/>
                <a:gd name="connsiteX3" fmla="*/ 0 w 2034879"/>
                <a:gd name="connsiteY3" fmla="*/ 0 h 257442"/>
                <a:gd name="connsiteX0" fmla="*/ 2203195 w 2203195"/>
                <a:gd name="connsiteY0" fmla="*/ 0 h 257442"/>
                <a:gd name="connsiteX1" fmla="*/ 1980158 w 2203195"/>
                <a:gd name="connsiteY1" fmla="*/ 257442 h 257442"/>
                <a:gd name="connsiteX2" fmla="*/ 0 w 2203195"/>
                <a:gd name="connsiteY2" fmla="*/ 257442 h 257442"/>
                <a:gd name="connsiteX3" fmla="*/ 0 w 2203195"/>
                <a:gd name="connsiteY3" fmla="*/ 0 h 257442"/>
                <a:gd name="connsiteX0" fmla="*/ 2203195 w 2203195"/>
                <a:gd name="connsiteY0" fmla="*/ 0 h 257442"/>
                <a:gd name="connsiteX1" fmla="*/ 2148474 w 2203195"/>
                <a:gd name="connsiteY1" fmla="*/ 257442 h 257442"/>
                <a:gd name="connsiteX2" fmla="*/ 0 w 2203195"/>
                <a:gd name="connsiteY2" fmla="*/ 257442 h 257442"/>
                <a:gd name="connsiteX3" fmla="*/ 0 w 2203195"/>
                <a:gd name="connsiteY3" fmla="*/ 0 h 257442"/>
                <a:gd name="connsiteX0" fmla="*/ 2203195 w 2203195"/>
                <a:gd name="connsiteY0" fmla="*/ 0 h 257442"/>
                <a:gd name="connsiteX1" fmla="*/ 2148474 w 2203195"/>
                <a:gd name="connsiteY1" fmla="*/ 257442 h 257442"/>
                <a:gd name="connsiteX2" fmla="*/ 0 w 2203195"/>
                <a:gd name="connsiteY2" fmla="*/ 257442 h 257442"/>
                <a:gd name="connsiteX3" fmla="*/ 0 w 2203195"/>
                <a:gd name="connsiteY3" fmla="*/ 0 h 257442"/>
                <a:gd name="connsiteX0" fmla="*/ 2203195 w 2203195"/>
                <a:gd name="connsiteY0" fmla="*/ 0 h 257442"/>
                <a:gd name="connsiteX1" fmla="*/ 2148474 w 2203195"/>
                <a:gd name="connsiteY1" fmla="*/ 257442 h 257442"/>
                <a:gd name="connsiteX2" fmla="*/ 0 w 2203195"/>
                <a:gd name="connsiteY2" fmla="*/ 257442 h 257442"/>
                <a:gd name="connsiteX3" fmla="*/ 0 w 2203195"/>
                <a:gd name="connsiteY3" fmla="*/ 0 h 257442"/>
                <a:gd name="connsiteX0" fmla="*/ 2371510 w 2371510"/>
                <a:gd name="connsiteY0" fmla="*/ 0 h 257442"/>
                <a:gd name="connsiteX1" fmla="*/ 2148474 w 2371510"/>
                <a:gd name="connsiteY1" fmla="*/ 257442 h 257442"/>
                <a:gd name="connsiteX2" fmla="*/ 0 w 2371510"/>
                <a:gd name="connsiteY2" fmla="*/ 257442 h 257442"/>
                <a:gd name="connsiteX3" fmla="*/ 0 w 2371510"/>
                <a:gd name="connsiteY3" fmla="*/ 0 h 257442"/>
                <a:gd name="connsiteX0" fmla="*/ 2371510 w 2371510"/>
                <a:gd name="connsiteY0" fmla="*/ 0 h 257442"/>
                <a:gd name="connsiteX1" fmla="*/ 2316788 w 2371510"/>
                <a:gd name="connsiteY1" fmla="*/ 257442 h 257442"/>
                <a:gd name="connsiteX2" fmla="*/ 0 w 2371510"/>
                <a:gd name="connsiteY2" fmla="*/ 257442 h 257442"/>
                <a:gd name="connsiteX3" fmla="*/ 0 w 2371510"/>
                <a:gd name="connsiteY3" fmla="*/ 0 h 257442"/>
                <a:gd name="connsiteX0" fmla="*/ 2371511 w 2371511"/>
                <a:gd name="connsiteY0" fmla="*/ 0 h 257442"/>
                <a:gd name="connsiteX1" fmla="*/ 2316789 w 2371511"/>
                <a:gd name="connsiteY1" fmla="*/ 257442 h 257442"/>
                <a:gd name="connsiteX2" fmla="*/ 0 w 2371511"/>
                <a:gd name="connsiteY2" fmla="*/ 257442 h 257442"/>
                <a:gd name="connsiteX3" fmla="*/ 1 w 2371511"/>
                <a:gd name="connsiteY3" fmla="*/ 0 h 257442"/>
                <a:gd name="connsiteX0" fmla="*/ 2371511 w 2371511"/>
                <a:gd name="connsiteY0" fmla="*/ 0 h 257442"/>
                <a:gd name="connsiteX1" fmla="*/ 2316789 w 2371511"/>
                <a:gd name="connsiteY1" fmla="*/ 257442 h 257442"/>
                <a:gd name="connsiteX2" fmla="*/ 0 w 2371511"/>
                <a:gd name="connsiteY2" fmla="*/ 257442 h 257442"/>
                <a:gd name="connsiteX3" fmla="*/ 1 w 2371511"/>
                <a:gd name="connsiteY3" fmla="*/ 0 h 257442"/>
                <a:gd name="connsiteX0" fmla="*/ 2531811 w 2531811"/>
                <a:gd name="connsiteY0" fmla="*/ 0 h 257442"/>
                <a:gd name="connsiteX1" fmla="*/ 2316789 w 2531811"/>
                <a:gd name="connsiteY1" fmla="*/ 257442 h 257442"/>
                <a:gd name="connsiteX2" fmla="*/ 0 w 2531811"/>
                <a:gd name="connsiteY2" fmla="*/ 257442 h 257442"/>
                <a:gd name="connsiteX3" fmla="*/ 1 w 2531811"/>
                <a:gd name="connsiteY3" fmla="*/ 0 h 257442"/>
                <a:gd name="connsiteX0" fmla="*/ 2531811 w 2531811"/>
                <a:gd name="connsiteY0" fmla="*/ 0 h 257442"/>
                <a:gd name="connsiteX1" fmla="*/ 2477090 w 2531811"/>
                <a:gd name="connsiteY1" fmla="*/ 257442 h 257442"/>
                <a:gd name="connsiteX2" fmla="*/ 0 w 2531811"/>
                <a:gd name="connsiteY2" fmla="*/ 257442 h 257442"/>
                <a:gd name="connsiteX3" fmla="*/ 1 w 2531811"/>
                <a:gd name="connsiteY3" fmla="*/ 0 h 257442"/>
                <a:gd name="connsiteX0" fmla="*/ 2531810 w 2531810"/>
                <a:gd name="connsiteY0" fmla="*/ 0 h 257442"/>
                <a:gd name="connsiteX1" fmla="*/ 2477089 w 2531810"/>
                <a:gd name="connsiteY1" fmla="*/ 257442 h 257442"/>
                <a:gd name="connsiteX2" fmla="*/ 0 w 2531810"/>
                <a:gd name="connsiteY2" fmla="*/ 257442 h 257442"/>
                <a:gd name="connsiteX3" fmla="*/ 0 w 2531810"/>
                <a:gd name="connsiteY3" fmla="*/ 0 h 257442"/>
                <a:gd name="connsiteX0" fmla="*/ 2531811 w 2531811"/>
                <a:gd name="connsiteY0" fmla="*/ 0 h 257442"/>
                <a:gd name="connsiteX1" fmla="*/ 2477090 w 2531811"/>
                <a:gd name="connsiteY1" fmla="*/ 257442 h 257442"/>
                <a:gd name="connsiteX2" fmla="*/ 1 w 2531811"/>
                <a:gd name="connsiteY2" fmla="*/ 257442 h 257442"/>
                <a:gd name="connsiteX3" fmla="*/ 0 w 2531811"/>
                <a:gd name="connsiteY3" fmla="*/ 0 h 257442"/>
                <a:gd name="connsiteX0" fmla="*/ 2801116 w 2801116"/>
                <a:gd name="connsiteY0" fmla="*/ 0 h 257442"/>
                <a:gd name="connsiteX1" fmla="*/ 2477090 w 2801116"/>
                <a:gd name="connsiteY1" fmla="*/ 257442 h 257442"/>
                <a:gd name="connsiteX2" fmla="*/ 1 w 2801116"/>
                <a:gd name="connsiteY2" fmla="*/ 257442 h 257442"/>
                <a:gd name="connsiteX3" fmla="*/ 0 w 2801116"/>
                <a:gd name="connsiteY3" fmla="*/ 0 h 257442"/>
                <a:gd name="connsiteX0" fmla="*/ 2801116 w 2801116"/>
                <a:gd name="connsiteY0" fmla="*/ 0 h 257442"/>
                <a:gd name="connsiteX1" fmla="*/ 2746394 w 2801116"/>
                <a:gd name="connsiteY1" fmla="*/ 257442 h 257442"/>
                <a:gd name="connsiteX2" fmla="*/ 1 w 2801116"/>
                <a:gd name="connsiteY2" fmla="*/ 257442 h 257442"/>
                <a:gd name="connsiteX3" fmla="*/ 0 w 2801116"/>
                <a:gd name="connsiteY3" fmla="*/ 0 h 257442"/>
                <a:gd name="connsiteX0" fmla="*/ 2801116 w 2801116"/>
                <a:gd name="connsiteY0" fmla="*/ 0 h 257442"/>
                <a:gd name="connsiteX1" fmla="*/ 2746394 w 2801116"/>
                <a:gd name="connsiteY1" fmla="*/ 257442 h 257442"/>
                <a:gd name="connsiteX2" fmla="*/ 0 w 2801116"/>
                <a:gd name="connsiteY2" fmla="*/ 257442 h 257442"/>
                <a:gd name="connsiteX3" fmla="*/ 0 w 2801116"/>
                <a:gd name="connsiteY3" fmla="*/ 0 h 257442"/>
                <a:gd name="connsiteX0" fmla="*/ 2801116 w 2801116"/>
                <a:gd name="connsiteY0" fmla="*/ 0 h 257442"/>
                <a:gd name="connsiteX1" fmla="*/ 2746394 w 2801116"/>
                <a:gd name="connsiteY1" fmla="*/ 257442 h 257442"/>
                <a:gd name="connsiteX2" fmla="*/ 0 w 2801116"/>
                <a:gd name="connsiteY2" fmla="*/ 257442 h 257442"/>
                <a:gd name="connsiteX3" fmla="*/ 0 w 2801116"/>
                <a:gd name="connsiteY3" fmla="*/ 0 h 257442"/>
                <a:gd name="connsiteX0" fmla="*/ 2979049 w 2979049"/>
                <a:gd name="connsiteY0" fmla="*/ 0 h 257442"/>
                <a:gd name="connsiteX1" fmla="*/ 2746394 w 2979049"/>
                <a:gd name="connsiteY1" fmla="*/ 257442 h 257442"/>
                <a:gd name="connsiteX2" fmla="*/ 0 w 2979049"/>
                <a:gd name="connsiteY2" fmla="*/ 257442 h 257442"/>
                <a:gd name="connsiteX3" fmla="*/ 0 w 2979049"/>
                <a:gd name="connsiteY3" fmla="*/ 0 h 257442"/>
                <a:gd name="connsiteX0" fmla="*/ 2979049 w 2979049"/>
                <a:gd name="connsiteY0" fmla="*/ 0 h 257442"/>
                <a:gd name="connsiteX1" fmla="*/ 2924328 w 2979049"/>
                <a:gd name="connsiteY1" fmla="*/ 257442 h 257442"/>
                <a:gd name="connsiteX2" fmla="*/ 0 w 2979049"/>
                <a:gd name="connsiteY2" fmla="*/ 257442 h 257442"/>
                <a:gd name="connsiteX3" fmla="*/ 0 w 2979049"/>
                <a:gd name="connsiteY3" fmla="*/ 0 h 257442"/>
                <a:gd name="connsiteX0" fmla="*/ 2979049 w 2979049"/>
                <a:gd name="connsiteY0" fmla="*/ 0 h 257442"/>
                <a:gd name="connsiteX1" fmla="*/ 2924328 w 2979049"/>
                <a:gd name="connsiteY1" fmla="*/ 257442 h 257442"/>
                <a:gd name="connsiteX2" fmla="*/ 0 w 2979049"/>
                <a:gd name="connsiteY2" fmla="*/ 257442 h 257442"/>
                <a:gd name="connsiteX3" fmla="*/ 0 w 2979049"/>
                <a:gd name="connsiteY3" fmla="*/ 0 h 257442"/>
                <a:gd name="connsiteX0" fmla="*/ 2979049 w 2979049"/>
                <a:gd name="connsiteY0" fmla="*/ 0 h 257442"/>
                <a:gd name="connsiteX1" fmla="*/ 2924328 w 2979049"/>
                <a:gd name="connsiteY1" fmla="*/ 257442 h 257442"/>
                <a:gd name="connsiteX2" fmla="*/ 0 w 2979049"/>
                <a:gd name="connsiteY2" fmla="*/ 257442 h 257442"/>
                <a:gd name="connsiteX3" fmla="*/ 0 w 2979049"/>
                <a:gd name="connsiteY3" fmla="*/ 0 h 257442"/>
                <a:gd name="connsiteX0" fmla="*/ 3248353 w 3248353"/>
                <a:gd name="connsiteY0" fmla="*/ 0 h 257442"/>
                <a:gd name="connsiteX1" fmla="*/ 2924328 w 3248353"/>
                <a:gd name="connsiteY1" fmla="*/ 257442 h 257442"/>
                <a:gd name="connsiteX2" fmla="*/ 0 w 3248353"/>
                <a:gd name="connsiteY2" fmla="*/ 257442 h 257442"/>
                <a:gd name="connsiteX3" fmla="*/ 0 w 3248353"/>
                <a:gd name="connsiteY3" fmla="*/ 0 h 257442"/>
                <a:gd name="connsiteX0" fmla="*/ 3248353 w 3248353"/>
                <a:gd name="connsiteY0" fmla="*/ 0 h 257442"/>
                <a:gd name="connsiteX1" fmla="*/ 3193632 w 3248353"/>
                <a:gd name="connsiteY1" fmla="*/ 257442 h 257442"/>
                <a:gd name="connsiteX2" fmla="*/ 0 w 3248353"/>
                <a:gd name="connsiteY2" fmla="*/ 257442 h 257442"/>
                <a:gd name="connsiteX3" fmla="*/ 0 w 3248353"/>
                <a:gd name="connsiteY3" fmla="*/ 0 h 257442"/>
                <a:gd name="connsiteX0" fmla="*/ 3248353 w 3248353"/>
                <a:gd name="connsiteY0" fmla="*/ 0 h 257442"/>
                <a:gd name="connsiteX1" fmla="*/ 3193632 w 3248353"/>
                <a:gd name="connsiteY1" fmla="*/ 257442 h 257442"/>
                <a:gd name="connsiteX2" fmla="*/ 0 w 3248353"/>
                <a:gd name="connsiteY2" fmla="*/ 257442 h 257442"/>
                <a:gd name="connsiteX3" fmla="*/ 0 w 3248353"/>
                <a:gd name="connsiteY3" fmla="*/ 0 h 257442"/>
                <a:gd name="connsiteX0" fmla="*/ 3248353 w 3248353"/>
                <a:gd name="connsiteY0" fmla="*/ 0 h 257442"/>
                <a:gd name="connsiteX1" fmla="*/ 3193632 w 3248353"/>
                <a:gd name="connsiteY1" fmla="*/ 257442 h 257442"/>
                <a:gd name="connsiteX2" fmla="*/ 0 w 3248353"/>
                <a:gd name="connsiteY2" fmla="*/ 257442 h 257442"/>
                <a:gd name="connsiteX3" fmla="*/ 0 w 3248353"/>
                <a:gd name="connsiteY3" fmla="*/ 0 h 257442"/>
                <a:gd name="connsiteX0" fmla="*/ 3416668 w 3416668"/>
                <a:gd name="connsiteY0" fmla="*/ 0 h 257442"/>
                <a:gd name="connsiteX1" fmla="*/ 3193632 w 3416668"/>
                <a:gd name="connsiteY1" fmla="*/ 257442 h 257442"/>
                <a:gd name="connsiteX2" fmla="*/ 0 w 3416668"/>
                <a:gd name="connsiteY2" fmla="*/ 257442 h 257442"/>
                <a:gd name="connsiteX3" fmla="*/ 0 w 3416668"/>
                <a:gd name="connsiteY3" fmla="*/ 0 h 257442"/>
                <a:gd name="connsiteX0" fmla="*/ 3416668 w 3416668"/>
                <a:gd name="connsiteY0" fmla="*/ 0 h 257442"/>
                <a:gd name="connsiteX1" fmla="*/ 3361946 w 3416668"/>
                <a:gd name="connsiteY1" fmla="*/ 257442 h 257442"/>
                <a:gd name="connsiteX2" fmla="*/ 0 w 3416668"/>
                <a:gd name="connsiteY2" fmla="*/ 257442 h 257442"/>
                <a:gd name="connsiteX3" fmla="*/ 0 w 3416668"/>
                <a:gd name="connsiteY3" fmla="*/ 0 h 257442"/>
                <a:gd name="connsiteX0" fmla="*/ 3416669 w 3416669"/>
                <a:gd name="connsiteY0" fmla="*/ 0 h 257442"/>
                <a:gd name="connsiteX1" fmla="*/ 3361947 w 3416669"/>
                <a:gd name="connsiteY1" fmla="*/ 257442 h 257442"/>
                <a:gd name="connsiteX2" fmla="*/ 0 w 3416669"/>
                <a:gd name="connsiteY2" fmla="*/ 257442 h 257442"/>
                <a:gd name="connsiteX3" fmla="*/ 1 w 3416669"/>
                <a:gd name="connsiteY3" fmla="*/ 0 h 257442"/>
                <a:gd name="connsiteX0" fmla="*/ 3416669 w 3416669"/>
                <a:gd name="connsiteY0" fmla="*/ 0 h 257442"/>
                <a:gd name="connsiteX1" fmla="*/ 3361947 w 3416669"/>
                <a:gd name="connsiteY1" fmla="*/ 257442 h 257442"/>
                <a:gd name="connsiteX2" fmla="*/ 0 w 3416669"/>
                <a:gd name="connsiteY2" fmla="*/ 257442 h 257442"/>
                <a:gd name="connsiteX3" fmla="*/ 1 w 3416669"/>
                <a:gd name="connsiteY3" fmla="*/ 0 h 257442"/>
                <a:gd name="connsiteX0" fmla="*/ 3669943 w 3669943"/>
                <a:gd name="connsiteY0" fmla="*/ 0 h 257442"/>
                <a:gd name="connsiteX1" fmla="*/ 3361947 w 3669943"/>
                <a:gd name="connsiteY1" fmla="*/ 257442 h 257442"/>
                <a:gd name="connsiteX2" fmla="*/ 0 w 3669943"/>
                <a:gd name="connsiteY2" fmla="*/ 257442 h 257442"/>
                <a:gd name="connsiteX3" fmla="*/ 1 w 3669943"/>
                <a:gd name="connsiteY3" fmla="*/ 0 h 257442"/>
                <a:gd name="connsiteX0" fmla="*/ 3669943 w 3669943"/>
                <a:gd name="connsiteY0" fmla="*/ 0 h 257442"/>
                <a:gd name="connsiteX1" fmla="*/ 3615222 w 3669943"/>
                <a:gd name="connsiteY1" fmla="*/ 257442 h 257442"/>
                <a:gd name="connsiteX2" fmla="*/ 0 w 3669943"/>
                <a:gd name="connsiteY2" fmla="*/ 257442 h 257442"/>
                <a:gd name="connsiteX3" fmla="*/ 1 w 3669943"/>
                <a:gd name="connsiteY3" fmla="*/ 0 h 257442"/>
                <a:gd name="connsiteX0" fmla="*/ 3669942 w 3669942"/>
                <a:gd name="connsiteY0" fmla="*/ 0 h 257442"/>
                <a:gd name="connsiteX1" fmla="*/ 3615221 w 3669942"/>
                <a:gd name="connsiteY1" fmla="*/ 257442 h 257442"/>
                <a:gd name="connsiteX2" fmla="*/ 0 w 3669942"/>
                <a:gd name="connsiteY2" fmla="*/ 257442 h 257442"/>
                <a:gd name="connsiteX3" fmla="*/ 0 w 3669942"/>
                <a:gd name="connsiteY3" fmla="*/ 0 h 257442"/>
                <a:gd name="connsiteX0" fmla="*/ 3669943 w 3669943"/>
                <a:gd name="connsiteY0" fmla="*/ 0 h 257442"/>
                <a:gd name="connsiteX1" fmla="*/ 3615222 w 3669943"/>
                <a:gd name="connsiteY1" fmla="*/ 257442 h 257442"/>
                <a:gd name="connsiteX2" fmla="*/ 1 w 3669943"/>
                <a:gd name="connsiteY2" fmla="*/ 257442 h 257442"/>
                <a:gd name="connsiteX3" fmla="*/ 0 w 3669943"/>
                <a:gd name="connsiteY3" fmla="*/ 0 h 257442"/>
                <a:gd name="connsiteX0" fmla="*/ 3830244 w 3830244"/>
                <a:gd name="connsiteY0" fmla="*/ 0 h 257442"/>
                <a:gd name="connsiteX1" fmla="*/ 3615222 w 3830244"/>
                <a:gd name="connsiteY1" fmla="*/ 257442 h 257442"/>
                <a:gd name="connsiteX2" fmla="*/ 1 w 3830244"/>
                <a:gd name="connsiteY2" fmla="*/ 257442 h 257442"/>
                <a:gd name="connsiteX3" fmla="*/ 0 w 3830244"/>
                <a:gd name="connsiteY3" fmla="*/ 0 h 257442"/>
                <a:gd name="connsiteX0" fmla="*/ 3830244 w 3830244"/>
                <a:gd name="connsiteY0" fmla="*/ 0 h 257442"/>
                <a:gd name="connsiteX1" fmla="*/ 3775522 w 3830244"/>
                <a:gd name="connsiteY1" fmla="*/ 257442 h 257442"/>
                <a:gd name="connsiteX2" fmla="*/ 1 w 3830244"/>
                <a:gd name="connsiteY2" fmla="*/ 257442 h 257442"/>
                <a:gd name="connsiteX3" fmla="*/ 0 w 3830244"/>
                <a:gd name="connsiteY3" fmla="*/ 0 h 257442"/>
                <a:gd name="connsiteX0" fmla="*/ 3830244 w 3830244"/>
                <a:gd name="connsiteY0" fmla="*/ 0 h 257442"/>
                <a:gd name="connsiteX1" fmla="*/ 3775522 w 3830244"/>
                <a:gd name="connsiteY1" fmla="*/ 257442 h 257442"/>
                <a:gd name="connsiteX2" fmla="*/ 0 w 3830244"/>
                <a:gd name="connsiteY2" fmla="*/ 257442 h 257442"/>
                <a:gd name="connsiteX3" fmla="*/ 0 w 3830244"/>
                <a:gd name="connsiteY3" fmla="*/ 0 h 257442"/>
                <a:gd name="connsiteX0" fmla="*/ 3830244 w 3830244"/>
                <a:gd name="connsiteY0" fmla="*/ 0 h 257442"/>
                <a:gd name="connsiteX1" fmla="*/ 3775522 w 3830244"/>
                <a:gd name="connsiteY1" fmla="*/ 257442 h 257442"/>
                <a:gd name="connsiteX2" fmla="*/ 0 w 3830244"/>
                <a:gd name="connsiteY2" fmla="*/ 257442 h 257442"/>
                <a:gd name="connsiteX3" fmla="*/ 0 w 3830244"/>
                <a:gd name="connsiteY3" fmla="*/ 0 h 257442"/>
                <a:gd name="connsiteX0" fmla="*/ 3998559 w 3998559"/>
                <a:gd name="connsiteY0" fmla="*/ 0 h 257442"/>
                <a:gd name="connsiteX1" fmla="*/ 3775522 w 3998559"/>
                <a:gd name="connsiteY1" fmla="*/ 257442 h 257442"/>
                <a:gd name="connsiteX2" fmla="*/ 0 w 3998559"/>
                <a:gd name="connsiteY2" fmla="*/ 257442 h 257442"/>
                <a:gd name="connsiteX3" fmla="*/ 0 w 3998559"/>
                <a:gd name="connsiteY3" fmla="*/ 0 h 257442"/>
                <a:gd name="connsiteX0" fmla="*/ 3998559 w 3998559"/>
                <a:gd name="connsiteY0" fmla="*/ 0 h 257442"/>
                <a:gd name="connsiteX1" fmla="*/ 3943838 w 3998559"/>
                <a:gd name="connsiteY1" fmla="*/ 257442 h 257442"/>
                <a:gd name="connsiteX2" fmla="*/ 0 w 3998559"/>
                <a:gd name="connsiteY2" fmla="*/ 257442 h 257442"/>
                <a:gd name="connsiteX3" fmla="*/ 0 w 3998559"/>
                <a:gd name="connsiteY3" fmla="*/ 0 h 257442"/>
                <a:gd name="connsiteX0" fmla="*/ 3998559 w 3998559"/>
                <a:gd name="connsiteY0" fmla="*/ 0 h 257442"/>
                <a:gd name="connsiteX1" fmla="*/ 3943838 w 3998559"/>
                <a:gd name="connsiteY1" fmla="*/ 257442 h 257442"/>
                <a:gd name="connsiteX2" fmla="*/ 0 w 3998559"/>
                <a:gd name="connsiteY2" fmla="*/ 257442 h 257442"/>
                <a:gd name="connsiteX3" fmla="*/ 0 w 3998559"/>
                <a:gd name="connsiteY3" fmla="*/ 0 h 257442"/>
                <a:gd name="connsiteX0" fmla="*/ 3998559 w 3998559"/>
                <a:gd name="connsiteY0" fmla="*/ 0 h 257442"/>
                <a:gd name="connsiteX1" fmla="*/ 3943838 w 3998559"/>
                <a:gd name="connsiteY1" fmla="*/ 257442 h 257442"/>
                <a:gd name="connsiteX2" fmla="*/ 0 w 3998559"/>
                <a:gd name="connsiteY2" fmla="*/ 257442 h 257442"/>
                <a:gd name="connsiteX3" fmla="*/ 0 w 3998559"/>
                <a:gd name="connsiteY3" fmla="*/ 0 h 257442"/>
                <a:gd name="connsiteX0" fmla="*/ 4267863 w 4267863"/>
                <a:gd name="connsiteY0" fmla="*/ 0 h 257442"/>
                <a:gd name="connsiteX1" fmla="*/ 3943838 w 4267863"/>
                <a:gd name="connsiteY1" fmla="*/ 257442 h 257442"/>
                <a:gd name="connsiteX2" fmla="*/ 0 w 4267863"/>
                <a:gd name="connsiteY2" fmla="*/ 257442 h 257442"/>
                <a:gd name="connsiteX3" fmla="*/ 0 w 4267863"/>
                <a:gd name="connsiteY3" fmla="*/ 0 h 257442"/>
                <a:gd name="connsiteX0" fmla="*/ 4267863 w 4267863"/>
                <a:gd name="connsiteY0" fmla="*/ 0 h 257442"/>
                <a:gd name="connsiteX1" fmla="*/ 4213142 w 4267863"/>
                <a:gd name="connsiteY1" fmla="*/ 257442 h 257442"/>
                <a:gd name="connsiteX2" fmla="*/ 0 w 4267863"/>
                <a:gd name="connsiteY2" fmla="*/ 257442 h 257442"/>
                <a:gd name="connsiteX3" fmla="*/ 0 w 4267863"/>
                <a:gd name="connsiteY3" fmla="*/ 0 h 257442"/>
                <a:gd name="connsiteX0" fmla="*/ 4267863 w 4267863"/>
                <a:gd name="connsiteY0" fmla="*/ 0 h 257442"/>
                <a:gd name="connsiteX1" fmla="*/ 4213142 w 4267863"/>
                <a:gd name="connsiteY1" fmla="*/ 257442 h 257442"/>
                <a:gd name="connsiteX2" fmla="*/ 0 w 4267863"/>
                <a:gd name="connsiteY2" fmla="*/ 257442 h 257442"/>
                <a:gd name="connsiteX3" fmla="*/ 0 w 4267863"/>
                <a:gd name="connsiteY3" fmla="*/ 0 h 257442"/>
                <a:gd name="connsiteX0" fmla="*/ 4267863 w 4267863"/>
                <a:gd name="connsiteY0" fmla="*/ 0 h 257442"/>
                <a:gd name="connsiteX1" fmla="*/ 4213142 w 4267863"/>
                <a:gd name="connsiteY1" fmla="*/ 257442 h 257442"/>
                <a:gd name="connsiteX2" fmla="*/ 0 w 4267863"/>
                <a:gd name="connsiteY2" fmla="*/ 257442 h 257442"/>
                <a:gd name="connsiteX3" fmla="*/ 0 w 4267863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67863" h="257442">
                  <a:moveTo>
                    <a:pt x="4267863" y="0"/>
                  </a:moveTo>
                  <a:lnTo>
                    <a:pt x="4213142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btfpRunningAgenda1LevelTextLeft644957">
              <a:extLst>
                <a:ext uri="{FF2B5EF4-FFF2-40B4-BE49-F238E27FC236}">
                  <a16:creationId xmlns:a16="http://schemas.microsoft.com/office/drawing/2014/main" id="{FF82EA94-FDD5-4802-A298-9A0D64A7CDE5}"/>
                </a:ext>
              </a:extLst>
            </p:cNvPr>
            <p:cNvSpPr txBox="1"/>
            <p:nvPr/>
          </p:nvSpPr>
          <p:spPr bwMode="gray">
            <a:xfrm>
              <a:off x="0" y="876300"/>
              <a:ext cx="4213142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Key purchasing criteria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19630440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btfpColumnIndicatorGroup2">
            <a:extLst>
              <a:ext uri="{FF2B5EF4-FFF2-40B4-BE49-F238E27FC236}">
                <a16:creationId xmlns:a16="http://schemas.microsoft.com/office/drawing/2014/main" id="{009C30DE-62C7-43D3-8727-9BD3E542629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9" name="btfpColumnGapBlocker867722">
              <a:extLst>
                <a:ext uri="{FF2B5EF4-FFF2-40B4-BE49-F238E27FC236}">
                  <a16:creationId xmlns:a16="http://schemas.microsoft.com/office/drawing/2014/main" id="{D762D78E-3BC9-494F-B360-B543A7C1CF73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7" name="btfpColumnGapBlocker296863">
              <a:extLst>
                <a:ext uri="{FF2B5EF4-FFF2-40B4-BE49-F238E27FC236}">
                  <a16:creationId xmlns:a16="http://schemas.microsoft.com/office/drawing/2014/main" id="{8473ECC1-35E1-4B5C-ADB7-A488CF687228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5" name="btfpColumnIndicator805923">
              <a:extLst>
                <a:ext uri="{FF2B5EF4-FFF2-40B4-BE49-F238E27FC236}">
                  <a16:creationId xmlns:a16="http://schemas.microsoft.com/office/drawing/2014/main" id="{685F8239-3FCB-4F08-BCE8-CB6DBC42766A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btfpColumnIndicator235864">
              <a:extLst>
                <a:ext uri="{FF2B5EF4-FFF2-40B4-BE49-F238E27FC236}">
                  <a16:creationId xmlns:a16="http://schemas.microsoft.com/office/drawing/2014/main" id="{143EFA6C-D4C1-4520-941D-8ECF28EEB63C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btfpColumnIndicatorGroup1">
            <a:extLst>
              <a:ext uri="{FF2B5EF4-FFF2-40B4-BE49-F238E27FC236}">
                <a16:creationId xmlns:a16="http://schemas.microsoft.com/office/drawing/2014/main" id="{C5DA5EAA-6840-493C-BB7D-674522E9D83A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8" name="btfpColumnGapBlocker391037">
              <a:extLst>
                <a:ext uri="{FF2B5EF4-FFF2-40B4-BE49-F238E27FC236}">
                  <a16:creationId xmlns:a16="http://schemas.microsoft.com/office/drawing/2014/main" id="{6C21060D-77A1-40EC-BD42-F50F9F9C4FEC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6" name="btfpColumnGapBlocker885745">
              <a:extLst>
                <a:ext uri="{FF2B5EF4-FFF2-40B4-BE49-F238E27FC236}">
                  <a16:creationId xmlns:a16="http://schemas.microsoft.com/office/drawing/2014/main" id="{57FDBDAE-F215-440D-B9A8-762E37E796DC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4" name="btfpColumnIndicator986751">
              <a:extLst>
                <a:ext uri="{FF2B5EF4-FFF2-40B4-BE49-F238E27FC236}">
                  <a16:creationId xmlns:a16="http://schemas.microsoft.com/office/drawing/2014/main" id="{F8513D01-9505-4147-B8EF-020E886D049A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btfpColumnIndicator242935">
              <a:extLst>
                <a:ext uri="{FF2B5EF4-FFF2-40B4-BE49-F238E27FC236}">
                  <a16:creationId xmlns:a16="http://schemas.microsoft.com/office/drawing/2014/main" id="{2567FEFF-632E-4EAF-97A7-FED61EC1E489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/>
              <a:t>KPC: </a:t>
            </a:r>
            <a:r>
              <a:rPr lang="en-GB"/>
              <a:t>Top KPCs include…</a:t>
            </a:r>
            <a:endParaRPr lang="en-AU"/>
          </a:p>
        </p:txBody>
      </p: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1473728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verall_0_131941060749502131 columns_1_131941087094334829 6_1_131941056130570177 7_1_131941056166196426 10_1_131941056181517357 13_1_131941056198417317 19_1_131941059250090205 36_1_131941088548837246 60_1_131941112535985477 </a:t>
            </a:r>
          </a:p>
        </p:txBody>
      </p:sp>
      <p:grpSp>
        <p:nvGrpSpPr>
          <p:cNvPr id="100" name="btfpRowHeaderBox537644">
            <a:extLst>
              <a:ext uri="{FF2B5EF4-FFF2-40B4-BE49-F238E27FC236}">
                <a16:creationId xmlns:a16="http://schemas.microsoft.com/office/drawing/2014/main" id="{8BF73E74-6509-4442-AEF0-0B6C963EE44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714164" y="3256127"/>
            <a:ext cx="2028091" cy="653424"/>
            <a:chOff x="330200" y="979718"/>
            <a:chExt cx="1471480" cy="972979"/>
          </a:xfrm>
        </p:grpSpPr>
        <p:sp>
          <p:nvSpPr>
            <p:cNvPr id="101" name="btfpRowHeaderBoxText537644">
              <a:extLst>
                <a:ext uri="{FF2B5EF4-FFF2-40B4-BE49-F238E27FC236}">
                  <a16:creationId xmlns:a16="http://schemas.microsoft.com/office/drawing/2014/main" id="{D877B510-1903-4F0D-A43F-8BE64FC4D821}"/>
                </a:ext>
              </a:extLst>
            </p:cNvPr>
            <p:cNvSpPr txBox="1"/>
            <p:nvPr/>
          </p:nvSpPr>
          <p:spPr bwMode="gray">
            <a:xfrm>
              <a:off x="330200" y="979718"/>
              <a:ext cx="1471480" cy="972979"/>
            </a:xfrm>
            <a:prstGeom prst="rect">
              <a:avLst/>
            </a:prstGeom>
            <a:noFill/>
          </p:spPr>
          <p:txBody>
            <a:bodyPr vert="horz" wrap="square" lIns="36036" tIns="36036" rIns="36000" bIns="36036" rtlCol="0" anchor="t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200" b="1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riteria</a:t>
              </a:r>
              <a:r>
                <a:rPr kumimoji="0" lang="pl-PL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3</a:t>
              </a:r>
              <a:endParaRPr kumimoji="0" lang="en-AU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2" name="btfpRowHeaderBoxLine537644">
              <a:extLst>
                <a:ext uri="{FF2B5EF4-FFF2-40B4-BE49-F238E27FC236}">
                  <a16:creationId xmlns:a16="http://schemas.microsoft.com/office/drawing/2014/main" id="{A07A666F-5EC5-448B-8D5D-F6DED36090B6}"/>
                </a:ext>
              </a:extLst>
            </p:cNvPr>
            <p:cNvCxnSpPr/>
            <p:nvPr/>
          </p:nvCxnSpPr>
          <p:spPr bwMode="gray">
            <a:xfrm>
              <a:off x="1801680" y="979718"/>
              <a:ext cx="0" cy="972979"/>
            </a:xfrm>
            <a:prstGeom prst="line">
              <a:avLst/>
            </a:prstGeom>
            <a:ln w="152400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btfpRowHeaderBox537644">
            <a:extLst>
              <a:ext uri="{FF2B5EF4-FFF2-40B4-BE49-F238E27FC236}">
                <a16:creationId xmlns:a16="http://schemas.microsoft.com/office/drawing/2014/main" id="{CFAD09C1-553A-41A8-A53B-BC3B9A14CB2F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714164" y="4057623"/>
            <a:ext cx="2028091" cy="653424"/>
            <a:chOff x="330200" y="979718"/>
            <a:chExt cx="1471480" cy="972979"/>
          </a:xfrm>
        </p:grpSpPr>
        <p:sp>
          <p:nvSpPr>
            <p:cNvPr id="74" name="btfpRowHeaderBoxText537644">
              <a:extLst>
                <a:ext uri="{FF2B5EF4-FFF2-40B4-BE49-F238E27FC236}">
                  <a16:creationId xmlns:a16="http://schemas.microsoft.com/office/drawing/2014/main" id="{24065EBF-19C4-43BD-8A73-486247D1E6DE}"/>
                </a:ext>
              </a:extLst>
            </p:cNvPr>
            <p:cNvSpPr txBox="1"/>
            <p:nvPr/>
          </p:nvSpPr>
          <p:spPr bwMode="gray">
            <a:xfrm>
              <a:off x="330200" y="979718"/>
              <a:ext cx="1471480" cy="972979"/>
            </a:xfrm>
            <a:prstGeom prst="rect">
              <a:avLst/>
            </a:prstGeom>
            <a:noFill/>
          </p:spPr>
          <p:txBody>
            <a:bodyPr vert="horz" wrap="square" lIns="36036" tIns="36036" rIns="36000" bIns="36036" rtlCol="0" anchor="t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200" b="1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riteria</a:t>
              </a:r>
              <a:r>
                <a:rPr kumimoji="0" lang="pl-PL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4</a:t>
              </a:r>
              <a:endParaRPr kumimoji="0" lang="en-AU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75" name="btfpRowHeaderBoxLine537644">
              <a:extLst>
                <a:ext uri="{FF2B5EF4-FFF2-40B4-BE49-F238E27FC236}">
                  <a16:creationId xmlns:a16="http://schemas.microsoft.com/office/drawing/2014/main" id="{18146834-A177-481B-9614-642AABFAA7DC}"/>
                </a:ext>
              </a:extLst>
            </p:cNvPr>
            <p:cNvCxnSpPr/>
            <p:nvPr/>
          </p:nvCxnSpPr>
          <p:spPr bwMode="gray">
            <a:xfrm>
              <a:off x="1801680" y="979718"/>
              <a:ext cx="0" cy="972979"/>
            </a:xfrm>
            <a:prstGeom prst="line">
              <a:avLst/>
            </a:prstGeom>
            <a:ln w="152400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3" name="btfpRowHeaderBox537644">
            <a:extLst>
              <a:ext uri="{FF2B5EF4-FFF2-40B4-BE49-F238E27FC236}">
                <a16:creationId xmlns:a16="http://schemas.microsoft.com/office/drawing/2014/main" id="{2E8993E8-1254-45CD-ACA4-2A88F95E967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14164" y="4859119"/>
            <a:ext cx="2028091" cy="653424"/>
            <a:chOff x="330200" y="979718"/>
            <a:chExt cx="1471480" cy="972979"/>
          </a:xfrm>
        </p:grpSpPr>
        <p:sp>
          <p:nvSpPr>
            <p:cNvPr id="89" name="btfpRowHeaderBoxText537644">
              <a:extLst>
                <a:ext uri="{FF2B5EF4-FFF2-40B4-BE49-F238E27FC236}">
                  <a16:creationId xmlns:a16="http://schemas.microsoft.com/office/drawing/2014/main" id="{A27B8B2F-9CAB-4E84-94B3-54F6F9A34558}"/>
                </a:ext>
              </a:extLst>
            </p:cNvPr>
            <p:cNvSpPr txBox="1"/>
            <p:nvPr/>
          </p:nvSpPr>
          <p:spPr bwMode="gray">
            <a:xfrm>
              <a:off x="330200" y="979718"/>
              <a:ext cx="1471480" cy="972979"/>
            </a:xfrm>
            <a:prstGeom prst="rect">
              <a:avLst/>
            </a:prstGeom>
            <a:noFill/>
          </p:spPr>
          <p:txBody>
            <a:bodyPr vert="horz" wrap="square" lIns="36036" tIns="36036" rIns="36000" bIns="36036" rtlCol="0" anchor="t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200" b="1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riteria</a:t>
              </a:r>
              <a:r>
                <a:rPr kumimoji="0" lang="pl-PL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5</a:t>
              </a:r>
              <a:endParaRPr kumimoji="0" lang="en-AU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0" name="btfpRowHeaderBoxLine537644">
              <a:extLst>
                <a:ext uri="{FF2B5EF4-FFF2-40B4-BE49-F238E27FC236}">
                  <a16:creationId xmlns:a16="http://schemas.microsoft.com/office/drawing/2014/main" id="{9CC0F06A-D281-4B3D-9F6A-3D6E5DB3223B}"/>
                </a:ext>
              </a:extLst>
            </p:cNvPr>
            <p:cNvCxnSpPr/>
            <p:nvPr/>
          </p:nvCxnSpPr>
          <p:spPr bwMode="gray">
            <a:xfrm>
              <a:off x="1801680" y="979718"/>
              <a:ext cx="0" cy="972979"/>
            </a:xfrm>
            <a:prstGeom prst="line">
              <a:avLst/>
            </a:prstGeom>
            <a:ln w="152400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1" name="btfpRowHeaderBox537644">
            <a:extLst>
              <a:ext uri="{FF2B5EF4-FFF2-40B4-BE49-F238E27FC236}">
                <a16:creationId xmlns:a16="http://schemas.microsoft.com/office/drawing/2014/main" id="{AA1E08C2-090B-4CC3-AC2C-850F578D6DA3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14164" y="5660611"/>
            <a:ext cx="2028091" cy="653424"/>
            <a:chOff x="330200" y="979718"/>
            <a:chExt cx="1471480" cy="972979"/>
          </a:xfrm>
        </p:grpSpPr>
        <p:sp>
          <p:nvSpPr>
            <p:cNvPr id="92" name="btfpRowHeaderBoxText537644">
              <a:extLst>
                <a:ext uri="{FF2B5EF4-FFF2-40B4-BE49-F238E27FC236}">
                  <a16:creationId xmlns:a16="http://schemas.microsoft.com/office/drawing/2014/main" id="{655DB7BE-7F2D-48DF-900F-2FBB8D489234}"/>
                </a:ext>
              </a:extLst>
            </p:cNvPr>
            <p:cNvSpPr txBox="1"/>
            <p:nvPr/>
          </p:nvSpPr>
          <p:spPr bwMode="gray">
            <a:xfrm>
              <a:off x="330200" y="979718"/>
              <a:ext cx="1471480" cy="972979"/>
            </a:xfrm>
            <a:prstGeom prst="rect">
              <a:avLst/>
            </a:prstGeom>
            <a:noFill/>
          </p:spPr>
          <p:txBody>
            <a:bodyPr vert="horz" wrap="square" lIns="36036" tIns="36036" rIns="36000" bIns="36036" rtlCol="0" anchor="t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200" b="1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riteria</a:t>
              </a:r>
              <a:r>
                <a:rPr kumimoji="0" lang="pl-PL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6</a:t>
              </a:r>
              <a:endParaRPr kumimoji="0" lang="en-AU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3" name="btfpRowHeaderBoxLine537644">
              <a:extLst>
                <a:ext uri="{FF2B5EF4-FFF2-40B4-BE49-F238E27FC236}">
                  <a16:creationId xmlns:a16="http://schemas.microsoft.com/office/drawing/2014/main" id="{1E915CCF-BC9C-47D2-8C29-62F50DD2040E}"/>
                </a:ext>
              </a:extLst>
            </p:cNvPr>
            <p:cNvCxnSpPr/>
            <p:nvPr/>
          </p:nvCxnSpPr>
          <p:spPr bwMode="gray">
            <a:xfrm>
              <a:off x="1801680" y="979718"/>
              <a:ext cx="0" cy="972979"/>
            </a:xfrm>
            <a:prstGeom prst="line">
              <a:avLst/>
            </a:prstGeom>
            <a:ln w="152400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C4EDC713-19F4-49F5-A797-2FBBBABC541F}"/>
              </a:ext>
            </a:extLst>
          </p:cNvPr>
          <p:cNvCxnSpPr/>
          <p:nvPr/>
        </p:nvCxnSpPr>
        <p:spPr bwMode="gray">
          <a:xfrm>
            <a:off x="714164" y="5586579"/>
            <a:ext cx="11077799" cy="0"/>
          </a:xfrm>
          <a:prstGeom prst="line">
            <a:avLst/>
          </a:prstGeom>
          <a:ln w="9525" cap="flat" cmpd="sng" algn="ctr">
            <a:solidFill>
              <a:srgbClr val="5C5C5C"/>
            </a:solidFill>
            <a:prstDash val="dash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D55C5560-41CC-4C86-A8F0-99B9C837E089}"/>
              </a:ext>
            </a:extLst>
          </p:cNvPr>
          <p:cNvCxnSpPr/>
          <p:nvPr/>
        </p:nvCxnSpPr>
        <p:spPr bwMode="gray">
          <a:xfrm>
            <a:off x="714164" y="4785083"/>
            <a:ext cx="11077799" cy="0"/>
          </a:xfrm>
          <a:prstGeom prst="line">
            <a:avLst/>
          </a:prstGeom>
          <a:ln w="9525" cap="flat" cmpd="sng" algn="ctr">
            <a:solidFill>
              <a:srgbClr val="5C5C5C"/>
            </a:solidFill>
            <a:prstDash val="dash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3074AE82-E4C6-4E43-B204-6790E93DCE67}"/>
              </a:ext>
            </a:extLst>
          </p:cNvPr>
          <p:cNvCxnSpPr/>
          <p:nvPr/>
        </p:nvCxnSpPr>
        <p:spPr bwMode="gray">
          <a:xfrm>
            <a:off x="714164" y="3983587"/>
            <a:ext cx="11077799" cy="0"/>
          </a:xfrm>
          <a:prstGeom prst="line">
            <a:avLst/>
          </a:prstGeom>
          <a:ln w="9525" cap="flat" cmpd="sng" algn="ctr">
            <a:solidFill>
              <a:srgbClr val="5C5C5C"/>
            </a:solidFill>
            <a:prstDash val="dash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75F2B3B5-BD0E-42F8-9EC7-F06233B21F89}"/>
              </a:ext>
            </a:extLst>
          </p:cNvPr>
          <p:cNvCxnSpPr/>
          <p:nvPr/>
        </p:nvCxnSpPr>
        <p:spPr bwMode="gray">
          <a:xfrm>
            <a:off x="714164" y="3182091"/>
            <a:ext cx="11077799" cy="0"/>
          </a:xfrm>
          <a:prstGeom prst="line">
            <a:avLst/>
          </a:prstGeom>
          <a:ln w="9525" cap="flat" cmpd="sng" algn="ctr">
            <a:solidFill>
              <a:srgbClr val="5C5C5C"/>
            </a:solidFill>
            <a:prstDash val="dash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0E66A623-E992-4C9F-991B-36EF9D6F0788}"/>
              </a:ext>
            </a:extLst>
          </p:cNvPr>
          <p:cNvCxnSpPr/>
          <p:nvPr/>
        </p:nvCxnSpPr>
        <p:spPr bwMode="gray">
          <a:xfrm>
            <a:off x="714164" y="2380595"/>
            <a:ext cx="11077799" cy="0"/>
          </a:xfrm>
          <a:prstGeom prst="line">
            <a:avLst/>
          </a:prstGeom>
          <a:ln w="9525" cap="flat" cmpd="sng" algn="ctr">
            <a:solidFill>
              <a:srgbClr val="5C5C5C"/>
            </a:solidFill>
            <a:prstDash val="dash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btfpNotesBox350040">
            <a:extLst>
              <a:ext uri="{FF2B5EF4-FFF2-40B4-BE49-F238E27FC236}">
                <a16:creationId xmlns:a16="http://schemas.microsoft.com/office/drawing/2014/main" id="{96D56159-66A7-4C17-A48D-31CD1B865511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 Top 6 KPCs shown</a:t>
            </a:r>
          </a:p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</a:t>
            </a:r>
          </a:p>
        </p:txBody>
      </p:sp>
      <p:sp>
        <p:nvSpPr>
          <p:cNvPr id="106" name="Isosceles Triangle 105">
            <a:extLst>
              <a:ext uri="{FF2B5EF4-FFF2-40B4-BE49-F238E27FC236}">
                <a16:creationId xmlns:a16="http://schemas.microsoft.com/office/drawing/2014/main" id="{80A0934E-7585-4ACC-BE96-73A9597898FB}"/>
              </a:ext>
            </a:extLst>
          </p:cNvPr>
          <p:cNvSpPr/>
          <p:nvPr/>
        </p:nvSpPr>
        <p:spPr bwMode="gray">
          <a:xfrm rot="5400000" flipH="1">
            <a:off x="-1463943" y="3731516"/>
            <a:ext cx="3809759" cy="211950"/>
          </a:xfrm>
          <a:prstGeom prst="triangle">
            <a:avLst>
              <a:gd name="adj" fmla="val 100000"/>
            </a:avLst>
          </a:prstGeom>
          <a:solidFill>
            <a:srgbClr val="B4B4B4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11A9FF9B-49C6-45D3-8E14-EF0BF4DD9D6D}"/>
              </a:ext>
            </a:extLst>
          </p:cNvPr>
          <p:cNvSpPr txBox="1"/>
          <p:nvPr/>
        </p:nvSpPr>
        <p:spPr bwMode="gray">
          <a:xfrm rot="16200000">
            <a:off x="-745336" y="3480784"/>
            <a:ext cx="188142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1" u="none" strike="noStrike" kern="1200" cap="none" spc="0" normalizeH="0" baseline="0" noProof="0">
                <a:ln>
                  <a:noFill/>
                </a:ln>
                <a:solidFill>
                  <a:srgbClr val="85858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vel of importance</a:t>
            </a:r>
          </a:p>
        </p:txBody>
      </p:sp>
      <p:sp>
        <p:nvSpPr>
          <p:cNvPr id="108" name="btfpNumberBubble694582">
            <a:extLst>
              <a:ext uri="{FF2B5EF4-FFF2-40B4-BE49-F238E27FC236}">
                <a16:creationId xmlns:a16="http://schemas.microsoft.com/office/drawing/2014/main" id="{E4CCF19D-2FD9-42F3-9785-E8CDD3EEFAF4}"/>
              </a:ext>
            </a:extLst>
          </p:cNvPr>
          <p:cNvSpPr/>
          <p:nvPr/>
        </p:nvSpPr>
        <p:spPr bwMode="gray">
          <a:xfrm rot="10800000">
            <a:off x="315571" y="1837122"/>
            <a:ext cx="262396" cy="262396"/>
          </a:xfrm>
          <a:prstGeom prst="ellipse">
            <a:avLst/>
          </a:prstGeom>
          <a:solidFill>
            <a:srgbClr val="B4B4B4"/>
          </a:solidFill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</a:t>
            </a:r>
          </a:p>
        </p:txBody>
      </p:sp>
      <p:sp>
        <p:nvSpPr>
          <p:cNvPr id="109" name="btfpNumberBubble694582">
            <a:extLst>
              <a:ext uri="{FF2B5EF4-FFF2-40B4-BE49-F238E27FC236}">
                <a16:creationId xmlns:a16="http://schemas.microsoft.com/office/drawing/2014/main" id="{89124084-B2B5-4496-92EA-ECD50312AEDC}"/>
              </a:ext>
            </a:extLst>
          </p:cNvPr>
          <p:cNvSpPr/>
          <p:nvPr/>
        </p:nvSpPr>
        <p:spPr bwMode="gray">
          <a:xfrm rot="10800000">
            <a:off x="315572" y="5416988"/>
            <a:ext cx="262396" cy="262396"/>
          </a:xfrm>
          <a:prstGeom prst="ellipse">
            <a:avLst/>
          </a:prstGeom>
          <a:solidFill>
            <a:srgbClr val="B4B4B4"/>
          </a:solidFill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</a:t>
            </a:r>
          </a:p>
        </p:txBody>
      </p:sp>
      <p:sp>
        <p:nvSpPr>
          <p:cNvPr id="38" name="btfpQuoteBox390739">
            <a:extLst>
              <a:ext uri="{FF2B5EF4-FFF2-40B4-BE49-F238E27FC236}">
                <a16:creationId xmlns:a16="http://schemas.microsoft.com/office/drawing/2014/main" id="{DB7669E9-4614-4277-A764-2D4F1FA6C7F2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>
            <a:off x="4226311" y="2525675"/>
            <a:ext cx="7630727" cy="534441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marR="0" lvl="0" indent="-90729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This text block has been designed specifically for quotes. Be sure to include the source of the quote. It should be flush right and if possible fit on one line.”</a:t>
            </a:r>
          </a:p>
          <a:p>
            <a:pPr marL="177800" marR="0" lvl="1" indent="0" algn="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 of Quote, Position or Company</a:t>
            </a:r>
          </a:p>
        </p:txBody>
      </p:sp>
      <p:sp>
        <p:nvSpPr>
          <p:cNvPr id="110" name="btfpQuoteBox390739">
            <a:extLst>
              <a:ext uri="{FF2B5EF4-FFF2-40B4-BE49-F238E27FC236}">
                <a16:creationId xmlns:a16="http://schemas.microsoft.com/office/drawing/2014/main" id="{D982CDC9-7AB7-47AE-8D4F-2B398FF86FD7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gray">
          <a:xfrm>
            <a:off x="4226311" y="1746046"/>
            <a:ext cx="7630727" cy="534441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marR="0" lvl="0" indent="-90729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This text block has been designed specifically for quotes. Be sure to include the source of the quote. It should be flush right and if possible fit on one line.”</a:t>
            </a:r>
          </a:p>
          <a:p>
            <a:pPr marL="177800" marR="0" lvl="1" indent="0" algn="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 of Quote, Position or Company</a:t>
            </a:r>
          </a:p>
        </p:txBody>
      </p:sp>
      <p:sp>
        <p:nvSpPr>
          <p:cNvPr id="111" name="btfpQuoteBox390739">
            <a:extLst>
              <a:ext uri="{FF2B5EF4-FFF2-40B4-BE49-F238E27FC236}">
                <a16:creationId xmlns:a16="http://schemas.microsoft.com/office/drawing/2014/main" id="{AFB6F1E7-DAC2-4CA0-A7F3-A9AEEF75FBF9}"/>
              </a:ext>
            </a:extLst>
          </p:cNvPr>
          <p:cNvSpPr txBox="1"/>
          <p:nvPr>
            <p:custDataLst>
              <p:tags r:id="rId9"/>
            </p:custDataLst>
          </p:nvPr>
        </p:nvSpPr>
        <p:spPr bwMode="gray">
          <a:xfrm>
            <a:off x="4226311" y="3326863"/>
            <a:ext cx="7630727" cy="534441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marR="0" lvl="0" indent="-90729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This text block has been designed specifically for quotes. Be sure to include the source of the quote. It should be flush right and if possible fit on one line.”</a:t>
            </a:r>
          </a:p>
          <a:p>
            <a:pPr marL="177800" marR="0" lvl="1" indent="0" algn="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 of Quote, Position or Company</a:t>
            </a:r>
          </a:p>
        </p:txBody>
      </p:sp>
      <p:sp>
        <p:nvSpPr>
          <p:cNvPr id="112" name="btfpQuoteBox390739">
            <a:extLst>
              <a:ext uri="{FF2B5EF4-FFF2-40B4-BE49-F238E27FC236}">
                <a16:creationId xmlns:a16="http://schemas.microsoft.com/office/drawing/2014/main" id="{D7A2DFCC-606E-4787-980D-0ACED305CCC2}"/>
              </a:ext>
            </a:extLst>
          </p:cNvPr>
          <p:cNvSpPr txBox="1"/>
          <p:nvPr>
            <p:custDataLst>
              <p:tags r:id="rId10"/>
            </p:custDataLst>
          </p:nvPr>
        </p:nvSpPr>
        <p:spPr bwMode="gray">
          <a:xfrm>
            <a:off x="4226311" y="4147305"/>
            <a:ext cx="7630727" cy="534441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marR="0" lvl="0" indent="-90729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This text block has been designed specifically for quotes. Be sure to include the source of the quote. It should be flush right and if possible fit on one line.”</a:t>
            </a:r>
          </a:p>
          <a:p>
            <a:pPr marL="177800" marR="0" lvl="1" indent="0" algn="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 of Quote, Position or Company</a:t>
            </a:r>
          </a:p>
        </p:txBody>
      </p:sp>
      <p:sp>
        <p:nvSpPr>
          <p:cNvPr id="120" name="btfpQuoteBox390739">
            <a:extLst>
              <a:ext uri="{FF2B5EF4-FFF2-40B4-BE49-F238E27FC236}">
                <a16:creationId xmlns:a16="http://schemas.microsoft.com/office/drawing/2014/main" id="{D41ADA01-16EB-4366-ACA7-6A55B96DF0D2}"/>
              </a:ext>
            </a:extLst>
          </p:cNvPr>
          <p:cNvSpPr txBox="1"/>
          <p:nvPr>
            <p:custDataLst>
              <p:tags r:id="rId11"/>
            </p:custDataLst>
          </p:nvPr>
        </p:nvSpPr>
        <p:spPr bwMode="gray">
          <a:xfrm>
            <a:off x="4226311" y="4902138"/>
            <a:ext cx="7630727" cy="534441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marR="0" lvl="0" indent="-90729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This text block has been designed specifically for quotes. Be sure to include the source of the quote. It should be flush right and if possible fit on one line.”</a:t>
            </a:r>
          </a:p>
          <a:p>
            <a:pPr marL="177800" marR="0" lvl="1" indent="0" algn="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 of Quote, Position or Company</a:t>
            </a:r>
          </a:p>
        </p:txBody>
      </p:sp>
      <p:sp>
        <p:nvSpPr>
          <p:cNvPr id="121" name="btfpQuoteBox390739">
            <a:extLst>
              <a:ext uri="{FF2B5EF4-FFF2-40B4-BE49-F238E27FC236}">
                <a16:creationId xmlns:a16="http://schemas.microsoft.com/office/drawing/2014/main" id="{2C1905D0-8F6D-4E3A-89D3-DF9EF53139A3}"/>
              </a:ext>
            </a:extLst>
          </p:cNvPr>
          <p:cNvSpPr txBox="1"/>
          <p:nvPr>
            <p:custDataLst>
              <p:tags r:id="rId12"/>
            </p:custDataLst>
          </p:nvPr>
        </p:nvSpPr>
        <p:spPr bwMode="gray">
          <a:xfrm>
            <a:off x="4226311" y="5668544"/>
            <a:ext cx="7630727" cy="534441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marR="0" lvl="0" indent="-90729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This text block has been designed specifically for quotes. Be sure to include the source of the quote. It should be flush right and if possible fit on one line.”</a:t>
            </a:r>
          </a:p>
          <a:p>
            <a:pPr marL="177800" marR="0" lvl="1" indent="0" algn="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 of Quote, Position or Company</a:t>
            </a: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EE868B80-7827-4E5F-8AEB-7BA9FE503165}"/>
              </a:ext>
            </a:extLst>
          </p:cNvPr>
          <p:cNvSpPr/>
          <p:nvPr/>
        </p:nvSpPr>
        <p:spPr bwMode="gray">
          <a:xfrm>
            <a:off x="334963" y="1277567"/>
            <a:ext cx="11522075" cy="256077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1" indent="0" algn="ctr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 </a:t>
            </a:r>
            <a:r>
              <a:rPr kumimoji="0" lang="en-AU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ease choose the </a:t>
            </a:r>
            <a:r>
              <a:rPr kumimoji="0" lang="en-AU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st important factors </a:t>
            </a:r>
            <a:r>
              <a:rPr kumimoji="0" lang="en-AU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you when selecting </a:t>
            </a:r>
            <a:r>
              <a:rPr kumimoji="0" lang="en-AU" sz="1000" b="0" i="1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lecting</a:t>
            </a:r>
            <a:r>
              <a:rPr kumimoji="0" lang="en-AU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 aesthetic medicine clinic:</a:t>
            </a:r>
          </a:p>
        </p:txBody>
      </p:sp>
      <p:grpSp>
        <p:nvGrpSpPr>
          <p:cNvPr id="145" name="btfpRowHeaderBox537644">
            <a:extLst>
              <a:ext uri="{FF2B5EF4-FFF2-40B4-BE49-F238E27FC236}">
                <a16:creationId xmlns:a16="http://schemas.microsoft.com/office/drawing/2014/main" id="{83AC2A75-B611-4BE2-849A-0F38738E1280}"/>
              </a:ext>
            </a:extLst>
          </p:cNvPr>
          <p:cNvGrpSpPr/>
          <p:nvPr>
            <p:custDataLst>
              <p:tags r:id="rId13"/>
            </p:custDataLst>
          </p:nvPr>
        </p:nvGrpSpPr>
        <p:grpSpPr>
          <a:xfrm>
            <a:off x="714164" y="1675503"/>
            <a:ext cx="2028091" cy="653424"/>
            <a:chOff x="330200" y="979718"/>
            <a:chExt cx="1471480" cy="972979"/>
          </a:xfrm>
        </p:grpSpPr>
        <p:sp>
          <p:nvSpPr>
            <p:cNvPr id="146" name="btfpRowHeaderBoxText537644">
              <a:extLst>
                <a:ext uri="{FF2B5EF4-FFF2-40B4-BE49-F238E27FC236}">
                  <a16:creationId xmlns:a16="http://schemas.microsoft.com/office/drawing/2014/main" id="{D89DB687-81F8-4FE5-BAA8-5A312DD9E82C}"/>
                </a:ext>
              </a:extLst>
            </p:cNvPr>
            <p:cNvSpPr txBox="1"/>
            <p:nvPr/>
          </p:nvSpPr>
          <p:spPr bwMode="gray">
            <a:xfrm>
              <a:off x="330200" y="979718"/>
              <a:ext cx="1471480" cy="972979"/>
            </a:xfrm>
            <a:prstGeom prst="rect">
              <a:avLst/>
            </a:prstGeom>
            <a:noFill/>
          </p:spPr>
          <p:txBody>
            <a:bodyPr vert="horz" wrap="square" lIns="36036" tIns="36036" rIns="36000" bIns="36036" rtlCol="0" anchor="t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200" b="1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riteria</a:t>
              </a:r>
              <a:r>
                <a:rPr kumimoji="0" lang="pl-PL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1</a:t>
              </a:r>
              <a:endParaRPr kumimoji="0" lang="en-AU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47" name="btfpRowHeaderBoxLine537644">
              <a:extLst>
                <a:ext uri="{FF2B5EF4-FFF2-40B4-BE49-F238E27FC236}">
                  <a16:creationId xmlns:a16="http://schemas.microsoft.com/office/drawing/2014/main" id="{EE9B6E26-8914-4278-9648-CC5F54F9AE00}"/>
                </a:ext>
              </a:extLst>
            </p:cNvPr>
            <p:cNvCxnSpPr/>
            <p:nvPr/>
          </p:nvCxnSpPr>
          <p:spPr bwMode="gray">
            <a:xfrm>
              <a:off x="1801680" y="979718"/>
              <a:ext cx="0" cy="972979"/>
            </a:xfrm>
            <a:prstGeom prst="line">
              <a:avLst/>
            </a:prstGeom>
            <a:ln w="152400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8" name="btfpPercentageCircle872642">
            <a:extLst>
              <a:ext uri="{FF2B5EF4-FFF2-40B4-BE49-F238E27FC236}">
                <a16:creationId xmlns:a16="http://schemas.microsoft.com/office/drawing/2014/main" id="{6A9DA0F3-357A-4D47-9FED-424A17062215}"/>
              </a:ext>
            </a:extLst>
          </p:cNvPr>
          <p:cNvGrpSpPr/>
          <p:nvPr>
            <p:custDataLst>
              <p:tags r:id="rId14"/>
            </p:custDataLst>
          </p:nvPr>
        </p:nvGrpSpPr>
        <p:grpSpPr>
          <a:xfrm>
            <a:off x="3022985" y="1628914"/>
            <a:ext cx="720725" cy="720725"/>
            <a:chOff x="488115" y="1380206"/>
            <a:chExt cx="1270000" cy="1270000"/>
          </a:xfrm>
        </p:grpSpPr>
        <p:sp>
          <p:nvSpPr>
            <p:cNvPr id="149" name="btfpPercentageCircleCircle872642">
              <a:extLst>
                <a:ext uri="{FF2B5EF4-FFF2-40B4-BE49-F238E27FC236}">
                  <a16:creationId xmlns:a16="http://schemas.microsoft.com/office/drawing/2014/main" id="{B78B0F7E-4360-4158-B0FD-A9EBA0B28CD4}"/>
                </a:ext>
              </a:extLst>
            </p:cNvPr>
            <p:cNvSpPr/>
            <p:nvPr/>
          </p:nvSpPr>
          <p:spPr bwMode="gray">
            <a:xfrm>
              <a:off x="513515" y="1405606"/>
              <a:ext cx="1219200" cy="1219200"/>
            </a:xfrm>
            <a:prstGeom prst="donut">
              <a:avLst>
                <a:gd name="adj" fmla="val 2000"/>
              </a:avLst>
            </a:pr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0" name="btfpPercentageCircleArc872642">
              <a:extLst>
                <a:ext uri="{FF2B5EF4-FFF2-40B4-BE49-F238E27FC236}">
                  <a16:creationId xmlns:a16="http://schemas.microsoft.com/office/drawing/2014/main" id="{70B19AC8-5AE2-4EED-A74A-4A7557BB4014}"/>
                </a:ext>
              </a:extLst>
            </p:cNvPr>
            <p:cNvSpPr/>
            <p:nvPr/>
          </p:nvSpPr>
          <p:spPr bwMode="gray">
            <a:xfrm>
              <a:off x="488115" y="1380206"/>
              <a:ext cx="1270000" cy="1270000"/>
            </a:xfrm>
            <a:prstGeom prst="blockArc">
              <a:avLst>
                <a:gd name="adj1" fmla="val 16200000"/>
                <a:gd name="adj2" fmla="val 12096000"/>
                <a:gd name="adj3" fmla="val 4000"/>
              </a:avLst>
            </a:prstGeom>
            <a:solidFill>
              <a:srgbClr val="CC0000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1" name="btfpPercentageCircleText872642">
              <a:extLst>
                <a:ext uri="{FF2B5EF4-FFF2-40B4-BE49-F238E27FC236}">
                  <a16:creationId xmlns:a16="http://schemas.microsoft.com/office/drawing/2014/main" id="{AE54024B-6F3A-4608-BD80-7D315E966129}"/>
                </a:ext>
              </a:extLst>
            </p:cNvPr>
            <p:cNvSpPr txBox="1"/>
            <p:nvPr/>
          </p:nvSpPr>
          <p:spPr bwMode="gray">
            <a:xfrm>
              <a:off x="488115" y="1380206"/>
              <a:ext cx="1270000" cy="1270000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 anchorCtr="1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2000" b="0" i="0" u="none" strike="noStrike" kern="1200" cap="none" spc="0" normalizeH="0" baseline="0" noProof="0">
                  <a:ln>
                    <a:noFill/>
                  </a:ln>
                  <a:solidFill>
                    <a:srgbClr val="CC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81%</a:t>
              </a:r>
            </a:p>
          </p:txBody>
        </p:sp>
      </p:grpSp>
      <p:grpSp>
        <p:nvGrpSpPr>
          <p:cNvPr id="152" name="btfpPercentageCircle872642">
            <a:extLst>
              <a:ext uri="{FF2B5EF4-FFF2-40B4-BE49-F238E27FC236}">
                <a16:creationId xmlns:a16="http://schemas.microsoft.com/office/drawing/2014/main" id="{853BF15A-03FE-4F4D-B01F-DF6E1F40D13B}"/>
              </a:ext>
            </a:extLst>
          </p:cNvPr>
          <p:cNvGrpSpPr/>
          <p:nvPr>
            <p:custDataLst>
              <p:tags r:id="rId15"/>
            </p:custDataLst>
          </p:nvPr>
        </p:nvGrpSpPr>
        <p:grpSpPr>
          <a:xfrm>
            <a:off x="3022984" y="2459443"/>
            <a:ext cx="720725" cy="720725"/>
            <a:chOff x="488115" y="1380206"/>
            <a:chExt cx="1270000" cy="1270000"/>
          </a:xfrm>
        </p:grpSpPr>
        <p:sp>
          <p:nvSpPr>
            <p:cNvPr id="153" name="btfpPercentageCircleCircle872642">
              <a:extLst>
                <a:ext uri="{FF2B5EF4-FFF2-40B4-BE49-F238E27FC236}">
                  <a16:creationId xmlns:a16="http://schemas.microsoft.com/office/drawing/2014/main" id="{E0ADD022-2484-4327-897A-3F7DF27888D5}"/>
                </a:ext>
              </a:extLst>
            </p:cNvPr>
            <p:cNvSpPr/>
            <p:nvPr/>
          </p:nvSpPr>
          <p:spPr bwMode="gray">
            <a:xfrm>
              <a:off x="513515" y="1405606"/>
              <a:ext cx="1219200" cy="1219200"/>
            </a:xfrm>
            <a:prstGeom prst="donut">
              <a:avLst>
                <a:gd name="adj" fmla="val 2000"/>
              </a:avLst>
            </a:pr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4" name="btfpPercentageCircleArc872642">
              <a:extLst>
                <a:ext uri="{FF2B5EF4-FFF2-40B4-BE49-F238E27FC236}">
                  <a16:creationId xmlns:a16="http://schemas.microsoft.com/office/drawing/2014/main" id="{30F87923-0C63-43D8-B285-03074F4C5532}"/>
                </a:ext>
              </a:extLst>
            </p:cNvPr>
            <p:cNvSpPr/>
            <p:nvPr/>
          </p:nvSpPr>
          <p:spPr bwMode="gray">
            <a:xfrm>
              <a:off x="488115" y="1380206"/>
              <a:ext cx="1270000" cy="1270000"/>
            </a:xfrm>
            <a:prstGeom prst="blockArc">
              <a:avLst>
                <a:gd name="adj1" fmla="val 16200000"/>
                <a:gd name="adj2" fmla="val 9720000"/>
                <a:gd name="adj3" fmla="val 4000"/>
              </a:avLst>
            </a:prstGeom>
            <a:solidFill>
              <a:srgbClr val="CC0000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5" name="btfpPercentageCircleText872642">
              <a:extLst>
                <a:ext uri="{FF2B5EF4-FFF2-40B4-BE49-F238E27FC236}">
                  <a16:creationId xmlns:a16="http://schemas.microsoft.com/office/drawing/2014/main" id="{116C30AA-88D4-48FE-9CB3-0DC75F3EEADE}"/>
                </a:ext>
              </a:extLst>
            </p:cNvPr>
            <p:cNvSpPr txBox="1"/>
            <p:nvPr/>
          </p:nvSpPr>
          <p:spPr bwMode="gray">
            <a:xfrm>
              <a:off x="488115" y="1380206"/>
              <a:ext cx="1270000" cy="1270000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 anchorCtr="1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2000" b="0" i="0" u="none" strike="noStrike" kern="1200" cap="none" spc="0" normalizeH="0" baseline="0" noProof="0">
                  <a:ln>
                    <a:noFill/>
                  </a:ln>
                  <a:solidFill>
                    <a:srgbClr val="CC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70%</a:t>
              </a:r>
            </a:p>
          </p:txBody>
        </p:sp>
      </p:grpSp>
      <p:grpSp>
        <p:nvGrpSpPr>
          <p:cNvPr id="156" name="btfpPercentageCircle872642">
            <a:extLst>
              <a:ext uri="{FF2B5EF4-FFF2-40B4-BE49-F238E27FC236}">
                <a16:creationId xmlns:a16="http://schemas.microsoft.com/office/drawing/2014/main" id="{2166CE6B-A23C-4026-A0C8-5157E1227489}"/>
              </a:ext>
            </a:extLst>
          </p:cNvPr>
          <p:cNvGrpSpPr/>
          <p:nvPr>
            <p:custDataLst>
              <p:tags r:id="rId16"/>
            </p:custDataLst>
          </p:nvPr>
        </p:nvGrpSpPr>
        <p:grpSpPr>
          <a:xfrm>
            <a:off x="3022984" y="3251873"/>
            <a:ext cx="720725" cy="720725"/>
            <a:chOff x="488115" y="1380206"/>
            <a:chExt cx="1270000" cy="1270000"/>
          </a:xfrm>
        </p:grpSpPr>
        <p:sp>
          <p:nvSpPr>
            <p:cNvPr id="157" name="btfpPercentageCircleCircle872642">
              <a:extLst>
                <a:ext uri="{FF2B5EF4-FFF2-40B4-BE49-F238E27FC236}">
                  <a16:creationId xmlns:a16="http://schemas.microsoft.com/office/drawing/2014/main" id="{1A8C8492-72A6-45D4-BB43-B89D57A4F667}"/>
                </a:ext>
              </a:extLst>
            </p:cNvPr>
            <p:cNvSpPr/>
            <p:nvPr/>
          </p:nvSpPr>
          <p:spPr bwMode="gray">
            <a:xfrm>
              <a:off x="513515" y="1405606"/>
              <a:ext cx="1219200" cy="1219200"/>
            </a:xfrm>
            <a:prstGeom prst="donut">
              <a:avLst>
                <a:gd name="adj" fmla="val 2000"/>
              </a:avLst>
            </a:pr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8" name="btfpPercentageCircleArc872642">
              <a:extLst>
                <a:ext uri="{FF2B5EF4-FFF2-40B4-BE49-F238E27FC236}">
                  <a16:creationId xmlns:a16="http://schemas.microsoft.com/office/drawing/2014/main" id="{D1FA840B-A5BB-4BD5-94C0-E22FE95DD048}"/>
                </a:ext>
              </a:extLst>
            </p:cNvPr>
            <p:cNvSpPr/>
            <p:nvPr/>
          </p:nvSpPr>
          <p:spPr bwMode="gray">
            <a:xfrm>
              <a:off x="488115" y="1380206"/>
              <a:ext cx="1270000" cy="1270000"/>
            </a:xfrm>
            <a:prstGeom prst="blockArc">
              <a:avLst>
                <a:gd name="adj1" fmla="val 16200000"/>
                <a:gd name="adj2" fmla="val 7127999"/>
                <a:gd name="adj3" fmla="val 4000"/>
              </a:avLst>
            </a:prstGeom>
            <a:solidFill>
              <a:srgbClr val="CC0000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9" name="btfpPercentageCircleText872642">
              <a:extLst>
                <a:ext uri="{FF2B5EF4-FFF2-40B4-BE49-F238E27FC236}">
                  <a16:creationId xmlns:a16="http://schemas.microsoft.com/office/drawing/2014/main" id="{1EB91871-9B5A-4ADB-8031-1758CBA6C0AD}"/>
                </a:ext>
              </a:extLst>
            </p:cNvPr>
            <p:cNvSpPr txBox="1"/>
            <p:nvPr/>
          </p:nvSpPr>
          <p:spPr bwMode="gray">
            <a:xfrm>
              <a:off x="488115" y="1380206"/>
              <a:ext cx="1270000" cy="1270000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 anchorCtr="1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2000" b="0" i="0" u="none" strike="noStrike" kern="1200" cap="none" spc="0" normalizeH="0" baseline="0" noProof="0">
                  <a:ln>
                    <a:noFill/>
                  </a:ln>
                  <a:solidFill>
                    <a:srgbClr val="CC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8%</a:t>
              </a:r>
            </a:p>
          </p:txBody>
        </p:sp>
      </p:grpSp>
      <p:grpSp>
        <p:nvGrpSpPr>
          <p:cNvPr id="160" name="btfpPercentageCircle872642">
            <a:extLst>
              <a:ext uri="{FF2B5EF4-FFF2-40B4-BE49-F238E27FC236}">
                <a16:creationId xmlns:a16="http://schemas.microsoft.com/office/drawing/2014/main" id="{219BF535-13B7-4626-B0DC-282CF08A14F0}"/>
              </a:ext>
            </a:extLst>
          </p:cNvPr>
          <p:cNvGrpSpPr/>
          <p:nvPr>
            <p:custDataLst>
              <p:tags r:id="rId17"/>
            </p:custDataLst>
          </p:nvPr>
        </p:nvGrpSpPr>
        <p:grpSpPr>
          <a:xfrm>
            <a:off x="3022983" y="4044302"/>
            <a:ext cx="720725" cy="720725"/>
            <a:chOff x="488115" y="1380206"/>
            <a:chExt cx="1270000" cy="1270000"/>
          </a:xfrm>
        </p:grpSpPr>
        <p:sp>
          <p:nvSpPr>
            <p:cNvPr id="161" name="btfpPercentageCircleCircle872642">
              <a:extLst>
                <a:ext uri="{FF2B5EF4-FFF2-40B4-BE49-F238E27FC236}">
                  <a16:creationId xmlns:a16="http://schemas.microsoft.com/office/drawing/2014/main" id="{A83A39D9-A836-40EB-B9CA-36F6FC20B590}"/>
                </a:ext>
              </a:extLst>
            </p:cNvPr>
            <p:cNvSpPr/>
            <p:nvPr/>
          </p:nvSpPr>
          <p:spPr bwMode="gray">
            <a:xfrm>
              <a:off x="513515" y="1405606"/>
              <a:ext cx="1219200" cy="1219200"/>
            </a:xfrm>
            <a:prstGeom prst="donut">
              <a:avLst>
                <a:gd name="adj" fmla="val 2000"/>
              </a:avLst>
            </a:pr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2" name="btfpPercentageCircleArc872642">
              <a:extLst>
                <a:ext uri="{FF2B5EF4-FFF2-40B4-BE49-F238E27FC236}">
                  <a16:creationId xmlns:a16="http://schemas.microsoft.com/office/drawing/2014/main" id="{F3552DEB-E4E0-4020-9EDC-909346F6D2B9}"/>
                </a:ext>
              </a:extLst>
            </p:cNvPr>
            <p:cNvSpPr/>
            <p:nvPr/>
          </p:nvSpPr>
          <p:spPr bwMode="gray">
            <a:xfrm>
              <a:off x="488115" y="1380206"/>
              <a:ext cx="1270000" cy="1270000"/>
            </a:xfrm>
            <a:prstGeom prst="blockArc">
              <a:avLst>
                <a:gd name="adj1" fmla="val 16200000"/>
                <a:gd name="adj2" fmla="val 5832000"/>
                <a:gd name="adj3" fmla="val 4000"/>
              </a:avLst>
            </a:pr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3" name="btfpPercentageCircleText872642">
              <a:extLst>
                <a:ext uri="{FF2B5EF4-FFF2-40B4-BE49-F238E27FC236}">
                  <a16:creationId xmlns:a16="http://schemas.microsoft.com/office/drawing/2014/main" id="{8D2B93E3-A6AE-427D-9F4E-98FC47EE9B89}"/>
                </a:ext>
              </a:extLst>
            </p:cNvPr>
            <p:cNvSpPr txBox="1"/>
            <p:nvPr/>
          </p:nvSpPr>
          <p:spPr bwMode="gray">
            <a:xfrm>
              <a:off x="488115" y="1380206"/>
              <a:ext cx="1270000" cy="1270000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 anchorCtr="1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2000" b="0" i="0" u="none" strike="noStrike" kern="1200" cap="none" spc="0" normalizeH="0" baseline="0" noProof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2%</a:t>
              </a:r>
            </a:p>
          </p:txBody>
        </p:sp>
      </p:grpSp>
      <p:grpSp>
        <p:nvGrpSpPr>
          <p:cNvPr id="164" name="btfpPercentageCircle872642">
            <a:extLst>
              <a:ext uri="{FF2B5EF4-FFF2-40B4-BE49-F238E27FC236}">
                <a16:creationId xmlns:a16="http://schemas.microsoft.com/office/drawing/2014/main" id="{7D435ECF-8693-4C98-AC01-1763DF05D076}"/>
              </a:ext>
            </a:extLst>
          </p:cNvPr>
          <p:cNvGrpSpPr/>
          <p:nvPr>
            <p:custDataLst>
              <p:tags r:id="rId18"/>
            </p:custDataLst>
          </p:nvPr>
        </p:nvGrpSpPr>
        <p:grpSpPr>
          <a:xfrm>
            <a:off x="3022983" y="4836732"/>
            <a:ext cx="720725" cy="720725"/>
            <a:chOff x="488115" y="1380206"/>
            <a:chExt cx="1270000" cy="1270000"/>
          </a:xfrm>
        </p:grpSpPr>
        <p:sp>
          <p:nvSpPr>
            <p:cNvPr id="165" name="btfpPercentageCircleCircle872642">
              <a:extLst>
                <a:ext uri="{FF2B5EF4-FFF2-40B4-BE49-F238E27FC236}">
                  <a16:creationId xmlns:a16="http://schemas.microsoft.com/office/drawing/2014/main" id="{C690E742-DB21-438C-B990-B39CFEA5375E}"/>
                </a:ext>
              </a:extLst>
            </p:cNvPr>
            <p:cNvSpPr/>
            <p:nvPr/>
          </p:nvSpPr>
          <p:spPr bwMode="gray">
            <a:xfrm>
              <a:off x="513515" y="1405606"/>
              <a:ext cx="1219200" cy="1219200"/>
            </a:xfrm>
            <a:prstGeom prst="donut">
              <a:avLst>
                <a:gd name="adj" fmla="val 2000"/>
              </a:avLst>
            </a:pr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6" name="btfpPercentageCircleArc872642">
              <a:extLst>
                <a:ext uri="{FF2B5EF4-FFF2-40B4-BE49-F238E27FC236}">
                  <a16:creationId xmlns:a16="http://schemas.microsoft.com/office/drawing/2014/main" id="{3FD45580-FD46-4429-A820-F41160690D11}"/>
                </a:ext>
              </a:extLst>
            </p:cNvPr>
            <p:cNvSpPr/>
            <p:nvPr/>
          </p:nvSpPr>
          <p:spPr bwMode="gray">
            <a:xfrm>
              <a:off x="488115" y="1380206"/>
              <a:ext cx="1270000" cy="1270000"/>
            </a:xfrm>
            <a:prstGeom prst="blockArc">
              <a:avLst>
                <a:gd name="adj1" fmla="val 16200000"/>
                <a:gd name="adj2" fmla="val 4536000"/>
                <a:gd name="adj3" fmla="val 4000"/>
              </a:avLst>
            </a:pr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7" name="btfpPercentageCircleText872642">
              <a:extLst>
                <a:ext uri="{FF2B5EF4-FFF2-40B4-BE49-F238E27FC236}">
                  <a16:creationId xmlns:a16="http://schemas.microsoft.com/office/drawing/2014/main" id="{3A55820A-C44E-4ACF-B484-D1F6AAA6C12E}"/>
                </a:ext>
              </a:extLst>
            </p:cNvPr>
            <p:cNvSpPr txBox="1"/>
            <p:nvPr/>
          </p:nvSpPr>
          <p:spPr bwMode="gray">
            <a:xfrm>
              <a:off x="488115" y="1380206"/>
              <a:ext cx="1270000" cy="1270000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 anchorCtr="1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2000" b="0" i="0" u="none" strike="noStrike" kern="1200" cap="none" spc="0" normalizeH="0" baseline="0" noProof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6%</a:t>
              </a:r>
            </a:p>
          </p:txBody>
        </p:sp>
      </p:grpSp>
      <p:grpSp>
        <p:nvGrpSpPr>
          <p:cNvPr id="168" name="btfpPercentageCircle872642">
            <a:extLst>
              <a:ext uri="{FF2B5EF4-FFF2-40B4-BE49-F238E27FC236}">
                <a16:creationId xmlns:a16="http://schemas.microsoft.com/office/drawing/2014/main" id="{FBF516F2-41FB-46A3-BB10-5F913C74549F}"/>
              </a:ext>
            </a:extLst>
          </p:cNvPr>
          <p:cNvGrpSpPr/>
          <p:nvPr>
            <p:custDataLst>
              <p:tags r:id="rId19"/>
            </p:custDataLst>
          </p:nvPr>
        </p:nvGrpSpPr>
        <p:grpSpPr>
          <a:xfrm>
            <a:off x="3022981" y="5629155"/>
            <a:ext cx="720725" cy="732381"/>
            <a:chOff x="488115" y="1380202"/>
            <a:chExt cx="1270000" cy="2109226"/>
          </a:xfrm>
        </p:grpSpPr>
        <p:sp>
          <p:nvSpPr>
            <p:cNvPr id="169" name="btfpPercentageCircleCircle872642">
              <a:extLst>
                <a:ext uri="{FF2B5EF4-FFF2-40B4-BE49-F238E27FC236}">
                  <a16:creationId xmlns:a16="http://schemas.microsoft.com/office/drawing/2014/main" id="{711B070F-5FF9-4559-A644-53A930C65F7A}"/>
                </a:ext>
              </a:extLst>
            </p:cNvPr>
            <p:cNvSpPr/>
            <p:nvPr/>
          </p:nvSpPr>
          <p:spPr bwMode="gray">
            <a:xfrm>
              <a:off x="513516" y="1405600"/>
              <a:ext cx="1219204" cy="1992631"/>
            </a:xfrm>
            <a:prstGeom prst="donut">
              <a:avLst>
                <a:gd name="adj" fmla="val 2000"/>
              </a:avLst>
            </a:pr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0" name="btfpPercentageCircleArc872642">
              <a:extLst>
                <a:ext uri="{FF2B5EF4-FFF2-40B4-BE49-F238E27FC236}">
                  <a16:creationId xmlns:a16="http://schemas.microsoft.com/office/drawing/2014/main" id="{D44BAA17-F7EB-49E5-AD07-EE0646DE650D}"/>
                </a:ext>
              </a:extLst>
            </p:cNvPr>
            <p:cNvSpPr/>
            <p:nvPr/>
          </p:nvSpPr>
          <p:spPr bwMode="gray">
            <a:xfrm>
              <a:off x="488115" y="1380202"/>
              <a:ext cx="1270000" cy="2075657"/>
            </a:xfrm>
            <a:prstGeom prst="blockArc">
              <a:avLst>
                <a:gd name="adj1" fmla="val 16200000"/>
                <a:gd name="adj2" fmla="val 3240000"/>
                <a:gd name="adj3" fmla="val 4000"/>
              </a:avLst>
            </a:pr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1" name="btfpPercentageCircleText872642">
              <a:extLst>
                <a:ext uri="{FF2B5EF4-FFF2-40B4-BE49-F238E27FC236}">
                  <a16:creationId xmlns:a16="http://schemas.microsoft.com/office/drawing/2014/main" id="{DC832F96-2199-4A6D-AB77-BB6E07CC11C5}"/>
                </a:ext>
              </a:extLst>
            </p:cNvPr>
            <p:cNvSpPr txBox="1"/>
            <p:nvPr/>
          </p:nvSpPr>
          <p:spPr bwMode="gray">
            <a:xfrm>
              <a:off x="488115" y="1413771"/>
              <a:ext cx="1270000" cy="2075657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 anchorCtr="1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2000" b="0" i="0" u="none" strike="noStrike" kern="1200" cap="none" spc="0" normalizeH="0" baseline="0" noProof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0%</a:t>
              </a:r>
            </a:p>
          </p:txBody>
        </p:sp>
      </p:grpSp>
      <p:grpSp>
        <p:nvGrpSpPr>
          <p:cNvPr id="85" name="btfpRowHeaderBox537644">
            <a:extLst>
              <a:ext uri="{FF2B5EF4-FFF2-40B4-BE49-F238E27FC236}">
                <a16:creationId xmlns:a16="http://schemas.microsoft.com/office/drawing/2014/main" id="{43371D1A-0F9B-4CCA-BCCA-D8AC30B28290}"/>
              </a:ext>
            </a:extLst>
          </p:cNvPr>
          <p:cNvGrpSpPr/>
          <p:nvPr>
            <p:custDataLst>
              <p:tags r:id="rId20"/>
            </p:custDataLst>
          </p:nvPr>
        </p:nvGrpSpPr>
        <p:grpSpPr>
          <a:xfrm>
            <a:off x="714164" y="2466183"/>
            <a:ext cx="2028091" cy="653424"/>
            <a:chOff x="330200" y="979718"/>
            <a:chExt cx="1471480" cy="972979"/>
          </a:xfrm>
        </p:grpSpPr>
        <p:sp>
          <p:nvSpPr>
            <p:cNvPr id="86" name="btfpRowHeaderBoxText537644">
              <a:extLst>
                <a:ext uri="{FF2B5EF4-FFF2-40B4-BE49-F238E27FC236}">
                  <a16:creationId xmlns:a16="http://schemas.microsoft.com/office/drawing/2014/main" id="{3CFC9225-D498-4CD3-A043-C7E47894BA77}"/>
                </a:ext>
              </a:extLst>
            </p:cNvPr>
            <p:cNvSpPr txBox="1"/>
            <p:nvPr/>
          </p:nvSpPr>
          <p:spPr bwMode="gray">
            <a:xfrm>
              <a:off x="330200" y="979718"/>
              <a:ext cx="1471480" cy="972979"/>
            </a:xfrm>
            <a:prstGeom prst="rect">
              <a:avLst/>
            </a:prstGeom>
            <a:noFill/>
          </p:spPr>
          <p:txBody>
            <a:bodyPr vert="horz" wrap="square" lIns="36036" tIns="36036" rIns="36000" bIns="36036" rtlCol="0" anchor="t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200" b="1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riteria</a:t>
              </a:r>
              <a:r>
                <a:rPr kumimoji="0" lang="pl-PL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2</a:t>
              </a:r>
              <a:endParaRPr kumimoji="0" lang="en-AU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4" name="btfpRowHeaderBoxLine537644">
              <a:extLst>
                <a:ext uri="{FF2B5EF4-FFF2-40B4-BE49-F238E27FC236}">
                  <a16:creationId xmlns:a16="http://schemas.microsoft.com/office/drawing/2014/main" id="{5E46ED89-143F-4CAF-8D97-CA79D039B57C}"/>
                </a:ext>
              </a:extLst>
            </p:cNvPr>
            <p:cNvCxnSpPr/>
            <p:nvPr/>
          </p:nvCxnSpPr>
          <p:spPr bwMode="gray">
            <a:xfrm>
              <a:off x="1801680" y="979718"/>
              <a:ext cx="0" cy="972979"/>
            </a:xfrm>
            <a:prstGeom prst="line">
              <a:avLst/>
            </a:prstGeom>
            <a:ln w="152400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3" name="btfpStatusSticker370515">
            <a:extLst>
              <a:ext uri="{FF2B5EF4-FFF2-40B4-BE49-F238E27FC236}">
                <a16:creationId xmlns:a16="http://schemas.microsoft.com/office/drawing/2014/main" id="{E51EE32F-6127-4C93-BCD4-AD53A9590911}"/>
              </a:ext>
            </a:extLst>
          </p:cNvPr>
          <p:cNvGrpSpPr/>
          <p:nvPr>
            <p:custDataLst>
              <p:tags r:id="rId21"/>
            </p:custDataLst>
          </p:nvPr>
        </p:nvGrpSpPr>
        <p:grpSpPr>
          <a:xfrm>
            <a:off x="10100356" y="955344"/>
            <a:ext cx="1761444" cy="235611"/>
            <a:chOff x="-8908980" y="876300"/>
            <a:chExt cx="1761444" cy="235611"/>
          </a:xfrm>
        </p:grpSpPr>
        <p:sp>
          <p:nvSpPr>
            <p:cNvPr id="114" name="btfpStatusStickerText370515">
              <a:extLst>
                <a:ext uri="{FF2B5EF4-FFF2-40B4-BE49-F238E27FC236}">
                  <a16:creationId xmlns:a16="http://schemas.microsoft.com/office/drawing/2014/main" id="{6D9F617E-5F30-4F85-A6CD-BBDBEE9A8EA0}"/>
                </a:ext>
              </a:extLst>
            </p:cNvPr>
            <p:cNvSpPr txBox="1"/>
            <p:nvPr/>
          </p:nvSpPr>
          <p:spPr bwMode="gray">
            <a:xfrm>
              <a:off x="-8908980" y="876300"/>
              <a:ext cx="17614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liminary</a:t>
              </a:r>
            </a:p>
          </p:txBody>
        </p:sp>
        <p:cxnSp>
          <p:nvCxnSpPr>
            <p:cNvPr id="115" name="btfpStatusStickerLine370515">
              <a:extLst>
                <a:ext uri="{FF2B5EF4-FFF2-40B4-BE49-F238E27FC236}">
                  <a16:creationId xmlns:a16="http://schemas.microsoft.com/office/drawing/2014/main" id="{1B9F8341-8F62-4A58-BE0F-57BA14E3FC57}"/>
                </a:ext>
              </a:extLst>
            </p:cNvPr>
            <p:cNvCxnSpPr/>
            <p:nvPr/>
          </p:nvCxnSpPr>
          <p:spPr bwMode="gray">
            <a:xfrm rot="720000" flipH="1">
              <a:off x="-8908980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btfpRunningAgenda2Level895607">
            <a:extLst>
              <a:ext uri="{FF2B5EF4-FFF2-40B4-BE49-F238E27FC236}">
                <a16:creationId xmlns:a16="http://schemas.microsoft.com/office/drawing/2014/main" id="{229CBC14-CDF1-4E3E-BE15-E60A34EC29CB}"/>
              </a:ext>
            </a:extLst>
          </p:cNvPr>
          <p:cNvGrpSpPr/>
          <p:nvPr>
            <p:custDataLst>
              <p:tags r:id="rId22"/>
            </p:custDataLst>
          </p:nvPr>
        </p:nvGrpSpPr>
        <p:grpSpPr>
          <a:xfrm>
            <a:off x="-1" y="944429"/>
            <a:ext cx="3009986" cy="257442"/>
            <a:chOff x="-1" y="876300"/>
            <a:chExt cx="3009986" cy="257442"/>
          </a:xfrm>
        </p:grpSpPr>
        <p:sp>
          <p:nvSpPr>
            <p:cNvPr id="5" name="btfpRunningAgenda2LevelBarLeft895607">
              <a:extLst>
                <a:ext uri="{FF2B5EF4-FFF2-40B4-BE49-F238E27FC236}">
                  <a16:creationId xmlns:a16="http://schemas.microsoft.com/office/drawing/2014/main" id="{2B4BF018-061D-4997-BCD1-6E11EFBFEC29}"/>
                </a:ext>
              </a:extLst>
            </p:cNvPr>
            <p:cNvSpPr/>
            <p:nvPr/>
          </p:nvSpPr>
          <p:spPr bwMode="gray">
            <a:xfrm>
              <a:off x="-1" y="876300"/>
              <a:ext cx="1279417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79416 w 1279416"/>
                <a:gd name="connsiteY0" fmla="*/ 0 h 257442"/>
                <a:gd name="connsiteX1" fmla="*/ 1056380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4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9417" h="257442">
                  <a:moveTo>
                    <a:pt x="1279417" y="0"/>
                  </a:moveTo>
                  <a:lnTo>
                    <a:pt x="1224695" y="257442"/>
                  </a:lnTo>
                  <a:lnTo>
                    <a:pt x="0" y="257442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" name="btfpRunningAgenda2LevelTextLeft895607">
              <a:extLst>
                <a:ext uri="{FF2B5EF4-FFF2-40B4-BE49-F238E27FC236}">
                  <a16:creationId xmlns:a16="http://schemas.microsoft.com/office/drawing/2014/main" id="{F68EEE1C-C88B-422E-92A0-AFFF9FD1BB88}"/>
                </a:ext>
              </a:extLst>
            </p:cNvPr>
            <p:cNvSpPr txBox="1"/>
            <p:nvPr/>
          </p:nvSpPr>
          <p:spPr bwMode="gray">
            <a:xfrm>
              <a:off x="0" y="876300"/>
              <a:ext cx="1224695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KPC</a:t>
              </a:r>
            </a:p>
          </p:txBody>
        </p:sp>
        <p:sp>
          <p:nvSpPr>
            <p:cNvPr id="7" name="btfpRunningAgenda2LevelBarRight895607">
              <a:extLst>
                <a:ext uri="{FF2B5EF4-FFF2-40B4-BE49-F238E27FC236}">
                  <a16:creationId xmlns:a16="http://schemas.microsoft.com/office/drawing/2014/main" id="{B4AA80FC-631A-49FD-AF50-A746133264E8}"/>
                </a:ext>
              </a:extLst>
            </p:cNvPr>
            <p:cNvSpPr/>
            <p:nvPr/>
          </p:nvSpPr>
          <p:spPr bwMode="gray">
            <a:xfrm>
              <a:off x="1144575" y="876300"/>
              <a:ext cx="1865410" cy="257442"/>
            </a:xfrm>
            <a:custGeom>
              <a:avLst/>
              <a:gdLst>
                <a:gd name="connsiteX0" fmla="*/ 95080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50801 w 2313135"/>
                <a:gd name="connsiteY0" fmla="*/ 0 h 257442"/>
                <a:gd name="connsiteX1" fmla="*/ 89608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1 w 950800"/>
                <a:gd name="connsiteY3" fmla="*/ 0 h 257442"/>
                <a:gd name="connsiteX0" fmla="*/ 1128733 w 1128733"/>
                <a:gd name="connsiteY0" fmla="*/ 0 h 257442"/>
                <a:gd name="connsiteX1" fmla="*/ 896079 w 1128733"/>
                <a:gd name="connsiteY1" fmla="*/ 257442 h 257442"/>
                <a:gd name="connsiteX2" fmla="*/ 0 w 1128733"/>
                <a:gd name="connsiteY2" fmla="*/ 257442 h 257442"/>
                <a:gd name="connsiteX3" fmla="*/ 54721 w 1128733"/>
                <a:gd name="connsiteY3" fmla="*/ 0 h 257442"/>
                <a:gd name="connsiteX0" fmla="*/ 1128733 w 1128733"/>
                <a:gd name="connsiteY0" fmla="*/ 0 h 257442"/>
                <a:gd name="connsiteX1" fmla="*/ 1074012 w 1128733"/>
                <a:gd name="connsiteY1" fmla="*/ 257442 h 257442"/>
                <a:gd name="connsiteX2" fmla="*/ 0 w 1128733"/>
                <a:gd name="connsiteY2" fmla="*/ 257442 h 257442"/>
                <a:gd name="connsiteX3" fmla="*/ 54721 w 1128733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2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314682 w 1314682"/>
                <a:gd name="connsiteY0" fmla="*/ 0 h 257442"/>
                <a:gd name="connsiteX1" fmla="*/ 1074013 w 1314682"/>
                <a:gd name="connsiteY1" fmla="*/ 257442 h 257442"/>
                <a:gd name="connsiteX2" fmla="*/ 0 w 1314682"/>
                <a:gd name="connsiteY2" fmla="*/ 257442 h 257442"/>
                <a:gd name="connsiteX3" fmla="*/ 54721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54721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54721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54721 w 1314682"/>
                <a:gd name="connsiteY3" fmla="*/ 0 h 257442"/>
                <a:gd name="connsiteX0" fmla="*/ 1500631 w 1500631"/>
                <a:gd name="connsiteY0" fmla="*/ 0 h 257442"/>
                <a:gd name="connsiteX1" fmla="*/ 1259961 w 1500631"/>
                <a:gd name="connsiteY1" fmla="*/ 257442 h 257442"/>
                <a:gd name="connsiteX2" fmla="*/ 0 w 1500631"/>
                <a:gd name="connsiteY2" fmla="*/ 257442 h 257442"/>
                <a:gd name="connsiteX3" fmla="*/ 54721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54721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54721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54721 w 1500631"/>
                <a:gd name="connsiteY3" fmla="*/ 0 h 257442"/>
                <a:gd name="connsiteX0" fmla="*/ 1660931 w 1660931"/>
                <a:gd name="connsiteY0" fmla="*/ 0 h 257442"/>
                <a:gd name="connsiteX1" fmla="*/ 1445910 w 1660931"/>
                <a:gd name="connsiteY1" fmla="*/ 257442 h 257442"/>
                <a:gd name="connsiteX2" fmla="*/ 0 w 1660931"/>
                <a:gd name="connsiteY2" fmla="*/ 257442 h 257442"/>
                <a:gd name="connsiteX3" fmla="*/ 54721 w 1660931"/>
                <a:gd name="connsiteY3" fmla="*/ 0 h 257442"/>
                <a:gd name="connsiteX0" fmla="*/ 1660931 w 1660931"/>
                <a:gd name="connsiteY0" fmla="*/ 0 h 257442"/>
                <a:gd name="connsiteX1" fmla="*/ 1606210 w 1660931"/>
                <a:gd name="connsiteY1" fmla="*/ 257442 h 257442"/>
                <a:gd name="connsiteX2" fmla="*/ 0 w 1660931"/>
                <a:gd name="connsiteY2" fmla="*/ 257442 h 257442"/>
                <a:gd name="connsiteX3" fmla="*/ 54721 w 1660931"/>
                <a:gd name="connsiteY3" fmla="*/ 0 h 257442"/>
                <a:gd name="connsiteX0" fmla="*/ 1660931 w 1660931"/>
                <a:gd name="connsiteY0" fmla="*/ 0 h 257442"/>
                <a:gd name="connsiteX1" fmla="*/ 1606210 w 1660931"/>
                <a:gd name="connsiteY1" fmla="*/ 257442 h 257442"/>
                <a:gd name="connsiteX2" fmla="*/ 0 w 1660931"/>
                <a:gd name="connsiteY2" fmla="*/ 257442 h 257442"/>
                <a:gd name="connsiteX3" fmla="*/ 54721 w 1660931"/>
                <a:gd name="connsiteY3" fmla="*/ 0 h 257442"/>
                <a:gd name="connsiteX0" fmla="*/ 1660931 w 1660931"/>
                <a:gd name="connsiteY0" fmla="*/ 0 h 257442"/>
                <a:gd name="connsiteX1" fmla="*/ 1606210 w 1660931"/>
                <a:gd name="connsiteY1" fmla="*/ 257442 h 257442"/>
                <a:gd name="connsiteX2" fmla="*/ 0 w 1660931"/>
                <a:gd name="connsiteY2" fmla="*/ 257442 h 257442"/>
                <a:gd name="connsiteX3" fmla="*/ 54721 w 1660931"/>
                <a:gd name="connsiteY3" fmla="*/ 0 h 257442"/>
                <a:gd name="connsiteX0" fmla="*/ 1829247 w 1829247"/>
                <a:gd name="connsiteY0" fmla="*/ 0 h 257442"/>
                <a:gd name="connsiteX1" fmla="*/ 1606210 w 1829247"/>
                <a:gd name="connsiteY1" fmla="*/ 257442 h 257442"/>
                <a:gd name="connsiteX2" fmla="*/ 0 w 1829247"/>
                <a:gd name="connsiteY2" fmla="*/ 257442 h 257442"/>
                <a:gd name="connsiteX3" fmla="*/ 54721 w 1829247"/>
                <a:gd name="connsiteY3" fmla="*/ 0 h 257442"/>
                <a:gd name="connsiteX0" fmla="*/ 1829247 w 1829247"/>
                <a:gd name="connsiteY0" fmla="*/ 0 h 257442"/>
                <a:gd name="connsiteX1" fmla="*/ 1774526 w 1829247"/>
                <a:gd name="connsiteY1" fmla="*/ 257442 h 257442"/>
                <a:gd name="connsiteX2" fmla="*/ 0 w 1829247"/>
                <a:gd name="connsiteY2" fmla="*/ 257442 h 257442"/>
                <a:gd name="connsiteX3" fmla="*/ 54721 w 1829247"/>
                <a:gd name="connsiteY3" fmla="*/ 0 h 257442"/>
                <a:gd name="connsiteX0" fmla="*/ 1829247 w 1829247"/>
                <a:gd name="connsiteY0" fmla="*/ 0 h 257442"/>
                <a:gd name="connsiteX1" fmla="*/ 1774526 w 1829247"/>
                <a:gd name="connsiteY1" fmla="*/ 257442 h 257442"/>
                <a:gd name="connsiteX2" fmla="*/ 0 w 1829247"/>
                <a:gd name="connsiteY2" fmla="*/ 257442 h 257442"/>
                <a:gd name="connsiteX3" fmla="*/ 54721 w 1829247"/>
                <a:gd name="connsiteY3" fmla="*/ 0 h 257442"/>
                <a:gd name="connsiteX0" fmla="*/ 1829247 w 1829247"/>
                <a:gd name="connsiteY0" fmla="*/ 0 h 257442"/>
                <a:gd name="connsiteX1" fmla="*/ 1774526 w 1829247"/>
                <a:gd name="connsiteY1" fmla="*/ 257442 h 257442"/>
                <a:gd name="connsiteX2" fmla="*/ 0 w 1829247"/>
                <a:gd name="connsiteY2" fmla="*/ 257442 h 257442"/>
                <a:gd name="connsiteX3" fmla="*/ 54721 w 1829247"/>
                <a:gd name="connsiteY3" fmla="*/ 0 h 257442"/>
                <a:gd name="connsiteX0" fmla="*/ 2149847 w 2149847"/>
                <a:gd name="connsiteY0" fmla="*/ 0 h 257442"/>
                <a:gd name="connsiteX1" fmla="*/ 1774526 w 2149847"/>
                <a:gd name="connsiteY1" fmla="*/ 257442 h 257442"/>
                <a:gd name="connsiteX2" fmla="*/ 0 w 2149847"/>
                <a:gd name="connsiteY2" fmla="*/ 257442 h 257442"/>
                <a:gd name="connsiteX3" fmla="*/ 54721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54721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54721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54721 w 2149847"/>
                <a:gd name="connsiteY3" fmla="*/ 0 h 257442"/>
                <a:gd name="connsiteX0" fmla="*/ 1981532 w 2095126"/>
                <a:gd name="connsiteY0" fmla="*/ 0 h 257442"/>
                <a:gd name="connsiteX1" fmla="*/ 2095126 w 2095126"/>
                <a:gd name="connsiteY1" fmla="*/ 257442 h 257442"/>
                <a:gd name="connsiteX2" fmla="*/ 0 w 2095126"/>
                <a:gd name="connsiteY2" fmla="*/ 257442 h 257442"/>
                <a:gd name="connsiteX3" fmla="*/ 54721 w 2095126"/>
                <a:gd name="connsiteY3" fmla="*/ 0 h 257442"/>
                <a:gd name="connsiteX0" fmla="*/ 1981532 w 1981532"/>
                <a:gd name="connsiteY0" fmla="*/ 0 h 257442"/>
                <a:gd name="connsiteX1" fmla="*/ 1926811 w 1981532"/>
                <a:gd name="connsiteY1" fmla="*/ 257442 h 257442"/>
                <a:gd name="connsiteX2" fmla="*/ 0 w 1981532"/>
                <a:gd name="connsiteY2" fmla="*/ 257442 h 257442"/>
                <a:gd name="connsiteX3" fmla="*/ 54721 w 1981532"/>
                <a:gd name="connsiteY3" fmla="*/ 0 h 257442"/>
                <a:gd name="connsiteX0" fmla="*/ 1981532 w 1981532"/>
                <a:gd name="connsiteY0" fmla="*/ 0 h 257442"/>
                <a:gd name="connsiteX1" fmla="*/ 1926811 w 1981532"/>
                <a:gd name="connsiteY1" fmla="*/ 257442 h 257442"/>
                <a:gd name="connsiteX2" fmla="*/ 0 w 1981532"/>
                <a:gd name="connsiteY2" fmla="*/ 257442 h 257442"/>
                <a:gd name="connsiteX3" fmla="*/ 54721 w 1981532"/>
                <a:gd name="connsiteY3" fmla="*/ 0 h 257442"/>
                <a:gd name="connsiteX0" fmla="*/ 1981532 w 1981532"/>
                <a:gd name="connsiteY0" fmla="*/ 0 h 257442"/>
                <a:gd name="connsiteX1" fmla="*/ 1926811 w 1981532"/>
                <a:gd name="connsiteY1" fmla="*/ 257442 h 257442"/>
                <a:gd name="connsiteX2" fmla="*/ 0 w 1981532"/>
                <a:gd name="connsiteY2" fmla="*/ 257442 h 257442"/>
                <a:gd name="connsiteX3" fmla="*/ 54721 w 1981532"/>
                <a:gd name="connsiteY3" fmla="*/ 0 h 257442"/>
                <a:gd name="connsiteX0" fmla="*/ 2306749 w 2306749"/>
                <a:gd name="connsiteY0" fmla="*/ 0 h 257442"/>
                <a:gd name="connsiteX1" fmla="*/ 1926811 w 2306749"/>
                <a:gd name="connsiteY1" fmla="*/ 257442 h 257442"/>
                <a:gd name="connsiteX2" fmla="*/ 0 w 2306749"/>
                <a:gd name="connsiteY2" fmla="*/ 257442 h 257442"/>
                <a:gd name="connsiteX3" fmla="*/ 54721 w 2306749"/>
                <a:gd name="connsiteY3" fmla="*/ 0 h 257442"/>
                <a:gd name="connsiteX0" fmla="*/ 2306749 w 2306749"/>
                <a:gd name="connsiteY0" fmla="*/ 0 h 257442"/>
                <a:gd name="connsiteX1" fmla="*/ 2252028 w 2306749"/>
                <a:gd name="connsiteY1" fmla="*/ 257442 h 257442"/>
                <a:gd name="connsiteX2" fmla="*/ 0 w 2306749"/>
                <a:gd name="connsiteY2" fmla="*/ 257442 h 257442"/>
                <a:gd name="connsiteX3" fmla="*/ 54721 w 2306749"/>
                <a:gd name="connsiteY3" fmla="*/ 0 h 257442"/>
                <a:gd name="connsiteX0" fmla="*/ 2306749 w 2306749"/>
                <a:gd name="connsiteY0" fmla="*/ 0 h 257442"/>
                <a:gd name="connsiteX1" fmla="*/ 2252028 w 2306749"/>
                <a:gd name="connsiteY1" fmla="*/ 257442 h 257442"/>
                <a:gd name="connsiteX2" fmla="*/ 0 w 2306749"/>
                <a:gd name="connsiteY2" fmla="*/ 257442 h 257442"/>
                <a:gd name="connsiteX3" fmla="*/ 54721 w 2306749"/>
                <a:gd name="connsiteY3" fmla="*/ 0 h 257442"/>
                <a:gd name="connsiteX0" fmla="*/ 2306749 w 2306749"/>
                <a:gd name="connsiteY0" fmla="*/ 0 h 257442"/>
                <a:gd name="connsiteX1" fmla="*/ 2252028 w 2306749"/>
                <a:gd name="connsiteY1" fmla="*/ 257442 h 257442"/>
                <a:gd name="connsiteX2" fmla="*/ 0 w 2306749"/>
                <a:gd name="connsiteY2" fmla="*/ 257442 h 257442"/>
                <a:gd name="connsiteX3" fmla="*/ 54721 w 2306749"/>
                <a:gd name="connsiteY3" fmla="*/ 0 h 257442"/>
                <a:gd name="connsiteX0" fmla="*/ 934771 w 2252028"/>
                <a:gd name="connsiteY0" fmla="*/ 0 h 257442"/>
                <a:gd name="connsiteX1" fmla="*/ 2252028 w 2252028"/>
                <a:gd name="connsiteY1" fmla="*/ 257442 h 257442"/>
                <a:gd name="connsiteX2" fmla="*/ 0 w 2252028"/>
                <a:gd name="connsiteY2" fmla="*/ 257442 h 257442"/>
                <a:gd name="connsiteX3" fmla="*/ 54721 w 2252028"/>
                <a:gd name="connsiteY3" fmla="*/ 0 h 257442"/>
                <a:gd name="connsiteX0" fmla="*/ 934771 w 934771"/>
                <a:gd name="connsiteY0" fmla="*/ 0 h 257442"/>
                <a:gd name="connsiteX1" fmla="*/ 880050 w 934771"/>
                <a:gd name="connsiteY1" fmla="*/ 257442 h 257442"/>
                <a:gd name="connsiteX2" fmla="*/ 0 w 934771"/>
                <a:gd name="connsiteY2" fmla="*/ 257442 h 257442"/>
                <a:gd name="connsiteX3" fmla="*/ 54721 w 934771"/>
                <a:gd name="connsiteY3" fmla="*/ 0 h 257442"/>
                <a:gd name="connsiteX0" fmla="*/ 934770 w 934770"/>
                <a:gd name="connsiteY0" fmla="*/ 0 h 257442"/>
                <a:gd name="connsiteX1" fmla="*/ 880049 w 934770"/>
                <a:gd name="connsiteY1" fmla="*/ 257442 h 257442"/>
                <a:gd name="connsiteX2" fmla="*/ 0 w 934770"/>
                <a:gd name="connsiteY2" fmla="*/ 257442 h 257442"/>
                <a:gd name="connsiteX3" fmla="*/ 54720 w 934770"/>
                <a:gd name="connsiteY3" fmla="*/ 0 h 257442"/>
                <a:gd name="connsiteX0" fmla="*/ 934770 w 934770"/>
                <a:gd name="connsiteY0" fmla="*/ 0 h 257442"/>
                <a:gd name="connsiteX1" fmla="*/ 880049 w 934770"/>
                <a:gd name="connsiteY1" fmla="*/ 257442 h 257442"/>
                <a:gd name="connsiteX2" fmla="*/ 0 w 934770"/>
                <a:gd name="connsiteY2" fmla="*/ 257442 h 257442"/>
                <a:gd name="connsiteX3" fmla="*/ 54720 w 934770"/>
                <a:gd name="connsiteY3" fmla="*/ 0 h 257442"/>
                <a:gd name="connsiteX0" fmla="*/ 1109946 w 1109946"/>
                <a:gd name="connsiteY0" fmla="*/ 0 h 257442"/>
                <a:gd name="connsiteX1" fmla="*/ 880049 w 1109946"/>
                <a:gd name="connsiteY1" fmla="*/ 257442 h 257442"/>
                <a:gd name="connsiteX2" fmla="*/ 0 w 1109946"/>
                <a:gd name="connsiteY2" fmla="*/ 257442 h 257442"/>
                <a:gd name="connsiteX3" fmla="*/ 54720 w 1109946"/>
                <a:gd name="connsiteY3" fmla="*/ 0 h 257442"/>
                <a:gd name="connsiteX0" fmla="*/ 1109946 w 1109946"/>
                <a:gd name="connsiteY0" fmla="*/ 0 h 257442"/>
                <a:gd name="connsiteX1" fmla="*/ 1055225 w 1109946"/>
                <a:gd name="connsiteY1" fmla="*/ 257442 h 257442"/>
                <a:gd name="connsiteX2" fmla="*/ 0 w 1109946"/>
                <a:gd name="connsiteY2" fmla="*/ 257442 h 257442"/>
                <a:gd name="connsiteX3" fmla="*/ 54720 w 1109946"/>
                <a:gd name="connsiteY3" fmla="*/ 0 h 257442"/>
                <a:gd name="connsiteX0" fmla="*/ 1109947 w 1109947"/>
                <a:gd name="connsiteY0" fmla="*/ 0 h 257442"/>
                <a:gd name="connsiteX1" fmla="*/ 1055226 w 1109947"/>
                <a:gd name="connsiteY1" fmla="*/ 257442 h 257442"/>
                <a:gd name="connsiteX2" fmla="*/ 0 w 1109947"/>
                <a:gd name="connsiteY2" fmla="*/ 257442 h 257442"/>
                <a:gd name="connsiteX3" fmla="*/ 54721 w 1109947"/>
                <a:gd name="connsiteY3" fmla="*/ 0 h 257442"/>
                <a:gd name="connsiteX0" fmla="*/ 1109947 w 1109947"/>
                <a:gd name="connsiteY0" fmla="*/ 0 h 257442"/>
                <a:gd name="connsiteX1" fmla="*/ 1055226 w 1109947"/>
                <a:gd name="connsiteY1" fmla="*/ 257442 h 257442"/>
                <a:gd name="connsiteX2" fmla="*/ 0 w 1109947"/>
                <a:gd name="connsiteY2" fmla="*/ 257442 h 257442"/>
                <a:gd name="connsiteX3" fmla="*/ 54722 w 1109947"/>
                <a:gd name="connsiteY3" fmla="*/ 0 h 257442"/>
                <a:gd name="connsiteX0" fmla="*/ 1270249 w 1270249"/>
                <a:gd name="connsiteY0" fmla="*/ 0 h 257442"/>
                <a:gd name="connsiteX1" fmla="*/ 1055226 w 1270249"/>
                <a:gd name="connsiteY1" fmla="*/ 257442 h 257442"/>
                <a:gd name="connsiteX2" fmla="*/ 0 w 1270249"/>
                <a:gd name="connsiteY2" fmla="*/ 257442 h 257442"/>
                <a:gd name="connsiteX3" fmla="*/ 54722 w 1270249"/>
                <a:gd name="connsiteY3" fmla="*/ 0 h 257442"/>
                <a:gd name="connsiteX0" fmla="*/ 1270249 w 1270249"/>
                <a:gd name="connsiteY0" fmla="*/ 0 h 257442"/>
                <a:gd name="connsiteX1" fmla="*/ 1215528 w 1270249"/>
                <a:gd name="connsiteY1" fmla="*/ 257442 h 257442"/>
                <a:gd name="connsiteX2" fmla="*/ 0 w 1270249"/>
                <a:gd name="connsiteY2" fmla="*/ 257442 h 257442"/>
                <a:gd name="connsiteX3" fmla="*/ 54722 w 1270249"/>
                <a:gd name="connsiteY3" fmla="*/ 0 h 257442"/>
                <a:gd name="connsiteX0" fmla="*/ 1270248 w 1270248"/>
                <a:gd name="connsiteY0" fmla="*/ 0 h 257442"/>
                <a:gd name="connsiteX1" fmla="*/ 1215527 w 1270248"/>
                <a:gd name="connsiteY1" fmla="*/ 257442 h 257442"/>
                <a:gd name="connsiteX2" fmla="*/ 0 w 1270248"/>
                <a:gd name="connsiteY2" fmla="*/ 257442 h 257442"/>
                <a:gd name="connsiteX3" fmla="*/ 54721 w 1270248"/>
                <a:gd name="connsiteY3" fmla="*/ 0 h 257442"/>
                <a:gd name="connsiteX0" fmla="*/ 1270248 w 1270248"/>
                <a:gd name="connsiteY0" fmla="*/ 0 h 257442"/>
                <a:gd name="connsiteX1" fmla="*/ 1215527 w 1270248"/>
                <a:gd name="connsiteY1" fmla="*/ 257442 h 257442"/>
                <a:gd name="connsiteX2" fmla="*/ 0 w 1270248"/>
                <a:gd name="connsiteY2" fmla="*/ 257442 h 257442"/>
                <a:gd name="connsiteX3" fmla="*/ 54720 w 1270248"/>
                <a:gd name="connsiteY3" fmla="*/ 0 h 257442"/>
                <a:gd name="connsiteX0" fmla="*/ 1536793 w 1536793"/>
                <a:gd name="connsiteY0" fmla="*/ 0 h 257442"/>
                <a:gd name="connsiteX1" fmla="*/ 1215527 w 1536793"/>
                <a:gd name="connsiteY1" fmla="*/ 257442 h 257442"/>
                <a:gd name="connsiteX2" fmla="*/ 0 w 1536793"/>
                <a:gd name="connsiteY2" fmla="*/ 257442 h 257442"/>
                <a:gd name="connsiteX3" fmla="*/ 54720 w 1536793"/>
                <a:gd name="connsiteY3" fmla="*/ 0 h 257442"/>
                <a:gd name="connsiteX0" fmla="*/ 1536793 w 1536793"/>
                <a:gd name="connsiteY0" fmla="*/ 0 h 257442"/>
                <a:gd name="connsiteX1" fmla="*/ 1482072 w 1536793"/>
                <a:gd name="connsiteY1" fmla="*/ 257442 h 257442"/>
                <a:gd name="connsiteX2" fmla="*/ 0 w 1536793"/>
                <a:gd name="connsiteY2" fmla="*/ 257442 h 257442"/>
                <a:gd name="connsiteX3" fmla="*/ 54720 w 1536793"/>
                <a:gd name="connsiteY3" fmla="*/ 0 h 257442"/>
                <a:gd name="connsiteX0" fmla="*/ 1536794 w 1536794"/>
                <a:gd name="connsiteY0" fmla="*/ 0 h 257442"/>
                <a:gd name="connsiteX1" fmla="*/ 1482073 w 1536794"/>
                <a:gd name="connsiteY1" fmla="*/ 257442 h 257442"/>
                <a:gd name="connsiteX2" fmla="*/ 0 w 1536794"/>
                <a:gd name="connsiteY2" fmla="*/ 257442 h 257442"/>
                <a:gd name="connsiteX3" fmla="*/ 54721 w 1536794"/>
                <a:gd name="connsiteY3" fmla="*/ 0 h 257442"/>
                <a:gd name="connsiteX0" fmla="*/ 1536794 w 1536794"/>
                <a:gd name="connsiteY0" fmla="*/ 0 h 257442"/>
                <a:gd name="connsiteX1" fmla="*/ 1482073 w 1536794"/>
                <a:gd name="connsiteY1" fmla="*/ 257442 h 257442"/>
                <a:gd name="connsiteX2" fmla="*/ 0 w 1536794"/>
                <a:gd name="connsiteY2" fmla="*/ 257442 h 257442"/>
                <a:gd name="connsiteX3" fmla="*/ 54721 w 1536794"/>
                <a:gd name="connsiteY3" fmla="*/ 0 h 257442"/>
                <a:gd name="connsiteX0" fmla="*/ 1697095 w 1697095"/>
                <a:gd name="connsiteY0" fmla="*/ 0 h 257442"/>
                <a:gd name="connsiteX1" fmla="*/ 1482073 w 1697095"/>
                <a:gd name="connsiteY1" fmla="*/ 257442 h 257442"/>
                <a:gd name="connsiteX2" fmla="*/ 0 w 1697095"/>
                <a:gd name="connsiteY2" fmla="*/ 257442 h 257442"/>
                <a:gd name="connsiteX3" fmla="*/ 54721 w 1697095"/>
                <a:gd name="connsiteY3" fmla="*/ 0 h 257442"/>
                <a:gd name="connsiteX0" fmla="*/ 1697095 w 1697095"/>
                <a:gd name="connsiteY0" fmla="*/ 0 h 257442"/>
                <a:gd name="connsiteX1" fmla="*/ 1642374 w 1697095"/>
                <a:gd name="connsiteY1" fmla="*/ 257442 h 257442"/>
                <a:gd name="connsiteX2" fmla="*/ 0 w 1697095"/>
                <a:gd name="connsiteY2" fmla="*/ 257442 h 257442"/>
                <a:gd name="connsiteX3" fmla="*/ 54721 w 1697095"/>
                <a:gd name="connsiteY3" fmla="*/ 0 h 257442"/>
                <a:gd name="connsiteX0" fmla="*/ 1697095 w 1697095"/>
                <a:gd name="connsiteY0" fmla="*/ 0 h 257442"/>
                <a:gd name="connsiteX1" fmla="*/ 1642374 w 1697095"/>
                <a:gd name="connsiteY1" fmla="*/ 257442 h 257442"/>
                <a:gd name="connsiteX2" fmla="*/ 0 w 1697095"/>
                <a:gd name="connsiteY2" fmla="*/ 257442 h 257442"/>
                <a:gd name="connsiteX3" fmla="*/ 54721 w 1697095"/>
                <a:gd name="connsiteY3" fmla="*/ 0 h 257442"/>
                <a:gd name="connsiteX0" fmla="*/ 1697095 w 1697095"/>
                <a:gd name="connsiteY0" fmla="*/ 0 h 257442"/>
                <a:gd name="connsiteX1" fmla="*/ 1642374 w 1697095"/>
                <a:gd name="connsiteY1" fmla="*/ 257442 h 257442"/>
                <a:gd name="connsiteX2" fmla="*/ 0 w 1697095"/>
                <a:gd name="connsiteY2" fmla="*/ 257442 h 257442"/>
                <a:gd name="connsiteX3" fmla="*/ 54721 w 1697095"/>
                <a:gd name="connsiteY3" fmla="*/ 0 h 257442"/>
                <a:gd name="connsiteX0" fmla="*/ 1865411 w 1865411"/>
                <a:gd name="connsiteY0" fmla="*/ 0 h 257442"/>
                <a:gd name="connsiteX1" fmla="*/ 1642374 w 1865411"/>
                <a:gd name="connsiteY1" fmla="*/ 257442 h 257442"/>
                <a:gd name="connsiteX2" fmla="*/ 0 w 1865411"/>
                <a:gd name="connsiteY2" fmla="*/ 257442 h 257442"/>
                <a:gd name="connsiteX3" fmla="*/ 54721 w 1865411"/>
                <a:gd name="connsiteY3" fmla="*/ 0 h 257442"/>
                <a:gd name="connsiteX0" fmla="*/ 1865411 w 1865411"/>
                <a:gd name="connsiteY0" fmla="*/ 0 h 257442"/>
                <a:gd name="connsiteX1" fmla="*/ 1810690 w 1865411"/>
                <a:gd name="connsiteY1" fmla="*/ 257442 h 257442"/>
                <a:gd name="connsiteX2" fmla="*/ 0 w 1865411"/>
                <a:gd name="connsiteY2" fmla="*/ 257442 h 257442"/>
                <a:gd name="connsiteX3" fmla="*/ 54721 w 1865411"/>
                <a:gd name="connsiteY3" fmla="*/ 0 h 257442"/>
                <a:gd name="connsiteX0" fmla="*/ 1865411 w 1865411"/>
                <a:gd name="connsiteY0" fmla="*/ 0 h 257442"/>
                <a:gd name="connsiteX1" fmla="*/ 1810690 w 1865411"/>
                <a:gd name="connsiteY1" fmla="*/ 257442 h 257442"/>
                <a:gd name="connsiteX2" fmla="*/ 0 w 1865411"/>
                <a:gd name="connsiteY2" fmla="*/ 257442 h 257442"/>
                <a:gd name="connsiteX3" fmla="*/ 54721 w 1865411"/>
                <a:gd name="connsiteY3" fmla="*/ 0 h 257442"/>
                <a:gd name="connsiteX0" fmla="*/ 1865411 w 1865411"/>
                <a:gd name="connsiteY0" fmla="*/ 0 h 257442"/>
                <a:gd name="connsiteX1" fmla="*/ 1810690 w 1865411"/>
                <a:gd name="connsiteY1" fmla="*/ 257442 h 257442"/>
                <a:gd name="connsiteX2" fmla="*/ 0 w 1865411"/>
                <a:gd name="connsiteY2" fmla="*/ 257442 h 257442"/>
                <a:gd name="connsiteX3" fmla="*/ 54721 w 1865411"/>
                <a:gd name="connsiteY3" fmla="*/ 0 h 257442"/>
                <a:gd name="connsiteX0" fmla="*/ 2025711 w 2025711"/>
                <a:gd name="connsiteY0" fmla="*/ 0 h 257442"/>
                <a:gd name="connsiteX1" fmla="*/ 1810690 w 2025711"/>
                <a:gd name="connsiteY1" fmla="*/ 257442 h 257442"/>
                <a:gd name="connsiteX2" fmla="*/ 0 w 2025711"/>
                <a:gd name="connsiteY2" fmla="*/ 257442 h 257442"/>
                <a:gd name="connsiteX3" fmla="*/ 54721 w 2025711"/>
                <a:gd name="connsiteY3" fmla="*/ 0 h 257442"/>
                <a:gd name="connsiteX0" fmla="*/ 2025711 w 2025711"/>
                <a:gd name="connsiteY0" fmla="*/ 0 h 257442"/>
                <a:gd name="connsiteX1" fmla="*/ 1970990 w 2025711"/>
                <a:gd name="connsiteY1" fmla="*/ 257442 h 257442"/>
                <a:gd name="connsiteX2" fmla="*/ 0 w 2025711"/>
                <a:gd name="connsiteY2" fmla="*/ 257442 h 257442"/>
                <a:gd name="connsiteX3" fmla="*/ 54721 w 2025711"/>
                <a:gd name="connsiteY3" fmla="*/ 0 h 257442"/>
                <a:gd name="connsiteX0" fmla="*/ 2025711 w 2025711"/>
                <a:gd name="connsiteY0" fmla="*/ 0 h 257442"/>
                <a:gd name="connsiteX1" fmla="*/ 1970990 w 2025711"/>
                <a:gd name="connsiteY1" fmla="*/ 257442 h 257442"/>
                <a:gd name="connsiteX2" fmla="*/ 0 w 2025711"/>
                <a:gd name="connsiteY2" fmla="*/ 257442 h 257442"/>
                <a:gd name="connsiteX3" fmla="*/ 54721 w 2025711"/>
                <a:gd name="connsiteY3" fmla="*/ 0 h 257442"/>
                <a:gd name="connsiteX0" fmla="*/ 2025711 w 2025711"/>
                <a:gd name="connsiteY0" fmla="*/ 0 h 257442"/>
                <a:gd name="connsiteX1" fmla="*/ 1970990 w 2025711"/>
                <a:gd name="connsiteY1" fmla="*/ 257442 h 257442"/>
                <a:gd name="connsiteX2" fmla="*/ 0 w 2025711"/>
                <a:gd name="connsiteY2" fmla="*/ 257442 h 257442"/>
                <a:gd name="connsiteX3" fmla="*/ 54721 w 2025711"/>
                <a:gd name="connsiteY3" fmla="*/ 0 h 257442"/>
                <a:gd name="connsiteX0" fmla="*/ 1865411 w 1970990"/>
                <a:gd name="connsiteY0" fmla="*/ 0 h 257442"/>
                <a:gd name="connsiteX1" fmla="*/ 1970990 w 1970990"/>
                <a:gd name="connsiteY1" fmla="*/ 257442 h 257442"/>
                <a:gd name="connsiteX2" fmla="*/ 0 w 1970990"/>
                <a:gd name="connsiteY2" fmla="*/ 257442 h 257442"/>
                <a:gd name="connsiteX3" fmla="*/ 54721 w 1970990"/>
                <a:gd name="connsiteY3" fmla="*/ 0 h 257442"/>
                <a:gd name="connsiteX0" fmla="*/ 1865411 w 1865411"/>
                <a:gd name="connsiteY0" fmla="*/ 0 h 257442"/>
                <a:gd name="connsiteX1" fmla="*/ 1810690 w 1865411"/>
                <a:gd name="connsiteY1" fmla="*/ 257442 h 257442"/>
                <a:gd name="connsiteX2" fmla="*/ 0 w 1865411"/>
                <a:gd name="connsiteY2" fmla="*/ 257442 h 257442"/>
                <a:gd name="connsiteX3" fmla="*/ 54721 w 1865411"/>
                <a:gd name="connsiteY3" fmla="*/ 0 h 257442"/>
                <a:gd name="connsiteX0" fmla="*/ 1865410 w 1865410"/>
                <a:gd name="connsiteY0" fmla="*/ 0 h 257442"/>
                <a:gd name="connsiteX1" fmla="*/ 1810689 w 1865410"/>
                <a:gd name="connsiteY1" fmla="*/ 257442 h 257442"/>
                <a:gd name="connsiteX2" fmla="*/ 0 w 1865410"/>
                <a:gd name="connsiteY2" fmla="*/ 257442 h 257442"/>
                <a:gd name="connsiteX3" fmla="*/ 54720 w 1865410"/>
                <a:gd name="connsiteY3" fmla="*/ 0 h 257442"/>
                <a:gd name="connsiteX0" fmla="*/ 1865410 w 1865410"/>
                <a:gd name="connsiteY0" fmla="*/ 0 h 257442"/>
                <a:gd name="connsiteX1" fmla="*/ 1810689 w 1865410"/>
                <a:gd name="connsiteY1" fmla="*/ 257442 h 257442"/>
                <a:gd name="connsiteX2" fmla="*/ 0 w 1865410"/>
                <a:gd name="connsiteY2" fmla="*/ 257442 h 257442"/>
                <a:gd name="connsiteX3" fmla="*/ 54720 w 1865410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65410" h="257442">
                  <a:moveTo>
                    <a:pt x="1865410" y="0"/>
                  </a:moveTo>
                  <a:lnTo>
                    <a:pt x="1810689" y="257442"/>
                  </a:lnTo>
                  <a:lnTo>
                    <a:pt x="0" y="257442"/>
                  </a:lnTo>
                  <a:lnTo>
                    <a:pt x="54720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" name="btfpRunningAgenda2LevelTextRight895607">
              <a:extLst>
                <a:ext uri="{FF2B5EF4-FFF2-40B4-BE49-F238E27FC236}">
                  <a16:creationId xmlns:a16="http://schemas.microsoft.com/office/drawing/2014/main" id="{169A93F0-CC22-4875-9EAD-4BE95EBA62CE}"/>
                </a:ext>
              </a:extLst>
            </p:cNvPr>
            <p:cNvSpPr txBox="1"/>
            <p:nvPr/>
          </p:nvSpPr>
          <p:spPr bwMode="gray">
            <a:xfrm>
              <a:off x="1144574" y="876300"/>
              <a:ext cx="1810690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op KPC</a:t>
              </a:r>
            </a:p>
          </p:txBody>
        </p:sp>
      </p:grpSp>
      <p:grpSp>
        <p:nvGrpSpPr>
          <p:cNvPr id="11" name="btfpStatusSticker835539">
            <a:extLst>
              <a:ext uri="{FF2B5EF4-FFF2-40B4-BE49-F238E27FC236}">
                <a16:creationId xmlns:a16="http://schemas.microsoft.com/office/drawing/2014/main" id="{BA644463-9BD2-4B92-B83C-2820764337C5}"/>
              </a:ext>
            </a:extLst>
          </p:cNvPr>
          <p:cNvGrpSpPr/>
          <p:nvPr>
            <p:custDataLst>
              <p:tags r:id="rId23"/>
            </p:custDataLst>
          </p:nvPr>
        </p:nvGrpSpPr>
        <p:grpSpPr>
          <a:xfrm>
            <a:off x="8214219" y="955344"/>
            <a:ext cx="1759136" cy="235611"/>
            <a:chOff x="-2269853" y="876300"/>
            <a:chExt cx="1759136" cy="235611"/>
          </a:xfrm>
        </p:grpSpPr>
        <p:sp>
          <p:nvSpPr>
            <p:cNvPr id="9" name="btfpStatusStickerText835539">
              <a:extLst>
                <a:ext uri="{FF2B5EF4-FFF2-40B4-BE49-F238E27FC236}">
                  <a16:creationId xmlns:a16="http://schemas.microsoft.com/office/drawing/2014/main" id="{476A4CD9-057D-41F2-8FE6-671B7695003D}"/>
                </a:ext>
              </a:extLst>
            </p:cNvPr>
            <p:cNvSpPr txBox="1"/>
            <p:nvPr/>
          </p:nvSpPr>
          <p:spPr bwMode="gray">
            <a:xfrm>
              <a:off x="-2269853" y="876300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irectional</a:t>
              </a:r>
            </a:p>
          </p:txBody>
        </p:sp>
        <p:cxnSp>
          <p:nvCxnSpPr>
            <p:cNvPr id="10" name="btfpStatusStickerLine835539">
              <a:extLst>
                <a:ext uri="{FF2B5EF4-FFF2-40B4-BE49-F238E27FC236}">
                  <a16:creationId xmlns:a16="http://schemas.microsoft.com/office/drawing/2014/main" id="{AEED07D3-CFC4-4A7A-9478-04E374BCA27E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69853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326923184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btfpColumnIndicatorGroup2">
            <a:extLst>
              <a:ext uri="{FF2B5EF4-FFF2-40B4-BE49-F238E27FC236}">
                <a16:creationId xmlns:a16="http://schemas.microsoft.com/office/drawing/2014/main" id="{64A93B78-BE58-4911-8836-5648EDEBDB9C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3" name="btfpColumnGapBlocker995890">
              <a:extLst>
                <a:ext uri="{FF2B5EF4-FFF2-40B4-BE49-F238E27FC236}">
                  <a16:creationId xmlns:a16="http://schemas.microsoft.com/office/drawing/2014/main" id="{8E8B81A4-B819-414D-804C-B38521211DAE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1" name="btfpColumnGapBlocker633445">
              <a:extLst>
                <a:ext uri="{FF2B5EF4-FFF2-40B4-BE49-F238E27FC236}">
                  <a16:creationId xmlns:a16="http://schemas.microsoft.com/office/drawing/2014/main" id="{804E1F65-0E15-4C3E-8E6E-8A91DC22A833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9" name="btfpColumnIndicator212867">
              <a:extLst>
                <a:ext uri="{FF2B5EF4-FFF2-40B4-BE49-F238E27FC236}">
                  <a16:creationId xmlns:a16="http://schemas.microsoft.com/office/drawing/2014/main" id="{14BD810B-2EF4-44DA-877D-45ABDAA41AC1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btfpColumnIndicator320476">
              <a:extLst>
                <a:ext uri="{FF2B5EF4-FFF2-40B4-BE49-F238E27FC236}">
                  <a16:creationId xmlns:a16="http://schemas.microsoft.com/office/drawing/2014/main" id="{B60168A4-26E5-4004-AB42-0E8685995EF4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btfpColumnIndicatorGroup1">
            <a:extLst>
              <a:ext uri="{FF2B5EF4-FFF2-40B4-BE49-F238E27FC236}">
                <a16:creationId xmlns:a16="http://schemas.microsoft.com/office/drawing/2014/main" id="{6834057B-6EF0-4154-BE1E-53C91CB852F0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2" name="btfpColumnGapBlocker222734">
              <a:extLst>
                <a:ext uri="{FF2B5EF4-FFF2-40B4-BE49-F238E27FC236}">
                  <a16:creationId xmlns:a16="http://schemas.microsoft.com/office/drawing/2014/main" id="{EDE26448-406D-45C7-B098-D17FA24B08FC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0" name="btfpColumnGapBlocker913307">
              <a:extLst>
                <a:ext uri="{FF2B5EF4-FFF2-40B4-BE49-F238E27FC236}">
                  <a16:creationId xmlns:a16="http://schemas.microsoft.com/office/drawing/2014/main" id="{F32BB7A1-8C92-46C2-98CA-756B846F30D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8" name="btfpColumnIndicator930221">
              <a:extLst>
                <a:ext uri="{FF2B5EF4-FFF2-40B4-BE49-F238E27FC236}">
                  <a16:creationId xmlns:a16="http://schemas.microsoft.com/office/drawing/2014/main" id="{F8CCC65D-0766-480F-A5D8-D7DE9C5439EA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btfpColumnIndicator328001">
              <a:extLst>
                <a:ext uri="{FF2B5EF4-FFF2-40B4-BE49-F238E27FC236}">
                  <a16:creationId xmlns:a16="http://schemas.microsoft.com/office/drawing/2014/main" id="{51A577E6-90AC-4294-B5E8-B89E7A7568BC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" name="btfpTable578632"/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200" y="1709537"/>
          <a:ext cx="11526839" cy="4215986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3309559">
                  <a:extLst>
                    <a:ext uri="{9D8B030D-6E8A-4147-A177-3AD203B41FA5}">
                      <a16:colId xmlns:a16="http://schemas.microsoft.com/office/drawing/2014/main" val="512103429"/>
                    </a:ext>
                  </a:extLst>
                </a:gridCol>
                <a:gridCol w="1643456">
                  <a:extLst>
                    <a:ext uri="{9D8B030D-6E8A-4147-A177-3AD203B41FA5}">
                      <a16:colId xmlns:a16="http://schemas.microsoft.com/office/drawing/2014/main" val="2878620873"/>
                    </a:ext>
                  </a:extLst>
                </a:gridCol>
                <a:gridCol w="1643456">
                  <a:extLst>
                    <a:ext uri="{9D8B030D-6E8A-4147-A177-3AD203B41FA5}">
                      <a16:colId xmlns:a16="http://schemas.microsoft.com/office/drawing/2014/main" val="2964047177"/>
                    </a:ext>
                  </a:extLst>
                </a:gridCol>
                <a:gridCol w="1643456">
                  <a:extLst>
                    <a:ext uri="{9D8B030D-6E8A-4147-A177-3AD203B41FA5}">
                      <a16:colId xmlns:a16="http://schemas.microsoft.com/office/drawing/2014/main" val="1317914080"/>
                    </a:ext>
                  </a:extLst>
                </a:gridCol>
                <a:gridCol w="1643456">
                  <a:extLst>
                    <a:ext uri="{9D8B030D-6E8A-4147-A177-3AD203B41FA5}">
                      <a16:colId xmlns:a16="http://schemas.microsoft.com/office/drawing/2014/main" val="3510199639"/>
                    </a:ext>
                  </a:extLst>
                </a:gridCol>
                <a:gridCol w="1643456">
                  <a:extLst>
                    <a:ext uri="{9D8B030D-6E8A-4147-A177-3AD203B41FA5}">
                      <a16:colId xmlns:a16="http://schemas.microsoft.com/office/drawing/2014/main" val="2167346835"/>
                    </a:ext>
                  </a:extLst>
                </a:gridCol>
              </a:tblGrid>
              <a:tr h="358346"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sz="1050"/>
                        <a:t>Purchasing</a:t>
                      </a:r>
                      <a:r>
                        <a:rPr lang="en-GB" sz="1050" baseline="0"/>
                        <a:t> criteria</a:t>
                      </a:r>
                      <a:endParaRPr lang="en-GB" sz="1050"/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sz="1050"/>
                        <a:t>Overall (N=XX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sz="1050"/>
                        <a:t>Small business (N=XX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sz="1050"/>
                        <a:t>Emerging (N=XX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sz="1050"/>
                        <a:t>Corporate (N=XX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sz="1050"/>
                        <a:t>Enterprise (N=XX)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616192537"/>
                  </a:ext>
                </a:extLst>
              </a:tr>
              <a:tr h="38576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GB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riteria 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GB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GB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GB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GB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GB" sz="10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2365074"/>
                  </a:ext>
                </a:extLst>
              </a:tr>
              <a:tr h="38576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GB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riteria 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GB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GB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GB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GB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GB" sz="10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0653446"/>
                  </a:ext>
                </a:extLst>
              </a:tr>
              <a:tr h="385764">
                <a:tc>
                  <a:txBody>
                    <a:bodyPr/>
                    <a:lstStyle/>
                    <a:p>
                      <a:pPr marL="0" marR="0" lvl="0" indent="0" algn="l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riteria 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GB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GB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GB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GB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GB" sz="10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2518495"/>
                  </a:ext>
                </a:extLst>
              </a:tr>
              <a:tr h="385764">
                <a:tc>
                  <a:txBody>
                    <a:bodyPr/>
                    <a:lstStyle/>
                    <a:p>
                      <a:pPr marL="0" marR="0" lvl="0" indent="0" algn="l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riteria 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GB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GB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GB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GB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GB" sz="10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7827960"/>
                  </a:ext>
                </a:extLst>
              </a:tr>
              <a:tr h="385764">
                <a:tc>
                  <a:txBody>
                    <a:bodyPr/>
                    <a:lstStyle/>
                    <a:p>
                      <a:pPr marL="0" marR="0" lvl="0" indent="0" algn="l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riteria 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GB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GB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GB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GB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GB" sz="10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39752109"/>
                  </a:ext>
                </a:extLst>
              </a:tr>
              <a:tr h="385764">
                <a:tc>
                  <a:txBody>
                    <a:bodyPr/>
                    <a:lstStyle/>
                    <a:p>
                      <a:pPr marL="0" marR="0" lvl="0" indent="0" algn="l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riteria 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GB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GB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GB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GB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GB" sz="10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79018"/>
                  </a:ext>
                </a:extLst>
              </a:tr>
              <a:tr h="385764">
                <a:tc>
                  <a:txBody>
                    <a:bodyPr/>
                    <a:lstStyle/>
                    <a:p>
                      <a:pPr marL="0" marR="0" lvl="0" indent="0" algn="l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riteria 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GB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GB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GB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GB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GB" sz="10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3942729"/>
                  </a:ext>
                </a:extLst>
              </a:tr>
              <a:tr h="385764">
                <a:tc>
                  <a:txBody>
                    <a:bodyPr/>
                    <a:lstStyle/>
                    <a:p>
                      <a:pPr marL="0" marR="0" lvl="0" indent="0" algn="l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riteria 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GB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GB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GB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GB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GB" sz="10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8793073"/>
                  </a:ext>
                </a:extLst>
              </a:tr>
              <a:tr h="385764">
                <a:tc>
                  <a:txBody>
                    <a:bodyPr/>
                    <a:lstStyle/>
                    <a:p>
                      <a:pPr marL="0" marR="0" lvl="0" indent="0" algn="l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riteria 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GB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GB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GB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GB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GB" sz="10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0366113"/>
                  </a:ext>
                </a:extLst>
              </a:tr>
              <a:tr h="385764">
                <a:tc>
                  <a:txBody>
                    <a:bodyPr/>
                    <a:lstStyle/>
                    <a:p>
                      <a:pPr marL="0" marR="0" lvl="0" indent="0" algn="l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riteria 1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GB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GB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GB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GB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GB" sz="10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8679844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/>
              <a:t>KPC: </a:t>
            </a:r>
            <a:r>
              <a:rPr lang="en-GB"/>
              <a:t>Segment level KPC</a:t>
            </a:r>
          </a:p>
        </p:txBody>
      </p:sp>
      <p:sp>
        <p:nvSpPr>
          <p:cNvPr id="10" name="btfpLayoutConfig"/>
          <p:cNvSpPr txBox="1"/>
          <p:nvPr/>
        </p:nvSpPr>
        <p:spPr bwMode="gray">
          <a:xfrm>
            <a:off x="12700" y="12700"/>
            <a:ext cx="72031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verall_0_132585026837394640 columns_1_132585536066547926 9_1_132574734567324920 3_1_132585535896783573 </a:t>
            </a:r>
          </a:p>
        </p:txBody>
      </p:sp>
      <p:sp>
        <p:nvSpPr>
          <p:cNvPr id="13" name="Rectangle 12"/>
          <p:cNvSpPr/>
          <p:nvPr>
            <p:custDataLst>
              <p:tags r:id="rId3"/>
            </p:custDataLst>
          </p:nvPr>
        </p:nvSpPr>
        <p:spPr bwMode="gray">
          <a:xfrm>
            <a:off x="330200" y="1270000"/>
            <a:ext cx="11526838" cy="31253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 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ease rank the 5 most important criteria you use when selecting a payment service provider for Direct Debit payments?</a:t>
            </a:r>
            <a:b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Which of the following best describes your company’s industry?</a:t>
            </a:r>
          </a:p>
        </p:txBody>
      </p:sp>
      <p:sp>
        <p:nvSpPr>
          <p:cNvPr id="74" name="btfpNotesBox830104"/>
          <p:cNvSpPr txBox="1"/>
          <p:nvPr>
            <p:custDataLst>
              <p:tags r:id="rId4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 Indexed score based on weighting of responses (weights: rank 1 = 5, rank 2 = 4, rank 3 = 3, rank 4 = 2, rank 5 = 5)</a:t>
            </a:r>
            <a:b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</a:t>
            </a:r>
          </a:p>
        </p:txBody>
      </p:sp>
      <p:grpSp>
        <p:nvGrpSpPr>
          <p:cNvPr id="43" name="btfpStatusSticker748176"/>
          <p:cNvGrpSpPr/>
          <p:nvPr>
            <p:custDataLst>
              <p:tags r:id="rId5"/>
            </p:custDataLst>
          </p:nvPr>
        </p:nvGrpSpPr>
        <p:grpSpPr>
          <a:xfrm>
            <a:off x="10100356" y="955344"/>
            <a:ext cx="1761444" cy="235611"/>
            <a:chOff x="-7836124" y="876300"/>
            <a:chExt cx="1761444" cy="235611"/>
          </a:xfrm>
        </p:grpSpPr>
        <p:sp>
          <p:nvSpPr>
            <p:cNvPr id="57" name="btfpStatusStickerText748176"/>
            <p:cNvSpPr txBox="1"/>
            <p:nvPr/>
          </p:nvSpPr>
          <p:spPr bwMode="gray">
            <a:xfrm>
              <a:off x="-7836124" y="876300"/>
              <a:ext cx="17614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liminary</a:t>
              </a:r>
            </a:p>
          </p:txBody>
        </p:sp>
        <p:cxnSp>
          <p:nvCxnSpPr>
            <p:cNvPr id="58" name="btfpStatusStickerLine748176"/>
            <p:cNvCxnSpPr/>
            <p:nvPr/>
          </p:nvCxnSpPr>
          <p:spPr bwMode="gray">
            <a:xfrm rot="720000">
              <a:off x="-7836124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217C7CD5-6ED2-47C0-924A-10B0FACF3FC7}"/>
              </a:ext>
            </a:extLst>
          </p:cNvPr>
          <p:cNvGrpSpPr/>
          <p:nvPr/>
        </p:nvGrpSpPr>
        <p:grpSpPr>
          <a:xfrm>
            <a:off x="8035284" y="6359843"/>
            <a:ext cx="3676134" cy="215444"/>
            <a:chOff x="6755124" y="6945507"/>
            <a:chExt cx="3676134" cy="215444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36EFEB2F-BC4C-4EC9-9955-395FF4F1FA50}"/>
                </a:ext>
              </a:extLst>
            </p:cNvPr>
            <p:cNvSpPr/>
            <p:nvPr/>
          </p:nvSpPr>
          <p:spPr>
            <a:xfrm>
              <a:off x="9988508" y="6945507"/>
              <a:ext cx="442750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ther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9C9F682E-DF05-4A1C-8AEA-E22FC38C78C2}"/>
                </a:ext>
              </a:extLst>
            </p:cNvPr>
            <p:cNvSpPr/>
            <p:nvPr/>
          </p:nvSpPr>
          <p:spPr bwMode="gray">
            <a:xfrm>
              <a:off x="6755124" y="6981229"/>
              <a:ext cx="144000" cy="144000"/>
            </a:xfrm>
            <a:prstGeom prst="rect">
              <a:avLst/>
            </a:prstGeom>
            <a:solidFill>
              <a:srgbClr val="46647B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C00000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AEB7C8C1-A23D-44E7-8A0C-7763FA35D934}"/>
                </a:ext>
              </a:extLst>
            </p:cNvPr>
            <p:cNvSpPr/>
            <p:nvPr/>
          </p:nvSpPr>
          <p:spPr>
            <a:xfrm>
              <a:off x="6823624" y="6945507"/>
              <a:ext cx="914033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ategory type 1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5D528054-AE20-4844-951D-AFA7E42C5A4B}"/>
                </a:ext>
              </a:extLst>
            </p:cNvPr>
            <p:cNvSpPr/>
            <p:nvPr/>
          </p:nvSpPr>
          <p:spPr bwMode="gray">
            <a:xfrm>
              <a:off x="7831603" y="6981229"/>
              <a:ext cx="144000" cy="144000"/>
            </a:xfrm>
            <a:prstGeom prst="rect">
              <a:avLst/>
            </a:prstGeom>
            <a:solidFill>
              <a:srgbClr val="AB8933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C00000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EA9DA6B1-48C1-497E-983E-A3D72D6A4E91}"/>
                </a:ext>
              </a:extLst>
            </p:cNvPr>
            <p:cNvSpPr/>
            <p:nvPr/>
          </p:nvSpPr>
          <p:spPr>
            <a:xfrm>
              <a:off x="7897264" y="6945507"/>
              <a:ext cx="914033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ategory type 2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5CB7F773-F6B6-4D0C-96A6-C8B67EB7ADAE}"/>
                </a:ext>
              </a:extLst>
            </p:cNvPr>
            <p:cNvSpPr/>
            <p:nvPr/>
          </p:nvSpPr>
          <p:spPr bwMode="gray">
            <a:xfrm>
              <a:off x="8851037" y="6981229"/>
              <a:ext cx="144000" cy="144000"/>
            </a:xfrm>
            <a:prstGeom prst="rect">
              <a:avLst/>
            </a:prstGeom>
            <a:solidFill>
              <a:srgbClr val="507867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C00000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D88D7C36-CA63-4D87-82DA-3FF14A58F44B}"/>
                </a:ext>
              </a:extLst>
            </p:cNvPr>
            <p:cNvSpPr/>
            <p:nvPr/>
          </p:nvSpPr>
          <p:spPr bwMode="gray">
            <a:xfrm>
              <a:off x="9916152" y="6981229"/>
              <a:ext cx="144000" cy="144000"/>
            </a:xfrm>
            <a:prstGeom prst="rect">
              <a:avLst/>
            </a:prstGeom>
            <a:solidFill>
              <a:srgbClr val="973B74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C00000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FA2E94E7-FAE5-4E74-B6D6-99E7EE21E629}"/>
                </a:ext>
              </a:extLst>
            </p:cNvPr>
            <p:cNvSpPr/>
            <p:nvPr/>
          </p:nvSpPr>
          <p:spPr>
            <a:xfrm>
              <a:off x="8962199" y="6945507"/>
              <a:ext cx="1459859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ategory type 2</a:t>
              </a:r>
            </a:p>
          </p:txBody>
        </p:sp>
      </p:grpSp>
      <p:sp>
        <p:nvSpPr>
          <p:cNvPr id="41" name="Rectangle 40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ItN+BdkIU6kSkys1oz4FTbg3IAHFZDQQIUI41CPkYeCkR+S8QFB2kPylUA3JsntOnMnXuTmmpeohPhgnOvWjiJahxbCEkKhcALAa4/g5rVRNUo4brP4JhiLsU+8O7v73AugP61KaL9V/ZMDFmIanld6KNo4Tnuo4CWlQ3Kec22FtIEqMisG3RMmj5wobwJmsj8l6v1JQfLZaoon24tS/ioy6j09oDLuh7RRZyxVpcRdzOJjmmHUa0qnMr5Uegu32pOZ7YDnLB2Kug8Z2k+gzN41szMpcTwsFOrnZvPaAzlsdFKar9I7xTBXyhuPu65sqsySYzv/TMR2o5avDQK3tAkwzTP5gMC67GjfB7vcNfWLHrawTs9BApP3rgdfsgUG4h53LQlLZVl+/PKXbzfsCi4t1SIoYR9o3lVpf/tKthok/n27L241QL7+/4rg2wtKtrbphyOCSX/7GTsMnp9VgxKhd57Ua4rzujC0jnI0XKD9B3VciMaO9UJ5v01yQw2fRSndOGYgl0jtidIldnhjSDiYv+dUQkM4G35GGbTvm611KOweq7ryy6tFOoo6xinyGMdocQSIN9N33VRtAEjpUhODxMAsSSJw52YomYi+ZAU2r1H/rjGl1+nv8EWi3e8wisuftHtlqkQpK6SbxXqNIgw4KgjqKoeuXzagjzn5TxC43NMylCVkVJhyEwusoyCEhedozCEtNhCK/TcKTyT5/IjntyQ8VmVVC0sUkNzenLrrkQs9vtETHB5h8+/7r/osECtB2FVLe9RvrZqzxmLrNvtpFj3cH+t1Wlpxkn/yLCU/2hPJANFZ1sT41KzTPVJaPnvSBxu0SLoE8BnvJdwQ+pDTph9gu36Hmrl72xpw5HkiOrjtnkwA83heaDj16FnnBt85938CG5i2v0z8OtsKb+JBuhgHE839O+bfLo5HQXMgy4FkointIra/n400RKyB8pgZXnWJPdhGL1rc1SmZBADd3hwY7ajjbzFbqgMogwWd62a/6Y/UzgPh13xvN2wIiGgPQKiCfk7cz8JJb/KisuRnMrxxri5ZiBGoGzr8e0pmR0XuSikuEqSg6o3PKekKzLwtC8eBtmCxjM4k898D9q+MkKfeGsPRTxsElanVCxc7yg7fXkCZng7tsLh5BHfYm8WrIC7XI5RBsn/yAy9uE35fgSAuvH8hd1fJyXQ25RiVunVk3kWgdBotSUo30yQ8pCHM5bmX05Z4t0Rf/wfg9+iM+ABw1rZ10qCMpA1JFjFUGrG/B3aFBTQH13VsIOMGUvYL0TqYqH3kroJnb09zDNeJC7L5W9ChE8Lffzy8itwcPsBKsI9FhjBspT6hB9VNQD+SOILoWHMNGtuv5XxwTc6rpR2mWjwVqgYdc8py36d3FBvu6rtyOBsfWqFSVklYx9oILTRep7qMTLT/aYTCcis5y26oId8uvxrKO+T9+LKkrmkiNx07P51uB6Bg1R0u16KDcUQ2e2K9ndoqS7OL2PA14VJqaHHzW7u3Bfe1DimvSitQedMzwPOw2hTo6AXoKPUtX+1P4wdIuqsPjPqTd/1JXg3rocuV+dy0nyjIp8PBl3LjO5cbGnwKMFcknxocVqjg/WIagzHxtNftpDhB46TPbYy/43qGP9716ngQM6sI7jutUGK/n4mWYFerpURHsmdAcNWGsSSi+OAjN1hCcww7828lpfAiNerX8UeIrBeDg//QRzHcslhoqHjzHgNoDSzZQSkAPsklccpQsbSyOSht2BBHFVqh60KiiE37nq0owrGoK0C5Q5nSNxS3I5uDsh23g1gqqjYOhrMwe4hr5HDQuim8nXLcSlkdx9wKBUMhbj2iH/FGiMJbvhGmybiJjInB6cU1HqRQxKNbNNfR5KSH1LRTvCFuElBRUoSM/Z0o11gZddW5j+Tw49rEkUBF4pXu7/Xsm7jR+gLgEj8PjUhJXd3v6HDeKmJqtIgpCKoPpaMtoKs9bZ1H5Gb2+wfiPMAwrK/h2ii1pr8XuWOC21p2T9H6z3JkmForv699MFpeT21ANJo0vywpqTbMYk3gC1HqLPAsGnS9DvyqdlU4ZSfA7HNf1LPRCa6dJ/GNVNPJNyTy7y1gtt/wHwqmOL1/htfTeVtgJ5jL099d4fZMkiY8a4fltW1z5M7s5/OQ5KzspGPpuoz1W/woeRDi/4OSQjoOzCasUf8N8AkyZNZH+z4aIU12y5mSgxupA8frKrtrnvzRMnqnseOhs6laFomCNS7NjfsNp9WVN2Jb7WPHtXTVcUwKfMgPYk31+Hilj0RfIO2fqL9zwzT73UzkmhYlPKfrjmykgKqtrsJr88vVVbjVBRgITU37yOicxM/5wZIRKuzo9ySyQ3f0xcfXAZzwSZXyLSvleJ4w2Apy/X/ReQbDVU+nb+EPbxe3acnjvEDlwYfL7EbOycr5wCtc9BOF/5S+h9foIiYpFJRAIsXdEEBHPr78EoeySHU7gqBjk/cLJfDDfgXt6GQ4B18P79DRqvRdAoRBD/Kp31ns1pz8yOHwGvcwrVaMuD0wIi8G2OBTjH6Wqq3BxJAPesnaJnoKBiTh3hz8u6QDBPL3eoz/uN1B/S7gWSZcI/BHf3r1kv9NBeABrTCrkT8S8x1e0RgPJahceNX/W8JgrcHfKHQOStTfHg91U18I5TGuMzqmdwSMCv0Wox/lyn4pkgtkSLxbLTIcgu+F8HFoo9bSOQ2JM0uCueEYE3W/ztUIpC6Cbn4XUomIbc5I3QHFjijLUJadDmRseT4QrhR6nQ5g4KKypek4QknR2ZgHPC39DzZ1TBw2F/BxPjj9tcfwFhUACBzb2mn2kF3HKBi//HwfhNRNXv30wUsduJBqxgO8EL1q05vh9gA6kxol92kUSSIzNQ3CfrYXkR99iCWd8DRKlxyFD4hxX/d+st2nydTzpzs4M+M+3RLieouuI1ZQYpOgj8PXSBi7GPgUIP1EwlUTWEkcC5c1adKPG0WHGGu7gxIpFtFLHvYai4eHcaB5OSvf4CF/VSWY1FqPNaaVPhZzchCI0BIxEa0MzsRpG/Lsj8Pxcc1IDLWeZKCAI/OJVSPEfczHScP6twgoMtHFl7/tGLUhB4GgSSZiTvfl4Jss2CNPoey+r0wbX57F06rPySgdDCU5MalzN5nu7EiwzNKbdYLisiPoPC1K9itqkciZ534RJ+zCyjQgTuDpsfJY4Oo1YpuFSxjtpVC6YWWNiJMhZVpOb5E5dYgWIPmhj6lL/YsUIB8aR2qTlcp1biCLtAIucEw4CpN8e7uX7EIALPCzJMju4OKylpqEvcEiLaMN5yrWmneDewWF4ur9qVCVudwDW+VLCN4RdHlZgRdXRIVxq/HLoXkllTDRbXPRI9bxmwPxlwGliXFUTGhcOE2BTEiIoS7cgk6cQ+cg4lTBm6DqbkSahAo/TGrwq7FIwcAt4Hj17zXKlRW+TTKsHxDQYoSXbYo7YHVXTOe444J8BVyKYkTukWfTRTZpGObhESrObEg/ESw+k1/nebtThfzcEzp/dcBMVfe5RZ6nRd8PbSL5UuwoD7x19gqilhdT3N1MoRoS+ROv97GwvkrDVtTh6zsBUd92j5RjF0JTjuQ3I/nQuNbyRnNvSGRaHTv7iDhrxfBfzvQZhcILgCs00Wt66EOtXfoP16AdscSGeO5goYA8ks6Fmv6ik2dCMWaPWlbHNnpuJxk1LYKUXWzrHW2yoG7t8M0X4uLSu4kjeyk6g12E3/XhzxYXAyBTxlrIBe2QFn+ngHhs9r8KiIqtbEuMgd/J+Z5mOv/FnE/fmXZCcAr2Qwh2sMByZC8ibLNsmGsNLdLi3VEhHFZbC4f76EMbfPo3y1vwjkMkBYHKtWPNVU9OwuSgnby4EuaSczenGd/Mar9TikeODY+E0c3vgeBnmcTdHLZvdIYFi1rJljS//YtRkUeSGH2d/0VRAUy5MbxeZDnX5rVtuc4gUyF4hOYQWO4i9q8LLEW3ctIHsOYxY6Cu6QS40VXfiI2GnRzW4+Juie5kSjshu+mBwD4knSUYk83sv9eTjz5QDw/bByrUX1I+ipYu4OE73XEtS0j+88boxM1trTVd7ca4ywJ1X2v9hB0KjhQIQexjJjCrORevCn5zPIuBzrdQIxzMhSaNAiLwfloE/imK1soM/U30WdODmQzTyrpJucO2ogVGcqwmvdCr+UjW7A4QhlnuI6t2Rd4N2q4AsFZFkhCzo+ToD1JGz85NIlSuWPQftlngG2Pb1OqzjKy4NC4FD8GT51uGMm0i5B9/J9/3j/CTkPyrjgn1nALvXUT+9P9I49rfBM8RIvyUnC/Qd/f6YY72DujT2I0jnzu0ATtRue3BGS+PTf/xupqkI/KUvhoAD+mDOLt6m4Tp3Kp9ydbmjudk/sE97BSdrNUqu8Y1u8JNugJpJcoJ12tlTHnkMkC21tiwxO1W6KXGDwD4LysL43KXHR1amuoPuUra33JZBwOb5o/DnGeZzfo6NLCJa20xB1tQjFO5CvrLJRg069CkT+WIQMp2uuZojyo/BJtYAOleKMYEsvz4vTMrjXO/C/ju6Dj9+detIEdZqgGy6Yq5uucxepBHBE27OqgyQlTgM/ijGdtZyBvsHmpPaiRmh5Q+6vu2GshR1jPK2TRfmo2OlUAf5kON0WEnHGa/pZIAV6Un856aVT7/jHZfyUmVR7y20OmNM5n/zmbyEE6OVS7fA8BeND9ZRPzduHTpvXyc8Bnv8ueGtNUbwocxKIxbO9r3iyCdfS5mlfysbXXGHsoMtGPWPV6ApjzMejnvSrmzgpCqCqdpIgpL7y1IjyW25x8EA3M8P97g3pe6LBqclZxccxMshzgzCrou5CVVQCqahHoOt4IeR+/EEaN9JPxmcqPF1VofmLk2IccaZfhtsRGFmWXWyTFL/lAbrzLOPsOEaDd+ciaEsI3jq+11JhhK4/m73jGH6jnYqtqsjxDf9ZY9Spd3kv6C6oqegFN3okxx2HqasGlpQG63eKwoi8Bea49SmiXP3eDgmlhr0JBU1tFt3dcqhyVN2m2AMVPMTCVT0P1NiXswUdrcNUwNNd0OzMZimlaGbDT2/w8zs4byyWpPt3x17pXnAXj+0pJ4kHydrr4t6WdIARzvcsewgUbt3i2v25RFeknJ1l1XLAH4ONI6I/rtc/1mgw3NZT05MFiyPd+syEd5Ddi4OvnK2EYeq9U1e2oZH5HBgq2HqVcJjRLxoV+GiRY0TcoaSKzakr2KK7WK3M2UKpQJnkiQxXW+nWhcuMOng36mdAXUyMvwWy95ZJ2OJyYuUecd0PiqbZlGun0uw8r77n3xcTor67PP6c4gMi5LxcJXrOCnUMtJ48lzPWJEXkpP0cTUy4ZM1+mMGLWa5lDmjJ8mFocSYWFK9g0fHg+SwNrdhjmFRSECLevl13+zGKr1oogQgY22D9DhYj517nb2F1v8WrHJ0gJx4hrV0EeY89qIMFcWCrzByXVitSD0Xw2SGYehRRX8sB7XBHHGSbshjyvqyMMDOW8iVacAZLMcFNrEOudA8P9Sx7Y8zWscyX1IX8469ifWFeXikACNGznZGNyW6rk0lswOUjBGs/0DvMN7vsCyCEZNSo7Coj55LUg/wY5TGUBIeY0x3X9xel4MH+tPwC4Y1qLH501f8LHp9pU6YNN0ZTRPxIPpFKmOzhInHgoJL0PzDEGC4BVUibcRJNvAyvqEORW+SfXZSKBqnB0+vCIijOgVyzcn3ZP7MfMbwyD40LfjYHdX1EaVP97xJfIrlUimJyiLgovNKHSUOIkYh6RnCs9hm9hqyMBLliO6hg8LtVY0wnbQj0bu6DzDNGndk0fG4G/rXyb6R8FBN7Bd3dDNqXdYLDWM1baY5GGEc7DZTlh0IXlExeJx92nBRIW35dMaCG0hsFXEgJNbIgueQ+vITAIWNtWAvcWh86CoAEGB2Oit1ykSoU1Kp/54ZR9oIOHA+d/irTJKrdy/MXwarCKNKqeTcRAdkyYnlBK4qjVlHdts1Jtizoxw8OfXAepbadZAgXS5pFCCgwm3s/5dbft1uqPInM57GQe8u80K91KF5fMZkff2CWAbRNRhQzu1iUrDEPapiBq7iCrC0YVLylf/oQa1S0hAJUltHz9mkWNoZgIir8ADIlYK1ipxNy/NRH1Zp+R9z57HYc42sBQMqdW75IvWYGOKVZoQK1yqhEjVeQJJ2q126DDAzxbn6QPjMW8SsrvZiPO5TWa4/MeocVdK/JCdV0oxNmbwnQUKCkWqA1nbULVf4WDngo3nRnQpTtwiE1rNLk/0PFOmY2GiuZWYLFx13oMbYoIQZSKMfhAZ7Zjw+jeRqQYpYu4flRWZ/kRszz6ZDm49+Yon6D4t9fjtYQ2lKxR7ieaqhl+B2k/CB8NCSXvtwwvmclZgxj7nPZJ9U/1oeLw8Yp140COtTZv4A+7iCvmgt+fTLaSN3I5rj/YJR+JI2NU50qBHpqGV2f54jJfh09D4jHC4KbjxOo9TCkfiwDWcwbTKLoaQkGSOS8YE2XKMiZuhhVkgfgHTOETZcTIe58r1oQhDNpVjzbEwh8PfR5eLDexN0Yq9sxxRJZuMvpmyGXsqvSxXJ+8YZe6qpu+Ytohqe7BNnPeJb9IdRtExuTuA7VFM82U6mZyODiwSgMTSjA7pcKoooe7a28Y5injBf/z6SOqvUwQ81L+dkEcV776EH5S/eOKZ7T+YEKLAXC0saUBL2gZgzaVfjVEKWb8n4gXTzzUR+C+jHbmdrMth8W8fBym13JM/RbRXfyo864y46wrpTgS0BkUJbJoTGGFUzbRVzL9yDfy4zMFvAZPomHLgVIPmrNhsvjWCc81Zs1Ur8inmcS9g+XHM5UZD7Oq66mPJGg+zPY3SfcAEr1tXM2kzuGdwX8SSx6Zb67i1GnQYDo+OtSAr/HD2QOu00mz4c6OvI7JIL35aKcztDyRLwuohRTLMdpiob8jktHbyN5W9nASNkSQTg9I/cseYjxgQJ/wMTVBuHfXsRv1xumjKXI9M51/YK+PqUfhT/BtNON/ek2KOuf1eROFVhbGtY6SDSdXB5oN4n2dsk+EWnhbHN8R5Tog/tj0HiaCEnf0TIjnuuwdJX5Bfd6o7qF8cQDvTqAi41G93RmJ6ZmH3YEbYPaDfawgkGkjmUJfMuWVXqfMQKaJQcImUPxUQEO3THO14VjC38C2XptRtnKe1i1iIXbmFROrTPqgxUICKCzS2wM8lbue0aXGBQSCXSatvVUL7IhvPhfQ5UWkeBWPThSQyMyFCbA9XLFxghZkkGJ8ewXQVL8sPjGtW66nsiA0GYAS1h07eD2CvN3cI2Y2dFEUwGQxKzhmJlzbtw5ZkuktNKuXDXP1dFJjbJnTRg5hMWCmilDy3FTiUUUwwqRx+So+3nEwSlYwAXJBM3aKo83U244N/kPvQyaIOWMlWLf6wuYjYX77EcDdZEdGPCLkcnyVNSyUaMfdU3fGSbsH09DmJnEaPovTQ4jdmMeXOYSqi7ToTdAhq+0kjEn7msKbshbJsautMVMlOq9PB7hWGiWMPNvqCcWeZifSSHdpazQbteRi9jBniSufMlM/kJUb2cUrPFpFMRuweK+jC5nR7kOzgp/mLFi4RVyfZGPy+xXo6Sh/AoXnybvjGFp/bud2hrfMCab4RVB+9RO8gs5/HQEwk3yXAAaz+G8nlgJsn6XPAv82vapTamGoRLgaMUtYc1DED5JE6JMhhYc0scGSdaVbqVIAMM7ILbbNlJcen2MQhzaCqVrXz4RplE01cx/9FsWO7gNqp7fg7ab4XwfhM4h3tcMAg/x3zKP+DMLxZm4c1phv7Nn6VUS7SOjNt6IwDIg+4nHuu2MvJCM8rEY65GO86Cuat2QCxQvthtAOTVj2bqVjALebxrG/j8VOFrZ8u7P2JGvpTZcaArxd1f7XMNildReKtIduuO4zZEL69HboYST3kRXFYEpnWLHZi7yW9G/L0p64c4CNkKHhN5fn96rnvdJTUmAprybiB6qack8XFZnUa364PRsMqCaLh52ib1aVakaWM6JwNGWVvr910Hm+qFo+XDK0V77lmwv+Omf0t5srNKeWGPwdmqxF/6nL3TYDMaHi2UYp+rXrsWDQNQJ5FJkbYTjrhexLtvfGrFMKAAryuK3weFXyh8p2V9RW1Q8MAMUT6XCqHqtW6jQF4Og+Aus805F1uEwGbWOp3lKnwXROOzbPjzWUWepwUDDrIPqW9JyScmTZ8ebAYF4ivP1SE6xKmYLc3eyui93fr+JBlHwjJF8ircEgv8qj2IflVr842e9tmxban1H3utDqR/2a7fCwq2nxfi497rkhMUaRRvBgE1j84XXoJLtzMivyZZLFWb1kmcT81ngcPThWWPXGyROsKf9eXsTRrQHS6DkvZSnQoAVURUMtg9cqN023fqyG1VI2xYtE3smYRHfHYUBiyw4638+z4GSaRaHGr66iv+YVLD8sk3a7xwdOe9FuWB12qtgb0jRgRLjo5IYxtz1A9bvKGNCrzpE2wh05uh3ykzJbFOcy/GmNcdp06om3fk1JDKkDrewU1YoNolymsbKn/JLntAI1G6B5dD7ZQxk2cNs1tg6TI07tQMRcI986T7e0U4UWn0lgrT+QXV1HNRK0PRVYDAsDq51Pkc/0OQsejAxUjVQeG+Argz8ZT9sAizCAga2fOAvPmqlaC2i34Uj4QPmT1LXwictSgo6aWr2KhIKmvpviIXrwtpodjrBYLCOonTy3/Bxnwq3ZbofsryThbZE2QbuJ9hGB3Tdn8OTCm75U9di6YWTaAxBToCNANVng8wK9zbSzPoKv8pw/xIWrgzLYUPjOf2ffytjly4TA1dgkUFDcvhsQnB/OXlZtWH8YhwW9Z1EJoJOEMCCk9dftTfWaxC7O7UaMFlfw/ULtmbbsGq4aEuz1z58Gw+ZYxIXKaqGP24qsAwCIYI0d3OiN0eIvd6VALC2eIYY/j67imWt0MjjTdCLzOfkY/8aQ4/WEwPI/tEizTW72vfU63fBElITIDn7NG0lq87QluUUnQoAfOf+lS6UbmWQm5MAmCZyH+X8vPKEwMNAw2FT4Kleftp/FthikPV7JiT1sFkgsSwGUuvW83TiUUH0uHdE/QWLV2aB8GFQ3UOcoQjoImhfDTcdtWw0ub+RG5fmDZny1j3Ei56xocRo9uZ+XlyVU4Z54i5dB1bKZiAFs2n3Q9g7npbg1JujrBs+VKby69P5dXHMe2+NO7f34jho8P1DSyC7azO6VE50dJV/Km4vISfNwIQfaaLDWYQKcivqOqObbtOVE7rYK3BhjVS2ducfO9jIUCboQm43LVuPXQSQ5RWrADDh2WwFkHkg1iHeoD4nilF5xojTXEZ4QuChbi3Lmu999AecC48KmccouqqmczXS02VSXOkR74aeZ4+qdt+P4Yv3Wtq4u4rD2ogC382429bRCEa8Ftc9pkr7AauCiNhwblsFiuSjxAV4ZJ5AUEsxcbTpZquWVS4EcRc/rknAikvxqCxJx8R/iVD8BpdAPNI9371hRvMN81/Dz44+QH8JW+r5mvqpKEYkMI7TY7lSWxEMzM02QA/hb/wMNKj/8LowkR3W0BMdnfw7QixYg6MjbqrZYNYetXU+Po/QCSGSWrEe98UpLvz1TedrRcNsb9WJn+vgmS0wjhc4axwwY5RBIDdaOD8Cag+JfiStOUSGN2Cy08aWr0jtnbyTLefugXpVM7M25PCGDUmbX/t7UULGxCCE2DPfYh5kPea8Z7IJeSpZQrr+G9mLrSKiNRXvD812N3qWQ6N6m8hi4SH4FQJyCrRmeh7w7IJ0vUo+TVOwATKXcuGkw6FZOfnGMJuF1LOTVzqwVUyPkVc3IpNUxpgjHuSsK7p/Xz8gawR9Nm2ydzadw1v29q4LacEdOp4PrLevwN4OeDHIURW3bQ3UlR1hnlzaLc6bgmVdkkHipEmFhwIlZrERdJLfCvQ/2laMIwfve/Mf4RKjKpbBMNVUypKcrJ6U1eNSf3XTAYq/QiHGUmYjW/MJs2qZPJCM2k+BWU2k6i9WIfdgZk/ftZWeBXJJNIl88vBuEToGrCFzHuSXa5oJgbf6XhPqTdXLu1AIL4tWM4iAH/d7sUGcGLNcEdBUa2ujYpvJUx96ctbweYLdwEv4YOe4jc971CDvNX7+wnz7i9psvIo+dOfpjgIcALYt3cSUKezqvEHka9iw9SZW4KDOQqNRP5ShX4SFevi1L1OUd8202ibZCRnfYSvkXwz650KGyHJ5mYEo3DhUZyLL1NJ3SBdv3P1kld0XmoH25lgS4cIUMFk81arOHknxFmgl27aejhaDrHb357JLy2IphE2AyDa8PYY71nwH7XjYDjhFa8Vjc8zgeJXIQBG1LVj3tJOKW2oAVQovO3jl/HSs1rjVi3eewI41na2gR9KY0ZyvR+CvlEPme0BIuLGZ28WCxHBQLUpq5LSzdXWWLHqpkTRwPatpsLNToTJVcy7r0W7mPXtFTNyBxfgEQKMaC60E2qaSRMunLudHHzcYDx2spYZcBAK1WUY/Cli9qETaabPxWJjPG+bNKfNsYXCYb8ntRhJsjokVbk2j3qE2Q5l4GKYsJJUpCpCcYSCUNauES/LkdPfSOUqiRnXb84r+RseXXM8bL8SFQ7dN5TMwCO7nftsSfn4VHiB22wU4O8nVbCxk3d4H403Dbm+SImr96md/3QlxAMq/NJeW3pv2xIA8XQ5NSV+GeIkyevS+EEqhk9+agokNX8gdoo2+7HgidYD9L8VGNJ3xnLWP6fI7iEeuim8pq41DlJn5EaW67+7etHOtcGfHM0Z7vTghzAnHWGU6kSPvO+QpKbJPIsF3aGJUHUPj9pWaRjL44nNyMlkuYEB8D+hhSQBqqY3TvyhDXivkgHC06M8YBUl5MhkDMeLxNcrWE1YwnrOKnSf+zJA2Z9EavDpZdRSMmDTaQnMe3t3K2go0EPdkBns86mqPsmhGpM2YEOT4m2cPJeawxF9qMdbCSLHtv2T4Yc6X4twbt8vaGMQjcaLDB5CJxAzzZzCr9nKRUNsoezfZIh8kgcNruAFxJ5ev2GEgC+JOoEwhSP53Xy8chkotqf+IBZ6sTeIzGeU/GVjryIb1FRLAdf1qaanjqt9Sf5EI4hpNjbGnOwa1VoGFPCR7d3rUNLIITqGeMbFnulbVrS/pdDm7euZbwcqyO2VYX9lPqIqWVv/admKNbHqnsP48rqVlWBwed6LfKDG9nbyDl49AsLrtDJ19+bhoaW1EhtK434zxMY7gTJwx9k33N5tAepLb0HbglMseh8mo3tiExkDBomohqrHUcITTcDb+vw5IP4jO0uJGiAVyuKegjJTTEXxH+AHai8kuKNaXo7wO3Zmx1MSOVN/MZnP4rW6P7xKtoa1t87soeOU3XVsilGEB0InICjDD9cA+8/vrMc6pFDxaQKd+EDNvXX4qhPNYiks+iuruffAEv2sCabNvEr8ZDE4Zu9xPb2v/uJ/QfvGsXTHdfIkZUkofe6I3y3erN/vlC8Xels1Uy71XRgJUCPSGgwFs2benJ6ZCshBg36ZZYFo4AlVmKkeOw/5Br1GqafPPdrzupB4JR2Dbj/mMz8JyDbfzCNETVgtT9B2eR6AIE/q/ByAY5MB3e+UzaUriQJhnRFYNgwDc+mNmXZ/2xwZxH2Liyi4IHzDWJEhMfgD5Pwh+BhQ7GVGdqEHJXRHBW5894K9h6BKPQp0oHvqdJDuDGaQcFPullIcflzXEqXx0AExt3DZowCpu9V6jIIxsHeB0uheJ2RwZ9ipPMDr7KT+WxCFYj7996+tXCUP5aTt+knkQKAQEMDHm0wqGNPOUbpD4te9NAC8h5jXy0WuM8LY3Nfx98Q+pbm4TpvRYMaOtwl4nX+/7mG6clWYuma5lQXzRsed/20Ds7EyL8NO6t64aToGnqZqzz8oCWAjbxm9+KmojMjGVlRZUNgndBVVsOjo3zztEA/7xW9YrxqIU9gE3cG7Nr5k9fG20/Nvp3NTXv86Vd+YFs1FsYbcfikeO40yZM6RpE19JCWkXC35cMRwZ0c67gcFq5OMEcs29a5fewN1q/CPD6v2BQFU5BchmJ+wXdySwN/mkYWUhxY9DRb630+bU1NaExtlgBRhQTcYgr1j6o+YETfDOjC0QiyEJCwpXILyWgRTS0BRAqIQP4M9w28f9CcyCZcj+U0nNpWZ7WQ1rQVnjo/YJ/hUtXPOA9mbDF5sbtTIfxlURcYxl6ZGLdGKdIIwiKnQvIEFNz8L8FDjY2Qmw+aLasys6CV62mXiY7nj/pJ2Y/7Kajw2atBsXsdaCqkHGtewtwLlFLHOSMYeKzi8el+kV5ZjUGbcB7+w2qhm6iHodIBu/oCMb8ronO9eqFKUMujJJ8sxuquvhh0rcBxzC2iVuJUyU508P/sBrBbsQTZjpTqiIpy7LAC4kKXyRUQhlTVM7KZBOO/JGNcK+pNNeGW4pFcccMmoaUcTjP5IsrF5T5ptlBBr24T1BzVF57HQPJyiewaxCZRhwkOTJoMThCyp9Yai3yiXBbxt+wRDwqqYTmYhj8TU/Imwts1YDKt5YcTqtDfEeYjht/IdCrZov4Tk8btvY+46bwRKLImLLOQIJtP0/KC2dKGlhyMVtOrRdDdL7WDUEjK5WIQFsWIebQIY0VAet7BaHwaGaDeB1B0B3AJuY7C4QcGOXLp1xmgDDSdYE22lIXbQwTL4M3DjNFSnz6Jfumf6U+JAQ2TKMSpYEAw/bCuNfZJFl6iPfK4lEQYFt+QvoJLVcrWeR2XEQ2iamixhDWV4bmbIwkIXzA8Ne88MKeu92TQc4y3eq8zvBk0WU6ZEpJsWcp9sR/kjBcnDpznak8iWbpPv/DNcKxFbVJihewjIydNfo31Nop0CpQFjifWiSA2m4Z7HpXqE2xRl8VULCUJVC6CLpHl2Itf0Q9noiNSvueoXrMWsjfp0srPbM06reRwJlcOZJzDjvTcquh5HMoYxALyIDTWdLWLIJRkVE84pxlb6IvPPEiA4VXhXPingkjYg6nVrDdTCG7mUOPjyFonldEZTsc4vm6XPiWIXnmTlXKqNtvnJ1nM8kDoQARWr83+aeIKT1l6ud5RH8l2k0J4ihTuD4KOUlzew1lUdo+S9u6S/F+stRmWQdqaJ87a0OcTg02Tj2apNuTc6dZs5jgfSXEJzkZ0UhmQVNUqI/6l8DjT9URQhrGLsV2i3moP+IRSAPsxhdlfQM8jPOhumVYqWNPR3m8qiMmiHHh7puG87mIcwEDr18azlEg8CwMsElfFj9xlw+n098aIFPGw5PHfkb3j8hXwk9LnZw24Jn8ah+v7l0cIJsTafrMHu9pw8cH5DV1cHS9heyLsBqz/w5xtKnTuXd782sgrc5g76Gz4v/9ut88lX9huXWitQPbIEGcPfO8+6noBUO0SvnzgUxmVLd5GIAgJflgMf/8X0BwUlkSN7eDEjxSL2VrBGQQaDMU552NJGkVoMG5U3hh6spDAgNy2O6c+DF54+gG7o8qaGNs/klaXIZQKeiWmkphktpFG3bja7Xt8eyoEVylNqPVNbRw4EbAfCF/zML7+H9p8pQsUWCws2HpUafThX53nTjMgM+I3+GWQjevxKd3UpgzRbcWnuBuNlifwozahGTE+9rSBJAIaIV1JvuYajJMqMrGYQwafCNYQH5oVNg+ydeRsVbyo7MQS7OgbX810bcVIefsJ3oCoxv2Fdqit/t3GsDGR4JLp/c4aaXamvkpPTmL8nIePmEzWOw+00MDzBbFItGtfF6qZs5HTp7H3+SR7ROCeXx+NVTVi98R2x6Q96lgkGactP/UcFle7091mCLa4p33pqHNen94DkCyadD4AsfYG8fVuN6XmHVhMv17TRglZQq7nBbNmly+R+o1S2WhydJau0XkjKH3JExrmDRr4NAjvoVtSXB8bneJkbA/R/j/v0+3ftA/RdD7s5t+ZO+zOn/gb5WjLHgIX34L9aBBALsFzQM0bXhTYBWRpdgGQRtFmpCFqawlqaQ8aHWtQ9WIvHbYDvUCJqyNjZDrbD+h5QaVvNV01mOnwkjzmgGxWhBatm1vxUTv9fQX6ZRMf+EZpF5vq1fFEbpXLxm1bvY1+izkdspjFb4QYI/NrILjvHCCONkeDTf1jDa5zfbGDO7h/dcF0Z1f2KHUCDydQd5sTV0xwHUocJdpxblYpcLyX/3KRqByX5u+PaF6Kggrw0f9d/W1yu1vpyKiHr8nfEmLDaADxItB0+efiIMUuYfUVcw8LnHRgHDIfOLuqaU7EwxM/jLrlHYBda0enr5OmC2FR+4ojWxY5gZrrQxmo4g7CkiNSUK7OiavrE7h2QUnum7WBgjVXvBTt4Zaq2oa1myY88tABlzIxXznEVYmcWVZ9t0DlTqXgxCUV1t2sHY3KV/8e8+jT7zIcm72+w3oKZ6yYRuGE0eRQoDAneV1DSqdPLy5GQHVM4Vi2DTOoH8t/+v33Cmw+w/xV53csChaFFJfYqpKF2nlhaBDZ4UtIrUixzrVdzpNPEA3TViMhbUcGpWmRwdQQLjjGp1ZX7QL+bnPBXZa5XRGVM3M+Kksh+MTt1prI1XLl0ncNtbq7wgEtPU9RNuqrWXg40auJHY6YdXlbWmbxK1Z87XQTWZkRSaDfKaz603VkntFhWTBOavRSvJ3ZWl5JkquwmBjTaHLhaknmwQ35Sqb38OZVxxIaJB9dnAJOtxIR2vXd0TDss2M9RnL9CQ1cOzgC5wUJWqe6auI55WNb1niiTc7skeFWw/ejxNdsqCKjtt/h4FuT42Di6aLh3v4iFiqjhutkgApNizhtCmbMpRrHE+KFCYa4hU3wnBrviXvwH9WFS4Y4VeB/7HmTupOLktEM6i3ulAEOcAs5NSyzTD7Gp81gUmLVRm6Px0RgYPlqg+J+MliN4+AqaRpb1EW9BMK7KhmtDfU1Y7/AAKGrggwesQpUEhHoWpztnvtm0QJU1wMc7RxE2um8I4qIBhlzo2rY91dWf1dFPQKs0Sv72s0/gtbEX3K4qNRHRBFJXQGSUSi7u6tBOifIHg7qkpIlgfj46pREdt6F2sH5BvkvrHqdqPt0LILX71bdrdsIUPleJ3hyGWWakkm96dBOi1CWlKKm07W9ASfW8HinOdYOg2MYDQlwyv2NrOpUI7SQLfUMGeU7q2+f485tJTBRum1wUC2LfOlOf4he43zlzgxse/8RbQ5pbyACOdbon0TjmmFI+5hF5Pdg3oqoz57YLiENNGLFgwTni8uPOHIRvcaUEXb/OoiUuAWOWYbxv9YPTCKft5EX4yBLTQMS3pc1p1pLIqxmoeXDZvJf/0rZogDxBj8D6zI6LmVs8pQM3VBnMBP/a8e1Gj3+1DCz7on8+hVZtdp4YQud5XjT5TlzI83dk8JfB+UvmoCmeMvc09/Vh3edfedwdme8bG1Ith0Cgzx+tX707qynL2QcezYHw7WYGLDD6+jkGl5AaSCh+uOd/FfR+ASAgkQ+KcKmNvPRAxAbsB3gap8M+SWXNVX6d8ybe9f+iStWcrEaDezc5LcJBqUbyHixkzPOhJLqOiaWDJcIeeaNM5qW1ekXIQIHHmDEQBNa9D2Dp/T7uY1XComf3OKLc9zuGr9cMrKpxLPchrwfIPLmqGOI+nCBjUiBNy1dVwwVWeLIcygjRNvUnMN4H4c+7fcRpje85wTUxeMrpTqEJXaDgIjHj8uUUZXVU6s7rufm9fPMtYDTR3QFjBSQj0wVUaAWqDNroccwmj1I/bSXAMRQ8O5drXu8PFsFRbyauvy+AxZr2FuAIIXVTj1h3S2MSf94D6N90DsaXuHjdbdwhkFROmjP4266u3PjScQAuLg4lyPSbpQPVXp/shHYctl4pgT3huBh7cBx5IkKFxC9P5jefQiRT0oeR2p4Rs+iCEQa5IZ9Jd2mgSE7i+5LuF3nmdhLmTeqnmCa/XvzfaLYA1PVk28Q91r1g7BE9dYm/ADzP49Jd5DnwK2xN9yG5e8ervCKl8ODmzvwFo+mpWaJs9Q7y/U8151uEnivkWRH34LkmMN6XGLVaaYCeNvh4Gv+YY+UHhzvpsAbxun4yVALFZqcr8c5i7im1KSqEkq7czCx3m3jjPPCBHFtPybq8ot1CeayAoORL0UqitS5hBvggRrQJj4BoKxwiATT01vT2WLOAuU6NxW8hfl+nX+ri4DH+MLCGuwwkU0HoDgLupqffnVgduG9/u2QvWOpIi0QXzhelfBD2TyYzRbyqrlxMHXDTPQdJVjGecLF/ezbcSmnIXO59WwtqrZFIWroPx6ZITeAMStagje/RQ37iem1ZgTnCd75HAfXSfX3Cj41baOgWlw8ii9iSab24wZf2DtPejfzx0d2grN+EiSqFnk5UqnaMRkchF2vdKAKUOetSaOlWWwxF1h0z4NFFWQNazsEaJz8C9+/JRyz/q1grxOcFc0qWm6pHsVWI6gz908RCT0Sc/Ca01+fIHsD4WZZ9ApJhtzh6nyB9nIxGhwxd53mU1fDBIxIfEf0OtPL8+kFpunMKfnrwndYkg0fV+SVmgtT/GWWVWjJ9srncOjL4V2+QRbBfrbB+UTH3lRJk6gJo9FvHUcTCKxrUtoOQVoGV3btk/NDpD2/pf0lE5qtQkosQbwuesjE1BLSXwxt9klb507Jehhq3EQtEQfrIzTgrKvrbXogG3MADtJH2OZD2F+6y/UrTMjT25kE2UwBBtLirpd+BpVEeWP1yzG8aPMKzj6vc4AChySkjiwGNtmkH6fAzkwE6kfBkKpKPDlgHGooG8zR2zCq41xvcTi6P1oF4mrYtO+uC1KxQlD5IUugS/Y7AQUQtnWnbRb2jXN0MhxVZe14pIM03WgolySfJecq7pJ9OjeQ7R4gFsDSwTRoWjKmcMM/gxlDEW1cmiM3mGXcdnyF1QOQHnQ554ymz5MTu0jRZDJ7HkYVajIxCyNq2ydQrRprhybvCq+zAIYIl8tuslHuLs9J/8V0sk+r6cum4Qg+WxXMEonski5j4HzVOkHx9hll3bE3JG4O3LUYBXIdV3XR+1mlv9RNpQ88M3nxtvwGkW5/SjnXWodyJsS88AjTR8UD4D7sAuTJnxsulDIYx6X+xBqCOesQs8a7t4dVeJGxp34UwLpN22uVBs4/vIw69zCCD6pKwU3LJYxjNBoiIocQIo75eX55/ran1lkHrf1xWZVs5f2jZp0ThLmLAqCDlUoDaTbkEBDeAlPjg7KF3LY5HL2O86GMgR5d+P7ZvTxWYKOxJEzvU+s5cR20PDQB8ci5lvorQmy46OhZkvbxNjbnHXYUjcjmS/pYTBJMxjrIdb4+DStdPsMnUBVEMeLy+jeMYdndBbbC3eFqHNssHjsuxXMWX+nOARrIh+aDd8sLPH3K1GPw2mk7jAF83qAVRBVrGxg9aTJkpwrP92qvhc6nAT9auaS4pekbbwU/TFKYzfgKUt0Isl0xB1FY0KVabnXR8iIAZIzcXqIB6UNSpI1B7XAXhxhf5unVMGX60gMaNsb6SACiaLOJ3935oPv+kP9MNtNzC1sRaPfaTBo6Pp2t3pQmVltQL/oKz/y6zCO7Hs7EFf6m6EV6mxluNGRwbxY5of78OcF4vsC6enWO+50LWWy5DWQDiNWA+Jh8zdJVpICsYk2rxftNnVPkBGrDvkf2tk06cTnTTK2YlaNKn9JVkIe90euYEjQ8RNwFm2DRgrScfJDgK7mGHYtTjhYl/l56CpPbgu193Wp7GAz4MIwx6r8Cs7U1GCzxvEngzU+8ASRW8Q0GdJVqbZCe3WMDa+IRN6Lsfo2LxhLIPtIVrc0GdceZH5EynxVkex8FgvRcVC4saWE38vKzzU7pZ5jlgXMnOntOF+dt69peOPE9uxE4YowQVwUZrkPEAiYXHnesDnfsvoPFRGH0quP/4E02Fk+yl24APO57OZ3WMttfAUP9qkh8bP0+HeHiABDJIWcra3fEFaW034zXsP+PGJ/NnfNMgFOyTcjDFKfnEHbHVwUAJ5MFZSbWz1NWzlqG557JfxQminzvPDtoJONVjlqKUKJHxGDHzq8Z+qlHb6r7ymvsDyKGb8Q+1wt4Tkq43pgXR7O6uo3m/hZFe0WzQ1jLtpDmlsRFcH0/JjyFQYyvrAtONNDPVAdQ4nAp6ZDtu/YobLaDRyZOOhH/3l9nLphVeD43+EjApY+12gWlNjumYnfHVEp2z7J0SeMClKu3l4ocW8XOqJCDQij4d8NY8T3mLmkiiHOTTZhWR2hdwJzTTX+rRsj+JTjTRSnWeoRaXjE7XkqoyESaZg9IOwrTn515HwK1G09ETV1aM1LVhBQcwbGyTHGaGZ34bv2o0TeAdjshfTHJZP7dW8R84guV5cDoAm/++ICkP5Wnw6HH84IQm4ibFCWzie1yy9tAId7y5Hdvv8ABlrchH5Cp2Q7Mpn0raadhglE5aEC8hrmTwEKhQAUlRowaLx3I3uA3x4BhGvO8slxKoTCtrao4uob9cPiFLy5/XrobkRXlHWnWQ0JXYlhEHUgd2C+WEH18Nnb+KRPXnVAkX1PiVZ+T1eI1VV7LPvtrTYSfaFb6KgbAzYL+o2LnWQDWwAtU6u6R7wkrB+HPJVUbCS+oki4mK2FRaou5ZTPj24qRYX4SvsobKuQBR/r4VrAqwsVQQB3p5sfz+EbHZj1xEZZegfFcONOSzRmRob343IhIu5bhuyUzQVepaDVTqpXDB0zJSKFMfJmuDeW+APMrQei5ehvg2vYN0XgKC8zGNFiut4g6/WpZ70Z9e8D6lPT/TwaoYBE820KFgooGMbqPKHBET3yrGm/nQ05/RQkEpfSkSo12GFUolbjUOHK/T+OUql62JVOkK8fOXcYxG564u86V4HlRGFztHHcbcm281IXtE305Gi+V33CY2VugDIkoVgaqy24O8WxDemuG3eJFGbH64tEyUMxNaAM5Hi33SPzGwa4ygF9/1sDX2o8wEvndvx8uWWWBC9APK22w7yGQ0czqZaH3mHZnnKxoBdHS47/RY4khbGiXE+8lFHbGHq3rNXCTUCm+U/cgsLbEGF5uh7xcNqgfP/eKbnWQSOduT0VH/sedvmiOpKV/1CNkwk58p3h5ic/JD68AGtbJsYyJ0rqMdhW4jOGaIYTEHdP4FAz/ccT1QHsMcsAWnLaY192K7cthaLIBfVoUL7UJw+sqFswGTxIUxyHGjNf1LmXqNRXIshgtIi3g2k7S4W7GYrQ6V7KmgfM152GZ/11TCHAiqH+kuuQSXfQlW9f6HqAmGWKSDd0swB9NPzVSFDQtfwT16losoqVVWDLOsduwV6mYybVqjsf0oWa2+lbdWTpBrZYBRQ0cBivXEDrYA1eYnpKVdp0OC044+X0w6uglrWsHymdPhvqpulXWjOCuwqF1Xs9aiUU7l7y1GWXMbLSTIHhfbIdcOVTG3rHdYJ6+rtkLDjrwZsA9QA4Kd1mv0edbmryQnMikgVChiPFaGhc3w9gpAN2VHIvp6YO5eMG1bFjukD+bK4k8SRc52P0Z9EjtiVLnBl9nAQZKmyY0jPYyHjP5p/4dpIfKdAxbQtIbGLkcJBEdAUop/9ItL/Rej148MBZNbf2e436SBwxtaAALFh5hq2BXpIBkgr84N7q3rUpgLdkK68dzAbT466+oozSQUP+yZPkzz4PxWzWkWbmgG6ycjakxpaiU1GauUvppIE8uzVbY4m3zhBF9DaTorH7BdDfvNWfsTQxOIY+1siksxIhzEuZwh2IFcxXKxS9M34xnEL7/fFZIY+mFzs1oujPaiW7YPaHIOzVoT/HvJBcmV5pnsHLLBTnKCl55HyKkHWowJsWKl+P2bG9Pt+ffLjqh+6BtU/5i9dvjNMiWODrX9LQuk8U1eQ6E1qr4hC2MnwhALT9XJ3ZKg60DTauJp5449xe82BrOXkficjcxFi3Q11ZSFchl5nBzMIe6FYE7KISkbPsnnUSZ54APERTBjbxTtNGLlvzHOTaeYmH2E7/+5VoKV9eBXlq74tA8O+QPdpNMhEWJOC9g4efsCuAeHDrsQDbSZehxGdXa6cglXcClYMhaNHPyyYjX8V4BpNIQx9YLOAbOngpZolGTa+wQVYqvG/Cm+FZhSwoVPcOiWRuUw/xxx0+l5kjcPj66xjUtFDbOkXQ7gGXBUXwaaLvctTmd7At6y4OOWLV0ffsiLXMU3sLceVDXqfJNV7GyXVXS/D+p3GiUHrKoRzwADVzIgpMw//V0iK0kOWhhwcbsnQWxRNqC+8cNz5+w6O/47UrhoG01In/wGf1nazKyownS6Mpq9Vt3Q3u0Om73tPJaizK/6SOLkV3OXtDn3Ov8//ITbRvfRtczsSrP78xTR8FpQJcVawYXQogktsvtKjCpnjmJhIpkfYbvqZFoNfJgL6cZvk859e/8P4lPI3id/1cT5/d2B1bn+U+qMmBCpH0fTh9XN3pp9vQ/Z4KVBHxG3GHrJMkbuzowoxMH1RZpGIjsnXCkSEAI8+NLL9iEOxmhbf+oG0mzwTn/pfWvDjICFcITL726TT+zzCmWlagppGjRiCsRE6NhXbR09hy4WgTqSF/QeVF8rNbNeiW0Z46U5uPOOwu1WirPaY5PsGNpglsp0hEQfd9GR3vc5xEgtKgQkjPHrzszBBG++fnfiAKPkeR+4G28XCcW9u1+50RkucerNTR/yu6L99eahOq/SttZUl2zGiq7KaimQFzLVISSUBvVR+ndohAnNyzYTWW1G9c92ICNMbgCBrIeLesVGQBY5fWBXazNtPWaui7A6Ryk/pRka3Zi4KgomHFkIBevQxVSOlZu1XKk8NznuNrulfE1HZS1YmroXE/c7prKKvu8wu8TvxKn6tiXN8YHjlwqL1HKIGaXPKw/12aCJIVq1G6Kb+YHQnnc//ae3gQS2rQPUHRlqAm/jR53Yx8cZOcrbI5O59KTAGkHfK0lUM36MqZyObyPFwot7v6XirAcFH86uWZkJ1qeruntcndu/UyA0eDVlRSXumVansthq3yO/meJNjXLw5ozsnymX2XxkwChXsba1B5Z7G9RrweGWwgmbrXF1xuN7kAhkp6TXIl2XjoVIofRw9A00Z7KIuKlNWnpkSXmeE5ua+Zwdo+u32NNWubieW75PulH7E7bjpi/Qvb/cx6OaphfCsQanN3Ag2YCFK4FGE8DXxJ7RUhBGe/vTjN5JRHsxGEXBXht0e/WgeXBH8F6htuMY/dCIgRl9+tkb6nWBN26ZLCmmucwZXwcsH58LubJWGip2OzfZTDR//cZObm1nJJhB8TAJ6G0z/Cp30eRld606UPpqOJTqBaPfzZ5Nqj24qFeiS/7fls18dq0seKHW/qMB1OBDcHcH/IdRS6ZvMymfUz4fPbMPGdesVxK/SZRWoKa7ey9SC3MkBBrON3a+vAKxTZeKbCEj8BLQVfV2Ue3HYNa93qXu6m9wJMlQNNI/eV2Dq5LfiTc0+ADcu01yzs3XTre0tQcd6YXQtfdtaEWoo/9A/9u2+w1ZmBjbzCpsdxZ6XRPoWXnejfjqxIdlM2LidpU9jl9cHh7y4+45AMPv1Xp4U6rhKgkeG3f/MeAT0iRgi4UL1EJWrEd+g74dVJiksx/CN2DMPPwkpcWt/yDswbExl9O+xtMSSKzHr9TpgtyLzqeX/439AZw225/2tFtIgFnIDGXl8bVL4iwhiwQ1KT5+DiNFLKyD1s5Sto5X9g1fLmFEVEPzVo10HmkfI1JIyHUhQqDA0ueP7l4RBW44+XLdDubWyHabqkbtQyW9LomD9YOwJF5vGkRcNbKL7T1L5a1v+zShWvg0hlSgNmqGL9vcYDLH51VT4CUN3qo6c9IseRPTEJCgHhRVmSVA8v/b6rePbkqTGyf2a7A1lAJJZjCsLDy89dEK22LgiPNHbgbJx/hybj85Xpd3yhst9surYNSmqcwkESfS6cS2ZKCxFNH4LR3D0Sb97LmMCvaeg9uFKG9PWxmRuZZTotKQF7Y9rZ14QaJ8KZBpf195e+6nOtJC7BaIKlThbDEjdmSFTZwi1KHNgfLuyi0gQWEooV9bGrHmaxCf6cw0g9xx4UDEYFhz2aNlpgF/yNuh/R5Z4g8qU84Dhqtu4HLZuLtj4/e2H89Upd4BWzkezpxmd0lE8eVWBXIyx06djOZduLsX57bgC7D1jSz2n1g6QB6JaYxC1eH6nL4ktPwHxLWnTJl32YNBbWEUjqvjJD0I8e4gmKa5wgh/dNw+dU9Ry5IUBdFkKvb7eVKfgyFDh8xc5NxYxFWEvz2x9d3RT23QJo+0IWVpdx7tgA5fdl3RMYDs4UrUEKbI0bGK6TabZAHjvTkxPC177FYWdft0fCuig28Kv2xsW9Upqiw4shTUzsv6oNG/GJdN6b3h5C7EbSM2uC4I2tblT5sU6wlT/Lw1ee77dyiHa7CpXwWW1Se7BDoHVrJLC7gVbjISuFdk4F9sF936OYRskUGmr6in5fShsvNddg0SSKst3vOeF2RjyoBbsvMCMiqOn4k59YMiWwnZaqMT8/7wvnRmSaARskxE9qW5Al4I7/eth8VgM5Hr0mkD79QFTbQXygcfTTgMszy63vOSNBRZgoi6MoDJBO55RdJVa/ELOlAe1uATir2phQEINERqs/JUBUjffq8NbQhBXGojD0dkNku3ms4N/uPTP9PV5ZtEgKErvYpgbCM38PJdhoQKivsZ09hEd2Ok1optXvlWbENuzqMiCTSy/NRi2/QJUjPu+hDvHL3VQhTvr6kJne6QypRtFkGHRRKcfh3OG4HCpW1yQUSryWiuxAIlF64f9YVWBFfXYziHXcxkaIe82NJaZzf158qWsdeVSg2k36iPTuBy2CCKBE//I1H/c9uRq+/dJOtnx4wVjAFMEKg2rFXFqSALBc0ragE5OYTzGoei7fDp9neRD4555DPzk9YOhoWUUUkDVvOlRVt17GKDddNNHWwy2buQ5C5hCJdZQ/kaGj/iCz5sUjRvz+qqIde8sUYXNgGOHI8awYGWjUFasthUESr4nqrnUx6TUIV8C+iABu313XrLpyiBpzGuAUW4/mNSVd3RtS6FoTXpi9dH+UJsd+jM8Xurka4WO6S1FB82L791oSnvjBze+TpuGU6SeROs6Kjvsioeb2GrGKESxKU+gak3m2CfG+MK89ZfpxwpR8TXpmdSDJSgJNucRKuxqXyrIppyCUx0DO16l5zRQ3Cw5YpqEA6Cg1J0HT8SqufFwOkOo0UdKKlZheDJNNj2XTPGC2O8WLl1axmbnBJjRFfm+0Zf89XmlPb1gBU/32TG1zMVoGWpH6A94neKd8HEmnuvewN1Y+IMxZnSW4qlVNir2foGkKxci7CRGpXiXgoKplrvD5GM69hvyye+Cy5cNTomMLFT0kJuzzh0lRjh0mJ5OSpxqEwkpdfBjlld/ac1j+lnLVJGQyPmCbwQuXYqrO04O+N3RDwreiqxHEn6Tn4Dq4MPXuC4oQ+7lb8fdY8+AsIpkzO8g5RF/tbn5ORBQH0jawijnPgbe80+Ks9I/faY/bmO8UNmlwjqBaDfPtOfRWJk6lsuxLGwXpD8v4r6ptgsjO3p1SdKQRmDUwofUCi2FUgY6i8qXUWNeUp7wDmad6oxGtpfc02Q8ztXpzanegy0k5jvephcFBmtuNfA+Wad1T2a9geywKuu/kYgmA0qsm/haz9PL4ALr5BJO06OxTtxUNpA3CSUDqZcjFn7Jyyo834xwMFsXosGLNvrNrflgxUHdDAxEPkyJjykBLCO3/N2RiZAdh4fauBQm7WdSOTLlMWsk8hYyY0+G/KKauO+gTRG3sHA1rgngFfOTyGSogwrMVffAauzgpcrzWzW/W19JuRPPVUE/q/Vp/D2leoCcDidXfEKiiqFndXx7bC2nL7Aiob7qqJ55LFhxQqMeZQjzV7vjwQa5B/vYjDaRVQvRp/L4nXfNYZPRWulMeV5s70ZXQU0PkCcnl29+Bzh3iUnRo/KMkkJ6T02lWR0LapOCxhgdH/Io0r3v5CtY5JF2JFwvVdPX4TBX5HsL044aZ1Tz/9EJVj3aKMtlYxEX5OPbRTtGIpopcghJqMd5cBnFw8Ntd0Gtp3L2K7NRNLi1vGrU8q3NLTTMw+zjePdQ+YjYH8OT5+98p6w2vVsQJ2hmfksDtDypIRkrbXSBE+XMIzrqQKR+UcY7UdpIdMtoZkYplx+RGgrXEjcYWovZy6s8eUTyVgfAw/cLX0PxJaVayiLreVcDvnIG5bUwvlVcPcSzNxAKeMcIC+A6Jj2SuKm/4YoRZx89nL0h5rE5mUby652rzDF4JUHI1L2vpF2Z0HIzFaKl6UDlBWpKAT5k8HhCXltewskQgjGiEI3lOF00rsQUBIY64/hfpRjE0TkipEr6t2MWwjwfZeQ6W8+XWuPHeho0X1kRGwHGmbmYSLxCw7qCTbmaSi77jYtwp1BqMOYtThrZJ/J8PKi0Kd9zmppmsqc/iv1AR2X+dLukVTFFSiJ6fhvWfv+/i+tajLKRX/D1YcQqTvXdEyGS1FCYsgvxg5xpQ0jR75yu0y8ekMMqFUTHlCmtHsuahI5g4UZg/e+ej5SjCicMdts1RPd481abntod9dY/rguN7evP8tjjUsBUAoDPC2iqyQpOVhI4eZhnhzM+V6nXlaWmHIfOWP728Oi4xlH/v2VUgiaU2gdxBJGMw+5IuBVkHbK5REjCG/OP6Jt48P4qqGtOIJPNbs+iguinrjOnFzYfWjfWOXH6/2HNxmU94zwqKJDYBItozykI8HV3HE2dSy1QksRk9Eshb8RivELOSb7b8KnWkkyWlUJ4HIlJTE26IQKSMb2SDzkhDHtCR9c/UbQ+xF9BfP0uOtp2W5QS9n4ZI0KuH4ovAAxMEfHShbPF/tUcOjKGkoR1Mzjm67GOHm2ixLiy7u8DXLZIQG9YmiRauS2hDoWMRkScR/mwVXa+Q3JftLj0KrX0pQmYiBzEyAP+6fr81/4Ks/RAcxbu12Zk0pZWamu2RuN5+pTVZ1N6LJAA4h2I4ZAeUrhv6mER8L9IxRqvL4H3hjV0DrVIzNp6fRlPDYxn+pHVSwQBIfPhg4SE6T3xJiDWJcA09dWP32tKzqJcRpaO9PxT5l31g+r3Kbee949ASCSEpICQLcyCDXKrAom65GR8nMUmHbvj6QxLLQIBYculMJvQ315SYyY0EcPay/71xQBloaL37MpFfk8IwsukLgVI9ag7Slgfxii76+/LztRdbmImqpd1Q+BPyC9A18W8F+A+oJ+viGRoAM2adMnM2KrWoP+1v3G8Aeeap8MAL4sG3xRNFAcQaRDavDlkdYpRJXXfjbCxz4ocUeFRz0pLZHhfvN/KWbPKmuG0QqIXVTw3G653cbcQzkiwnGK08xD3YDnNvqIy/7yLONeCjP4d86adSR1FL0bazHOy7OckpDDefXbSGin98iOuZQGh0iMjXgdKKT9GRnQpIHfnRt0V34EREFKtg500/xTJSk2rCMfdjpFd67AVOa5e/z8+jJfInVONXeCoz4JkwxpRyZoV9kEn0D9F3pIbVXigcB8FpxCodJX2MHe0jCGzrlYKRi20cQv5ycR4pXkUAle9Aarun94vFH69qFh5+IPyghuNnske5OmE8YJCoPS3J4QFyr3FO6YzUXB8Fe4rFzpQg4Y1nnTjy8MvJ3Fr1Iw1b2JYD3zqUUhgJxWzkotWWw/SnzMSlQuaVkpPl3wWehlKHfDeAKShdfPndwIZc5BoEJzpqDf8UGYCxGcjGL1rVIQl3eG85VgP7bOOxd/YGlrJ/+VYl6qRLEokg2ES0lEY86iVm8zfAEGDwKI5AxQDR7V6KybGnGnBqUPI8NdySDD6tuMwFCAo6q6m6Pn+gaOl1WJ8Ixoc1ghwFMePCGsY9BnfTlP9tjuVbmuarjyYEs9S5czYh3Shjl0AhBGldgNiIHrvqxUHI1KEPOXeLIvRiE3TtQfZi2JuooeVQTIp9wyEUq2tkX8LhLOFPkBzIuX/WnwkkrxwwZS6lGBZAMVH45mrJyBw+5Bf655FLS5xl1h4TTQXFz296/8q8W3MxCJcUTmpvQJYw7zVgH+JYlEWytWVxMdzCLRHVz+++jFAl9+UhhA1mr3f0qQZzrHBdDTaFSMbd8SVaNhtvLWT8kUFiCcwY5wBUS9paS43mGIw96mP+T6yiD6Tl6Vhha/5jE2RJzYrgVxnO+FOS2ZsaPT+wXFJIuSR7aQ0pBMSbZlDRh3rR3UgyrvUKnqGdr1EJVO5VcWEhVfBa7H6SZCbVAWLSHjYxrTpTeuDDOu+KAHT9ro4JF+9F12OpQVw5IksPV76ON89EQdK1mJsqUdXKZAypi+KM8zQGmiRqyGLvxlomrVJZ0ZQ2zPP7kzWLXuCOHHa4JnfcKKrqty1/KcBCeTO222ZAaM6Ofta/0UVLEm8MZs/iSdQtUoWYdDgtBsEkAsj9QBKSeyFvek64rKEsUt1IiDVdRCCoCqmSvHEE6UNocFarncRBEoAWcY8zZQz26W/HvdR3/D8GDYNS9mgtjKE3h7N1Ni5zyyDZWV+8DIYZFyNuQcXLb9DgcLLL4wAFMUH+4XEfRatX/12ULHQJcI+iOyrOXo0r3op0ccwpRdnp2ZGJVJBBfEa0FoyABnsraDEtwGjwFiz6iv84UjmiJX3E6T2Rd7IeWdXU1cfDyMJ2txdr13sSAOF+osg6T0kWFPExSR/EUVbS+olQluYWEUHS/xfDZCozxf2ye8LIhn3XgVAmzcQ0GixIzF3MtIDRbaWHbu/SYs+6IrKEB0tewlZGaYO0/5vyrjadXM93s66rIzn3RTWo0bsD6PNs+gIMDA6t23ekeZvxAnpAIsx8tT6tOvnT+R9CyMYDogxT3r1aHQsk1iq92Wq+l4RwYHN8frsFU/nxm8fOWUKyQDt4YpfU+Af2eHhDBO6Jw741X8OLqWryzbk1sd/u0Zi6EtklyhxVBKxjR3zzG4z+tmalJCQSM14JzrtEmMaZn2QIg4FGLWLem15Q8PG2co29+vRip4dv5+fCmiv7fALUvYFNUkj0EXLVb1XUwWGZ03eTwYi7biQL2WcygXxalVCFrLfFUu6AJ9GNqwSB6miBEZSfbfdE94eoxQBuRTfKmR88A0yjwbCM/O7qTbA8hBEFZowvAxlJAhZ0H6AbiKAlUSw3XS0LA/CoYWwYdu/AcQL3Le2ZkdAHETFZeIPr/Ipj62MMr2iwvttgGhKaOleDznLrhJZRCTxK1cyVPb968/mWZkv+fPBV8VYkQOqe6O9NzqyWALxSh/TDTj0DIJM0kg/4YhE4zM7YcX5AZtAZNXrG+Rntno3GdSFuiYYkdkBNeIS74dCztKvHIYKlHbsLyfAnFPbeHKuzDBNvy+YPy9IEviifrOqEel5uzLUgB+uotfGzkTyQM3VPz1iRiCPTABL/dtsWPVPll+INsGJR+1OZSAGWb9Ly3PHJ/VbfQMvPBU2PjQ3GLPujdzwEkF7WQSlulepEuGJrZYjLro3XdfdfLIxPKcwtH84FSTkludT5npR+JKYtY3vQfMcDlBf5byRFFOSeNjqVFCzA0eT9uQ9U0M5KPxZHP9h8gpKV+jJwyEEF5sxGHasPet/7KIicdJmybWkZTSKmm1PiyMQSdeOsilgSd44qmgL9KtVxsjRKMzNv4A7KBWxfJz2u/vDxnXbs9r9lBwVwmr5P1hdcm8uDIFspEcFORu04cpTZqq4cKvdYgnHLBbLWqO/8HWcaP6XieqY1FUrpDTtkzNbMMlzvoEBePhZxbaZQjNLEkdtv2FCzbZ34C0PtL1YGDzTcmdPtWBXye78JNSs/MUJbbldptos9+ESKcazrbkgxVTQSr/rdvmB0rqFmBqorqexom/Q+5243xZ1YnWczhfOlfCq/6jDX4nsgb2c+Uhv+S3140SE7p0CB0iHkjEbDICh6X93rPmwic+w+tQnGOHtB7d3aDRR6kONB5747P9wyPDpt2oelI183Hp+WP9JkvG9/PE8xULmJ+ysNxLYp5HlYAgrLVQ7nqMZvJAG1QEDLRP+vhLAg3/qQv22fUN1CrW5PA9IwRc5G9Z6axUwFxVinuxJ8Jg6GL5xou9RYS0BqzUwye477cKMmnnTcL2Kx0e97lFfifKhCG2y678NUouxGuZtb4JMBM/sogxdO27X5YzPF6CdJbX2OQesUzRLBfyohj8endiPBnJfsQ9tv4b4HKv42rTuMPWC2PptZg8X3c/7DbT0hQp1n+fR+FuS+J4ZeGb8CIBn863JpUGlF+GmMIyYmfac6jHjKe7wu+K59EdCcijBhE7Qb/ueOHHOIbKWLvm/cubd0z/KIVfHmQNTptUiv+gE30ZqOwn6MC5+G5dP955ju9YvFyGL7T0QivVfEo7u6vcecn6OUym6UC15FjptZHQWp9smkTEG1w2B3vVt8IdgkI1wB7FHZeRTTTOlqxw3me3P0USjlUkXbOE9cHdyADTnQn+j0X4YSS/jK5FxUgnVfYR6KXwOwz29+9K+12M2jTlUmPSRMLCDcfeLgH2I+2aGmisfCk7MKJdcCv9WPc5txB65FN3ygWmwvOoVHj6RcDbtkoBY48gcixqCcdOog8kwQHsNf1Y40bu4AdnfeOzSV7ex9a2yxRx4R5iV9oqvzzgz2WjJBAtfUwIDcZZGLRLcwBtXJtIT/ecXfJEG8i5t5LVmYatr/6CmpcKs+23mkeGZbVgDxJFqUE/glrEUjGYSWy+VCVlucpJNDApUbEGk9gI2B6UE961PQ/50+lqB87ej2mUY5Uzs15+PDfv2UIJRGhLTLSwkcHVdcNffVwB7OZ6VO6YiipCocss+DA59im7N14FWXJEDBSzRa4W4QSrubQwC94HhmM4/ijQbRU2y053jGhYXoQ8EaC2FO6q1/qpOBy159JWRvRvLpVgPPNFlaAPU0dn83GHz3jWb2WsPO99lxBUAg/Akx5Ncvx12EMPLWETa4YTMDgtcxmzf+FsBmtJruMaYVMObD30DVhoKlRW7BfsHMvVB31/K0N/rGlqtuqs99iZt1bnVdKqYV3oB2uZiPlgHh3wAMa3mpOctKS+9pH069+C/IDPP9xh9vhxxtw2cXAxbNRZNexKT7B2S1zb1bndjv0sp3qQ4CT4N9tHGbh1p/2K7i5tcZlf9CdL2eD9lOWgAbNPdkut6IpoaoZgK3fthw3KwvoK6ujPofn3l7quNT79Ah9DCy2dajPs5g8UjFWOH6/JfEFLzaB1kgpQf1vfPh6AoIBAUsDk1myasnlp1rF3nR6A+uDtCfeA5RXz4uNuT0nYw9/M93Ky8AWhEIp/DB6W8Wro6XxyxD9ssf1vDN8r11TwSGQxZfF8tk6lTw3VDbZmzpK/vUV/BxvAjXcH3UwK5XemQP+4qWfXSSa74BjTfdo+b1xO5YCwBNToSMXJbTChO3i5WqpH5ln+KFkWk7CmFH1B+Yx9dpTD7XtLs3cvaA6+I7dZ3xtuAHvHGlop2ZVfs/UcW+IAz/d5xltskOmF8xf+5CED7QHhw7NDhadL6eCYRJGan9OgC/7k8pTR0RQ9pfx6+P5QH2nfiPmVOHw2vhT60TGaeJbLgM0fBeJDb1jYsPT8YUfxzRiuzVVGn+yFfAr7ij23cWMORIeJUr8MoSEQ7wswn/i3mwfEqvO687MA9hVCZgwpCxRph/4YD0FHXq4r7tY7m37IoeP6/vSicHAOX6UZMTlznoeGXz2aBu24Gg8wrAyrskXFFiBzF3wO179mhdLJ/kugaMCmi7IrtIPVWtaLim0prqInnkffDkV2vhiaSmO1r0VAwBvTfxaul2yan5PJKl1YThGSQH82gG8oH2TCW4sNn1+HGS2tEdzQFYQzIuqoaS1EGFkHDIGpvZ9sTvvjK4DJ6R1w+arSxRPkCcWh8UPGnEWEbHfQbyJUgCGo21mdQ02kQZMDuQbsdWYvCo0pT90nACFKrylD6E7ncXkQ3irkOy3YsxZJ8Q4z2A3Sst/EOqOZhJXsM2d87VYNAKyjEY/H53Y4YE8ddPuMKt0Wat3JYRPHr7nuSc/mF5Zhg+31uwJsdRH3G/4WfrEXBCvrXGZTf4TnezHyphDzTKwg7MDm3H+DRKzh6kgNsjtN13bbLUH6eqj8OwcJJaffo2wxlaph0/hWXMtz/WIdZTc0qshP5HdP8L/uwT1O2Ekm1iYyQZajPjj03FL9iv7F1LA9prpit5c6Uj+Ffj/Gf0X4rU1C0Li1A2BJcI0ThAwdWIpxaaAvARolxeqv+nlnvqAsr8gEJl4S+iV8SrH1QzSOBi2FZVXzKrNX08Jr0t7aFbUFClb3IJVkNfOKQ0RGoaPsXfdnmS1GNHkEjdqvy2t/EBNMnxipif1ZF9wQaD4xMB4L9R2v3h2ERiO42QoYesOAyn7niqKWbvi8EHrqvM6wZgFKx0JY1ZQeah66Y4iyCAR42vW9YsscXDXlnpX/lPxyhqHfioq70zwJ5+sMd3z9BwDuFRpvzb3M5WNaCZEX29Nb6EEi4ILnPJcP+HvtpnNUAIexxxJJftM8wxEi6MDtfFgeyVdMsaqBh04ijE7Ir1keyacRdaQqTc+PiknW36jqYeUBBtsuPu6A9vdYtATpamDlIUa8vO9FTVHADlkjdm7Uk/Q4pWQzMFfopKp9adpLvQz/kSMwvrT8Q9rI5Yz0MVDSsC4KoP7675qw+/LRcUlyB5c3T+NQv7b+guB7KOeHoouREQH9B+A80CWCD3s7FYRPziOvZ5dxXpzVilm7Ey6XhecdEGegzaBfyJgUZcMAaw5jkOznLbGin4kAsTVMybrA4jW1xO/wX6sejSeRNSPxgS1XHnQc3JeQiblkr4TEFujC2HQkgo4e0wfozpT+W7LCBm/OsQNJe/L0yKug0wbTus89o5HzoXZ7s3Wiq4OvxOxy7rdcKMya9GyFkb0HQ203929WxYMv/M8rTa5Ji57FjFbWxZVJbmJUirecBa9bsNhFV6Hbagn90W985aVatQpOja5+zHWQ00YE20qbC3sGTEy740BSzQ8wD4q+ZLRHhnrREsRCm3kSNrsS6OsNps2bAGwcXv1Iombh/lt7j2iihfBS2RYbkcBksRAw+TsEXedZ+8n7a56rCTytMBPm1r8ASD5K/psm9PCqk7xYOBARPgmsyXAGXet62rShoL8+8O6Jy7qZLyMoT61/6MuyeKuyVlNE6aXnCE79BCHz/Ld7jmV4lkrpkzNst1pXYjHjCbxNmCXFZuCmYTXuNDkSWomCdXKN+OFXN5Pn003CNl1/CQRjncgvvBqeuqO54A7Da4bOdYxP/Sg0LXOfFS2e7m6i5ZUQPVqCDce3DdGMN5z4K4FPIJhURWw8cIFOUo1yBxa7eBSHPZFBL+JdDQgcxX7h9WnbjDkEZJldjShuMXY2Y3unpi6Slk2rjdUkNgT60sQyClUAix1J+uxmZKT3VjBV/Wkt+nYdFPsdPJsx169JUWNfwaRymRwwUd+HAhFyk0srwOXDIyaHzTJ8ic+Y31hUqrRFA0+1HyYbw94bgQGFIyjPSOXUpRErAiVu5IPK4hjn4G8BUZthDPXMiJtGfWtLCuHyjJxNgff17Cnb083YPKwtrqnqpDZGy4EAwQf8MN+sAc3jQf80WFIkjlPZfEvpJvYlsikYKbS/67XIP4nbud8G8wO3tRY1YqI1WvxnuUsr8tVDlXbbtbBLvntirfkRScGEggLx3itk7Ztu4G/9OdC2OLEKrpbwvomx/CoDzPPWEHq9RsnF85UTZlcOHysvY3cfXvbPOpFYTp3RpvWtAMUt9HTtnuxi72Iy0MS8bEYKL6uDcMjNfbE6iw61ocV8Aw6dUdYOieNnLE/syDOPaeZAxQOfcsuaNj7qO83+Gooi5KScqojxmnbSOEfKUKcYs8aNKDSP4nHIQBfC1PCeXbh/yk52z9ERizV+W3AFwniaRn021/aO/1k9AsR87zmuXu0l9yYq3wytdNxN2rhW66feptQcbopsTx/ciNBX89q8ZvcrX+n1e7z9Rvpv+/1bwnV/mxmFjo4djI+UlbHBv+i7nnMO7PdiStUCdTScAupiluw9JF2xyfvzo4dJbo7PwVH6ay+1bHupIt3fsE+nHyk1c0QB4XckRoVkvVaEssL7NqYpt6YCeESO8HNeYuHqVt1qbqd5FUaAp+Jz9JPgeqzg1QpbrCHVGrE0jxGNb4H8jgjiKMcXmtx46D0S/IzIwmIHEbspBWszNgTJmRk6FxaKCYfL4qA7i2gjf+3UFDqXDkqP7d7ItabOBhCdzJgUIO2ziDyi4ZPHw4N26UbHXB23YBcqKqCc5VMEPhB8/NFrOEMzQVV13oPDtnlNVU6uz/CyGjB8TSwf/tp9V94a+L3nrKKj3r9YRmffcS2FjHzRWw8CeA7HtemIkT7mJstnxJT0YIAbOxmevjMU76r2iPoiwKfOKGylVwkZipDK9V8rcskmabnEjry3r0oN8bVUwaU1CtIADMi65HJd7xkVhnUaNBuI7MQNQubxSsqhNiNgDqajGI0wc8HdVrJNQ5sHyLGTLHcicuW9O2td33FFZbGt9/e/jr1lou3xMx/Dmw1NUXJ9C2ibIFRdC/VetIIoNXjRNKUp8ha2nUDJ23S00PJIOHh6kVH6QNf1rICVb85RNJGPEVWZDcomWsofekbrPwtBUkJMtTk15gw4thOOgJxmp0xKIPl0XTd7srCdbFbzvF6euOKA2quPqfDtbRkhpFDE9hx4VjLEKur7CkKe/nryp2RrZHME2zjIv3a4Lctvv5hveZGUTGrnM3JspEV0OpNiJYiK8IYfjxsvX0gp/LYqpoH9NoDrZa9FH3Jd0Ym+rrNXh7ITf/u/nWevKKT0twHzxMqxGeoYp+6wb7wfAjv9YujtXlJBNojVxX3fka1TkXosU8XAhVEQASqdHQvV3mCtZaPtDw6gplGjZaPc6ax0dCfWv37MOGjWC7ZuQ0z/3d4TInzmj0TNnpeQF9k0427HyBv9Qn1D0Vf8bbtKmEx5Mr+bGcYWTf3Z/+od92aSptKJLT67H7U5g6eaisx6Q/nBdL5e+CbOP8Wg1hF7toeA0kPHYtcaV3gfGBhFrPF14wU/zJ84NHbzvZV22PEoQMBg9IUNN4wpttYx8Bg7pAhIeQmXeV1BM8+bmjjHvmeSyXGSehVKWvhTy6sBRYiVMxsR/BWRZPutIQtsOfDiMgv7EppXrExXxuk2iRrQqvMRJOudihrACsU6JpIpa/5DE0cIDE2cn2FTfBUDUDAdTUHCMcG/JeIsE64xAtCGjSPYaMXz2BBPvwZPFpsHlpbmGZexzxyRp+OgXjwiP0OZb1IJ36l2Iyr47GQwW/ziJvJdukhfqdwqBY6gLPdSkTDZRlZEp6+uX2otdZR/3297g/w5z5efhFo1450YXCIsPyt3HPnocvUfWjIy68h3ASG5NBqTa+Td5nqR0ZjyIrWh601eaJJKTC65swAIa+56E5x01VG7IQNdGDSeId7H2cy9rFkZKAoRiJ3twZFXe1ylJrlMneHdo1fCwy9B1Z0I1YRpUdCdJqaI8JnrSLvZl99B9lpY26uSeE0GR4GcVQd/pQH3LF7jo2AZHd/PtjHkZg3h8izggAq4Cfx7XfrCoEqjQhIlloxN69cMp3MwE/A4o70XFKyyNh/tClr0cGc9O9md0Tw7G1ylomYD89ZdSfkxSzNn8ceeGYYQn5uqb8uT77SEgnKETbTs/wLlaw4n5Ym0dzlRMgBo4bCAu6xU/8WwRwMBB/nUNJpuEHie8TobMKrd+j1RsYHzoluLcVWcOUqFDkLcF6UifmL3P5mAlUBCEx3gp+d4unbZJTTxvc9F4ywy7cWGs8yWVa3NSOZvz+p9lRaFA85iBIIkaBktxK+GULOc/qjyTQT5J5BBGBl+PQ3ywwUdhfxva9K8d7B3eOTVEOiyGex/felHeqrhf6GDSpTKL8OrL+vTuyocfWRFyTnmvRuatHwp/Xm7qvv0VuG/IFnZHSqC/WXNMy9b6Y6A2UpMZV5QjSm9aujMydu054H+7ibcGiA9qifmIZoqPj4p/taFplbB8tNETz+QRfO4PfLR8fc+jDQSJjezp4WH5MEp3d/umOJmwr8q1NikloiEmyfDfk4qwthu6r2WuE2tcbl6tUvDAz1f9cbldX8PkK+ZiYS4a8Mws042kc6cFbluexjmKQPzyeIiBP9hH/WZirTpyu27w1mr4/jsbi/tOJUc9l3oD35pNlrLZvuQkxlnuob60kI12tamJIkrh/wcASoBGCR+YXuQzgQAzTYc2TJVWuKxgQ5nSGuXGsMaHNqKcP0SHgXjRcL4ln7wnnk5xO6MWCYBK46B5SJORr2KU8KpKPdtvax43u2mj1dQd0B9tIE01jfTKZjC5NHS7lR3SZWkhu+gXgKLKaJ7kgFDM8WAvJb6yK9tVywXmWb6iOa5bN1ED194ScjPkJwtd5cKPdYDCzE5bdEcVViTW+1z0yst5sOO/dsSL4JzFYmzK6lxRqtvuJEqXt7MR+5sm+Jp4C/tDRxb8QQbS/W/KGQhG7oIE6jjQWS6qQMZ/jw20dbTdoussut4bdtFFfYSTnpDd6E91cq+qLK05ptYWjtPs63ONSF7oHW6Mf8Mpam/hZtPCv6R55XPvMxLQJ7wNu9EGx9k/GascbVmmLQkDKoym+umBbjebFg9v7E4fWaStXUFb2cGJDz+LJnv2oi15H89s5B4LyQJgZ/f7ABEP5Nz66PmtZOlEuLyOxfWSDWE3IfpgXqikyl4txOaaz/ttOObNSOMzNGi43UpjlUr5Nqz4If1uhyQmCF+JoJN3n+kyTpg36EEfSX8hTd66m7G8BUDOt1R8lOcdVY21Rwc2K8wz+liw60oWiEmonwHeOabnod9n8ei2KnLQXFRsbXQl1OwH9BCKSkx5t3RnO5nf3dvtw0kKttu26wkR1ok9kbePOdOgIJqFpfqrpMCRTDKcLAaaYH8suBpoKuuH4cznIhQ1lxXUYwKnYrlSxWYJkN7WIsECihgVbU5fyTJ+ow6UOYNh4bDyoq23RJEC847N2w7jn9S7QvlLjk1a2osXVQRyQVrr1hAqJhP/JcuOX4kw1uocWrKPfPeCKjhWoj+J1draMl8/DS4YWgg07Mf9feEGTlIo5/2eiXEO2wITZ0sbaA7Nrg3OGofhqG7E5icrVau77DJ/ll5wR9sJyffSDzrBYZ800CJfg7KI7cRhDa8a7H5MCUA8sSUbUF7p8gQ9aBXtfb19h/81YkaivgVPg4XsD87w5WVzQzIrMacjeIAL2vvi0LqbMJh3l5jYcQjEVQq9OdQKE3h50J2Kj2zihjhx26f+KveRSBzCtL37djauYli5731pYJL0TZzSwHykKUTcUpLBkad/Bocyb5O0vTh+KSeA4J5jH0wga4ZxXP+XUBNroC7P+pC+9WUfNUo8y2PboWX2XNpI1rb/8M7QnI5bJzagELcH38pt4tbqHcoedOJ7IAqOGBaw+Gu2Z0Xe3XTDidgVqZLjaTqjNMERObKA6/g8nGn94IMvLXEpjOZ4DZjwclsAkf80Ih4aomnmzFStHTluJrB8zZXjIsEoWYzKFSufJRssr1k/8fsBhMie6+XIeVImn33L+wwcrUsylIEfjxBHBbS4IKhnRAe4VncPoR0nqd4qK9lx5UHzH/sbkIZl2EYcmrMHgHk7ouFiFNqQ7CJNRxMhYk4Sv9hffDikk9zhgO0SUWq2FWCzaHv0heTaCHmo1SNekOSuyd7kwszEylHrWxe7ssF2KQCYYikDbVjBUo/XcDsKplbNYEl1ndvrN3S8701WEi+F2BqcgsX7Lq8aitr/E8iY6JL0JqY3lUGDbyyqudDP15DQb/dbiZc+Lg8yDr2lhGnicO07C5ajZPTCiEn4Z5Qbk5H/6DJ8lSxTXKk4bpvl0VA3N2WnFLg6FMXAAG7WxVbsgaRIj94d8kTloLFhG5L29IN04ROUjTreujBbtT6snO55gWKAdnfm5OShlHRqh+XxCa08w+XQf5q/dAUnB/ZloRG0LzqwUrPHfrx53+bykuaz0+C8cH0QnHzWFh0JgQ+N0ywfMJNN+TEuqUgjexNkoSUJUsi/Qy7CaVtqklxEza0Nyu7on0s1zxziyWxuQhCBhkDim0lNWaygNt/wq64CJhzxMDs/q+mefNvz8NtMHd8+mj9DmDUzhtgGzNActDMah+xKYJCZuvFaV83U/XyojIhZF7anh9OLD8T/hyRFw0GjEA3/ZtrPzibqdxSKqBkoufT7Ie0LByJKq6L9ZvJ9PLJkOXHgxGen4zjtgrTQG7bFACqde0SZaoDe8XO8YvKDaQwpsIM57MEv2vcy0SLBq+Y72MdPoG2W1HkAYaClmCP0PAkn+VxfxRMeJPZucGok2R2dxduj6Wgn4/mzbObMwzXIN3YZqlRct1ybsruFCnfLIKDu6+JwK+ZyKCVksW2htjM7Uw3Lni/9zlCckAcJ954sew54QBeN7X14b8MWLEKwKWWWCAKY6xkdNxuXP2G7H/+f7ct6XiW9KGdFjnFE9nPaWNmkrq/ck9R9CJ03tcNvI3ctKiw6dp18DnAU4AVl/V6n8o8FEuaGzA44WdVN4tvlySz7tvcxBjWed4EEZWL0gbRNJeLuwW0kdS/PHLyVREt2oT15ixUoiWa786ZkJqYiuSFrk4SJMwic9Xi+Rh0gy+scjck0cuVYpF1HFpsK/PGaGJx9GCmDuJSf04swLQ5vaifYBpcyjDH83J8mN4W70OK1etJxW3YkriBzNpRvANZGun8WIsIhxJFDhEjerM/Zc8JVOetgvU+si+0wy0y0VVCmwNtece6M6+InsXxSkc6Id7QsajA2Jtq3O8othF54BYPVb/jFdTxPpy9j3IJAFcWVATm3PtYvHOgUjV8QiDmck3DOkJlj5PvEIuuLd2vLEFy8IC3Oj811vkS/utqcvMIUOG7Us5msHTJchOUxFke+ktroogDWdboHOsScPxfL9Q98yEp7OGmDubJEmLmrxAloxJaqm5uC0v3aP9r5vnDFaAKb9SqoV031DUQywnP6GyeX53zi1OHDvUkTQI32cDjv0MWINYMgSA8DSY4KYUMgDVi9hHOQSyPHBhdso45mep9Z+PlT647hq4sVKgnVvMuMh2kRV7cGUvMSUs38ahr75qFtjBh20Ii+PPSdsl8f1NkDrUxwb3h/KpWQpjWe0jdUkr1Q+lbmt2uIW7X2fpP7phxyWB55qm4xTWrLhf74XjsmcYQrJ5KszuUIGUVFmedwNl5hUGWKr66nHvfQBJjMGZHWP9dUByUTR8kN7LI6BIwaUv2ZhKS4+yf3fKKOivlpfls1aKinTRZ/guIyC4PTV30vUND7VoCLRKD2rvI+1ODIOJNoicvbjv11U01wgh8bpMNgRSHqlsKSPnlA37JQkbUdQe3VG+k5R3dt3gAHB997ZtiQyMEWsSz6UPtqBML6UKABa5wc1OBLKgVnnM5KrpR8/eE1S4yFZlhz/JFrHsKfdvEUndn2S2zEjZYPoIel8d/wY8ystyCpKXn0Cx9ZXbghlogVU3mRLJMAjwPrzX3mghE4GtvHfaOZ8zzWdyBtMBRFgxCAVSEV4JN7M21dk35D/VyYgIzEm7MW4AlJ2o0Q0azgyLhymoduM3geHrYLYDsDya/HBJCugGZg9AIn1Tza65DpRGorfJD4zp5JgG0WarDpcGqRuSicIWjq2F2I5WsV0Ydjlpp72VHNMc8yNgzwsNmmqREEhnTGcmvkTNc4xG+HlBq6W1+Uqvb3HGhyp7xcf1Boje3je7PD5ytDkRHgIXrgKTaVT2Xps7qYDNQTVcAqpOKM9Sn4MI8q/z1+axMXDKFtcKHDHTLBhcqKeGhUAjIwdOAPvTJAUa0gWJ0LjQUeHy1wrMvmEsvARxaT3lJej5Rg2br2puxjUA06iJaIOXNjmMNh66+UUUP3QVYGaETGpc+ll2O3ttI8cJ94pCuSYENSWVjcNfXy+36aEEIqeuJDg5uFihI0fVsnIrcu1uPevBFA1slltwMfCFMTr9qbYdRL0dPjipVBpKm3yQIsfOlnJPlTzVj7eM7whYykdvdxKv5gSdQvkku3+ReWumSpcZZBtvjDzGZJT9wzYgf0ird9WnT2HW5Bgf5dS8iarfaztjyb/G3t1nnCh+Xcz9Z1KUShUAEa41KTY9aycVqdTY225cnX3UPi2pNpIKHfqW2fixeqk6vCkBm3FCEoB0AadOAwkQFp5bph63mzIfYegxwN+K8L5CKkGEbwmzOhNWyCgpvTAYzUrkcfIVMCtP4D/ZNHIIAiyWg9JMWxBNl4Tpvu25DAIknSOgYwbkgpM6HI+8wgEGh8aRlslvaL5PwoW6GE83kYk0yW1rhV+dQ8+ap4v0Nui43OBrV6YN3JS6m3rvrumymncVNSsAJImRr1mIdaq696dAU9vjPjSmjOKMS8sLZMe0qQz6gd2CINwmSMgCE/UcCislHLG/4/zqYs48eV//JqSvy3k4P6jmn+DVyCW7TI0PpTaUfg5pnNY4ScgS5dDWvFvkigSmiKS3uGyJsxm5e28mqs1Ohe9L77mNgmVPrEBL7d+wD44Ioz0lQtLCAJf5D9XiSQ4GAiEUaQ3lEtakDd/jUCkIRhs6qoufYyx17B01XkbqQL3kb+V7ug0+ZWsQ8hFkLLqsgUPDW6BbuVImCeuSnNi8TG5EZYdk/Uhba2aCOfOz8p7SGzDTzgW5fpDByoDT2m3WFikgFM5EZGg67JWKVMPGY8LErJp2yDuAD+YZ+NyMx1KnTYVUuLjJ+9VG6itdvGrd0v9q5mTg0d46dbHUuuldSlkDbQrTAu6dwegUcb+Ma2QXYH30Ai744AYCsA8bT7ttUweIni3tdXLAEG0/JUIxuivqqDiL63pC7XwdqiVnDQ5z4HrGNSylzpSmRSrIBdeA5S8qWxmRXr4+ySeDrUAtsLdslz+HGpHt6Zhpb4GJ5IKK0I8L7lqVGxWlEVCFvNYNGon/Hj+XS5XGOUxSMJNPRO/vi0Pa0vWlt4PP0t9J0A5ueCBm2gG/g0Sq293lbN8EwILNQD1S82ejbRt8kM35RmcHIMeMk7VMfhPqcuH8vqyqCm3XgBLPjLKm69aUoVpXpSl0fiZXw/bIeX8uTzsUy6x1O6A1ftzbYhHuO9wSU0m58qcYqBIpFMg/3FA2sgqa+4ni5p1cIoHKnuF49iT9HX3ttnh3nDtYsCJlk5MczJmsqNOFwyjH7zuzPqebrqxZSgOysBBnfWeDlQGIJGkx1EqWjz67JY1o2jMgIe+MjoV242BzcWBqS/8ILHdUSar/nRj0XpEL1biHPbdR29XV62sp8aKse6Bcrv3pdJfkhgcP/PbO8i95WbSa8g/hwfKizcboFZEcwkuvma+lrjtDqyitrRScTt4scccyY4rXBPj9EjDYVGJ4UPG7c+z95pBroQkQgU0tGyCAGTCgSUzLWRsYP1QLFDuF3/ZeorR4Dz3zg1jbq/4LhUlirvRyLBmC2BGCT2RI6BOX+PdqUt7GHifbp6CohH8j5eJBkt6SMHiEzXJVWa4pAx2P+C94s6yxKFhHBipd5vryRNgJXlqngVEI8ua8LVfYldGbF1lnukmmYl+Ek4x5sJTj8GWGXQdze0wrqmfAW3QzBw2B5A7IDp2vnrHyDnzaIovewOME+z73ZcUwxGlbI+bDkdcEaKlNJqSCfcr+BUq7psGxk4tDC1jPvV6nVJz2eukoEVHF+ky7809eSa+62aj6j+v2dnaL2pMf+0x7wWsRJsDi81w0GloFo/DWTt1PU9g26EW0IFg+WRXnOJ1ebfRtiQBWZ+KpR7iWfar1xr3Lm5gpN4mW3izzdDkrPXgSsMNP/bTYbu9Ql+U6beYRG0roLg5DgkfkpYdr6NCU2efzzESWVZUxKNX5vlaNuWDs6qAmLPPhskVMtvPc1MtiOuBo04ikng7bozy0poKyWbsiokE9WdHeXO6emxnvU5V6zHJi+CM5PpT/RFwLJCCksYHBpxz5sqFB3B5bEagxva8PWEYBIzw833KnEJ+t+blp+W2RimKPY/RSXtJo9Iv3F50HLTkGVAyjjtxVBNmRAwcVcP1/lfmXXpLcXGfOmRx+fvMu9bNmf4x2U80CGK3hp4fJF+qkdXxBqUcmDKPqPwuzeDa3i9KqjKTEfAP+vdEZeU2uPS/bHqArb37wTJogQp7eVgWoIuyV9h5SSJpDwse/TWUC6Ho7wSVcZJcPvupcFEaslZhRtXXNo+MaZXD3F6TvwJckppUKNW3mzMZxuallY7yyQcrNd5tm7V3IIfBEZfJ3hUrpZcx4IdES7r7AH5iGqbOoX9AjYk40sD1mYfHwCvUkfWk+bNjS1eeJsY1/r9aobnAMLt9jckkb0cYwfkmiIadnvslx94Cd56zYf5rLmvLQduDQbgS2UmXV4562p/0zN8N8jJh8KD/cttYuIp9nW8azI5eYXi2pd0Dx64WH4f31Lb9Hf5CuRNqhI21go+Q5DyX2J9Xyjvtztda0gUTrLVm2IOErVj2yU6hL7rZr9yWs6jPLr0aQ1VHnDbA4tWNrWANCQq/zukIWo87BUrytsI7bxqblziHq981L+8t7DUUi1HHDAlCW6gjVim+sYZviJPn1HByHlBsbZHNE1t+nYhHZ1DsVzPvKjzuVC2wAQ8zD3ody3IaszHkrmyYdjmLfEznLJBDf39F37cLq+Am/7W8fT+S0LbvIOwKDjcC8JR7GGpd1lB4yjm9R8bf3z76Ha6st/2qPBao6dmJVb58MiayHEYOBrxVWibILVw85BAsZ/0ziiFfiWfFHvGl+COCxmE5cvj4ti8yD9G6jOT1IF33K5Coc2XBU5cr8TZKWlt6QQXm+NkIEo4F3GZM81lTvT1TqT9dr7pZWPhGfa3zZzJ41f/4Hnqrl0QA5genJSaEFViuTn6jQ5JkeVSQ9L8WXxQeAGJICJHQRn7oz3+anQSwK7jpzczSaxlraxUZRCB6Yzz1DUgFS+iBQIIrc0MdMRbeZc9GG7fNBmZMHtJCQSxKsst7n6d1GmF4K76gwyHBH3AmXuCdouYlEKrmo61pQvPYX6ttSz1L/BqoM4Sz5uAowXWn65Uo4I4oI4hsVGpOiZs0K2r4ch4J+OLAFdV+pu0MqEl1WX6uO5MlMAu9oarljnZWlsfZDTc0hXCQHxeaB0kiS9Oim9pwyEHphLv93ObsC/BGsIQbMpnlumyKYP+FnXKDz9Yuri/KgijXCXKldZog60R/qkm6NY6zfC1+l7XEwf1Do1rqMCVWYRnD1kCwuhXiCBGLxmZKPaadEjwJ3/6D4a0HKSMcF1n+GOXAEQvpgVzzrm/zMdN3xsRlQuca3zzPsTfOTlCfaJwU4F32b5sXGj0L9bowwPoEjLPnwcCdJXkL4FpRbeSUd3vrMHngZFAOchyO0MvFrfCkhXndGMrVl/StZblC4WWoEl2dIOg9ThX5cfpdrAur397kb1yWaM5/r6O97zVSrM21MgaaaA9W/OzoQ5gkmUBbxy/ICJmeRHeJm9YgFWrxc6sLiua2tkPIuc6XJhxSY7h0RaFQ1MB4QG2X8FcM6Hc4f7htxvAMRqk9hy5aMx1aOXgu0F9pl2965eHFKX3sytJG53KsT2zSV4kavpWdSMGf1B/iSye31uiqSf/MwiwvutBOFpCLatqh7y5V41b4oltb3vgAF1tXhceR/zZK1rFfPtNLU0e9Y3eEt7LX6QBT3PpmMi57zWLji65iYX6LSNTiShv75AzJW44h5hCg+ClWlFkcdg/jBF64M94ghiiNDvASkto3FAntweMv70FCLuRshMfdMMYUZQvWWOqz769kMos5lAwhYhLHe9nAjjGKKXJ9N0srNxqeGc9oNRJqkEulGQv/xtH4ufbEIWxgOjSZOHrSG/e8mMWRHuSSHgTlWkd/LGKW6fpVB3tTe8zgVRD7/0EnyUkShpHHazsYsjkSLddwjZkbUl2NzEFLf+IIsFaolVcsAq+tEY7w9PDflq4ORrfQaxLXOE6zb0BCV9pXnasbsjoHqI63ZG4jtONvvkgkIzhlnSr2LxKVdohv6+lDgKpIqZ9e4ihPdA0zvUL9gbdQZw40g/TtKpHvOY6mQnZUZAcMSBdVrHdEdVolANg/2f25h5Rqn0dXBnVhRqiu+MyGgNenN+mnmNwqa3KKP+J0J3c3uXTFV6NS0o3I9RvrIFs3k+IMFnIL5W5jEJXrlcf+G748SpaY1NdlhiZnH3fTauVQDseqmrQJf0UbOfU29LsPH+KBZdaFNtrJKaJ5kPHWSpMSKShm3AiCr03Ojig6QxI8H7UZEokEbuqqvfenHxlQcLam1E1+8+3H5djnbjjYIMrWyyJ+fkKpcmFa7JkYmyFUPE9Ud6qq1UxdHddcpr9lsnvOh0OeUEvOjPb5IofkcWOBgKjy3FX3UtHiVSHJTmqrgNtvL6Udsurho/eq4R41SV7SKj5GurUBwCg2YDu1YvUeNEqOpjJiRSH86oxdswXRNBqWJ3Cm6ykWS8kMCDbMSk7MIcGSGCG+hCXECpzUvmQcNZz6OyW9geij2jYwGkx0KuHDZnnfdEHca4SWKw6R+MSl/4rQNJZ2gsJseD/rAxg5/C01j96G0RGBv5UTtcV1sJJIdhz1w0LTrdniJcnSBrcEKe5LAIohWFQeWi1Y92O0V7ADMUbR3jaECgfemjB2Zh8t3MTk8GH5X3S+delGqemVl27BynzfdT0+HJYbAaN4821g3cSwWq6oE4gYFWonJO1ADADRxifb8AAOve1ebjWvHMMmXsn4qdvHowFWTrjdQWdB0GoXkCKW+P6ROUqW+BhvkVTsL4altwB9kaWgnDtVPyjdUr0nFFybKOCuKqXQrwTcRYCBtLSRFXQ87YXDKbnL6HxrHWFF0gVBtR11hr6jSGDDIVfGVYfiGCg5kSJzCSlDV+bros/mLa8dgG79Jv/mYVsYsc8RbEbW2v9aTQlisOUareh4YKR+2XFhdDAbgu4Li8JbwSZ0BlLGqGgUUXERlmK6AskNIJGOfSQp0/TTl9Z3D7S4Qfk+KfKIYtglGFajAsVgwXE2vIeaanqmhGKEDGIHU9FggulPMdN1yPcdIpYOpHxYM6OWOBgErBVoDUqmWsJ5I5MIlIPKCs2sTDascm52tz2LdRJM91WLg+PgoAJiT1xDEUyDoE4ozwsWpoBDxouCWvGi3tFJAnUH0zqAWjLOXdU6LZPSBDuslWwhdX34xQAs7Bl64UKxbV+7Hp5NAfvmRF52JJbjK6xL9/Kjq3h9aqjZA/3jbIiqX5hThvP0oglnSSI/DxQW33iEmR4XzsutiAVqsAakSIQTR6Nqjl+YxG8HwAKnZrioP8utFBjK4LZDffsFYaiJrV8bvrPi8lfSprW3CyfN2Ba+MwOzLfAgBxfFh2wiCTn/TgCHFsFaufpBw5LLiwbgOdYihokOfaVJo9NiepdL9QWLzj8rzzAh3wmnysDGDutgSoM7ICewEImvuhWuupdaYMcKlXAnQZYJlwtoFqaZiaTzuNdIGxAgW/jFVrTqOPAqhOSlv650Cgku14OIW/3gc7JOeE065T8JJnWNO3jfTeHZDdcEFj+RGfUS1u0jHhYLIH0QtcPo/qgBRyyjHdo6cddg7vypv2iNx668fCFogLdjtcPFkWoU6IHSLgOBe+957NzblVmmLbHgxu6EA9+tFDGGLdy4/RQz3gRp/sr9R7SZsqMVIDpfFbgILNnxaxOiX2oooEDdtANPdNTR6gpAErszc6r8an3R2UG2GgYAHWIAqETihm6i/N5vmWZPbsomdPrsLX/vNgeeg/vZOhLzLrUy0y/R4UKAxcMii90Rz1LTNVNdri+L1x60xIBBR7HCATFDrLwtiFgyKNkiNzP0TFQ7cqLj/rRn0PqcEOLzkU7qeGa78HMBkXXNTEprHImEfcbJKpiwDwP/8ixgEt2brgNSPguYjqhG9CoLI+Jf6FispPcB8OkngO1G34JMaFj6xTcMnW+sHgZJWL2OPkblWichllNCyJKdN0b9LK/D6paIG24n004dCsAJG0NwcvX6LBw+q7CDfB3oAZ9vQJWiNrHbS2kHzMFGKhZTLyTFaQtZAnEtuJYHjWkUojId2ssxFriufjEQ2jNULQxXiJ465dlNFZ6NFAiDQDxypWMiHxwpm43es9wW7YVIe6cf6uFE34GQlxd37r896m5Oy1Zu96HGJ6jftSxZ3yscTkf4EybcJD8iRhNh8MdD6qC0swEY9MfzgBAzeTkGPxwpjHFT3qsg+czF4e1cqUD49YsjUmOP68if9mUWKXmvEQjYm8EBhq2Iu5eFpfUkxfq3eJHXsU37yDFwoFaoKbYFpmGesU5wWQu/hRiNKKn0CqTZNRhOgzeSNWXXJPedHMvOtwV5wxzgl9JJzsc1h81ssinMv0wAZCcOAx+sGpGx+O7qqYpMBW+qddTHFNJJ4PUeY8v74Wzqa8HON3mQ0iZ7hn+dZ+kZ3ROz7i9zFbgDcrCMO5yy6TX10ml7sJ8muiCYrXGu2xs5ZKhTeEP7yl3qZoDZdBB3evpmGLU+Pyg6ByfzUHLI1U8UwMe+0vecDRvo4vBWjpHbTO93oLgT6dDdpZPXB9ojiw4/8SPZM+bKvMSSDsrx5NWl5lcBtu/krnvXZMWI3bjMRmUSxweT7Q2uo+SIQuN2w6Fb2Ecbboiq0WX/pY4N99QX1w2Dl+mwgEjDkObUh681P1mSfY/NopSvMIIW9B1p/R95ne2+wFsL/XdD94xTUx+FrPnT6ytuKcBFTJVPKggsabFi8wjmeAtzgogAl2G7Xw1OlPpWd71NUgXHlU7H8A3fszQxeZ/0s290AKLCBNemKbrwiRCmL/E/5DOGh9rzTJsJZzII9q9osrhWUvbXF2I8jozxpPfG0iRjskKTvTTt0aLuTM66ez15HrUFsFcj9Qd54l5olBL2DWSkHqY8YrVgTS7BxvWeFMyeWFPJ89Hkl0age3bkJsT4yoheaOYD88pBFCFhMnzz5W5Mr3IspXa/8jlhAE7adklksPbWhj01m+emsiRm12bDTmrIzWWmmyLb9zSzY0HkV7hIEb7L7Afi7UsEccjgBgGgEVIWp/AbfseORzUlgIexsov/0QYJTZrwNQOUikVg1Ih7cdiNvPtooqIOL/pyLNlUyT5UF6OeWFtMEm4wRvLshSVHwhkWzMZmFEUj77xGRERZ1u8+PiWVpexuaVYgHR/dsbLoiaSu+MGsYALFY3RwOuqCP7w/Fj0u7DGRe7c+Gi2kmkKWel81VVKzIexRqw3KBFqg3V5HKlio+uu3AgsefBcwhbZUFzB3+lfgmlcbypeuqOwI0/a2TQwy+UK73bV8T+mq1JKnWh40jYd/T+1DwNSgsnd7mE8qenktg/j5atb7Zo+Ek/T6IkMolwFDzg+l8rJFCp75WoMZNz449Ltf1f9nQ1NQx7FKADg5VpgrjapqzWsJcbzXQR2rSdNw2daqKRoKmJHgtOmXy3iI6GzDy8d2/CnE+pmZ3OG/Gkr7no7RmDUsRyUdcre1AcQbuSDmErK537wRSD7KLfAdOqFAHRFN2dmiBSj90klRpfrUUnIKN5XR2/MgQJS9WoQG6NIi9u0NadXLbN0XADXhNFepqBzTAZnJnMqi+L0QvftVFUIWDOGQoT/IPFiVhSAPg9TMHw3HSJTrpeSVMO74gdt0opisahOVAXCwsdOgNTa4/jOmqvV6r8lNue4MGQTzifDqflou3Yssx8VQG3WQWfYK8RP6fj6GwyCWn5mlmFnPPcgH3yjs2Z4VmJs7PNzxfuL2VZi5DPekZ+1Sy+ykc4sNjj846tpPGHhhwD+h79Nl+/8leB06iRP0dFIeyvCcW7jtn1ByPBYdzXFrxQUjVzARyDwhFfbKbOD4jJ6M/0XIlY79zarZy+teQ/bmSq1wUeh74yhYrBW/Mg1jHCLWaid/3KyfuD6MKJ1btHW1BPufFpTZE0cu/xFSU43rTOkRmqsX4Eo1lDfSiBeZCcFd6TOd90pL2DQQBico4jjboU0sqbBD7xSTOf/IlQ+EgzcoFQ4p6Qt0EwJgwaIXvUElIQIaSFAdmKsJkwZx1prLvXozXuZl6zACSWu3y75i5M4aJlcI1xuv7VNQe2gWXPk0pa423JrHbO2Jr5if7mFg/YUuCi3J2omxVbhSpF21NCQJ7we5UCWGUHEjHmUMLMdl4VbvX5oc86DzSC5NJ+DiDfXVIUPbS3v4wTNv3gqtY0VLUM5H1yn4C2BeCdxvSafbXkII38J3X22no/CxMMdiB6A3cjzgMsua7aX9ycdlXQloF/YTEHO4a6VnqVqDyoFAn9XbqX9dgt2QSKxGsD0hynkh9LAEZRCt2vNTBHEsBXw7l96U40eS9gDjFueLvbhvG3R/drT/37nPZlTQnEErfjbuAhS2ewJaWd8dJN46xOqx0r7a2PbwH8D1t+E5JZbJqYy1rH6f+STBNPcBJ5bm4bR0fI52551/tKLMnE2xfUKI009Nl5QNX/6NL2NpIqssIfVTrfHr5Sz9I6c3tn8lx1VEhyHoQXfMNrePEANpsC72tlSt0hSlhLun5+fkMNmJ/LN05BxlAA5JFnDimFxmhF3DpBhBjr9JnfkCmwPGVFuB0IQbCeMrircY7vuZh/pckdfN/ypwLQ40yZjlSLOaNL/8MAaURhP+3MBJUwG4BUoEhsowVJd0UtYUjAFK0+4ZWYBmvZ8Ggj4SI5D0Y5lMwP765xwOfRWIGui//oudxp6WVDvRX+iy+6ApmxWTC/MGzeAgTrNTYO6/KsX/NbzZz99EE5lcSlQY31ieVmgnZcQ0WzYlIJVrs391Lf1FvAEgaeawjjjpA0qWD27JSy5wxw1BSAMroDWMSaywggMbOxbDbPTr3pWKFuqvYC9SPRi5ze5DFK6Ua466V2e2+MEzqeTk+XbsrjcubVDYbvBuqdNmbvOXl4WJYRJS+EFne1xcKLoKcMZt+NzdmsGi5Z+RPMhgRBl60TbjgIAX4l6yqZyvFxMHO6+iK8j8yTpN08C+vFn00E7AoFEGORvyPc3iVgih7CVZB0UggPG0sb8WRY4EYS3USaDCn9eGoo69pEhtj9Ilx0wmPCh9hz8X0+32ITHg9ifhww3MORL79ydr+Dx5bv4evGcvn4gUsZ49cP9sOfKqs6tuf6CeajkJYEFB50RRL91BaCAcbrUkciYSqjImiZkj2J0ZbZ4Wp7EpZycM7jdCGxRd2xeRl9RZq/96RtDdJUQVKteWj+C6rwH8dnm/1l9gq+r37k7zxtvRsyntvIRU3O4U1vn6e049GJQgup8DQ6t2GzMRcKHAIxzm7nwvDiQxjtpEOacLPA++qIlEG+2RKuGvCfL5rL/+6I3sABCheHF4vcgvEnSsoO/QrW+J4eoU2/3rut7Uy+N1pyWYpFNFqFAPODpHWyxRFsAoAuEkBCi3BF9kIcEDxJvFz8/MN21p88caqqvhOPcXTsKzDYaZkER0LyzTFb8RvcOGRrC2arm01RLGCaTMQBng7Imexr/ZxcgreFu5m7lVkd3TzLRS9jAi59bJAyW2Bw4c6GhX1IOC0tWZlp4EyffRcA1AXTlUwd1yZaoxkH6RFNhI6oeOLSpcY6pVWIjLlzEdkLV59mjV8dA6Smi6JDCD8/UUsB8ng4JrKa8tc2CREptFa6OkjPaD2T+1DahlsUIK5dOyvpODo7d+8SxDfQZMyb+9D/52RNOUX8VSITdy0Gdrh8asIWEqQSLDF18w6vhWh/w5kplBjW3EqV+wKYv9q/JD7R7X7wRWskLl9h2sjvFn/gclChKg==" title="Mekko Graphics Chart">
            <a:extLst>
              <a:ext uri="{FF2B5EF4-FFF2-40B4-BE49-F238E27FC236}">
                <a16:creationId xmlns:a16="http://schemas.microsoft.com/office/drawing/2014/main" id="{3385C378-395E-4B57-918B-28CE34020FF5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 bwMode="gray">
          <a:xfrm>
            <a:off x="3745455" y="2014837"/>
            <a:ext cx="1414811" cy="3910686"/>
          </a:xfrm>
          <a:prstGeom prst="rect">
            <a:avLst/>
          </a:prstGeom>
          <a:blipFill>
            <a:blip r:embed="rId14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42" name="Rectangle 41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ItN+BdkIU6kSkys1oz4FTbg3IAHFZDQQIUI41CPkYeCkR+S8QFB2kPylUA3JsntOnMnXuTmmpeohPhgnOvWjiJahxbCEkKhcALAa4/g5rVRNUo4brP4JhiLsU+8O7v73AugP61KaL9V/ZMDFmIanld6KNo4Tnuo4CWlQ3Kec22FtIEqMisG3RMmj5wobwJmsj8l6v1JQfLZaoon24tS/ioy6j09oDLuh7RRZyxVpcRdzOJjmmHUa0qnMr5Uegu32pOZ7YDnLB2Kug8Z2k+gzN41szMpcTwsFOrnZvPaAzlsdFKar9I7xTBXyhuPu65sqsySYzv/TMR2o5avDQK3tAkwzTP5gMC67GjfB7vcNfWLHrawTs9BApP3rgdfsgUG4hx5y3YhUW8pSYX5Np15tpQi7oZ/nQRePxQ6d32NQhnddmqHdSMtojhYECD5/tOorHxi5r/z10JJlhaGgyckrIbWMkD4P2NQH80nsfr10dyz3KtZEh9KhHOIr1vI9Dh2pN5hQatsVhAVX5LgPsTJr+uG1fYIzLRhD0Vevryif4IF8GS4uBxV1b1mWL2Wd/tUCeoIHXN3ayGc8qHB6Zx+ZRci9dQi1VoJqLHFyoY2cVG0E1SU3nZlZPyUlyUoM/ATt7kwrX4Xb3Yomb6ITrUfiXKf762JJdFluQW1ODcnwxNuZ1j5xEwk7Yz+qjXkoTtRrnOfdlklIeHof+9Hqh9eorCwCC/QHQVsCuVYf1p6ackljKsZj+djFn4b2spEw+NHDaZk0LerNciqm0g0qXJZlv6ZMj3k7zNMHyzJTV/7eJ5Fdor5olnNRWsD+oFIar1V8Ty2IvxZv2BnU//x+HmuD74Laoo7OyKnlsAPstoTozWzZjMeQZnRRnN9rDDWXb4E+xNqDP0FTXQxf3nmZbvSDWX64uEPNcIANdv5PzlRN8b8CLjRbeZIdOLMylURNkIeZZ4X0cb2hALYkL61o2yX9G4Ir20PySTuVgTN54fxRGj1+cR6SzFnjgB9XkgIPhzTmsRrPvpWCLhV9fwJ7n5oz0ceniZujo+Yod1WE/0yK88W0S0p5GC9cBbsCBSLVqagml4qTYcZiMk9qeAN0L5CEA7oFsFl3BCHB6KmglNFQsCVLq+6ONZj+BVIQdfPu4QjyUocCaIFAjTXTrBW/kCiy84TbIkRZdN4jAOSIDaXK7EZs6rYRwUNjp12lkr4Cv8Dmug6/sgREQPQMJOia2jNV2Rbif65ueT/O0ohP51o8YyqvI3ELm8bGRox6ivi+panTpmwaIgG8i+xMy23Thszb98bi+jETIOlT6Z4t277PIkhYTcfjqia+mhFVNejXkH65fHP7VgulxAWErv4uvKWUkJH0TYqzJjwbz9Hvh5PmB0KJAGIAts5OKSFsyACzkgMZJAV6BlN70OcQAmw/vvxBYfJHsQmx4rrpp4EhU6VSQAIdXvsUffW8YNm6ES/Wfw33h8gRpZAuJt/pczbRQWaa+uelNNvphl1fVfAdUvSJ+w1ZzeHQb4DWXAy07dCTRYoTJbIL3od9cmvlrzLzBiIuIkvOQYAu5IMrecglHjmokAzlfWexafsMIJSi9GIy4S0fFIo5IEGaHgxKuYgKIOXgfEe1cK/hL6gyyNncHu/NRhWak22w2aUX8wdBYIfeTG10YQUD/IlQkvDu7eHzVyNCfcAxT5kJ7aKGdMMuEdCpbsdDCMOEh4l6hdr5mRPsRSCoprooplp2OCAmWPaxq6eSoIZb2W/fL5MhQ5YzCh3YGLdxhZbQF5bbqol6NKYB6mNexZmih4k0eAte7ambbRFPTCOKIALnpAvTJeubCXDArtSJsEXHB7uTVVB3FckRXpobmwzdxkqW77W7sRB1O5gdCo6f7GsZ0qgx/XP2dW29J/dXp3x9LdHYUTpLHHsL1Cw5Fi1JiIIUlUP+uSBEzYP9OmSVhd/vv71HGFzwgoQX48NkhiZiSU2dVwP1W1I1QleeyTE70bYalqrJljkg8uDTuZidKKBzVcc8ojYaPBjj+FBJYYR3FlgdN1QxitL4HdcQUdNa7twUDduOGFMMYbIHxEvQKSyM+Cqq7iZtLutrOLA+w6UhkaDg96UME/tJm2PgsGx7TJRwKyjCsYu/qM5GS+XBGe/HJySPiS5BH5R64lfd5aHdIsdksnLGfT0cdTfP2sxIEUxr01RxakXPEwldN3F3fpWuEL+qftHv9wgqqixlyw/NfRYLXVVrv7YsaHsO4QMqOAHAl2JqAMVY2JSwS/I0hHalCvo3v4DWSHLaMr9GNpeW+V81WL1funWHRmbnM1+I1YT3FU+Tcj6goJkKikszAErthuApj/QaB2MHGwwhWpu6C71YQZolUMFFyJYB0XgA04YrR0hshOpLfQzEdDltti22aQ+aaE2IxEfrL7eRbyv6NoBhV+2Wbf4pVZeBoC8QkwifeI9HPOqUy+BRa3M4M9o4sZBn3SRCtooqWmksrQLnYxb7gwKXfDMC0iQbin3alqY1EnsJBr41bG8XEMJdptuumWunQalQhJ6aIuaoB71Ioy5Q0FkTVcnYAnFa8v6YavhRhFAfgebfAe+7NVwBDs8HE+EBwk30wDegGigQ3G+wu2n6KlCxB39WW10dEba201IuW7uEqepIMEuco7QJrLFjcRBqMmcEbjM3BQmk2fU32LtJLdRAaL8EppvXa9DDPIcB/2VO0U4fIShyviM2bOGeEC8d+mzNW0qzbp3pNI1Qd8VwlE+uq4fvZxEIgmUeQBPZC+EZJipvT9mZ7M54MrH3mgRkaZd1aHGdEl23u/GKVqSytdveTS/e87vInM0UXc2TD1PzzCOHMqqhRu/hPpfJbw4phiJPNrpYmqQjBY3kg0pLrQT0R28bY7OxbPT8cx7536uoSVBsTz1zOReUIHefRspcjJ3gHYZ+wzA4QG648SHl4OO4riRiPLmDfMgJkBipYY8pDxw4GbRnPJXmxLbuD5hum7i4FSfMy3ZywqtlWMR0yZJte1QqLRqx4NdbpmWHKr3WLq8qPUeqnPuggl1uAI6TGKiWMGYDZGZ0sFoPbVsijiFY1uKDeJdPLz189Sn+qmu2LtMEUedax2ATSAx6C2JKX+6JYHWwZt4Y5Qw6Cdm+QzlRuBBOdZgLA8rEnB7VwIXRbyOd7QinUePRgmfTu62JdjJNAwCcr7fLO1pUupmALb1ZEGY4NEPWyObHHk1ZoES+uQJbL1qzUn+ukfexQiLb84U/VxGVSJTB6AnRw99kzP0eL6MQBa1LiXvfS9M+Vie4xL3i/ulttOYQqCeNToIa2/MfdBwVNNWtjh+R3VH4wl4/O4NVKnvWmzdOf7VfJLXuDXaEjA3vU31YUoBJPw7zrq5LwZ9jOpIBSDMjv/LD7n9/bqn6h6sBcMxGyRWrrGQ8V0wqHsRjs785xm+wcvtA8TxN9FVYohunJLeSjSa//nI0UFKMozCDiFyj1V7RCUh+ZxKZgCFCNzDQElLCTgWXqii+s5z4+ZopBJzzsvgKAHElfKWAQSmGVBSbcsnmdMxbyfNht/e9ZSv9fyv4lvAj0KqfnMTBmWtf/wPNz4jAAafiWrf5N9d3DzFyEZcBevoWkAZAcb+8UKxmplUtUS5Nj1LJEdD3TS4JSE2AfrXESWl1bNnQIMnbPhozJZRemu5nTAXshM0SRG6FApFMIhGyUw6mvH4bTQsd2/wCSjs82cv2zRRtmNhcL6FjrfO77vlBkBiT+AC7hE5B1ZQ6Ww5rzCTwTPenhzE+96Dxr33Gi7rQqdA3KISL4RUkG/r1PJG8uZ9mg6v2a8wbI9en2taOyYDWZ1l3voUVh1mnS7+OVVXQPjSBrwO4HKwsrFV8sPhVm0dDv5s+3CRC3WareS2kirtzgzAZms9DNrHuCE0DfJEraDjUB1x9+4JdfHmGdsXCQg3D8a5InWr0Pu0kwh7YsBFc+7wE5K8O3EJe5Tg52pXRdztujbOdhBhJ5ndEmQhmsQ+krFGsTDOckpbM5v1ctNU6zGbaZy9j/0ai9oZF9Yh/xZjvVdw4KY8cOlVdQ8ENiETauDTrAGH2P+lU4/PDR5MQy9kfyZ2nRss8Tdqewy714RsmN6RkdBOixpgGKQumkG1DxjzuDrD2JR9SzIrfZjiIjhF3XQrs1wmKIjPGHwzvO1Ydr96O3bq4/OZntq0vFoyvm26wRkE7sOSQSOMJvJekTK2HgAm96lJ+bn+X4JXKZ1vfUG6D/dApgidEK1Q1jiUCcsEoBcnk/tYgPZCiDp2Iw/CWYY69nzmsbxproBHAdAWC3c+A8ChWX0HbzG/zx6E/CU6r6TOV8KFo2upn1xuLp9BMRwRFBEiRuSMb2gpJ3jl5g/wN0Lunjp+yGXtJANZAc0SrKwc8+woGJGHKTMu1kKSfKriLFScN6vnXBV+0YsVk3fMOglY2BAhHqVgZ904Ja3ThTMFLJcKja6x9KnSsccY/aLwglY7Yll0hSw5DdDXjoImuXb5jTNmeyy0YP7LrqC0fG+wafxtY1tVqrgaT7dziiuSaNKSG7YzsuSaB6rLHoaylGDHe0XqxfVgpPS0mIbx56Uv11ZWu5Anr1xLj0pgxYMslTQcnmCvpW0iik5aLLjvsOlhtVjZn7H+YdeBUR+yZHm77aiFVOdNfYP9d3UcLJ9K6VntgS4uWx/Q+fZxXnbJoLD/jZil+2d00gpNs0RT/QEzzoGBEO5egDrDUDBg6QLD2u8O2pi2jApl/w8tlFJoLHa4Sp76d5r7xnkK+S42EIGyBV6dSiFEN1TskT/ysF8YMa1KG9KmcfW9SdOxEWaoyEssnin7N1EtcA4NftkMOkzSp/ug5cpPK6IzcdhWgyWRCFl+iY9p8S3zXATK9C39Wj6gI7QZUuWplItkJLevQpU5eSvFeQHyh4GHQrZyf7zj9tVQJjW6WP/StLvcincKf/5OmQ2aYRkQDG3dNIHVLlDo0r2nQYnbMC9ggtXYbJWq86wA8ogzMp7WAt/uE6SRPZMeIXdfclQ8ExuR4Lb3NkLUCUh4olwjqrNYA4DpwCpyvvND4v9fR3MklYefcuOjnUw5kwzUGR7msBFSTCNRxGo7jKekHzbz1Zwfkax8OAzSmfUtNU76DdXduHLkQwpfWDT3JvqgA0mfFsEPxV8DsPMR1wIDc1ijkEpkpRo2X3oNijj5beJg4J6CEVNYE4KslS4Rb1+dfRpxKUqxnvW8AmbaFgy3l2z1h7MlM3miLYLtgyJQ+3f0ijS/bMipC9KElAVKijBq8EvF5Evaf/5Qe9XKxe0xTE5gR26ws5o4n2toXaFCoHE1Ea2sHE6HzqxvUmULc7hyhx36XhnjWcPLcgEtYsR8WWikfXjptUu8nyInUTeW/+XU9ky7WKU5BU3hJbJ8P5/I3cNsr1ts6fL8i+/ycl5je6g7GKkIkmsKqD5C1se63FArWZO9+fncaJk/07DXcNBHbDjvPCtpY8k/lz2MC8KOdT1E/CSt8cfGej5wPqj4hRl5Btr8YhrmD7pG+9plygdLhfelTlkjzhQY6Gfu4WnlfUEqlv7Z05EptD5j8VQ9tUP4cEPRN3sp69mNCHMRQLphoK/bapgfXSGzJ1Z+yyGOXUHLKLaq5kxoXYkxwhsDr5zDzlYb9MrhH16eSfe102FtUzHipLPLh8xVcWWof6rHWuGFo778U2FJ4zmijB0yZuOLKyh/1KV9Rzz+ovRBGEtta+6M6cqKGOxdeBDw8f+I03nl822H+N9xfpxKJXYlWLJjb5uOAO2pODqcN+uSr79KYuiItyEhBgtU6zIGnUEB7dvyCQvocI2sM0yDH+eXWLy8AjTuglAUTAzkb81tVy/PfZnAHU0QDVc0l4qyMkZi9TjYr2pnSRLE3UAE3u7e/TXAAAeT1KbZ/7tLCmHbaAznQtRPnYAA/sXDM4AI6AZdddBT+FuNFTrc1NSPEaC4CwaqjzAbhHWhyWWvf53O+mV788eljwLJJCIgSaJr2Ii6hsZYvu32CY0qp5z2sEHVmxLwCqZzpuJmx0sf1z+n7mCGE6Uq7ytDhWswc+em4lJHivgIYmlwNHwMVtviwYVltpoagymdlXtl4/Enz2gZEDO1vz9QYKVJIMlh51zA3c067W8y+vzwMJcvGMWH8AVG1R1I+CzBhUr8U9RhvE5g77shTnjjEJgzevjnT24NycIYw0ziFzjctEm0tP/wyqG2GYbhKuoOQY5wPXnGceri8aOgi+aVWkprxTQYZjJKLBUG+K4ZPGAfL35zyaQhhWthhmwuYYYoqurVTSDr442XJVm12KmQW6oRrEmgb1L4RQhBftt4aGghH011ASCc6WUyQl5gektmSRwj1izf17nIt3/eJvnny+8wb4StiHvqktSDAA9B9wm2GZvyWSTWjRAkEW8ccxs1DfdhID4TRm+DwUevK1aa0YBHIVE0ksD1S8BtdmFpApky2TFyB0LAX9c2gNjzhWlTRcDMVzXqpqCZQIlkp/s6xLfcZzHKS/g0HWnT4Ztiqw1DRkxSup7dfxHS/aMgAsl9fCOZp+uHhBtaHlOT4GIdfyjxk3Al7mCnwWOChwDU8tgeJhQ/H2XkXJxk8sZ77hBrb7n59Gzvd7zmkWjwGEIPaYWljuBECXdY9rf29bq24lqdszXYAbrQBWSlLzO6mT0KVHUyRTJJpCzHq4AZAQOUBqa21S9tAVzAzEjGs2/epimU3DFhDPsczgI2CKT/nEPSyharLRWBycAs+HS3WG6ZdxnokWkEBtwpOFFO4JoiUo/hEmddsTGc5oNvOI6I7BpM4NQedPkgDZq1ZoF/kspFaGQwSjdHriNOXjiItpZgxJ5a05BOxGAE/UOMv0hCO1sRwxApPfm+hCfbj/V2jgJtmmL4ZypXhxKwj3bYnclwM3qHecxud+W7an8Gab0BLuaEAXEXRqKg+1u6VP8x0rIQchgk/MTLyv5+J7nAnRvxAPUM21igCtLayQ6z+EwZl9OIl8vjTe0jPwoHZ1DZxSWoCTP5W5cypcsqe8y2DtWyr0r5yPsf8ZAiTBg49puqKdzNKWwjXipunMYj/Hpt2zeiDEOtKCQ2fr3lZvaUoXnM71ZLf4IQuwAklGp3jNNVM9GJereMR4+nJX3/uprBHV36g5znUwvcbI/S77oVYMjr2x2thu8+FcHZ4r4iFFOjopl+JjT73eRQ3H3Bfiw+iHCyMtSf+iBuP62P64Fi6oqkK0x8HJbBxv48SWREmZm0GoQ5wFe7fzlhb/w5sSqnedg/MqEv2pV/j4FPojuaHFDbe9NCYtj+raYJ8ehrYARkt2xQWUchaEV0X36ZbeiN6t/Ugei6EKHEJqaPjURBptEJtLjOb2CRZkt5DCHJTo1ufEaGKF65yaU++oeqTzpLbq4CKSmIyCFrys8Lz1gP9zb6xsQd+6f0Lg22GHPQs3ntBVoZpxVXIzC6XECW7AsfoZa4rN+4n2Gk0VYttCL9dCCzbMrFNpIF9MpTf2G3dxJSsr2hwNiC+BzwSEUm/ApAVuLAMtXvvuvuKg/doE6ICcx6BydwZXcjvN8MFW75stYr1WqupSnukk65CAttt7VyYCM1ZwWjIZ8hOXfUMOnAykQtjIEikJveIQlFYZOz+fhuyNgerTa0H7rJecv5Y4BzCpTdn9HvPetIHMVVIroxiIYC1N7PvJmQpsD35pxj3xta0Xt/5riD7E8UjlCugQRYHr7XjCiJaEpjMgT8KtmdmMFYqshrqreBhlXzMomJBztguVHkZwfpKszSJzs7zI1zCoZC4EJbiCFZxSsWcSMhnD0QpuSaYDPmvSpDR197eoRHMAGh4w/oxT5H7r5LaMgtIrwJ87dz+CPIC+m2EJ3j2WAYMqqha8QIotezs9eIfL04qC3q4RHAvKwH3om9BCGARtHcyGfkdXeiB5B3qia55+l4BJjS5P/Xy+BCfC8mpaKSZYcUnD/kvXQnnHRA9yIARm2FzGF0DtfXRuyJlIrCAlX314Tu2R3qlAGA1o68B8t47it9DmOagg7XItnatWEowChK8GlMf8ZN2cL40jbKsoSJwhOJjtssAObgGnPIayuw6M3Q3JnqMmS2OyL+MHYSfcP6jcC92EBWqDt0zI4LsDh7I4UBOeBw3U1uUWQWaxPKKqTJw/rvkEemLtQf/xAkvqlw3QCVxn5m/uLqt6kvBpFVahv1MkLda8Qg6app2xngg3jewkQnvSqflSpN09fdl4OHcHI8s+mA9moS6mbpUnw+cXMBA41L1Fq7lKAdx952EoEUIRQZ6e9QBa2ABZkgBC/GVwDmcrKa85M3CL2nVDjd5wbUHDGqiWotwFKKW10MJSkr2gaBXPHc0HPvwTc5NIG3VvCCNm5istTfe52myqRikKzDDVI5ldl0o4clp8R57I6FRe+ruOJbnpTlNu48MvlIfBgSe2gEKIHguxqKrfPEDm1Ou6D4nn3PLHkXQIRDvMAtOnGDKUekRpcQTuvynMM5jY0wVzpgGwTTtc4DtR4vfw386NlIYuvBedETwQiXyDcscwzVaQRaggS+wnpg1hMVHKlxLBaR2aavchDtaf0CpdgPVBPPlG4e0feGQXTiG5Wn2l5HdkKnFlkhvQVhawhU41WGtikQJM6ae6c7NpEKb+8D3yJzAGxwebZqUfSfJtScDKjTKTwcd1vDdsCEvIJbDFhKzQGUkYYrmBSVp5QMHXhQokJdSmatEW9Pkr0BuKJZS7UY7A1HU5HHc2JW9JI9uQHZvabb83JL1cnsJZCkt5U9+/+XLsHNojeR3K9pke7Q1+xrU1iQxmeXVom+GyMokzyHkNfyyqJQ3NfjLg8+kIFZC9M1mJrB2trVedQ94Xwitg6TGGWvFA92LlrN9Bt1NOpose7Ez+p2KrkwQvWrlJIDWIGGUgvZPuk2YW/ur958wCMejD7XQ76qr21Zn9O/3qsYUlcfEvNY5j/jE7+ogOhRPBXzjfg1uhL8bK355qikVjc1xrg3srKI+B9tSXC3PrZ/BlywNsVAkkAZFlVwx73raubPAuf7Q3XV/Z/KoCGylnH3X219L1JS2G4A+Ov568HYvGULqhdpULpK4QVImlX/jmyRJygML1F4/OmEUUoOmEXDQCXekwShYB6aaUH4O6ThN6xnFx/xo9h/qST0HmMsi+Dl0XDdWDxb9y+Zab+LEnPQiM8xcTEusV1rD3WiOzC9ta/7YMQPFePW433KyCaa7bhTcVmJ6cBxGcwRO8F5rH8nuIh197OmU2jj/yjc/1j+5qIquEK6+6cqtfAw2tQgxND6+C3MAazQFeqmKYXBdVGJDIwNUYB0p0hlQ8X0g2eexndW+qKrxLL9PLhqKsNzgCUGAKl+ptyginJN44Z9qfGvas7o8WQkKkO+F6A3pYUhgWWUt1twhRLuU6QQF8TjyAYZBOZ7TEnBvPmAJ/BD8wfNGD/oxdGwEvDB6c0raOgyRhnYM0LuFDon+HsT+MuuGxXcYMiIJ3m02OxtVjF5II55ZjqmV9E0AsSWsPHX7qoORemMIiWmrv6X8tLT82h59i3rGFMLi84G/rvZjWHi2dGJdY9wX5RabJ8Jam0eE7EirQu7jZ5vBbqk8UjHIdP7MVMvclzwaPXK0Iz6GReGmBcWwvGuq75s8O8aTsbXfjtjoXhy2OwWTEYcul9pPHJcfyApbPmbvDw3gxgwsAp4sA4qmqPVbMy2g6owsuNCcu9eoKUgfiPUed20Earg6U79Kz/Z73bOQOvWk8Kbzpi6pKCqDG2+Mss68/hU2csBdtkkcuCLzJXYfs3W+d3+IcyRH7tZAesn4FU0i7bN2V8mQV7krwi1cZTddkUztoTp7oulMNEJRWqlak6E8UF8tb29vq4kQhFArxSPuSHOh6LSvDv1NhjQK7QMW9P24tX1C//0fdrlL5Rxx795be3iEJDLzUU2g+Z7AeQfZR7XsSY+e91KlbIqfR56f2NbYfczwURZTeSDe+KnYvHI20MFE/6hXvEVsrdpFohMNtypnvDO/E2gWJrDgNOC7HF3gM8QPnX10oGgpZSITITsNOaFY4047PmclyvDSiT610coE+y9H9jxjZbL5SUR7/Kbmd7MEmmbZc7UApT6ONbO4lLDq1Qg2AukgHRGGkYPveP1ZePtX29jEwOqV/RD+Ym8gBIHLJ34MQz8rc/oADL7Br4SKOMNm451OOYnonJtaNyrdsdqw+KKXkUmA+GrEgsjRakrHAKIIK2wrwKhHnjyWXU+envb3O4G80i38JVSpSF7++YC6aQaUqf5euCGZVQifW/iq/JEBhR5gdr/VruVi9c0QGeXjt0PsOvGzW9wwSTxCEsxpDj0/vqicDhR+2XWw+AgdhxCMc+F1F0W2yVeb9i/ZGwF108iXsZJvJiLFgD8KvYR8T1W0IcXIL2SL5NknOhHyN3zqUN4/WSsUVZ//oTrkvcuLA3sB0ZlF6+SyB+KR4mVh4JBHANIw7oDoKD7Nn5ZZ03/UHsf+8XTZrqa9g21f9F58DJY+MTgesQJDWKyxLrHHFKla7WZ7a/EuDzay0bbL5cvQg30OLHc1vXRT1VJjkWH+i3apU9g2JzzST5hKBlqBOkL0D6dbRkiCkpVYJXL+ovHQpgs4U/F8kfKcgyqxbEfTed5SatwNl1QHv0yTQYHimIELIPv5Swgz0Mh/kpZieAHbU7BlZj6g9qcP4MW5X/w/+6378NxlFJb2M7U3ithlzB1tvZHzklY9SVMaMg8IZMvIfJ6u5rKRlD35zEbk8qPPhhaVGTNkPvuFmXAsm8vhZsZmHkodsF+OdayOCf8vL8mLuuZ10FpYY/XjC7B+CP2Q19HLfBzWbL61AmWDi5lVeDvwXGnsy25vwXYxh5DVtObVmZM1TqUDENL2Gsankhmk4B8sQDhHxBWf9Oe10rgqihgvh02yMq1ZeqBzcRpOyMYEJmgPiMvJ7uIVIQqBpJ92kSIXX7qxpbM1a+Jokg4ZGpSd6pSxFyXE3wnvdx6y03fi66/0ImRAzK9wUTN7mGZIgEyIn9c7Ck1JpLrSW6GRs3wEdYcPzFO5d4PH7cOuxlrQHotqCxYJaCNaeR/IPQ38sB6dEn25cPLKzpERDyV06MB/EtoGttgcT0TS9Z8qGii0x0hl2MQsU7bNhg3DKt/VAKBPkgAq8s1ZH5qs8183iW3GBw9XUpYDhD1jSxHUsz6J101VVagyLp4Awf24ZKCINSr1pDpGVk93hPQt5wyGeCJOc74VFWMPHpaUlT9V+FuYexVET1qNJca21xWw5VHTFi/DGqm7MEdiNJ6kMX+iJgNBE9WrK6zbkNv8YMxvDuFOvkjZrFtaY14UtwAxnznAa6OxSMHq7vChXN6o5TC4c5xoKWAQLKq7cFBz9Xrcb5NPgQKeg1SZeo5RXy6y4tao1W6BNpYMI+EGdxB5xDlD7rvFVYGOualbhnIAMWcu8mu7th5RAoLSNwiT3ZFseyhzLenRc3iQ2hJ59j4xwMVavLVytuZ0TGSI2J81znbbwIDEy+k75GuQajqZPD5uwC5+oDjyEm6yGh+jDB0aj+W4GtId+YFyUK/B5UqAP9+2GvPNnNpBByKxNWBtsUIt9jtarZRl2dyeDWp6hXzzEBtpA9/kZ9hygfcwT5Uh+iDFrDCXXgbJxXRIUs5XYc+cKLcutsqb7+hQsbtVx2dibpNuY9OJjD80U8Y7P+xZSeqBKCfvP1nI1yMmC5Q9N7ofmHV+1wpHji+TG3R7AF4RoDxAudcTwSHL0RalpJhTOV3f5Ry4gL3SSHtGu67eXmtkqX25N+dJb2qtMva2cmvjAE34qwcAu8nZmha9P2+iX+d2nDtYRrjkox4xrs98T/QEOfZq5oU9CJwhl4NQ6bHjOpdxuTX9w+SaG5WLBl1Ki7920HeUPu2XsG4HgBHiACAcFTYdrDiJ5Wa1yzy8EFfZrjj/d5hOpRTmz99A+NMQ6aUmWo7fbMMsiBGjCE3cZS9rBqlfiBs67f+jNPXOGx25j7hYj5n0iI1qzmKrPeWjXXcV4mHtpdetcfglQEqtWmMCwj1fLt+L6VTLvDK4RXpWoTB396GeNDpS+gyggp6KiDtF2xi3RcF0O5qUp4zfdUYB/Pyz3d0rGoDpAmmo6Zfgb4wpKi1CF9Uox0vIlHwNh4v2Jh+VopFbjcoKNF0TIxxzwnk8ICoRl340/3JSdylYyFYxsADj5ryJON7lDVgnY+WfXuA7iHNmZl4vPRBovJf0QW4pfTCVycOzI9j2+IYNQ2YGubXSAavdEjidlmAO7IegrWvAmmRa3fhoSCcXUgnc9K1BOAxv0lYjObK+LLwEbHNOjyMFRXw6vpbIP/TzZRbRcN6C3E4c6vPcYsxwo1H7Z9T9WVRm6tKnnqta+99R5QsE23VGsLshDcj/u0ubSpb3fYuz055hnvi/cZtkKXSD4dQtheqrDRxZKDfXOj1PnOkZ6RxLgg+ZqBIewcxOUjoCq8VyP0pMMf04byOr/oePN0BQRyjdvP7fGOyQqdOpWJsb3qIz2nO78COcZj9ro3VQ+yYHdqo0s6y4AbYWRhvj7ySFk2Y5ZB52xptnGbf1m5NwhP2gNvsN1ZL/LMOnZUMHJK05qHcnD7mwMf96pGpueGQhn0Mn1sN3QCarPIt2b4oJfyiZ4naZRt076kUgFg6+wG8Uuqh4tl4xng1fg/g1Bwje8eJ/nnaO2sVb+5gdZA1IznadaCOsr1e3UobB0teHkujy7QM7N3NprbfJFA1vrLxvxTwNbPEWF7LGzK/ajTNYL+7UV+ZTJ6yeiupeH8H03OCiQkrMz62ubzfKtOgpgyr0briSnL3c/zZbVkF+0qBrI43o//1CdUV63PP0Po0tJypzzHcgXhDpP2eqbLjJ/xV3q8MpJUkV1mS0F0RRIfyOrt46+n5VznVF+EyRCLdyfLMEZF3xFV4PUZkjCJVVvLqToEEMA+z0RZ7AhcAr7WZZgw7Ey9gXy8ypmU/Uz7th0o5zRPcLbeK5TyBvqPz8l/GolnBlJ50zdY5/qwQTD+fO2jlwdVIa9tTkNssIZzpa9B7zDi5CCvfFZ6P3DUnGm8L81T4q3EdB3Y8yQTVjvUbYB+aYJd1SgiaGfTuFa2B9D1LhdlKCP/Uuk5pLo6AwVSycU6Az4JBnhpyfgIR4b3rXD9FwF0jZwS0AF6vF9jgdtTLJ1jUqs3ALuQMHd+J8hsJjIlqdTePZ0F5srTciv/b2//7tbnQT7rkjCAD44HrhKswt6d9a6N/MQwZVh14KxJLW80wKmzTPsoIZkPT1uodXsJ14RuZ1eqJlHh2IlJwb0TFuVJC5QLkJEZDWWv86n3TlScbdslMxLgUa+qDJtiDdhJmqz0bCD2ORzxSxkxvAe6zKlTUA62Vzb/CgPaZ3V0s1pGhznnrKQKByrIweKbN7xGX23zzFD/0Youvva6qyLXWwYltNlyiVZF72eeA/R8a0nAqZYibhqOD8c0u6ZITJlBVqM/ptaMjseUtqQ8pTGE8Gobd9JVfviq13K8/DJlgkS5v5/nB01cUl4stWl2ATsrUnhMncQIjw9f/5G0QiQMpfCxAqvNuFkqxvr/bpChPgx/lj1iE/zAqTy5LLtTUlk6P4f6KZJBla4P9Dkf37j+/rKz1QevADZdiQnyXntLQ4YlUEuZ/Syghg5z4fAM55Cd5aVpga7a0nJb8f/NQ+U0VE7ZCy1gEDGHGZ32dTJbUgl48JKtnod3yFcjVFPeNxx7dXCe0FFsYxUc2xCYA8DebgOfWqCFjnV1vYnGd8Z9b8wmbPUhMOmj6aeGvR63sp/5AqErvlmMlmY3vssG3LXxaUTkWHz4un5uFBzjBODOimqTzZhMjeuGNpmSrk5lLnbq+5m9lE/FFccEd+IODZZh6P+pM5gYSZYKr7/E3RDc7XHN81AJmDui4JaiV2uIkPC+bgRgkN2VF5XzDBCLCyBtj5nyFym5d+B6oye6LenJ4t07CjAkv9rUshFc0TRw5HydBsvj/qr+20OBnhe6kwOrKQb6GAj97eaUTPBnRP1geVbC+Ox1ePRCGaLGKiUsA7zd+kgLz4nfhJ9tbHPHCyC4G7QaWiOV58bPMZ02z+wewIDOmihEBHfUFONHK7ArYSYLflyo6wZXvgJwXP8NQ9Wm8rYZliq74kUE6FuFN5Ocxs5/UOljv5vY/CuzQD7NQfqHw7BfmqrmG22K2sbOHnrgDFBvbUUXxttcwtdrXkB2Gk+NjtdaQZB2dZuxoTWSI8dHQxnR/V20nRoJydFNIK9G8imKyiR996CCA0oGszhjrZgGIpXAA0eqlpzvwu+iK2B5rYdnnEoFbW0uhk11NCW2814eBRGf9gJRRjvEuwlPaczZibsaVF+m0g5sVI+LYzNtLKubd7qltFDPdNf0Rb46yQOj21zm6Kk4/snkhBBtW1iu+MIpP/0VdnTxU6K+hjkA304S8M6VTPHkTnD9OyKip9tS4DRYc9dvOCS9jIvAzEF3IPGCm/78bzUeO8C8ZOAgox1Y5B7/BHvvoXRU2tIKjK10EtXnfYL0M5wQUu758ie8j9yUUnlgzzzPFUq41lKDD/LnGvEqHC+fCWLD4kDBnVOkxfZSNkWzDNZa9qR1XlMXK+dtP5Q9XtSatiJI4aCNWcrD9U/VqxFabr0cUYv+M+h44bihCN6A+PzUAdhomh7XjqZndA08icPA+JzO8e6BNtRs0U/Uri1hsjVQlZm/Q5d5afoKA3paq61VDQr4ZPBkf7FW3dUQeRRfJpzadfsqxaJPvgzz3PnNbpHT3DdTxpm5Z4Lzpc6NPdqxS8U2xv1iivk3qTWJUIgoIhuqsb3i82MBPx6n3N2w8Kk3LJp1MXn1oz1NCnx82mQzLig4Gskur/OgAGsH9m8zJ4rXKbP2g3yCs/JNimvE844H9oO07M1EQ8DtWowJ9tTzJxqS/eG7/GfL8y/814cXStdJx5TMCxVPHWobqcfL5KCL8NONE5+0R5BOYit6fwqRWfeH/PMhK9HZUcRmk+WpR/ICldYcyXxQYexvWn5B+NklYk6edaNLMoHb9z5ITZ0QCYDBpKB870ki//pUqicbbqUpV3JELFl/R/kBTLERLRPV8X9D6LiLzLHJOdHg4HRQnBg9lELEmBZL1mNfER4wdu5JbffKipNO+u/96hyGw4U88cDwsIBB4itdVPqQub3jVzBNlD+gtfiKiHKC1qzgaU6uHfLcdOGPC8zHdtiGXE/ZLSI8tyKMocThOdMGSxQafuXzBbHhT+tRrKfHRJ+bpFy37PrAN3zDY2QOLR/8QjwGtV5sWVOdB6QxtmUQfjj/Db9JaKtOO4YyzjvUoXVrwx6ByuYGCTx1x6cupZ3lICbkN6iw2GlefHhd/IjGx8HkUBngyVuBSI+SWUAajFsxHGXZbiNvI67UMXyEYycxK4Kf7be0zwhYVugF9FGD0bSXinuXXDGbHhXYXYhfMCQKP9cT5e5D4YT3+LmPOLuDwTtEb3teYATYZvNrpx3zGBjokliDv2csM62Meeeh+ShvWTR3l2IF83WhVVTQUzuZATZ5lzIcC6DX4dnFIMbDmVrlDR9G7yPKEGYrGRdY9WnRf9qRzl8NzOhD59twTUb0On6qe93reKdlMDHZmcsoVexJqT33b4R4nHdP3jhtW4swoWT/HucWGfAsINhccWR7fZr+aA9bziPIfdFtjt9/g4s9NV2Wb4AURpdhHoD7F8+JJIg+0Yxbj42u9+3+3270ISzMhlf9zB59cTr1ihTmCf3bM038G5ZVOa9TvZxtCNhCt/IHY+UYN8yqmEZAMwxx55WlMqcHV0SAiQcboYb8TsXSiEz8vJhZd+Gr/nRdBaWdg6zSSx1gGDUnS7YhpJt3Ccnfi35/ESCPHlFaEC1nYqSHF2m9JHKtbkqqb2X7LFnKakoTXLJXcW9Mnssc7CaXV0ETQ/kJrTqnItoTIzlipA8q7R8DS6SeSvENna2aFWxRZPKSkizVig+V5NiLLYIuX/+CuSooYVqjSRcJ6GKfn6PJgryj8Q6oXhbgHup21Kqcf8vKgeZDbDBKXhQFIPimavKHz1+MGaRxFX/brLVzprkEPTFmkffJbFcRPni1bvW1e3PZv62et9A0fBW2pri0+TKRPx+2YZ7aPYCPoKn5bKu3d5j0EDfRWqjTunC2M2Ucr1fRA55Zgd52Dw2Ybi69FfM8j2SZ1M+4d/KCPgg1zjspEN9sT4pGoj93Bzrt+8dauZRMBRGS2m6gQNiSTIX1uHyaSjI2IDvpDZo0mUhCn9ZEeUX3MEYW5WtezHa/Im0MeJ9wq43ZZPz98n3HLhA3Rz/A315inMWl968cwHixRnpySnm2MB6F1V5dJc3uD7FhfaJ2NXJXHtythoLkEGq7f3GbEv5YQAuWYRTw6PUzZPgLaCspJjno56GvviQAHnSs+xP72+/YWi8MRwpOhqw/n4HtqEQqVINotgs9lc6xHo0cOE22IdcKkNo9KS2aTGmBbJcL+jdPvjvPq9SF4AnLdY5oSRXUrEjbExMwhz3ZmO1T80WlNJQhDHwan4akRtzeARFON/VJh607oBnsrrQNxzGRPJld0TIAQK+K0nQ9Pd7ZbphIB/XDg/NqkDNxddkhIx0/PqPIk2L8Dvk+5XXKzmMEmY1w3n4N6ZOtvnPtKZhJaL2PBYQUsukh5kkCIZFB/uc5NJUp/HZ7WU0lLsK6ANLbxYdkTZqf6YPKO0XpxMfUoWI0kq7GKbmXNcz9CyMqzdVK37t1loge+GSnCMtbz3M2d2r+Qgg/xcDN5JW9bgNa9xODMsi2McDOg05UXGKlxcY6EO1P2I+sDB4PUqsAoAl1Df+aPWJTgHp+8iUZGnWWNkSXTa/nE6cWvcsIEOwQz1DkUiGopRY6qsQ9H2hCsNkhu3dBTWbdb6N4zqvC1aD6JRXRJdJnyVXXoh1HPcMQUEf3qXplTVpCPx3ml50Z4w2bViOPHLIuheW9stp4BDDraucVsZEH74fVP5fKlZ3TqjyEGXtfhVqFz1/TFNfYhdiH3Vd4EGpLLAuCfiZ0MFZGW6hj4lRJX/Ya6EAS556l4kjD4btI/gc4xQUIozVvXAanqIp4n5WSCO7rnDOvbb3sQpKAD0ghlNp1xRI+Dnx2ud8nhOHLZvkLmx8aVbf3X0fhqknUHbDedohRVWiPoS3w590U9Z4qXbCM3Dl4DJmorVeK/5ES6/ta9r2KBIF3kpzjW+6ijig3ysZO1kaMWQ60lN7MbD8pGrz83b19SHOSCCwJkQQ7P74aM7hrooEAkaLU60LEem3+yu5b7l+TncXBSC+QOZa5bcrXaweFn6LACJan7T3j/ZAkQSf3uU7JaId2nWwTJDEoEJJLqiglgjqZVSBdnxkNWdLajqxD3R3IWH8vCWY3SL7PpxH4zmNryjSW6RMRbgwCxyKAi0RoW0K+WLIWs/a/zALSk8P+hOS9gaGSsfXOdAtxnM2KnQ4vQWZ2mTuN52nUqoMHiBDpXsyBcWtligHpaNrhYMfa3HVg/7kmULnvXQjtVKvNeniUcodyR4DYAVkVhfA3FRisOraAuAYONKMLOWXYod9KaDyWR4vNKiWz6LN/glstyT7SdoDTKjg/0qJvRCPS2A5sho87BhYYEdS0mFcrfCDvUELhXVK7ZfV+jf512kFj8rPyKfi3z8zAwRHVeUvr1Sf74gICLXplrWrMawFQJU45jPBUpA2GCQVqcECOzPlwvqpvpDOTRRRlNko7XG6+G3k6yFueSPcYOvPWVyRhuR+f7aZUowv0Uw301vGLLPuyOr7vc50bQP+kX2HNCju49Hf9QvOtLKaWKqYGSWCRcKw6Dh3AM8nSy0oHRmfGkogxMNrkPHwGFbz6+t/POTYbSGWN0kn0WJFdgC9UkFsrjpiRUn+jIlHwdKBp8giUkj0Q7hD8fCzb9tMbHl/tqOKzwQc8nB2qh3UC1jYE4oFQOMOQzD8DB05NiYkH1LOg4v7kqVtYqpEcoOtHP3PcyomAXvzzjjdJ/NBrvo98curdl+UVGkka7AdI8xWj7Exxj9JwRUyXWT2ytmE78s7eMzcwzOtl1i6PEm9pUxEk3e77TBKy3oHmyyKdP94KTb6q/vaOWA94qZ8YfKd31lEOms+XjDC6CfW9ymVO5IniI5fANv+0pmh/dSGaTxyO45zBS+x9lTzMR2ZwPXc39lrV+OpumLchHHFpzGro76TrIwt5oyQDvcFSNdJB15/f9R2zwLCefxJ3f6wZzCDvJvuwtOCUnd4S2JYPs70A0GQd2ioIBf3usONXTy4Hi7dHhBxp/vbkR/IwWuc8jcc7fikNPGtW04Xi13BXchjG7GxkpizkRIBg8xsGLJRJu1I8mNzH2+0jLD0abRLNrpg0KHzjpBp4kRvvwXoG3lzs5Gv/xt57VL7Ij/abAIIqydS112xguJPgpseh9ycVPSM4lfcYySlgKHvWi8iWMoLwZd3FQfi5ezqdsqA3mI5DN6iB6Ng1FmV9xkrFjEfG1KTqLoZFx6CWMCvckM6nBugLJQrHCZSn6dNtfu39mk1wZMM1yzqmxxXGGlp5yI1x9MbXILWQYD5/9cNq003+D29XtQU6Y47YXTA+baswVbHH+tW7aLfO52u0pYLeTFZjwkeSB2uVlj2kyqJpS+L5cmk/zeU2HSTEXlku/WN+wW6uInwm72CCVbp/GuCv4+VIrd2pzHjMlIPpTApy/DzdyUjX6SpAxbWCUS21E0hBqx35andsiwUZc1qDVMISZs+1jiS6xBZSeaQ1u1nF56O1qMFFDbsmtGUKghT9e2ThhU3Lh8gwbV1WeuqhEzFLUIkQc2PVlMi/c98r6NgeQVMAYnow+wZ2T3w8GMNpWkfL0vmhEoNs9nGKg36TzdOhucKpmzqchp5NKDMDmp1jHLWmhU4JZNIstOW0LzBqpBgyMAFwSe+eQImq3GVWI0CY/nuYO1Q0dD0R81OeGPCUaaJ7DRuDKbF2dF+pAStr1ysH2N/Fn+va12xhKfkvzSsGWhriFxl1k+87z8hJRrMohVvzELd1cMqtLSmJ1AizsL3qStFnpzdP67onTKSrviLKx0gUrcNWPFzr9xLpuMUyqk3Hmc356EdBkJjYNdErMANf+FC3ZA91Iir38N2VROTXMC0R+swKMIIICcvJddLSIFyNQu656FLSHlZ2cEhqcYacLKnPb4+fD82VX9sVo6FB4YHPojEBKZYJBX2PyCschhW+SPG0LdqbMVsli7aj27NHz1Q8G0T4hHwEwCO88vtS4tghNYROOA/KFIxj0ipE4lmB6Zg1dgMSvO+R9QiZVk8xUM2gPRU5G0SFapWV4kKEnO0lLLorjn2btGTa7CiTbk3L7ajZSxLfpBUj2p/4cRLlklTe/xg+g458dgml6vmbd441Gtme8NjSp3RqFPkEHNeqytXMFSV+VVPDhoiDSSyn9Ww4zXetjeqauTh1/0KkoXILB8wWfRxdpg16I6Kbrfz5KwOb5Kg2cHdsivek5aJ1g2iwANHgsXh4c2QJNBQ4TMOxqy8jpk/uwAxXeo++FkAFm/f578OWcKkHTtxQtjP1l8xG57zO6ITdGXZp7NlGSewLVIDDjiRVs9vkTY32nrEqoummBJ6C4dkBPZc3PSqXfOh/8/VR3EIlhDyRgeIXdS6a992IDrsE+ncd5Fo5uvcp7AlQO/rd+BQtFphTqK4Xfgn6oQKveVEp+MgcB79uV4gARw2T+OP4tE+3YGMTO9d4VYeR9HPh2vYrKsvhStIQnUqoaBdC66/AHdDgL3lLolzlkMerfQFO9KkYhu3iARPqlqKFe0zunRoKv7VAnSfQJCgYaQerNd5i7LUrXoRWF+7E6bnRvimmB72ZjNbUMrMRiaBxixWENmZ0cL870rozbNye0w8Oe3EPc/K3lQX/Vzj+6bxuyvzdfTwbErS+VCh0gvJLNaMXIRE+qTgpeRlSjACMLClNjOHW5hHEBvITUoPktfrg/EJdyYCh30+EOYBvuHfQQGrmOaTvZBkaEmJp5R3uMzwfGHOHHFZ9/sE1A2Yjpdf09l9KUzzMXNml7F+XRhW6cWnszNQrRExFVQkT2iMHJNZ2YMZiMK/p4iDIqV42+Bl8rP3hHbjKdA60KvHvBCfMDyaSpv1EMoO8lrqwhpE+2gmfhz1aIrjwSBcK+BQf5qRTHbWv0jl4cKEvpz7nU0G1QHekx1bhRVGNjere9veIOo9/RtvSclCfn3+t5p1FxxI1yExYkPtEft7PLthoAXmT8BsUsDa7BmyWdo+g7wEXv+06BobYwiMvUmo02leUThFV7EWhQM916nBX9X5oQ7YqMsAEN0+f1yhwknIdNEbkIG1SSz8wtUOh1bJ9o9HNcPbawoyw19TBcEfq6C5UvRshr82dB7yp9Il61L/dDSzeMZbNWdyqbGe2y+6mlqobQ4lpGgzcYCL/mY6E88a2NLt2ChaCIAPcpM8AksLuwG7NsVXfdSPScXC1n0o09OHB8eABV/CgJx2iJXZs41hnESo+3Q+kiZUCqfRqEugoKMoO1ebTSyJpmhV38I1PGR94YPLSJfzEVUW5VAQFl2x132DLapzrGgqNMK27p4LtCTQ3MwxnGxXgVx6dXpJtLpO5oJMI55MCdobNcXNulGy3zU7eU3HtAq7f9Xc9v49NhUw8zzcmPc/i+bEBB7zRKf0xGtcvbN7oDdQBp1Gl9ojdB1RPN3dF/PCVKJB7wnJyhz7kVGraqC8N4iUJDH015mv89LSNUEtWG1AY96zDEjtY7g6VtQWlzFALY4fKIck0jgm5dMHyiz49NyIssoqV+lGs6BwLMohX/j6Mr//dHWRMy8JugWOeZTgZLFIsugh4/vNpsMApWAnQQ0/MJIuZlQlKaxFV9nYV0fay38hbv3ma5tpvp4OxBGvOiCDu8aHOJBI6dITVJeraTprWUiDbgZ/EEP5cApMIwcI3K76oQT5cn+MGvaDrR73779TeXB6TURrcL9OsUOy+H+785SXKVpWGT/AvkwyFLuOMEIhLHeFILfuC9R9gxWM+cItij9uv5yuwPnCiB1W6OHGN/4XCLXeHRGccQZbJaNxtUC+acWpbzmavGl4vxzxrDIcDZb6ivAl/OzPbq/DJfDBf5MIbzSdSl2qcF0hWI+rH7QU3kANEDTREdEqS7FSqSKBKsM4/y6ci7X3hqh+1kGzl5UIx3LUsvBj84ZrQh8DfjHPlyf2dEldQn7U1AKguDoxkFfWxIHAeT1cPYpD0x58+lSyZl+EONi+D6Gm4Herpi6Le++SmF37sywjVpRypcq3nhJ9GN5uccWx/Y+c1cj9kPjQSNC5tezqmWpE8xkY8R842h/vUgzIqtXnifIn7QLx/tjRwVzm9rbNcD8nZrl31Qz+0+OrkP+Nz7WQZ744VsN7hOIgu635iDw0gH0eLqDbYHYExQBqI2U0tc15XH8yTKuXepkiu2H9wFDw2owZegez37sUah4w9kJWFDHey0s7o2Vbpf/2y+MHg0dWIBcxrIkfT3BrebvbzmG4nU9lEGpEB8LpYSxIWiL9dRlMAwPfIEPtJRy+OY0nOwiJOBh63HDSswvN63ofFa43bak1zlFX0wNiUA1xNjzVLIvMOx6if2bzomGmll7n5FxQ2iIsFPNZIhuRzkUZQsiAn9Tlus6hsIkAFvuHQzZvj7jKZTSLhFwSX6eKL7T7eqlOW3Phea7B24BoCyQ9GnCUs04qnMW5bVv7zetXXB30bAKESjAxiuJJtnYZbyOer4rDzVfsO7zPGcvwPuFQjKKEJQ1XZwgCLQIf+CC3zwIdXCTc2DSFGL3TxomV+vYcCCA5FqK5cJCALIwHDKNu5V+iOsZeC670hYjz3CpJRZfWj6fksnuDv45+/1QOjPZvyp4wfxF9G1NdgKR1pk2Qx1lSSfaUl4EvQYUe7/ka76/T11PWdkZ51Zw7A82dvb1djBIGOsL7AAJyRugOu8DTXJnoPKYJ6ryodnaRq3b2xnnhbvqiCeeO0D0q6RxJRkOwntx+F8NqAq22KtgRbuPiLC+u/VqIp9v0488o/m8FuhVQapTTlJ3hEd7a9jfGW1R4tN0LjhEsZSOi/fsD2LYa+0tAZgwGbaYixxfYbDH7ASflI9DhPFUlHFFqo4d27N018W/5E3RBVEVlDJkrmxReuYowVHU9/O++zAm9tKgVp/yj+tscuzoiAAls6a7u/rOhFOLZ48/RiMSl56tqDnyCrnRg/w834dcYt9wa9RHBNSdxoF3zsX09yoWLn0g5DViei8sve1j6wdfF2yYtQW0NJWfcPK2hJZ8D0DCinFY4MfBxOB0TavY/X+otN7UdO0XPASUSSHVYhNjZc6cqS+42llCvfmTMa44j/b6i7G3zK8da7kme4a6pR/F4a/rFuVBO5MB5LBtwbEhGHcmv+ydWYoYi34wAhpTH7dSmUpsDLc+6QsSAidXQo9asXETGh4vlUqP9jdsRGuTNHEkrNmuUCRbVnTGR6XNeKXAZQfqhQkRFJvnUD3mOd+fbXyPCA9CFx061RUgvH+fXNplV9iJPnVzVjtXZj6QNhpE/nqUdamnsGrQnqXcIsFdHFWS7+EMkD+nxleGAd7GGQpELXQjZ6UcOA0KBKU7W1d9gP4oVoK56uZOjgLNX4JeeMjZZof2TA4ru8AwDc5ibrWBqM/xuKkRlNDHC3uB0UIFEwkaDuRlNGCUCW/kTcc8xqT6zgtGK4ASIyiDW6nwguKWFVlI6O3CwtnelMX7YcFpFCoKxtWt7EQCUBCB+FZTGNBVNL6UFQNK/PAuvgwo5BebkCjPzDb+BEhsPAe45OdIjQFM9/Pzjj0m3Ebj87ZvK6t8RlZXMETnD8Dpmm/IVKD8E75FDIz9qWIqTXX9o2X1Dcr7cwqHIqFkJrb5Nyvndb+CNdE9iMhjcm+q3itnGXXHYfDIjSr5QDEnrvw+QGUGdipIY2dMZDSSSUTQJ99CgFuutnkyXoo4rM/fJczZw56YAGko155aTAKdBOzOTL2NKu3HrAZXPkVfDODnX4eZFFJscaDBrpCt0alCthNtRCRaYvWN+5/6ditAG8c8/rs0xPQGHS8pYmtRMiX5l2e8pHSmmUNz6X1Ds6CmXuHlfTo6OL4Tl9CTNjKEZ3eTCNbilOZU6QhExCUX/ZFXsf02Jh65D1JpazW9kfIhAMZxl4+4XDDz/9DPypeM8udn6KRsdmefQl72YIuhnpIdhRtvKd2LuYakPLPiRWHu0nzUenKP6dFc9sz9Hqk7coxUBYhSSpA6+1xCtU49oxvmtqaFnHXT1tpFawIklLtVPbD6cEZVckCdYx4UxZmyHKVIjl76+cgFKLnr1VgrB61o0/Mnl/w85dTesXLA42XZM5KLh3XEHUWLG/IbWGTrAJgyikHuGZsg1h3aCUjLv2SgMLIt/qgQEY6bylvc3XBIvksN2hTd61HQWBD6499iaoM1wXBE64eBSY/fs+PHBsfnIMf8A9KTzRAUV+yddS1nVnZ7Z5HdfCQoUifbXEAPycQFqLtufp8cW9ov++76RAOIxMa/x/e4pX2FSxvcKoUeGwRI8auXd4w4HJ/WdU0krZtzvQQAP5eCwO++gFHuH6WOwgfIRgIeQC4yMwFOGHkRjLPIsDBIen48917+9PlAdpgm61aBCOy4+PApmqNdUE7fn4IDqaz75jKV5yFDGK8IFscKNU4+iqTE4xjkTUY7L2uWB2ruWjlYBfTAebbNJIJABTP+DwX/s3dw8iEO0oaUAlowx9QEYd8Lcl7DvFrwiw39nftOozqZ/pt/54LdgRxEGcC2vGsn9DfXDNg+3V+zscS5bhJWfB1DB1vi+Gnvk0aA3ywd2bhCjDIsY7dv7j0nJbW++20JTrxqNPo5yIl2NSlCKMcJ6ue/jHIS4DFbPDs45hiUPrE1nI0uRQi9ZeYoxBEm3tWEDIN2zc38GLdn2RC+PtYVMy7chcNDonFnpCtNHcX3or81vD6D0xb4ws4DdNYioAWV2m44za6sCu5P4YYA2c/yLIpE9iJRNMeGSqdOIQwyBGGkaNuGfBrK4oYeodNQ95/Tae3F/34fxHEsCDjbKARfFuR1D3/602MeVPKIGUKjcoww5XtiI2HwiSBN1N054L8Y1ngLl0qsz4X1nCl8gRrvb12Fozveyfv2Jx7kblcAv6Grh1utEm7ZYyTbfCY9q+CHBqegkOGgqkYjf8mO5MeiowBJE9MTGS4Cbx3ysNleB78GjgSSJwI166yYwgdB1jubRInzBj3qxSr8Q2PnJ2QoI5fYvhHbsPwd20JTEqkEg1mcfHdH3h/orhqQXjoWJ5Wm8EEDnTjQm1zLIyaLMbjxvjbty3N2/O0Bmm0E0X130EFLwANKjKnLsPhuSn8ZEJ6L4N/91rWszwneLSGLwmeEtF6yTEb4teQK477vLcv/sBMLJdf19wcys5yh1KmP0rsaFqvrV89wlU9n1FjXUVtHcANqFyGRqADMp0wLbZ+HjZgWeeYjbpf6SGiRNL7duZkfm5ArNjYW5yoONf5N8QqZN4HArFvUX2aeUdxqGU5/gKU1EaF9It14hsd6RK44SUVkLqNSuNuXEIiqOcjAWnJKz+SplFD33wDaJ2I1T/S9M396JrTKo8fhhEp+u53XzcvIoo82qd9+y2np1e1bSJVK8zdIey5zGyabHMSj4I0FvDE9s568RAFXYRnYf9j1ZwYntPiNWduRooUqCJ2TvJ8URLAU+/hi8oz0o9bja7t1Wi8HqE0JiNvB0JZ0EnyqwrI4il6U7KvNkW6r6ZuDW6Uni+ffA0DncpxGV1XKyOvtOMq0bCqkgbHfLXdc6mgs2GK9rCv3nJPGONX1ezDQJDInrGJyfRzRmbrAAQwXS3Xcya3BIWDP9z6oR8cqb7FSiWSM5AFe2+Xzi+FSXvjNozwfE89zLOaMJgQ/dzKfFM7LOkfEyxfuYPKLDTartJacmM5mWr25iEeB0CM8kk2X3HB1YswnFVkoEfeftMWuUSR8dyITRB8f9XvoJP8bUcbtLHxRWnggyvYS5wpulTB+siXxyzKBmm/wHrsugQR64oAFl7KKU/IYZstRDrGWgwO0IXeyvMtnNJr4tYNEedNZqqWoTDVMD2RzTCvhzIGSGWIBAnxE0vFwntQYSTq8AAx4EzrihKsF7Zu9CiDvm6ViuIBbaQ9o84JclSzp+/UVZelL33OgtLEVzeWm5lXrzgOsWbdr7Zh3YofupCufu7TPpAp42X7+acOfwL9MP060Ae5D5AB4lhHi+ZeqbGv6nmITjjp/Ovv17DxUruGobvwN6c5jA+B/l6sS00MFVz5yFFO1aU3bvNNCmbVQzKqUpk1r2X/7Aay+0zCWqZQUKo763goxgLDJW62LWwQZLlriLVynwmvOJUG9DXBB0ZrFwgZwUTZCGpwbRSJ6PrZu3jOZ+F0DJG7DBypLkNbCz1abmI87QnHX+Of6VyGk6+jn3oPof2aUFHXBQCV/b2sFzXHeBTbMi5zkxifMoiOQdlk/7bh6+IwAH9HIFb9cWgfivWZBkELSFcUOM3EwZU/szDz1vJkvxLCxniaBZv39JCVecQzf1+5aRx+I6fzVw6ISFpTZUAIi+z1hIG0mqHuBfTHGmDwwvX2OwCuYTMmDAv6EgBXPekUdmsZPevEA8YQTmiOhJgQYeION3+3nrvAwmoG147FFXdu9u0lG82QLxLEBlKwAKUqG0mEM2N/Y1WmbPzWG2FN9TW+0p8eUfAk9ZuKtWGcWCLvenYcvSiE/IQ55vmRBMcUoC22/jyV/gPHpVA6W+qrlwKhSBcgR1HLKzbHRQlU9nTR0PheAGKO7nXJ05DfDQrRS3aC1e1sIxh/OQ0l+hQ5TZNiwkdVu01IZ5Ijj+mXesIxZ3vfWM8i4Jgy1uXNTTC+DOcJqIiLcRdmZzv8/EJaRLMKfF4WIw3EIsmCUQL/opnSLJ3w2DDvxOOpdW8Stl/92QVulM3AMK/RsAi6uFNHOEzXaduL9QZuw0RLrOfCHwVpkHwCdz3EmjPf3YH+MIwUaUEwrOHZAKADZkVIQGS2MU391vAH9DMMmvb37akbYqMDh2nSHcjM1cOACwZYrpYW5iWHZBd1iNUwfhvfautVjDSeu9DKILU16E9ZnADuZTWDSusqD/payTsW3Nsmzo/gXDDkCmdzRCfiUE0VT1CyWOqx0JygGX1D7gXpcUEe7ML628upQQv0iCPgEtZDW40oUqsdLXz3wFVFpvMQ2tmgWUF8sIkawMSX78WON3zw4i5ZRgVdxSx/QsKj7CGUXsRLPIGm0EcIWyLTnnArv47t+fpn7qrCuJU46NHaEFIy5UJKlYsbkiDqcAaxhtg5rfIWbRwyvuPG0gWLJ5NH3r+gLWu4SM/V2heRin59iGKaj5avWncecouaOHQA3bEdTECqbdenbn7+nOz3o9MdMaaIk+AeQJumGyLh0TDY0yDu2aocJ60h+wNKvWFAuO+nKDRfXMB+hld+uiEAGb7otZbDrXqqQgjDSPWddCp6hBeCBEQZV6QSh4eDoq+u1Z1U9IgQETAMvbdSzuJLxyhck7Mxcl824vON2LcnW1nuqNjOULNzaVMGWbi52Xn6bPrFsnsA0kLMQl4hCYNovtSFCYFl+J4R45APBm6F1t1Nd1NCEVq8M3+54d3R2TdYzYdL1Dr3LcGKx+b1kIttbzmU+oDFQIFV1KoP0BWi4lIXR7mhFQaCSHmGnD7wkdhWj8TgbzE/BGGOcHcbWXnVzHcuIjxRbfA6FRtCtu5dpkrQwUzNQ8/BYZmd32z6sOHbmyV+Xu7/u1sKR98PJKfJDhfrEr81myyYRBGf3+2hsn9l+o5Q1OC7oyG9p+PQuvgFjgB7woDZ2n0vwq7HUfeNPjYk+BsbW1Fp4odWbFi/MRdAPtbKSxS0+vXj8B0sQbxqZXTnu7WBHbIE9rhBAkv3g59v1yV+w9HG0adI9UrtCBAat8tkZ8suKFKglIlkeaZQZgtYlFdDnW19d7d1TD2ehuQFChCEEleIW1YeYiEDSK/dLpp45pwwx02pda8EkcJ5ms5wPi7gA9WFoPilcgeM6fGbqbc1FAVsBLbX56sAGJN2Gp4uyTwAWn5NFkjK6m/c2i3r6jSSK+3fnmOu2GHCceEKPzgPg3CM3O8JvSLiGllTgNIzJ+IaNubrtIDSpCSobXrbjjrD6l5R54qMvK1Z4i59kvMQcV/miowzQlKdg9h6QiggxzR3/w0T5HCYE4pZzAXfFSiPqTsJj9CkMlWEB5ybv1fWj64WDeL+xd8/wrXeb3u0d+RwK/j1MoELZh2bqESmHoIMmxXnb2vnzqj1ZegxnBPRC2s5z9DT9YlxhEiAzpJkPYBhM4LpMVh23Y4WlXVmJf9wisizgWs1jL0xN6gwauz7j15ApuqZIGj1bWnzsjwnb/P1Qi9fGcfUmI+kqZx+Mj1fw70GGgMd8ntdsmnOdVTK0BdssvHa/7hp0YRgC7l5aJgcPNTYZAcFeSIHIdkPkN8n+yZj4eEk3RCV5UdltfA6ZioDfTRwvSC4dJgViuW/3bRh+thP0r7pEE2yu+mm4lysbpJYg1WUcIOJMrM7hQYVO2BxCLUGK/FGL6jb60p6GrkWrNP/DmrQETF3owZLU6pBTKgXzNp8y424HJoES5H40H4/5MAEG5ob8N8zpNOoVw6PTFjWDKY9VjnEVkAUn5/r9BZsi58Vfje7qPN8YCBv+NSJ2SxrsMip/DKQf9xNTK83Lch42fQwfFv2FMBoIVtshxXOCEvZkj30ifB3hc21bprsf4rFjv8tJhie4QaXXcHeQsRyDgUt7ObRllVWSIKGKqO+jxZ+Ykp/xhLUcz8wk1cUSFNK16PdlXEOXfYhrnmLFkra9clIjlkqjN7PkB1F/tJk1JsftAWMiI+Hltkzj+fkIRyQFY0rJMyjmgp1p6Yt+6NdPqAWJDUyfMPWl8U4v75zsznVHBHFghW8DFkzZ2t80+M7O38r7qAOUjioV6plvSdgH9gd9NL9R02iYOU+7D84puRDutYpdQuIbDn8MpXUT4vTDceAMjxVyIkAUEhDlnze8OBpieiOY9f+1lTy/Zg8aOWhNoSbP0mSQ1hopjsQJNit4rVylELVypIAli4Msl7y/dVqVZv2czGPpV2RDV/iLwmBbNJgBARGLIdugcDe9DuTQqFJ301KhrrwRPcEgenMFc0DbkfbCrpDuwslZqAdcQNN1pmSM8RzcIbfqSOopGJNnT6K0JfDM9FS9PRgEvOrjBof0nPDue2NC+eAHKZzu1p7tfEDh+LEG+y2hgZ6tO8e+o5glveVQmwyERRjPfXhmCM6cLYBrsTsq6wycGN8JzVnA9OvNW+RgiGFuzWQn9qJH0iStbpDry0eePZHbmaZ5g/CE4tsG7p0tDpd/tPh7iAp0HknyBJrvPOZNlHHzNZ3EOy7Rxo7mgGhWZphXgS8gyhEDUozRfBFODXTW0sdV9BkVABafu+IAlHMLaVGtle2HHXqou0mnURix9Nzsryvjc2Je7xaos0TXBGVzwD/LqOPxth/wdY40vpPzFtbRaZ4u+P7rr0znEQ+yISwa5r/Q4Mju04NIj74DoeC8iP/TiPNi07IimcyG1Au4CcyPGPd734/MFQzYhrzftamMtPdEovWZS7yNx1APEXDnS3MhQHpTUaZFDNAWI2SxG1EQeVqFc2tzt3udZY53lK4+FeKAaZymfTKRZp8WtklSu5kYWxYr3VBuO+RxMiBbmfYpnJ7pPv3DoRUQLiPZl/QVXPMW7YHusdo7tsZUTUscJBNrKcvwnyyM/beYcrv+bNO0wgs+Csy0uzA0jzCgXc7oprUN5kzsOKWomgDVRC7mPPE1AtfhM0jWzY4bd1ZJNHWZN3WfAeGt2OWvrfkELvGGMwebWFTDEjbgOe4LRF1UikNG2m/8tEUFrXymTmHaW9hQ+9ByuM+7h+H0WcHYcTcwO/3eYh6RgPuuryrDYcFnB/3JnW+oxmKM60eVc9T+i0hDES8bSeWSNYA71JeP5hFf10uzCUqGcMGxN6HtK++dk86Fnk/geuEYuIjNUW4mmTvVLmW6hZXKkUXNXwRK/dEJPF8ThXXywH4KsloC+C+tUEjFpiAMFvozGqW1/n1UggOS4mS5F7/jjDeCu/d2sGbXVyQMSVD7vzFZA5tK/w+g3lPF73eHHnlkObstrRCohcuAUo6Wx5SXcGQqqwoJkld8Wb3WEDTLxTVXDrAWODrGrMMnLsE5DHs7Om41hvumzeEe0wep7Ht46DrQmG7aGWKp41jznCM9T3CSemzA4DWBt33ESxKCTVIYu66TeM8JwjL3c1VShHPC342o3Ui9H+tlnRC1A26z9j44rZuYx4VlN7sDWqT4kTt2Wtpw+DAoVlAm1PSCEaI2D/gil23M/9BtaSQRN/b0h0S4nIutvWupFT6L4p64J6UhbVz3zd93uWDNBGkTjRWtmYvYjcu9pZB+Y7uyXx3jhrsq7O1ucx9RzOSoHxIs+s9CmgRhIwoJQGxfkIhsOaZgASLdpPQJ+ubClBvTPwTpZ/gWuTUwQako+xqZ+yBAYxCXNWQgeZYce5mvahWvKf5A6wEhdpskXIQp17VcCV5B8nT6szEGWFdYjAydLS1tFVord83+YUwFccKvFaWGHeCAoV88qnrVc0Xdoiydr9Z1bligIz/YR+GB3DT4IJWoRSJN0vM6kCo3ezTKU6kwaMF+NX6CFCeB84fekgRX8K15zEMIAQhlD6UDZZJlDTrO8kztw/rchKfDIwQrrS32NnC1YZcdfq1V/pjmZnNq3pl/TqUPpGpm/7VFekizWHJTAkYmXUkvQOwi6h7d8ipBkrCESyZfRvvEL2vrzJxDzClgBk3Pi0m2+F01BRL93+JC6sn1DXY+iBIW+4av8InJZp7zKFq2Jv+E09jE2I6tQ8RGXyfme15JXjuiMJ5/f3QNxysuJD6MrUa93GUpHVxNIbNesdL4/pMV32sCOhj1PmzXCCYKyZ5ZN4wLvZiwDDALPPtOmHl/8gR4I1m46QT0Dy2H+8oe7t1hyRKRBi+0EjWszgiCYbxuTXPfMc7VkX4DH5RJeVBPwHuAFkg2XswNc0dHZzzQiwPLhBdmK5uEBj42nZuHjmVo7D4RBYBLw9tr4k9ht0IALBM02f7DfJEJuUTsGLDLaEG1LgqySz3136JOi73No16UwHcWM99tXzTPZkgieX8IXZD6s5fGM9+7a6TyxlxD4yTNqZD9oAn14XWly8db7iujA1blgOAxV4v6SYag6L8XRxbV344PiehKwBsZF587a9CKzgcwsJbER2ZrOyV69pQMVh+C7Z0Y30YwOYmGP9WhjO3Vq5A56QoT4VP1qlt5szJY0HTrq7kX14CqGVA0Ab6kHv+UgKmL+FIug2C5r5uXJF4nyrdavfdiuxld4RaNO3o07P6u42p4F3/NRYZvRPkzQ9y9pv+rdzgCTPWqV9uHk8FRRYm21mUBUiq/lZkAxKxMJjAO6951CRodZbNDN8AswtYQUDgWQygQUaymaIIg8EDvU0dN88UKZ5jzCRgcwHzeZ7THq7AR0Rrby4z58NnuL8L8fRMlGtWPiM+stxMWVKZ/2pF95BOmLb9OV1l8QKtzOfhyGxlzI7ugDSeI3G0V0fgRCIXvEjjntePYsto5cqjkdlX3gr8yzrXbL1jDV2NVrqy562CtntBeHu4j72E9i+pIxPkiezzvc3Vk4bvAyefKbSlT+yCaFQFBmN787wIU7KEWruRE4ivIhjNsm8qSc7Dq3+mWkwEL1qyzCgg0wDen3qLd1YyyPZEUDVyeY7Qk4scVvLDFcXjrKr/0yeTI9rMd/aAx06uKPzFBx/owS1JM7YG2+6mcR64ULsr03UYSbZ6tvF0YBOhSfne6SyLfDdQIZaBwyNvcMewF0zQbbkXDSNM+DGrXpjXaM3G5P8T82eaEvdsQMJiWBcCfxuIjA2mAjEFl9X7w2QyTr9eU17N3H+Z7zljs9xPvUHM/Gmypoi1iCvp6o5QJRlpGn4fCmYg1VfhFZ/rufSP9uB7xhb3j6pP/SVva6aaOQ56IULxItTOkq/s/Pu1lXVHcfFbe69to20tBvWBGaAU9kERllXqibWbioHl8kpt3phOvUX6SzFFI7SEaFvjhi8TeXsknD5CFrY/fuLyVZMBRzi+tV3lP9Q/d/InMzRAcG4u4YgE9YP1+YLB1iPP827SnvHJTAWQkJIWeYAjN55n4z5zxD/YmXFi6UmGBdYdyI3CfMzbQKJbnL7Pxf+6QH0Wr8Y6yKp7IQ8EhMHHIad952TawcUxMCgU7iff4JSNV5MPfJXGkOkPaPZrT3LQvuXoFFM47AHWeoNKrvqCBjhkavERSgUvaCkmeN+HjHWLIuEDM9ALNL3L+7VEeUbDk3ngExrUNI8PKaIH0kA9V/Len+2X99IpOsrLpHff4dCYUVJYDRV6KfOaA2AiCm26l4xTiZRF8BFhEDM/xVcPjHgzMhJqGGF8TmUlLYaqia7y3QDcfeuEuMkAM4tFi+L5sdG0L5/6FFht610J+3I/rIkLeZDY5wa4SA18+KUdzwho3wm9EWOTpXbMOp4keQWi9Ky9vWu2ZMReE51z27wwTwu3bubLoXUqTCO2ffXHs9lNDzdkWRQc5akaKxDf2nA4SYdcdP0ESjkVEdNrPyOYm/0oVRLwRwFjHmfJAdZReE/WMohLc+bEvUC3qSEhZzye5uUCAKVejbmuDY6duMaf5+fto/xHjsW3A0Vecx3CpHBrwTPvyO4GmsxxhGvyLZpi5x6rL0q/Yls2MYSoc7pqjZgDgxxrFxJLZnhjT29ssLm36zgAAlTE++MqwnEsWqdjh2YdI3pAZJlrTdxUV9Td3j8TaRzH/+L5ZSolK3sxj8dWBpMmMkGQSve1ZLumvG2SP0zUSdNpCU/swcKBplDS2rXo1ydxcVy2G9s9v1/jRs5YJDcIF+IrgZXKF4YXog2FvPFrq35I1iOrOin9JSeHrKXuSRwkKQ3LC6/T+OZPn4DCiyuRE5rOfSq+R+ggKZ26o6v+WxjsnHkH+E/z9+KHff0af7vNut++WoX2UA2Sjd5LDCtwi5FjEczDT3B8ovUbgYVwl8Fyyux4pi8yCbtDvcDRcjIpo7Bt6Fnj7Gt4OBNxqE4bsHOucIZpjJJXoAx+tIPzvL3Xq/EyQgZcm9mKHewzrcfywJZas2bv3hb0+8rxFriGpf4DCYilZ9YVY32bT76ZS+odego93F8RNFyopNolzAVAf8INv1jlobMiBjst2TVxk5Z7j8CIMLhCosTUmrtZVepztxCnm2tpACkpX/NZOhnxGj7aNCDhyx6ZGz9k+LQrjBeOepYz3Pha9eWROgN+91r+95IpFh1DELYAlEx4a8AjUV0x9exuem3tJLVpnHjc/g49ZxrngN3ynjcUvTzYvCHckt7pyF3c9wGHotLhF2m7B/zeVkUVFgf3/uTwDN5X4O4ge1kzD8fb1blwQ4OcSB9c+42Brj2UIUf14rFnaiJCYRoPbBvfgwP551k9WoOuZrsa/xitlaCWRyYALGN73tzaHi8BUOoMo/igiPDHylRs7gIGgBA38eOvKRCxiCiMjPA/oxH5D48A4UTj/3/nWdlo0gkGGU2KtcDYFoyeCJBP4SBGc4hLQ+vJ/IOtKA9JeoB8RURARl0OU+114ZxTS3Yzt5rD8SxxXt8V160DLDXdVarQ7TDICDYfp7Nar+JHZBsNgft2O1vsaUriJZQYvZkiQhZk0PjApUGW5XjVkxUTHk71nr+t9vogCGygjaLCLOBxWYKY2czV2uxCpTLjc1Uw6Ip4LFcySsOAyIGmz77dXVX+RlXZheldNZPpXKvvDVTfmvCPIpHhlakkV0V7sWw04bNXoE3G8XPoIm4K7/0qx2XiICBkvxCGpZFTIfpXHGI7H957YK68fHA0hRqbXlSUWZ7mOIDsOq7PXWsbnh83fjqyAX98yarmkNwrvzzVFNLcAoSl36spsZxRKou2ioinrVZVilAdMTXDpitevx4Q0Fyg5cbHu3Pp4MPIjObclB7QJm8LuaOKQHW5Amps6WzyoPEV4iIwdoxwkc+qn0lyY6rk7O7QCdX5fp49VGrM5QhnwxuvPZvo54i+QsK0nbARCSVV8GRse2Psavo6jUUKnlBqVihWOaoKksGkNrtyIN05LyU2U32YzgzPhpQiElYNpB1mQFQdCzVEnL5Z9szGIBPd+Z/M1H64cgmflrMrJgA68Fc0uZB0by+heKVG9GqCOMsivgUSKKV5k5fQkD5Wjxmt/p8iOLKZ8TNm516zO0XuGr4iHl4gpy0NNeG6wgubes95PHWfkFNLjl3nRVakv/CYH2KMtpTkBwDk9x2O6xq53cweI7rQYVEeudWxXHcDn0LO8mePcZcr6ny4lVVqV3h+gctMJZJsiH+TFmamNvlfY9gvWZwAPV4UCJZ1p0A6lErDDY+QsXVE3njShReJx+saeJT2ip/L6gknIDpfwXho1t53dI28AIeniT4+P+hW1JdLB1QmERuSgZaBkq6rRQxOf+gBI6/Tw5QrGSaBelSHx7aZ6j41IshnO+T/6V3E4iTvgzGq7GH7cSdUCKVq+ld2iuEsmWcgrs7ciJ0gys7SQ4eVwQZ84kcbRc+iT05u4Doe1qPGTDQmG40fIMnuZPbufML8+1tYlUFQwXO9TgG5f6rB1nDuQ7ISG73Tec0jWfHvi/un9JrlZa0imK8Op1yB9ZHaq2FoTVCt9ple6/kqAJvBfFGPjrI5JFgvBNXxYQRrVu2k9XpEBPDTdX/4Q9WFrs3cJakpIN9Zp0DK7lL6+oZaOki5r1Ri2lNF3Jas0ipDZAsGs3tThLoAlnekjUOFzRAS9UhRU2+C+bvzYR9tAU4E9Kj/hIQqNlHygKcMsmfDI0X/VAYdhKtTSMcsUJ/9ZeKYpznFhP2kbasHXoalPZDB16I40c+X5+prvDTAObmKyuvVcMTpm1ra8d2UbWld6QOcIOF7rQcQiA9UP0f+9UhGFyO/WJ0FsaIPJaBfCKJOKWcS/vluPXLefaDzFefvB7kaQOTNAWadEegtPWYD2dQU4KRhMjh13Jey6lfWdnmidWtXoNtmRT6gihvcxfYHxZGfdfctgaouCrwXVec4we5TvCl4nEz4juDC7NaZNSDPL2vc5ViBgxNSCM1fD6LQixjVCJ/aA+vInVk2PyPPFqnzIrW9xUcfUuOR9J5ssIR89/0mgxKieSn9fRrBjN/Xpl/60dld7jdyz0x180vioQqtcwV5pd4a6cp5x/EmmIhNlBNisJbC7qMMLJVyo5brlWMVvi9cIL6wCj1OwYjEBSatVkH9skXe6T3V/W2luZfcBEAatfYJtw4T0JaDMSH+eiE/mcOQPMvmUsWkMDZo4W14T4SpUdt8jsXEmS2YY+LWheA4vhn+knrjQvJXxs46oJV0o4PXgOgVjs12oN0Zgoq0GVDaWT59F6nLZocU/KHc/lafq4KOE52dLmmXIjHN0Qaw03vv2XJF117QyjEbe932beo3DiX3ABLXEOBrvUuF0SaMz4iHP1k8Zkwx7ctiTKn+P9vx3j600oXhWdtFNotctUeza8Cmnd3PVRZHPGpuJZ2ZTNtVEjZSmkaSWG8X2S9w3EurGSi4+PuO04YrZabL6//beY3RJj0SduYqIP1j7AfgwpbDqFdrDbxH0lm14IOJWvyqVpVoqgNo4FKNlDbntabdCIqeJSXI/czbDhqVYFkGcaP4L6byOS3u/CeMKv4+WcNDCUE+8SF7X3I4wVbREg/Omm6/cg0svyFsae6whYyn4jo8kP33Q48tMDSt0a+Pbyt52981O3JhvmQEu5+gKdompmtEP39EPkatWkVZQ/TPluqHXwusANEvhk9MuxwLT9pLMCr3HnGP3RusavxH3vpNFx0daMmi7h8BPrBrm/Luo3bFJzgxN1C+BOuTOUNl25v+gTzpIVmM7tnJYV/xGCY/bcUFPWIhXG481SW5ot2LbNj7sOSPGlfpoCwVse4R56jakz6pzPF5+P0ZLPRLzWYE29sVX9UO0pN+wGnJnqRRRNk+0VAN6a8arSUsSDFZrtAgaUnLIkA3zgBx4lwNHV6fsRfE/MYijpUJ1NJad0LvfGf122qhC7f/L9EQWn+kxKEF1OPcnMPeTpUxmB8oUC4E2C8Bd0QAgC5uewZ4AjQtWOl1cNdvEXWRON3Rx6BxWn7sogBLmcsRXZAFm5inDJ2WZaH/9Vbv7/Tn5dz1mqee+yJHvRBjCQ4x0OQOD2TYYKqiOZzilnPG1MfuFhJ9m+xzey5AabQvzR500qlitz/0/Evl9oDsESGYNozoP/FG1jehuhiKyFH2z/BRR2Nx0fUGu/ju3ZbfwvauSqlcuQrB5GB1qRXOhN6AuYoHBAznV0p0pNC7shI5aSlooDtaCkY7bLTcHJm00VRa4Impsn8cycfFO7m9eaiop1i08WVFJzKKfweTTthRUIiS1zzUhay4sATYTHYE8cGYSl0D0OFDjoXndliLhsdMDbYYqF9yV09LwSRv16WWEQqfeZ5sGUwH4hOb6lJsfWlW/GDuPFm9oEinjqKaZkCe2Y9MMuD4d4QS5BgTarQ7aHPNUzty7TnLAKKI1zQM1UuWwIjrsdJwYLEANjvbtAzWPTv5VUc7T75Z6p4U44cVAY5p8BkvrYOM9wAtlnwgjWhO6+ukbrDOxuum/KnSVYB4MIKSI014Vke5ZM0FtUBUmSZ8O0RTOr21wFfMC0XL9ZhkFmSaElQjS9PbpO3fwE4DAyZ3HYJVWTc95vLo+yr5o6mq3j/XQHXNiD11xyiON5DX5txk1ba+2uD4hAojtVwKyx2wfzXQcvafojfZYJWxkuxteczhI6960xSECkDdVIhMYfB5LG7VGqaiJdUzLYWks7frt7WGlzg5QE3I6lXpWnP8uu1T4ZF2f9/vAH911GjOYHHjmIc1CSg0U2HRu+I6sxhTXTYfLBepn5QBkKVeHgSL8GXi8XYKs3Esw08WUEbPTDUS/283ns6fJpIINRzNsElPb29WuXl9PNEADDe55xitaSU2WsYeq0/rG2J0+Neqzou5tks6HgZh8vWrha2xffRPbV4FqxGBSlqaDq/mURrBCui/X8dQV/r5JauKSivehQD6vijir2cNe9XhtXMNWwoK5Z2hIF6mkMwl0xFmVdn98SXxNWm4VpHskqoErzZg6hZvLb4Xb2Vdka1NdWgWzFt1Q+lhlWLILnaCL398JasQ+plJ9zWsEmXPFxRErLx8S95u1X2iHjRSypYKZh5i53LZUSi1XRZda18QABRBb0cmfPV7kJ/RPmjwo3171wTDnLRJogR/m+WIYis1MAPTsAkrrSAsQDvxXLE0Yph0JvXIWoWC5fq6fl4hAvd+ZZfx2y+Q0zCE2aDhpHCbZUSsyFxL2XLoEF1UrzAUWvYVlKz0EvW1LNhxpVWcG5fqTIZv+wQ8XsmONtmEBXwciRP2rREgrTo5bvO7P6uqbkpZGBTm1fB90cpjizcnZaQL/Lh7384AWwbD/ij4CsUD76LZnTvV65nEDWFBAPPmIGjWVJUYR2b+qzHAkl+iToKItwFXtHEgDh57/hkMwXUA5h9L005Q0T/06RWExXBH2iiJqy1EyQQ/Q22LrbMYIzKEog4myt5lIav9/hrg4kql2qUIgrkgZwhCrI6eRd+0V+KYwxzWruBDyxVnZ/YAKwgpiJVUhMOn++NSagMx94n+gpcmFhGF8ZDYq+o1tLKch//i+IDg7dhfZ+pgHQYoB/647NVjq2DydVksx+M3gpMBGq1Yno36456GCWjYMtU20X5xQhOcwcG7JYMVpkcmB5DX/1OPAarS2U9PkOHcZc3mRHnqOYh4REr2qDSW2AJhK5KJaKH8cdISbOhrSgEqAcDGHpbspTOVr0IOZH4Thmz+sb4uAaQ+/ATe+ZPCQbacaYf44A4Tdgdo/oCt5mB3myS8w5krOdJEXXa1iDnBvuoiJ3RRnlgl5FxXLFZawNnyLqIN7h/wTxmDY3l4C0rAIKepw55BJwtprAqW+fcpkahboetaS+5H6QFP5U167aUIjBegQgkeoxkCK1zsfkIo99ZKTU0GUyqudTbMpyhYoZVQZx/NhQZCQizziHKtqSG/lVwDqZpBGjAFOXaW9Rt8E1oN6PjjWAGbWLbWO7lkGP7b4WZyY24Nj6Q3tMORQFhlSXZ0YveYrGRr6v/qHCmwHjXYJw5Lxb/HZioVFxLFn+yvhoNccShDmu2c55vZUtXnKHYrjATnIBG2YJBYlUoZwWfuCmtm637/I14zDBRZj08lAymm5hl3GAVZQRB2n4N+UTxlyzKFn13udLHi6zFALplOpsS9URjH6CjzC0qcYp2rtlblv9RNipayIbqp1sUe4tSPooBKXOsV3aPzYq1Ggwx2x9oGG491DXwB8iIfwad4A3RfpLEqKfo0m9w7L/q2TsA7VjbKPT1kWKC4O3rJdw0xIsjMPG/3M73q4Fwnb9CmtM7rtn1INwwy73f4AgO+ScWjBsr4viqCYz4SWOxRsBb9z0KsIo2I13O9NErO0b7A+TDZ+KDoCPFs3U+ClWXDeyVKJqD/O4i0AgdXlrOAknXdJYy/ehPqLsERIO6QymMmJWfOzYQqARtH7onnCo+V3ZUkmXV2EsWGz3DIEFGA5vSZpuABr3RlWgleZKbkOwFDu7r+o8zD5C90L5wj/X8ady5hcEWJhS6rH6xxSHRsWttTxBorwCpRwtcuF++iy6YfuTYPKJXAVNCvH+/GPLzwHvitvK0OldogUCH0wd5RSscSvWWakymZ3uZTQywXxhr5z50Qaz8oczsbPtzSUvbMfODzlhtYPQtwFGQjJ19SvM/FD+d5AwTujzeUXcSfFRMDWGfoUeXY/4Ypg727pjGMdenJls1sCHMP+RNyhKWatK2TIX8GaCCOrvjn7MZLeiEsz9BovRNt2D14Q+Y30XXbBkPf4qU6fQbmm7qmVN/Z5qx/uf3Z8Kqaxk5d4XbkxMyj1zSmo7As48MMr27OMgEAn38tPvK0Fy/Qy90HtENhklplEJouvLe0P+UdUmIZNB73/phodr6Hj58oTr4K4wOiZfYYHZNP+jawcEt6hSDjmdnuEfgcmDZdG7fe5dLZ1xeb2L1CMeFaH5zD9pDjkdheZZljlxs9OqY/TpKCbbgQ/ND+QwviUazh2W60WBG/7iHNLW+3xlxJl4/L8PI2k2uAclOZDIhKfEtZN3uFCUxlfxFj2+wAmSKeqpqVziyaqesy8jZ7bh1Xa2B7+zZbO4eHtSyLbl+bbXb05c+FiFqoByQYHuoAN/rzL5i1nhCBc4QHWHgd17U+SUxCcHzGAe49spSWhDh8s25n3R8u6JgLfvOxEc2dxzkGJzGR1LfQY0tL+Eio7zeuVUhAupjHvqk+DZc2P21F6L5xqVoBIgwrsJ4L64IdtYbWg2Z5aYOo4tQ+qWrlQwOyM/AntHEHBOOy2g68oFMiW3TL485SYnKLZMarBCtz5NVeDuUTBv8NTl/ww3E6w2M/nZYfgiPejV3aF8fPH9iFsirTzqjNbXExKRmDZ3uB8dTX9Nurfp8T6WB6/4tPVNxnQNBh5izqEFL2JewkZqD8Uh1zxfxoXoz9OBW3T9zgM3AxwZhjwrPyM0msCMIOUovttrv1nZLlIma00XMt646exR8yR5WKC2AiweFMdkh6Eh1+sZj8mshAdkMhnUXH7e1sX1M9d/LgBsryn88p2Ld0JfytLKTSjOt8w/qhPnQQpnv+UBPrZh/jKao5WuI4dlCER7Mz1fcFPaxYdV1JUBVjGxDr4vJQVJ26zVKxon/mpW/c3q7rrT4ybNSuUOmqxqu+xWaNuSaPf5fW8J31p6D877EbooZkUHYUotgsFy7cNfSqgT3QY3R2t92Vi+8Ml/m6GYQF1qzNYbCeqELK+Sr9paufo9n/geu8owxC60n/gz2XrXxtkWCeXW6Md6LH4feMHfWEWD1KCeVGoWlulsViyv83C2eWqqK8MEWQSkCB/7sDUh6yTbZSE9zq7y2haNzZaQ7XAMaotabShJmfoplSljzLfb0c8fTOO9GB3lNwOzvFsoToWhJwoXBcAx9FJ/jucUjj524G0wCs7M5HYZaZRr5Wi1obxY4k/pTjahtO4x++bJ6oycPc4UUIUkUdPTuyY4vYwPTDHJjN1/CUPR+UM3nM7k9szS2AZFUyztPgDCF5sI8XfptaKieHYv0gQjd9AGFHVOsaIit+IySOp9G0Kbi+H21xe7rRt3xatIYg+JApBmXTN0cE+B8eeN4jzz5SIlGaFG6+jVnv9+AItEb5izjIxqONdhMyZFdjXGAM7oCN3gG92SnsIFpBhC8jz6kGaozdGaEtNspoUnDPaodh/Xfyl19d0kClyh6Yekv0z0l8aEg4AYAPwfl3E7ajFvEa5Xh5kAfM0Cpv6UAF5/27RzDOeDM+LNQXX80qqDgh1sGs7aQUCcuNsCx20WZnj13uNKje2PtXvzg2wddAifGInA+xceXYSlzpGSAZ6VS+MiwiMO0I5IGNZBNzdEk9dq+OoohC8PW2F/i+oNnYTooA4JhmIjorG4qdUmVwi0/DB7tr6IKy0cX5hREjvAI5kiR3iZQIS6vRAHwO4AlI5K8Aqv/Y8Xn+xLScCz8cgal35sE4NdQmU+W0rWZRbGri53UMggarHTGTyFB1hexdsT0yWxDjOEscZNQ2MPoWHKHQzXRCBRP9Yma1C8C5menyh9n1aL+7E2YkFZ4wAWKBesXl5x097PEqNGU5nZzzkW8aZafwVzpnpPOtAruqzRXaWI6BAZLPCiXoHCT432RO2uLjvS8OiAQ7CfZ5cwv8AUFnC12nRXhBEXcH7kMcn5T9Nwv7+TPNaEmGHRkq/qtEsO+vipGADrerHxgd3+N/8ibmIcQSIo2fWa/Y4X5RA+68echGjm/3KtKbedsWojKEmPi+ngNJrJCU7NB59mSYFQH0NxE57P7C/n+vtoe5k6DwcqZfjF8Vq9khoa8nBFa0UrcqU4TB6plX4qgoBvVTNunDX2KwvBdtZ25Y/aUIPej/lEDDd4/klLV7N8LvQXgr68iynrUdHWjveZ6LnxV/cQZISZLhiIUzVgeOVX/qKXPR7u12QcT4iX7AYCTNiXXAiEm5ioojfeIvjWa+coEjIRAEbDNUmVWit0Yf3Q1Q9rnzOIgzcXnPMX8i2PyNUPDawwfg0uQLWoABAXYaM4BIr+oleLvQSxzyP/0OqMFVsWRbEBzY+56C7/WeU4MIPWpuzgILPSiIq4uQsvCoB/ExT628YwTA7Cb4UcGzkCcgrCCjiWV/5A5bbLVSanTRSuDSh27W0NfHKcaxqCRMVnFPFqOH9yfpgD8ugvqVJUiaCMTMq6fve+w7WkJYYhRt1AS34ZpgpCup4RHIYt47d6GZo9sjZJJX0Ja5XYvpO/+ffyBjpjQxtCzEf/nW2OKxh6Q6aCTgwxcHS8xRlvqgtXZX22VAiYl9GilznRSXK8Ui59xOWnoOu4IuD+X8Xg072wwRukprVY7fCJCE8OXPGwteSDQMCN+9zANJg4h932l7LEUgthuHxGMqpgaOVUDKU86AkkQbsd/0TqTKjXWIvfxx4pjpUEHxETTJMRJMsoSk4zXdf2U//LMhvmUYjHn9zFB6cK/4In/GGQVpRCyYKA+lVKX7+deGcibGW9GIr0WtDPnsC+ARqtnIVyF3k02k4Sn6wflAGV3STcXek4IcGF5vUpa8ofjWrRZ6yM6StEo6zUv/ibMCJdlxluhTm3OVtJ/J/kTKXyYDWR7z1NEM9vpFot3pysarkVz5LO+ptteoXR6IGs4RuTl4f/Etb3OaXI0K+4CRRhDATY/PoZXbuhd69U+/XXg1AUy69NZO3Vfy444ZbOIHii6vEcNMAad5EWCZuzyfNatBrB5n/38d9KL06cNrHsj8FC1kSM5+cfpVrBKGDEdW1acYtH76BizcHNuKPFo/4u0kVgMKXU8O+Li9UehQRKcQEPDNOmVjahzKDiR0Sf1XzzHVDnmtu1ie0KOphFHJJ5tLhvyhxzFEA9tbrmviQrD6Ss9dDSNjQh7nXCEr9a1QtkMRUemU8rYwfOIn+0L5kdHXdMcaOLJ8wnv1hNVFIWuokp1ZX2Z7/RZLtiTGskEK2QcuWqiuz/KZv9tJNIgT1gXy2smuwPw6gQUwOLi3mry6AdfJ0f/jbjhLGPJsR+Tedx3AJ2m68m1HVFjbuti34G2wmWue4PECb4uEaCVtXSReD3Si0m6jYPwIMUjBg0fZWHGugm7v0dI85DFHcSD5rmsgBHRxgxxFJ0PQ0wUNRaKihdGv31SZG8pR2tAzDc+IZCaRdpdysQ/L/G2ZUJ+VWQqKWQcuwtD9DPT14jAszKf5Nfp0e1XyjGkPwMsU7g1wE8FtyaBcietpSJ65q4c7Psd24hGcnZGZL5MqlEP6faeaX13xIy5mwB94GiSb/hb0/XWiCQ+2uGSGIAmIYDLAwRlxjpbqZ3rXbPB6RfHn2LKzXDDSew6A/LfaYN+9Bl5aRGHvtXRtOyosj5sR5RfthGTMiZ9uGWgKkc+UoU7P6VlMhXse13f7NKFOQlOVtRl8DGZxqpd4URJ6NCP5Ju74eCa9rWvmQTQ9yjqGxGlw6yzH6/+/l5KNNBia6kxvae59OpsqE5QscLlznz/Dp1wpKRkI+QYDS+MOTiXoAw2mS9KUAMNwPayJwRr0oenXLbd3xbBHj1Wg/jWsuLyNCBaKdcl6P7Qj2mm7jlszKrwIq1VGnWORgSDTTyvBgXM4WiyloPHSIQ7zBzH2hFAmGM5WVEB4AvCZduqhqjdRwSb2sXSwT9Fib4x+ks8UxFQXxlrMyUhW1CauxQjfqsCODeQnh+cXgHRBqAFgbeE2c+EpQoPZsILQnOd1pKlEXgvCtuAeBZILmV7ka8awLQai9eoyi1/7CAmauX/3D9C3Iea9ipdTrlBn+beTvYb86TMS+2020ej5kvJcOceM9yhiw2eobwuMOsvrXqpzbH/gQ1+dhDc7AUWVuJUCANEXMCEaV/OMXW4pGQXsewvvrh2nH2dn3iUx6vyFzYawNhSlYISJKkyzYl/C1wFVt1DI9gA+Qtc0Kz+AXaBy5XN6O7su4MfFS5RfkTzztm/IyjBzcJc0oK2lcg1HcV6YT41OK2VtG/3Awt07w0Ksp7cWS+eBtVmfBk0IpRNKYZfg7icxsDrdQAyFZ+MdfJDnQoNoiVBOukBJf0LTiIkMKj+zdib3g/s7eB4MfXpnyE0P1U3zrOPhXud8TsrUZhU3W++Xi/Y3521IhEU7QHLtpnW2y9I6404NCifF4ZY+V1vg+N0Wprno/YMEhQhUD1Ji4ODR8ell1nZK+TBnS3i/DJX8MLpcOjocxRXQlKWqVZDA6+tl+KlWMVK3wSvkJXotNmcz76jpLbPGf0hwKW4dEFtE43vHdFCiX8eNpKD50xCGCJxE4oOcnhJfiFhOscMStTkH3MU+JYcuScBqWb1/qoMR0pHTtfsnSa+dmsqoJry72jt3NtucrR0os3mBhnEAwJgB3yvdaAVMLGuNXfV826m6f0QJD8Xzo8lC1Ygd6DjvAfMStJEdf8Q4wHNgJS37KFACBMK86aUsJA4iwKz70GvASASjnUl+LrY/pl4pqeVV7yjJ7dk6y/YyPK8Gihjlx7AVUEOWsLGRvEdMFsn89TKJR0MBDZN2qiTKo1/QAipKRQO0P2NO3hiay4E92m7z3uRvH6811j46zvUExSjaLWV8Jc8IIoKGIHtJ8D299kBBiWCxtLggN7GWkqagIZgoIKlaZcHq8jlJneaCOicYms+zOSw1/3OUe0mUynhH1ZPg5jl0svKCAM+QMwb8oRm/T/Fv9awsn7QdD70nvzqBvJDLO5lk29sU9PrcxRz4gyV5csnKxgconMT7mBa0n4dIGHm6ykDvP/uQd78n4KgK5mVrg9y8Bvy/nc5jv41Q+Zd4i/B7+HYT5rZ+sKWW789bc/gfEP4zyvGqmDHase+FstZD4TTasS6JQMw+YLwNYh0OPJ3MtgoqicCBjKiWMP79jl9W2UJ/dYdyrU/Lqe0PjaGTVt4OR6x21RIMNCk1RBwsiV2aDtz/RUW9G/kbRFrs0/diM+XJjqdU3BLpr6j59MvP7bN26mv8MlMlyJM2WAMGb/RHuvcPabDdRPAO2WYLZn58btuTnXvWbfJZFf7ggJnI6LZqomwpw6Ak5Zy3tcqkh2LqNuK2n+FJiUX0iL0i5EnEzKZkifCKxv5nzfLJVgKDrbgr9AomhsEIeMp5BVkKJYEaoMccDlFaB6OpueCwPm/HtfOI3khzhm/gooH1NYMQM56YBotKCBZqqodFVBoKS1eL+fPeDj3MN6DCjfUHvOawtO+Kyq0rgpdZJaFqGE118WdJ2adXSo6lQcUNVmCQeR8Sl1UAAqX4B7AppnCjBwBot8nJredKaqAJG+h7kjGYJVIhZ7s+Lztzf4ohw9qjWFFBgaSv2cJejxQmyQ/NTKW7AdW+gEUh6HZTLWcioKy9ppKyQk6Lq8aLU3mCyqi4evPYBup/gqbXSmr3qgBR4CqbMlRGWIiwWqiOljjLT80l49cMIPt6DlWgKUaDYCq7to6KM/PzUxHeIxMjVWkRqKfOB0P0c5CdTnnzb7hB1rCNtFaBukS4qwk2tKIh63LthaPZrGTwPb0BX5nG50ekch4VWUCLhlk9cR/QIFe5NPWZWlB4t2A7hlO5H22DiYKjttcRxvLE/z0RRAOBI1H6o/7pfq13POOiEhxGQ3bPyEQiPr+434fP6ogfC77Ot/gi8mmromBRbUzaJaNkXxVuYEeCBTIZlNF28UIDrYqGYkNyPnEpEdAecXT7PPkKxTkiNjHabrkfUIo7xkodFV5c3AfqlLakeLPe2ARlJgA1Iiq13zmVognUTHxC3960DBmGSjz9zrlycolSG/IzIN4spl9q5GTcZRhmhyE0vQLKtHFunyJ5Tqt14ekEiJNe/1N97Tcg42vup7tuAiNq1xEVeg5lo16i8uucwSitOIJSL0kLkVRYRr++xEvU9N3deTDSdFuzcerZIu0/7nj/Ss1wVGcR9NahNzMIko0N98ViMYFw763R0V/M1skya2n6cL0EMXZRz1Uf8CX5y+iJBNDKjTS6S59Rj2vVhatnjrK+zNgO9g7Czra1OQ7IjFQ4sLmOCroBxsWkSWa/4EVXmxmQG/Lop43mW8nV4anjQAcWapA3MSzjRTIRp85B3omLg3Joc4tNKY2SbZ+BuiT2/GdP4dt9BDde5GACRlbNHiANeAnGk8DqHy7vh8ed7AfGavkZ/rZyC/pynoiwrP2B6WRzMOCc3m8UD8ybhnFvcWDs6Fz2EcnRCXsavqBgNQBdl79YYKPFZl20v8vxErLlpZPwe76buZD6sbb5VpjKQEQBKJzmCTaV3r2f7HQw7usrwF+LRXFoamUwt25o8JFhDkweRVI3/KvOZJpW1kpzMFNQ7Bj28BlznjMe3iVT/mt+HR6PXGlT1bhQm3icDfQsOVNd1f71BtkFXnh27RrAph5pCcOPfYz+ne/FwT2c3ryd29HiKwc81WdgunEreclXRynyN8Ud3Hu9bNCW9zDD9ihw51dBdRuijFvPjqf7f39pJq2wtehqeZo2qjPY8B0fxf/4pZm3h0smPtLxzK4asiDH/9aQXsNE3m9STZYRF71wahCZBGbrFayp7iPKH/tpFvS/i6CkV/usfNK2bS17zyRNlIJ3ZrswtFAYBDD1+U7ysEK9/U2ZpazIsJLUL6FrQE146FrMx/Xw/x7MYsptS5OxU8IOhJLkonstQNFaBA1EKw5Glf3dC7tYJ+BaX/D3138yPqaCDA129UtWZbv8yMSDgqkFBOSBddfKBZx5HAPeWDjAn5n8Yn3Ds4dtJdg5Ca0Cq2A53M5tRbvpUrWtvlR1vCJT9BzJcuEiyhm7MHQpmouEtC5mNHKOZ7cjAoTWKPyENFL3FLf9P3rxFxy2lYi2rbI+wausJHeu48ehTkgcsJkYu7xKzowp+z6nDcckna289NcYz+urM6ajRFdjq8+WTecfW3OECUeC0vVH7zq0zyfN3M23RDFouSHQbGZynFJ6lea4zDyDAZgh+ijDD+gUKBf8TZ+KTZIqfc8FmEX6A7PXrxAp2edNwx2AG9GdtB6Qv3yEEQZjsHjeR3QDmo/J1gnF6yFXORFLM2hvZnh82HoPG6WVEeYKhL8Gw33hKZz5OACyjdKdUx41hpKtpQomOmFyJACD1FPnLQF9HgzpcyRM4WufI7x9BXUr6JvXIcibbgWSTL442+DoipRhcXtM1NTu1Xcgr3I1L61tHFSwTPu/AjlD7FGmejSEdmqqfVGEROkqakVuNlkveCV1GM+w3WpMoH9+CPRmyV9YTzkO7AajVRcS6HclgLYuBGEBVl8RrCOE29GyLHXjIZEbHiM0nsUbfRm9Bu0Xt8C3VuNK+T7udF58mjMr8SK2hKUri43TzK3p85/ZY1vRbt+nrrUyuO3v6OBPeQH3F7eRL1aPT87EuMGo6S1PskAhGmDFSAZLszOMKY65l1lw8Pruk1p6Gog+YF+m7JebHvbFndRmDTZgeTi2al4KNO43nNyPn01xMCdGTrANk2IgZ4o/aGDZwbkFzUqouwW9B45LeV0AO93pW75bpUA8zn/9djIpkTCne6RCGaPlXbM7X/hFnnoGVhxO9bTcedmTRRKh7/cf0rUxjyn7cA+XyfHu8CIOuxZDVHV+2BHFepVEkMSJGCeD9HDzuflcwIZNOBolWYt1HNgoagh614BJ+zr1hQdzHDmy2uNZ2GMm6IV3gu9ULOwr9bv5IN0wOXADs9MzK4bE+/+3pJxUYQHEzSEiKu1kYbDKCOZ5n+DKqKDOINhZdacS7d3oBpsCcF8rIyf2qNb4VByBTdH6OcCdxpz7qSGQYBXDyZqLO53Tv3s0/5HUOFD1qtx2HfOMNFkDADaj0NEsQAL42MRpkryql4Tl4a03XyU4nuQ5PWytfE20zyHhWl/3h/f5K1EFbXPjCdIfzk+K7alCSok/NTf3cy0nI6fIpmYG08x0XQjPwf3HIrDqWNAn0akpsCbs9nCpEJTjZuxXXhK1mFlKpiyLZXOYU5lc84q4ijbgjoIz030U3HM9rzJx//uGS9pZbdhAoTLAmeqIG8yYKQ3tOhd2TaVM2J0MwMD59KMkGnq+krJ3UNalArg0mBaQnWh7Di3bKm9NSsouhTCwCskJ76Qv33MfhOu6BAuY9N5mB6URFKmGJdgaJEH2XlnU6KVODT6TE7ddse25Jo630nof4+4nGbYscQDC/LvNsa6zZihR4ZQSF23Sj+sSfYmwHI9gTlOzCiOPf8wWoPuev5e5+TltbdnuFL6q9bYh7KKvqH/ltkCOcWHGfr4ggqUNdjb6baLRTAJRaoa7yRpF6V4PgjK2wCxZB/FYFvWgLKCzT9TxD7oQ9F09FgidvzkYLpyhOZmSqX1u/oeuui/G0IMCu0GV3uvA5xRourqxYAf/3PRPRTHNNsRf+Ivy+5m5kxCMOCHmQCT/BhjmtyuVNY1ZENhXnG1zFKQSeP9Apv7EE4/2bfh3qQOdSkrmje+Zy74liUVrftkFbji4WllF1K0G0cK1J7qx/jiJLt5Lnx8ZavrJBOAVqGMR68WGOWWFcrUv76R9PrtdcBX0KhGYanQ+UlK7z2bha/krHwken4+2H5UKtIZa2GV3F+UA+I8mAeTmuwoT2BMUoXvb6g9WnSxzcLFs1/QRpGR6MUA4XN3KQXuUIsXmrxP4HydtCdsGQSRaNZEYk0g7LnaqX43Jb2sgsJo7dT6Q91lVpfBGEUvBP5nWlGFav9r6dxrxUrehpBWjU4ew8PGfOuAaZhtJHYAMYyxm3qdmCG+RSPSOL3icoDPPhY+0EiMb6gP/FI6DbAjyL/l6C6KGHNHKp1sAl722zsQOlQI1GIrnkk0Stc6LjtFduPmqv+NrtiqbgUHqW7CX34T6dfZu35IWmnvrJwILCvOKGf0A1zpvmHSnBrY8mL+XpX5R2onV+EMWeR96oMMf8vWFUUBpmy2pAIRdoA3IiOt0I6N6HXsiJUXSdolKW/w3uh1tbCtSOT8UFztsWfBpRvia0ncwmcGhWY2+5xYFdQhyHquqV512gY+q/KE4JeY7BShpK/3CbeSJDav2W+UzqGCDCayU1pS4P0rSCcGk8Bz/9jYRUueKxrTImSPSicufXpNqgqhlw8+OzxnVj05sDyvkfMujsj4TEHJyoRT2M+4rujpApshgZF089a0kP9UAbQkp4WK5TLEDCKP7MCEqzJYvisQbKBfGVbcIN0dCF/oolw9+SRlwCzpGT+8iss8dXKqF5oda0swCwUADYesbUvr/2tdePt/tVphGXgEfDet5FLIg0rZFYLTM4rvdJ3nGB7E8IYjaLIb7M/Y9t9UJl0Z+HewHbfGq+QW2VaTWyhP/ZwEyEi4cKwLDEwRRjGz1UZ5fbI20UExTX/TcoEOMzmYIUjrjYCmZroN+wfJUIVBuPZa7yEuUK0w6wYDSKUGdG2akKlJ+iji9dS+LLKpP1JzlxCbaFGi1iRqIIAtKYfLtazPu4e5wZRKo2vn/lkgGGQXzC22TVEwjw0kWOBSwNYxdlzRwmAtcdn2RQZ1mgqJ+Wu0ijpRcA8EGqQwRPmId7q2mfqDcOoBWOS57syWO7s7RBFZ7+kpk7//TONY3NiSeWRyPEm1lQLCrsSG7Nf4+/UNMvSUAKq+k1F2LWpLdteorKOEqCWPULLAF0xodlu7jSU7LUIde0W0/Z1DErBThGgtadvS1wGvqFOh4URaxGg/D97ktZ1iPlQAw6OLq7MU4+EhnE9WDn7dx5/rNUes3+hnNc3ppHLp4HeNsaRKsW5vrX8NQub3JGS5R1VMSKi5UyYG7TWxSNmWg2ETrI/Aax9CFi8lzaLjufeCNtpKOPYsRVx76V4TodTRYBiwAmhRWuI53cpmUMTprN+mCV9virg96OyFMBX1FU0/inqNf6MSS0HG9nkBhKR178olmeoJsohoHDoBnlM7wuDk/LHnJUIVBqZDrhfDr2hLbwxYGMk4NFe7T0TNUhdozIkTpF85c9c/IS1jjEGmbZ4TTuCSl2CjCZ95YrZKU77+LCW4Qcy5exq3Z5HyCe/nFNMeHbEX4bDRJqkHIFESjFd4+Dtc1I9zsVcERZmXRQ6x95XneeIai0Zjpf9gaeSdPsAp3dXGy/W3Anbaw0AZ13UxC1X8VmqTWdXHB3cWenoTB/6Aa8bM4ydVAxhWnHLQBEQEkdMqzMbqaJ6ytE+eIcCgnqwTUFCMC3NJrJrnSTRVWZEcape9b5yfg9PSiPZcGx3heZMlv9NGxu4agEd8i8oVmOadu2B+Wf5ZdIla8fPrJdeEJooC1gDRBw825TMrff0qPaaTv3c1HGJec2iVIJKm/VoFAeaSQ6GWPLp46Az4t5jZM1L3nyLLDH9T5f+mJDnscDNrLtlMxIDnHHib1k/UADpEvC+bXei7Q+6vEEBeJazz1sZewTpU7lPH1/sV66K0VtN2Sv6YFZmRPps2aIUek6aSAykP04EZ59jEwiS49qwXAeYeehi3TrTvgc3g9S2fg5SR2TMskAiAoKb35SOIjIbTNq4okMu88CgK2fC3uf9auHrU5eao3FK541dnailQ+565taA0EXFIevoWjyR53YX/Nka2aBFWkerbOVJl4iG4J4MjfRgjokUA25P1JTsNCI+E0NSAMgIalD211/RpS7kAex5a/8h2sMEAR+EEGtjGRjc+cm9X4KDg4ihCOrKHVh2cpZRr12uydlIMR42Sz9X0lA23h3kDn+2JN8C6Fp2q2hJ8EDPcDOG8p++uvI7rUJPdJ6rlyyrYBubWkpTpdCw9Uy0xaQ8zyl7g9N35yf4uaINmdH9pOd/w1Y0fC79z1lcTCLRj1k+Eh863px7zEpQ91v+dpuDr8g3fd7jK5q+ECr0GCni448Y0bTfbpWtVt2km/q8HIyEl6ZstIucIHdV6Hw9IwxHDnOwjaera7pLeFmlGfuvPEHChc1nlurY2o5Ku8BNPbJj+KcthNiHX90Xxr+oHbRh5KdNY8HLXic0Qr4jpmnqjMu8iWl3eRvM/ZOub86pI5DJOl8f/7K0sR29688YgpC78qcUmHa3CL4+//S7eZdrqJsYgSuYTqy5Vw4gvZOhtb/p2p+tiQhQKiAN3f1p0QnKOKFXb1Y7gFsYCZ8g2YL5xF+F9wdl9CJEYI2IeE3+Dx3zrj7RTwxU12x0Me8GS61ExM7//+kh67FoxKp4CjckyDOcoiwVYFRZtSLD2U08WzBPbil8vvF+128jlqGmU1VYurt+Ss7xC7rIeuVy4eBH73L0ISduZDjjjnFPMliRqNoEJ5gmh1H3LQrrw7mzHCE5jqxH5uOs+NAFa2ncf6Zv6yypjpwhHj7SDFX9Y93Zj4kcs377xUrxfwxWV4u+NbimmtbfuWlx6o8p6Z0G3xXNO+w3haNHT4alo3bprD26Q1W8/8o/dMn37BbMRMf7nMc7HXVm1Y+chqV41sMBwnQHiAJwbNJ6nHGU1dit+DvR/os69gUJAe7hbZ/6e9XrEjbD9b7c3t6hrgansmR1A8yFHzuhiaBqan9ZW26CWOUSAJVkkO2hzqaEVm5pRCXMpV0KXDqVxO6KdPpJ4ni33PTiY7uGmaioNrdjKbDvr5Wh7B/iYzVTIIrNtVDOdz6DQGniVlML76bMDkuVj6ryFzp8zcOm7q8vjOleZtTm0NPgINFaQweTNlwkMdc3Wok3Q1qok6jdiGI7ednvnJxpwlrPKiX49atxzUJ5upbKjVg4Pc/v76lsMSHba1BNl3LFVgohehqGSswceG9cwuPbveUXd05vl50V3zssS7jlgmEyoXce4yLDazeeYPzvyyU76RSUmvjyXJVJeZ/BD6TfjwG/LSRSR9UilaxBs2VtBZ3fyAilRsRicX31WcVwQCNYKx0zB3uC0HBDXO05rvvFQg+k2mtzreNcdgk+8NOclBZToKuXvjhrPPosyqX6T87B8ewVvrYBM+7rVEEXNieOCIQAO3qJbNAHbEohQ==" title="Mekko Graphics Chart">
            <a:extLst>
              <a:ext uri="{FF2B5EF4-FFF2-40B4-BE49-F238E27FC236}">
                <a16:creationId xmlns:a16="http://schemas.microsoft.com/office/drawing/2014/main" id="{3C1D0AA7-592C-453C-9823-318766BAEFA6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 bwMode="gray">
          <a:xfrm>
            <a:off x="5414496" y="2014837"/>
            <a:ext cx="1414811" cy="3910686"/>
          </a:xfrm>
          <a:prstGeom prst="rect">
            <a:avLst/>
          </a:prstGeom>
          <a:blipFill>
            <a:blip r:embed="rId15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50" name="Rectangle 49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ItN+BdkIU6kSkys1oz4FTbg3IAHFZDQQIUI41CPkYeCkR+S8QFB2kPylUA3JsntOnMnXuTmmpeohPhgnOvWjiJahxbCEkKhcALAa4/g5rVRNUo4brP4JhiLsU+8O7v73AugP61KaL9V/ZMDFmIanld6KNo4Tnuo4CWlQ3Kec22FtIEqMisG3RMmj5wobwJmsj8l6v1JQfLZaoon24tS/ioy6j09oDLuh7RRZyxVpcRdzOJjmmHUa0qnMr5Uegu32pOZ7YDnLB2Kug8Z2k+gzN41szMpcTwsFOrnZvPaAzlsdFKar9I7xTBXyhuPu65sqsySYzv/TMR2o5avDQK3tAkwzTP5gMC67GjfB7vcNfWLHrawTs9BApP3rgdfsgUG4hx5y3YhUW8pSYX5Np15tpQi7oZ/nQRePxQ6d32NQhnddmqHdSMtojhYECD5/tOorHxi5r/z10JJlhaGgyckrIbWMkD4P2NQH80nsfr10dyz3KtZEh9KhHOIr1vI9Dh2pN5hQatsVhAVX5LgPsTJr+uG1fYIzLRhD0Vevryif4IF8GS4uBxV1b1mWL2Wd/tUCeoIHXN3ayGc8qHB6Zx+ZRci9dQi1VoJqLHFyoY2cVG0E1SU3nZlZPyUlyUoM/ATt7kwrX4Xb3Yomb6ITrUfiXKf762JJdFluQW1ODcnwxNuZ1j5xEwk7Yz+qjXkoTtRrnOfdlklIeHof+9Hqh9eorCwCC/QHQVsCuVYf1p6ackljKsZj+djFn4b2spEw+NHDaZk0LerNciqm0g0qXJZlv6ZMj3k7zNMHyzJTV/7eJ5Fdor5olnNRWsD+oFIar1V8Ty2IvxZv2BnU//x+HmuD74Laoo7OyKnlsAPstoTozWzZjMeQZnRRnN9rDDWXb4E+xNqDP0FTXQxf3nmZbvSDWX64uEPNcIANdv5PzlRN8b8CLjRbeZIdOLMylURNkIeZZ4X0cb2hALYkL61o2yX9G4Ir20PySTuVgTN54fxRGj1+cR6SzFnjgB9XkgIPhzTmsRrPvpWCLhV9fwJ7n5oz0ceniZujo+Yod1WE/0yK88W0S0p5GC9cBbsCBSLVqagml4qTYcZiMk9qeAN0L5CEA7oFsFl3BCHB6KmglNFQsCVLq+6ONZj+BVIQdfPu4QjyUocCaIFAjTXTrBW/kCiy84TbIkRZdN4jAOSIDaXK7EZs6rYRwUNjp12lkr4Cv8Dmug6/sgREQPQMJOia2jNV2Rbif65ueT/O0ohP51o8YyqvI3ELm8bGRox6ivi+panTpmwaIgG8i+xMy23Thszb98bi+jETIOlT6Z4t277PIkhYTcfjqia+mhFVNejXkH65fHP7VgulxAWErv4uvKWUkJH0TYqzJjwbz9Hvh5PmB0KJAGIAts5OKSFsyACzkgMZJAV6BlN70OcQAmw/vvxBYfJHsQmx4rrpp4EhU6VSQAIdXvsUffW8YNm6ES/Wfw33h8gRpZAuJt/pczbRQWaa+uelNNvphl1fVfAdUvSJ+w1ZzeHQb4DWXAy07dCTRYoTJbIL3od9cmvlrzLzBiIuIkvOQYAu5IMrecglHjmokAzlfWexafsMIJSi9GIy4S0fFIo5IEGaHgxKuYgKIOXgfEe1cK/hL6gyyNncHu/NRhWak22w2aUX8wdBYIfeTG10YQUD/IlQkvDu7eHzVyNCfcAxT5kJ7aKGdMMuEdCpbsdDCMOEh4l6hdr5mRPsRSCoprooplp2OCAmWPaxq6eSoIZb2W/fL5MhQ5YzCh3YGLdxhZbQF5bbqol6NKYB6mNexZmih4k0eAte7ambbRFPTCOKIALnpAvTJeubCXDArtSJsEXHB7uTVVB3FckRXpobmwzdxkqW77W7sRB1O5gdCo6f7GsZ0qgx/XP2dW29J/dXp3x9LdHYUTpLHHsL1Cw5Fi1JiIIUlUP+uSBEzYP9OmSVhd/vv71HGFzwgoQX48NkhiZiSU2dVwP1W1I1QleeyTE70bYalqrJljkg8uDTuZidKKBzVcc8ojYaPBjj+FBJYYR3FlgdN1QxitL4HdcQUdNa7twUDduOGFMMYbIHxEvQKSyM+Cqq7iZtLutrOLA+w6UhkaDg96UME/tJm2PgsGx7TJRwKyjCsYu/qM5GS+XBGe/HJySPiS5BH5R64lfd5aHdIsdksnLGfT0cdTfP2sxIEUxr01RxakXPEwldN3F3fpWuEL+qftHv9wgqqixlyw/NfRYLXVVrv7YsaHsO4QMqOAHAl2JqAMVY2JSwS/I0hHalCvo3v4DWSHLaMr9GNpeW+V81WL1funWHRmbnM1+I1YT3FU+Tcj6goJkKikszAErthuApj/QaB2MHGwwhWpu6C71YQZolUMFFyJYB0XgA04YrR0hshOpLfQzEdDltti22aQ+aaE2IxEfrL7eRbyv6NoBhV+2Wbf4pVZeBoC8QkwifeI9HPOqUy+BRa3M4M9o4sZBn3SRCtooqWmksrQLnYxb7gwKXfDMC0iQbin3alqY1EnsJBr41bG8XEMJdptuumWunQalQhJ6aIuaoB71Ioy5Q0FkTVcnYAnFa8v6YavhRhFAfgebfAe+7NVwBDs8HE+EBwk30wDegGigQ3G+wu2n6KlCxB39WW10dEba201IuW7uEqepIMEuco7QJrLFjcRBqMmcEbjM3BQmk2fU32LtJLdRAaL8EppvXa9DDPIcB/2VO0U4fIShyviM2bOGeEC8d+mzNW0qzbp3pNI1Qd8VwlE+uq4fvZxEIgmUeQBPZC+EZJipvT9mZ7M54MrH3mgRkaZd1aHGdEl23u/GKVqSytdveTS/e87vInM0UXc2TD1PzzCOHMqqhRu/hPpfJbw4phiJPNrpYmqQjBY3kg0pLrQT0R28bY7OxbPT8cx7536uoSVBsTz1zOReUIHefRspcjJ3gHYZ+wzA4QG648SHl4OO4riRiPLmDfMgJkBipYY8pDxw4GbRnPJXmxLbuD5hum7i4FSfMy3ZywqtlWMR0yZJte1QqLRqx4NdbpmWHKr3WLq8qPUeqnPuggl1uAI6TGKiWMGYDZGZ0sFoPbVsijiFY1uKDeJdPLz189Sn+qmu2LtMEUedax2ATSAx6C2JKX+6JYHWwZt4Y5Qw6Cdm+QzlRuBBOdZgLA8rEnB7VwIXRbyOd7QinUePRgmfTu62JdjJNAwCcr7fLO1pUupmALb1ZEGY4NEPWyObHHk1ZoES+uQJbL1qzUn+ukfexQiLb84U/VxGVSJTB6AnRw99kzP0eL6MQBa1LiXvfS9M+Vie4xL3i/ulttOYQqCeNToIa2/MfdBwVNNWtjh+R3VH4wl4/O4NVKnvWmzdOf7VfJLXuDXaEjA3vU31YUoBJPw7zrq5LwZ9jOpIBSDMjv/LD7n9/bqn6h6sBcMxGyRWrrGQ8V0wqHsRjs785xm+wcvtA8TxN9FVYohunJLeSjSa//nI0UFKMozCDiFyj1V7RCUh+ZxKZgCFCNzDQElLCTgWXqii+s5z4+ZopBJzzsvgKAHElfKWAQSmGVBSbcsnmdMxbyfNht/e9ZSv9fyv4lvAj0KqfnMTBmWtf/wPNz4jAAafiWrf5N9d3DzFyEZcBevoWkAZAcb+8UKxmplUtUS5Nj1LJEdD3TS4JSE2AfrXESWl1bNnQIMnbPhozJZRemu5nTAXshM0SRG6FApFMIhGyUw6mvH4bTQsd2/wCSjs82cv2zRRtmNhcL6FjrfO77vlBkBiT+AC7hE5B1ZQ6Ww5rzCTwTPenhzE+96Dxr33Gi7rQqdA3KISL4RUkG/r1PJG8uZ9mg6v2a8wbI9en2taOyYDWZ1l3voUVh1mnS7+OVVXQPjSBrwO4HKwsrFV8sPhVm0dDv5s+3CRC3WareS2kirtzgzAZms9DNrHuCE0DfJEraDjUB1x9+4JdfHmGdsXCQg3D8a5InWr0Pu0kwh7YsBFc+7wE5K8O3EJe5Tg52pXRdztujbOdhBhJ5ndEmQhmsQ+krFGsTDOckpbM5v1ctNU6zGbaZy9j/0ai9oZF9Yh/xZjvVdw4KY8cOlVdQ8ENiETauDTrAGH2P+lU4/PDR5MQy9kfyZ2nRss8Tdqewy714RsmN6RkdBOixpgGKQumkG1DxjzuDrD2JR9SzIrfZjiIjhF3XQrs1wmKIjPGHwzvO1Ydr96O3bq4/OZntq0vFoyvm26wRkE7sOSQSOMJvJekTK2HgAm96lJ+bn+X4JXKZ1vfUG6D/dApgidEK1Q1jiUCcsEoBcnk/tYgPZCiDp2Iw/CWYY69nzmsbxproBHAdAWC3c+A8ChWX0HbzG/zx6E/CU6r6TOV8KFo2upn1xuLp9BMRwRFBEiRuSMb2gpJ3jl5g/wN0Lunjp+yGXtJANZAc0SrKwc8+woGJGHKTMu1kKSfKriLFScN6vnXBV+0YsVk3fMOglY2BAhHqVgZ904Ja3ThTMFLJcKja6x9KnSsccY/aLwglY7Yll0hSw5DdDXjoImuXb5jTNmeyy0YP7LrqC0fG+wafxtY1tVqrgaT7dziiuSaNKSG7YzsuSaB6rLHoaylGDHe0XqxfVgpPS0mIbx56Uv11ZWu5Anr1xLj0pgxYMslTQcnmCvpW0iik5aLLjvsOlhtVjZn7H+YdeBUR+yZHm77aiFVOdNfYP9d3UcLJ9K6VntgS4uWx/Q+fZxXnbJoLD/jZil+2d00gpNs0RT/QEzzoGBEO5egDrDUDBg6QLD2u8O2pi2jApl/w8tlFJoLHa4Sp76d5r7xnkK+S42EIGyBV6dSiFEN1TskT/ysF8YMa1KG9KmcfW9SdOxEWaoyEssnin7N1EtcA4NftkMOkzSp/ug5cpPK6IzcdhWgyWRCFl+iY9p8S3zXATK9C39Wj6gI7QZUuWplItkJLevQpU5eSvFeQHyh4GHQrZyf7zj9tVQJjW6WP/StLvcincKf/5OmQ2aYRkQDG3dNIHVLlDo0r2nQYnbMC9ggtXYbJWq86wA8ogzMp7WAt/uE6SRPZMeIXdfclQ8ExuR4Lb3NkLUCUh4olwjqrNYA4DpwCpyvvND4v9fR3MklYefcuOjnUw5kwzUGR7msBFSTCNRxGo7jKekHzbz1Zwfkax8OAzSmfUtNU76DdXduHLkQwpfWDT3JvqgA0mfFsEPxV8DsPMR1wIDc1ijkEpkpRo2X3oNijj5beJg4J6CEVNYE4KslS4Rb1+dfRpxKUqxnvW8AmbaFgy3l2z1h7MlM3miLYLtgyJQ+3f0ijS/bMipC9KElAVKijBq8EvF5Evaf/5Qe9XKxe0xTE5gR26ws5o4n2toXaFCoHE1Ea2sHE6HzqxvUmULc7hyhx36XhnjWcPLcgEtYsR8WWikfXjptUu8nyInUTeW/+XU9ky7WKU5BU3hJbJ8P5/I3cNsr1ts6fL8i+/ycl5je6g7GKkIkmsKqD5C1se63FArWZO9+fncaJk/07DXcNBHbDjvPCtpY8k/lz2MC8KOdT1E/CSt8cfGej5wPqj4hRl5Btr8YhrmD7pG+9plygdLhfelTlkjzhQY6Gfu4WnlfUEqlv7Z05EptD5j8VQ9tUP4cEPRN3sp69mNCHMRQLphoK/bapgfXSGzJ1Z+yyGOXUHLKLaq5kxoXYkxwhsDr5zDzlYb9MrhH16eSfe102FtUzHipLPLh8xVcWWof6rHWuGFo778U2FJ4zmijB0yZuOLKyh/1KV9Rzz+ovRBGEtta+6M6cqKGOxdeBDw8f+I03nl822H+N9xfpxKJXYlWLJjb5uOAO2pODqcN+uSr79KYuiItyEhBgtU6zIGnUEB7dvyCQvocI2sM0yDH+eXWLy8AjTuglAUTAzkb81tVy/PfZnAHU0QDVc0l4qyMkZi9TjYr2pnSRLE3UAE3u7e/TXAAAeT1KbZ/7tLCmHbaAznQtRPnYAA/sXDM4AI6AZdddBT+FuNFTrc1NSPEaC4CwaqjzAbhHWhyWWvf53O+mV788eljwLJJCIgSaJr2Ii6hsZYvu32CY0qp5z2sEHVmxLwCqZzpuJmx0sf1z+n7mCGE6Uq7ytDhWswc+em4lJHivgIYmlwNHwMVtviwYVltpoagymdlXtl4/Enz2gZEDO1vz9QYKVJIMlh51zA3c067W8y+vzwMJcvGMWH8AVG1R1I+CzBhUr8U9RhvE5g77shTnjjEJgzevjnT24NycIYw0ziFzjctEm0tP/wyqG2GYbhKuoOQY5wPXnGceri8aOgi+aVWkprxTQYZjJKLBUG+K4ZPGAfL35zyaQhhWthhmwuYYYoqurVTSDr442XJVm12KmQW6oRrEmgb1L4RQhBftt4aGghH011ASCc6WUyQl5gektmSRwj1izf17nIt3/eJvnny+8wb4StiHvqktSDAA9B9wm2GZvyWSTWjRAkEW8ccxs1DfdhID4TRm+DwUevK1aa0YBHIVE0ksD1S8BtdmFpApky2TFyB0LAX9c2gNjzhWlTRcDMVzXqpqCZQIlkp/s6xLfcZzHKS/g0HWnT4Ztiqw1DRkxSup7dfxHS/aMgAsl9fCOZp+uHhBtaHlOT4GIdfyjxk3Al7mCnwWOChwDU8tgeJhQ/H2XkXJxk8sZ77hBrb7n59Gzvd7zmkWjwGEIPaYWljuBECXdY9rf29bq24lqdszXYAbrQBWSlLzO6mT0KVHUyRTJJpCzHq4AZAQOUBqa21S9tAVzAzEjGs2/epimU3DFhDPsczgI2CKT/nEPSyharLRWBycAs+HS3WG6ZdxnokWkEBtwpOFFO4JoiUo/hEmddsTGc5oNvOI6I7BpM4NQedPkgDZq1ZoF/kspFaGQwSjdHriNOXjiItpZgxJ5a05BOxGAE/UOMv0hCO1sRwxApPfm+hCfbj/V2jgJtmmL4ZypXhxKwj3bYnclwM3qHecxud+W7an8Gab0BLuaEAXEXRqKg+1u6VP8x0rIQchgk/MTLyv5+J7nAnRvxAPUM21igCtLayQ6z+EwZl9OIl8vjTe0jPwoHZ1DZxSWoCTP5W5cypcsqe8y2DtWyr0r5yPsf8ZAiTBg49puqKdzNKWwjXipunMYj/Hpt2zeiDEOtKCQ2fr3lZvaUoXnM71ZLf4IQuwAklGp3jNNVM9GJereMR4+nJX3/uprBHV36g5znUwvcbI/S77oVYMjr2x2thu8+FcHZ4r4iFFOjopl+JjT73eRQ3H3Bfiw+iHCyMtSf+iBuP62P64Fi6oqkK0x8HJbBxv48SWREmZm0GoQ5wFe7fzlhb/w5sSqnedg/MqEv2pV/j4FPojuaHFDbe9NCYtj+raYJ8ehrYARkt2xQWUchaEV0X36ZbeiN6t/Ugei6EKHEJqaPjURBptEJtLjOb2CRZkt5DCHJTo1ufEaGKF65yaU++oeqTzpLbq4CKSmIyCFrys8Lz1gP9zb6xsQd+6f0Lg22GHPQs3ntBVoZpxVXIzC6XECW7AsfoZa4rN+4n2Gk0VYttCL9dCCzbMrFNpIF9MpTf2G3dxJSsr2hwNiC+BzwSEUm/ApAVuLAMtXvvuvuKg/doE6ICcx6BydwZXcjvN8MFW75stYr1WqupSnukk65CAttt7VyYCM1ZwWjIZ8hOXfUMOnAykQtjIEikJveIQlFYZOz+fhuyNgerTa0H7rJecv5Y4BzCpTdn9HvPetIHMVVIroxiIYC1N7PvJmQpsD35pxj3xta0Xt/5riD7E8UjlCugQRYHr7XjCiJaEpjMgT8KtmdmMFYqshrqreBhlXzMomJBztguVHkZwfpKszSJzs7zI1zCoZC4EJbiCFZxSsWcSMhnD0QpuSaYDPmvSpDR197eoRHMAGh4w/oxT5H7r5LaMgtIrwJ87dz+CPIC+m2EJ3j2WAYMqqha8QIotezs9eIfL04qC3q4RHAvKwH3om9BCGARtHcyGfkdXeiB5B3qia55+l4BJjS5P/Xy+BCfC8mpaKSZYcUnD/kvXQnnHRA9yIARm2FzGF0DtfXRuyJlIrCAlX314Tu2R3qlAGA1o68B8t47it9DmOagg7XItnatWEowChK8GlMf8ZN2cL40jbKsoSJwhOJjtssAObgGnPIayuw6M3Q3JnqMmS2OyL+MHYSfcP6jcC92EBWqDt0zI4LsDh7I4UBOeBw3U1uUWQWaxPKKqTJw/rvkEemLtQf/xAkvqlw3QCVxn5m/uLqt6kvBpFVahv1MkLda8Qg6app2xngg3jewkQnvSqflSpN09fdl4OHcHI8s+mA9moS6mbpUnw+cXMBA41L1Fq7lKAdx952EoEUIRQZ6e9QBa2ABZkgBC/GVwDmcrKa85M3CL2nVDjd5wbUHDGqiWotwFKKW10MJSkr2gaBXPHc0HPvwTc5NIG3VvCCNm5istTfe52myqRikKzDDVI5ldl0o4clp8R57I6FRe+ruOJbnpTlNu48MvlIfBgSe2gEKIHguxqKrfPEDm1Ou6D4nn3PLHkXQIRDvMAtOnGDKUekRpcQTuvynMM5jY0wVzpgGwTTtc4DtR4vfw386NlIYuvBedETwQiXyDcscwzVaQRaggS+wnpg1hMVHKlxLBaR2aavchDtaf0CpdgPVBPPlG4e0feGQXTiG5Wn2l5HdkKnFlkhvQVhawhU41WGtikQJM6ae6c7NpEKb+8D3yJzAGxwebZqUfSfJtScDKjTKTwcd1vDdsCEvIJbDFhKzQGUkYYrmBSVp5QMHXhQokJdSmatEW9Pkr0BuKJZS7UY7A1HU5HHc2JW9JI9uQHZvabb83JL1cnsJZCkt5U9+/+XLsHNojeR3K9pke7Q1+xrU1iQxmeXVom+GyMokzyHkNfyyqJQ3NfjLg8+kIFZC9M1mJrB2trVedQ94Xwitg6TGGWvFA92LlrN9Bt1NOpose7Ez+p2KrkwQvWrlJIDWIGGUgvZPuk2YW/ur958wCMejD7XQ76qr21Zn9O/3qsYUlcfEvNY5j/jE7+ogOhRPBXzjfg1uhL8bK355qikVjc1xrg3srKI+B9tSXC3PrZ/BlywNsVAkkAZFlVwx73raubPAuf7Q3XV/Z/KoCGylnH3X219L1JS2G4A+Ov568HYvGULqhdpULpK4QVImlX/jmyRJygML1F4/OmEUUoOmEXDQCXekwShYB6aaUH4O6ThN6xnFx/xo9h/qST0HmMsi+Dl0XDdWDxb9y+Zab+LEnPQiM8xcTEusV1rD3WiOzC9ta/7YMQPFePW433KyCaa7bhTcVmJ6cBxGcwRO8F5rH8nuIh197OmU2jj/yjc/1j+5qIquEK6+6cqtfAw2tQgxND6+C3MAazQFeqmKYXBdVGJDIwNUYB0p0hlQ8X0g2eexndW+qKrxLL9PLhqKsNzgCUGAKl+ptyginJN44Z9qfGvas7o8WQkKkO+F6A3pYUhgWWUt1twhRLuU6QQF8TjyAYZBOZ7TEnBvPmAJ/BD8wfNGD/oxdGwEvDB6c0raOgyRhnYM0LuFDon+HsT+MuuGxXcYMiIJ3m02OxtVjF5II55ZjqmV9E0AsSWsPHX7qoORemMIiWmrv6X8tLT82h59i3rGFMLi84G/rvZjWHi2dGJdY9wX5RabJ8Jam0eE7EirQu7jZ5vBbqk8UjHIdP7MVMvclzwaPXK0Iz6GReGmBcWwvGuq75s8O8aTsbXfjtjoXhy2OwWTEYcul9pPHJcfyApbPmbvDw3gxgwsAp4sA4qmqPVbMy2g6owsuNCcu9eoKUgfiPUed20Earg6U79Kz/Z73bOQOvWk8Kbzpi6pKCqDG2+Mss68/hU2csBdtkkcuCLzJXYfs3W+d3+IcyRH7tZAesn4FU0i7bN2V8mQV7krwi1cZTddkUztoTp7oulMNEJRWqlak6E8UF8tb29vq4kQhFArxSPuSHOh6LSvDv1NhjQK7QMW9P24tX1C//0fdrlL5Rxx795be3iEJDLzUU2g+Z7AeQfZR7XsSY+e91KlbIqfR56f2NbYfczwURZTeSDe+KnYvHI20MFE/6hXvEVsrdpFohMNtypnvDO/E2gWJrDgNOC7HF3gM8QPnX10oGgpZSITITsNOaFY4047PmclyvDSiT610coE+y9H9jxjZbL5SUR7/Kbmd7MEmmbZc7UApT6ONbO4lLDq1Qg2AukgHRGGkYPveP1ZePtX29jEwOqV/RD+Ym8gBIHLJ34MQz8rc/oADL7Br4SKOMNm451OOYnonJtaNyrdsdqw+KKXkUmA+GrEgsjRakrHAKIIK2wrwKhHnjyWXU+envb3O4G80i38JVSpSF7++YC6aQaUqf5euCGZVQifW/iq/JEBhR5gdr/VruVi9c0QGeXjt0PsOvGzW9wwSTxCEsxpDj0/vqicDhR+2XWw+AgdhxCMc+F1F0W2yVeb9i/ZGwF108iXsZJvJiLFgD8KvYR8T1W0IcXIL2SL5NknOhHyN3zqUN4/WSsUVZ//oTrkvcuLA3sB0ZlF6+SyB+KR4mVh4JBHANIw7oDoKD7Nn5ZZ03/UHsf+8XTZrqa9g21f9F58DJY+MTgesQJDWKyxLrHHFKla7WZ7a/EuDzay0bbL5cvQg30OLHc1vXRT1VJjkWH+i3apU9g2JzzST5hKBlqBOkL0D6dbRkiCkpVYJXL+ovHQpgs4U/F8kfKcgyqxbEfTed5SatwNl1QHv0yTQYHimIELIPv5Swgz0Mh/kpZieAHbU7BlZj6g9qcP4MW5X/w/+6378NxlFJb2M7U3ithlzB1tvZHzklY9SVMaMg8IZMvIfJ6u5rKRlD35zEbk8qPPhhaVGTNkPvuFmXAsm8vhZsZmHkodsF+OdayOCf8vL8mLuuZ10FpYY/XjC7B+CP2Q19HLfBzWbL61AmWDi5lVeDvwXGnsy25vwXYxh5DVtObVmZM1TqUDENL2Gsankhmk4B8sQDhHxBWf9Oe10rgqihgvh02yMq1ZeqBzcRpOyMYEJmgPiMvJ7uIVIQqBpJ92kSIXX7qxpbM1a+Jokg4ZGpSd6pSxFyXE3wnvdx6y03fi66/0ImRAzK9wUTN7mGZIgEyIn9c7Ck1JpLrSW6GRs3wEdYcPzFO5d4PH7cOuxlrQHotqCxYJaCNaeR/IPQ38sB6dEn25cPLKzpERDyV06MB/EtoGttgcT0TS9Z8qGii0x0hl2MQsU7bNhg3DKt/VAKBPkgAq8s1ZH5qs8183iW3GBw9XUpYDhD1jSxHUsz6J101VVagyLp4Awf24ZKCINSr1pDpGVk93hPQt5wyGeCJOc74VFWMPHpaUlT9V+FuYexVET1qNJca21xWw5VHTFi/DGqm7MEdiNJ6kMX+iJgNBE9WrK6zbkNv8YMxvDuFOvkjZrFtaY14UtwAxnznAa6OxSMHq7vChXN6o5TC4c5xoKWAQLKq7cFBz9Xrcb5NPgQKeg1SZeo5RXy6y4tao1W6BNpYMI+EGdxB5xDlD7rvFVYGOualbhnIAMWcu8mu7th5RAoLSNwiT3ZFseyhzLenRc3iQ2hJ59j4xwMVavLVytuZ0TGSI2J81znbbwIDEy+k75GuQajqZPD5uwC5+oDjyEm6yGh+jDB0aj+W4GtId+YFyUK/B5UqAP9+2GvPNnNpBByKxNWBtsUIt9jtarZRl2dyeDWp6hXzzEBtpA9/kZ9hygfcwT5Uh+iDFrDCXXgbJxXRIUs5XYc+cKLcutsqb7+hQsbtVx2dibpNuY9OJjD80U8Y7P+xZSeqBKCfvP1nI1yMmC5Q9N7ofmHV+1wpHji+TG3R7AF4RoDxAudcTwSHL0RalpJhTOV3f5Ry4gL3SSHtGu67eXmtkqX25N+dJb2qtMva2cmvjAE34qwcAu8nZmha9P2+iX+d2nDtYRrjkox4xrs98T/QEOfZq5oU9CJwhl4NQ6bHjOpdxuTX9w+SaG5WLBl1Ki7920HeUPu2XsG4HgBHiACAcFTYdrDiJ5Wa1yzy8EFfZrjj/d5hOpRTmz99A+NMQ6aUmWo7fbMMsiBGjCE3cZS9rBqlfiBs67f+jNPXOGx25j7hYj5n0iI1qzmKrPeWjXXcV4mHtpdetcfglQEqtWmMCwj1fLt+L6VTLvDK4RXpWoTB396GeNDpS+gyggp6KiDtF2xi3RcF0O5qUp4zfdUYB/Pyz3d0rGoDpAmmo6Zfgb4wpKi1CF9Uox0vIlHwNh4v2Jh+VopFbjcoKNF0TIxxzwnk8ICoRl340/3JSdylYyFYxsADj5ryJON7lDVgnY+WfXuA7iHNmZl4vPRBovJf0QW4pfTCVycOzI9j2+IYNQ2YGubXSAavdEjidlmAO7IegrWvAmmRa3fhoSCcXUgnc9K1BOAxv0lYjObK+LLwEbHNOjyMFRXw6vpbIP/TzZRbRcN6C3E4c6vPcYsxwo1H7Z9T9WVRm6tKnnqta+99R5QsE23VGsLshDcj/u0ubSpb3fYuz055hnvi/cZtkKXSD4dQtheqrDRxZKDfXOj1PnOkZ6RxLgg+ZqBIewcxOUjoCq8VyP0pMMf04byOr/oePN0BQRyjdvP7fGOyQqdOpWJsb3qIz2nO78COcZj9ro3VQ+yYHdqo0s6y4AbYWRhvj7ySFk2Y5ZB52xptnGbf1m5NwhP2gNvsN1ZL/LMOnZUMHJK05qHcnD7mwMf96pGpueGQhn0Mn1sN3QCarPIt2b4oJfyiZ4naZRt076kUgFg6+wG8Uuqh4tl4xng1fg/g1Bwje8eJ/nnaO2sVb+5gdZA1IznadaCOsr1e3UobB0teHkujy7QM7N3NprbfJFA1vrLxvxTwNbPEWF7LGzK/ajTNYL+7UV+ZTJ6yeiupeH8H03OCiQkrMz62ubzfKtOgpgyr0briSnL3c/zZbVkF+0qBrI43o//1CdUV63PP0Po0tJypzzHcgXhDpP2eqbLjJ/xV3q8MpJUkV1mS0F0RRIfyOrt46+n5VznVF+EyRCLdyfLMEZF3xFV4PUZkjCJVVvLqToEEMA+z0RZ7AhcAr7WZZgw7Ey9gXy8ypmU/Uz7th0o5zRPcLbeK5TyBvqPz8l/GolnBlJ50zdY5/qwQTD+fO2jlwdVIa9tTkNssIZzpa9B7zDi5CCvfFZ6P3DUnGm8L81T4q3EdB3Y8yQTVjvUbYB+aYJd1SgiaGfTuFa2B9D1LhdlKCP/Uuk5pLo6AwVSycU6Az4JBnhpyfgIR4b3rXD9FwF0jZwS0AF6vF9jgdtTLJ1jUqs3ALuQMHd+J8hsJjIlqdTePZ0F5srTciv/b2//7tbnQT7rkjCAD44HrhKswt6d9a6N/MQwZVh14KxJLW80wKmzTPsoIZkPT1uodXsJ14RuZ1eqJlHh2IlJwb0TFuVJC5QLkJEZDWWv86n3TlScbdslMxLgUa+qDJtiDdhJmqz0bCD2ORzxSxkxvAe6zKlTUA62Vzb/CgPaZ3V0s1pGhznnrKQKByrIweKbN7xGX23zzFD/0Youvva6qyLXWwYltNlyiVZF72eeA/R8a0nAqZYibhqOD8c0u6ZITJlBVqM/ptaMjseUtqQ8pTGE8Gobd9JVfviq13K8/DJlgkS5v5/nB01cUl4stWl2ATsrUnhMncQIjw9f/5G0QiQMpfCxAqvNuFkqxvr/bpChPgx/lj1iE/zAqTy5LLtTUlk6P4f6KZJBla4P9Dkf37j+/rKz1QevADZdiQnyXntLQ4YlUEuZ/Syghg5z4fAM55Cd5aVpga7a0nJb8f/NQ+U0VE7ZCy1gEDGHGZ32dTJbUgl48JKtnod3yFcjVFPeNxx7dXCe0FFsYxUc2xCYA8DebgOfWqCFjnV1vYnGd8Z9b8wmbPUhMOmj6aeGvR63sp/5AqErvlmMlmY3vssG3LXxaUTkWHz4un5uFBzjBODOimqTzZhMjeuGNpmSrk5lLnbq+5m9lE/FFccEd+IODZZh6P+pM5gYSZYKr7/E3RDc7XHN81AJmDui4JaiV2uIkPC+bgRgkN2VF5XzDBCLCyBtj5nyFym5d+B6oye6LenJ4t07CjAkv9rUshFc0TRw5HydBsvj/qr+20OBnhe6kwOrKQb6GAj97eaUTPBnRP1geVbC+Ox1ePRCGaLGKiUsA7zd+kgLz4nfhJ9tbHPHCyC4G7QaWiOV58bPMZ02z+wewIDOmihEBHfUFONHK7ArYSYLflyo6wZXvgJwXP8NQ9Wm8rYZliq74kUE6FuFN5Ocxs5/UOljv5vY/CuzQD7NQfqHw7BfmqrmG22K2sbOHnrgDFBvbUUXxttcwtdrXkB2Gk+NjtdaQZB2dZuxoTWSI8dHQxnR/V20nRoJydFNIK9G8imKyiR996CCA0oGszhjrZgGIpXAA0eqlpzvwu+iK2B5rYdnnEoFbW0uhk11NCW2814eBRGf9gJRRjvEuwlPaczZibsaVF+m0g5sVI+LYzNtLKubd7qltFDPdNf0Rb46yQOj21zm6Kk4/snkhBBtW1iu+MIpP/0VdnTxU6K+hjkA304S8M6VTPHkTnD9OyKip9tS4DRYc9dvOCS9jIvAzEF3IPGCm/78bzUeO8C8ZOAgox1Y5B7/BHvvoXRU2tIKjK10EtXnfYL0M5wQUu758ie8j9yUUnlgzzzPFUq41lKDD/LnGvEqHC+fCWLD4kDBnVOkxfZSNkWzDNZa9qR1XlMXK+dtP5Q9XtSatiJI4aCNWcrD9U/VqxFabr0cUYv+M+h44bihCN6A+PzUAdhomh7XjqZndA08icPA+JzO8e6BNtRs0U/Uri1hsjVQlZm/Q5d5afoKA3paq61VDQr4ZPBkf7FW3dUQeRRfJpzadfsqxaJPvgzz3PnNbpHT3DdTxpm5Z4Lzpc6NPdqxS8U2xv1iivk3qTWJUIgoIhuqsb3i82MBPx6n3N2w8Kk3LJp1MXn1oz1NCnx82mQzLig4Gskur/OgAGsH9m8zJ4rXKbP2g3yCs/JNimvE844H9oO07M1EQ8DtWowJ9tTzJxqS/eG7/GfL8y/814cXStdJx5TMCxVPHWobqcfL5KCL8NONE5+0R5BOYit6fwqRWfeH/PMhK9HZUcRmk+WpR/ICldYcyXxQYexvWn5B+NklYk6edaNLMoHb9z5ITZ0QCYDBpKB870ki//pUqicbbqUpV3JELFl/R/kBTLERLRPV8X9D6LiLzLHJOdHg4HRQnBg9lELEmBZL1mNfER4wdu5JbffKipNO+u/96hyGw4U88cDwsIBB4itdVPqQub3jVzBNlD+gtfiKiHKC1qzgaU6uHfLcdOGPC8zHdtiGXE/ZLSI8tyKMocThOdMGSxQafuXzBbHhT+tRrKfHRJ+bpFy37PrAN3zDY2QOLR/8QjwGtV5sWVOdB6QxtmUQfjj/Db9JaKtOO4YyzjvUoXVrwx6ByuYGCTx1x6cupZ3lICbkN6iw2GlefHhd/IjGx8HkUBngyVuBSI+SWUAajFsxHGXZbiNvI67UMXyEYycxK4Kf7be0zwhYVugF9FGD0bSXinuXXDGbHhXYXYhfMCQKP9cT5e5D4YT3+LmPOLuDwTtEb3teYATYZvNrpx3zGBjokliDv2csM62Meeeh+ShvWTR3l2IF83WhVVTQUzuZATZ5lzIcC6DX4dnFIMbDmVrlDR9G7yPKEGYrGRdY9WnRf9qRzl8NzOhD59twTUb0On6qe93reKdlMDHZmcsoVexJqT33b4R4nHdP3jhtW4swoWT/HucWGfAsINhccWR7fZr+aA9bziPIfdFtjt9/g4s9NV2Wb4AURpdhHoD7F8+JJIg+0Yxbj42u9+3+3270ISzMhlf9zB59cTr1ihTmCf3bM038G5ZVOa9TvZxtCNhCt/IHY+UYN8yqmEZAMwxx55WlMqcHV0SAiQcboYb8TsXSiEz8vJhZd+Gr/nRdBaWdg6zSSx1gGDUnS7YhpJt3Ccnfi35/ESCPHlFaEC1nYqSHF2m9JHKtbkqqb2X7LFnKakoTXLJXcW9Mnssc7CaXV0ETQ/kJrTqnItoTIzlipA8q7R8DS6SeSvENna2aFWxRZPKSkizVig+V5NiLLYIuX/+CuSooYVqjSRcJ6GKfn6PJgryj8Q6oXhbgHup21Kqcf8vKgeZDbDBKXhQFIPimavKHz1+MGaRxFX/brLVzprkEPTFmkffJbFcRPni1bvW1e3PZv62et9A0fBW2pri0+TKRPx+2YZ7aPYCPoKn5bKu3d5j0EDfRWqjTunC2M2Ucr1fRA55Zgd52Dw2Ybi69FfM8j2SZ1M+4d/KCPgg1zjspEN9sT4pGoj93Bzrt+8dauZRMBRGS2m6gQNiSTIX1uHyaSjI2IDvpDZo0mUhCn9ZEeUX3MEYW5WtezHa/Im0MeJ9wq43ZZPz98n3HLhA3Rz/A315inMWl968cwHixRnpySnm2MB6F1V5dJc3uD7FhfaJ2NXJXHtythoLkEGq7f3GbEv5YQAuWYRTw6PUzZPgLaCspJjno56GvviQAHnSs+xP72+/YWi8MRwpOhqw/n4HtqEQqVINotgs9lc6xHo0cOE22IdcKkNo9KS2aTGmBbJcL+jdPvjvPq9SF4AnLdY5oSRXUrEjbExMwhz3ZmO1T80WlNJQhDHwan4akRtzeARFON/VJh607oBnsrrQNxzGRPJld0TIAQK+K0nQ9Pd7ZbphIB/XDg/NqkDNxddkhIx0/PqPIk2L8Dvk+5XXKzmMEmY1w3n4N6ZOtvnPtKZhJaL2PBYQUsukh5kkCIZFB/uc5NJUp/HZ7WU0lLsK6ANLbxYdkTZqf6YPKO0XpxMfUoWI0kq7GKbmXNcz9CyMqzdVK37t1loge+GSnCMtbz3M2d2r+Qgg/xcDN5JW9bgNa9xODMsi2McDOg05UXGKlxcY6EO1P2I+sDB4PUqsAoAl1Df+aPWJTgHp+8iUZGnWWNkSXTa/nE6cWvcsIEOwQz1DkUiGopRY6qsQ9H2hCsNkhu3dBTWbdb6N4zqvC1aD6JRXRJdJnyVXXoh1HPcMQUEf3qXplTVpCPx3ml50Z4w2bViOPHLIuheW9stp4BDDraucVsZEH74fVP5fKlZ3TqjyEGXtfhVqFz1/TFNfYhdiH3Vd4EGpLLAuCfiZ0MFZGW6hj4lRJX/Ya6EAS556l4kjD4btI/gc4xQUIozVvXAanqIp4n5WSCO7rnDOvbb3sQpKAD0ghlNp1xRI+Dnx2ud8nhOHLZvkLmx8aVbf3X0fhqknUHbDedohRVWiPoS3w590U9Z4qXbCM3Dl4DJmorVeK/5ES6/ta9r2KBIF3kpzjW+6ijig3ysZO1kaMWQ60lN7MbD8pGrz83b19SHOSCCwJkQQ7P74aM7hrooEAkaLU60LEem3+yu5b7l+TncXBSC+QOZa5bcrXaweFn6LACJan7T3j/ZAkQSf3uU7JaId2nWwTJDEoEJJLqiglgjqZVSBdnxkNWdLajqxD3R3IWH8vCWY3SL7PpxH4zmNryjSW6RMRbgwCxyKAi0RoW0K+WLIWs/a/zALSk8P+hOS9gaGSsfXOdAtxnM2KnQ4vQWZ2mTuN52nUqoMHiBDpXsyBcWtligHpaNrhYMfa3HVg/7kmULnvXQjtVKvNeniUcodyR4DYAVkVhfA3FRisOraAuAYONKMLOWXYod9KaDyWR4vNKiWz6LN/glstyT7SdoDTKjg/0qJvRCPS2A5sho87BhYYEdS0mFcrfCDvUELhXVK7ZfV+jf512kFj8rPyKfi3z8zAwRHVeUvr1Sf74gICLXplrWrMawFQJU45jPBUpA2GCQVqcECOzPlwvqpvpDOTRRRlNko7XG6+G3k6yFueSPcYOvPWVyRhuR+f7aZUowv0Uw301vGLLPuyOr7vc50bQP+kX2HNCju49Hf9QvOtLKaWKqYGSWCRcKw6Dh3AM8nSy0oHRmfGkogxMNrkPHwGFbz6+t/POTYbSGWN0kn0WJFdgC9UkFsrjpiRUn+jIlHwdKBp8giUkj0Q7hD8fCzb9tMbHl/tqOKzwQc8nB2qh3UC1jYE4oFQOMOQzD8DB05NiYkH1LOg4v7kqVtYqpEcoOtHP3PcyomAXvzzjjdJ/NBrvo98curdl+UVGkka7AdI8xWj7Exxj9JwRUyXWT2ytmE78s7eMzcwzOtl1i6PEm9pUxEk3e77TBKy3oHmyyKdP94KTb6q/vaOWA94qZ8YfKd31lEOms+XjDC6CfW9ymVO5IniI5fANv+0pmh/dSGaTxyO45zBS+x9lTzMR2ZwPXc39lrV+OpumLchHHFpzGro76TrIwt5oyQDvcFSNdJB15/f9R2zwLCefxJ3f6wZzCDvJvuwtOCUnd4S2JYPs70A0GQd2ioIBf3usONXTy4Hi7dHhBxp/vbkR/IwWuc8jcc7fikNPGtW04Xi13BXchjG7GxkpizkRIBg8xsGLJRJu1I8mNzH2+0jLD0abRLNrpg0KHzjpBp4kRvvwXoG3lzs5Gv/xt57VL7Ij/abAIIqydS112xguJPgpseh9ycVPSM4lfcYySlgKHvWi8iWMoLwZd3FQfi5ezqdsqA3mI5DN6iB6Ng1FmV9xkrFjEfG1KTqLoZFx6CWMCvckM6nBugLJQrHCZSn6dNtfu39mk1wZMM1yzqmxxXGGlp5yI1x9MbXILWQYD5/9cNq003+D29XtQU6Y47YXTA+baswVbHH+tW7aLfO52u0pYLeTFZjwkeSB2uVlj2kyqJpS+L5cmk/zeU2HSTEXlku/WN+wW6uInwm72CCVbp/GuCv4+VIrd2pzHjMlIPpTApy/DzdyUjX6SpAxbWCUS21E0hBqx35andsiwUZc1qDVMISZs+1jiS6xBZSeaQ1u1nF56O1qMFFDbsmtGUKghT9e2ThhU3Lh8gwbV1WeuqhEzFLUIkQc2PVlMi/c98r6NgeQVMAYnow+wZ2T3w8GMNpWkfL0vmhEoNs9nGKg36TzdOhucKpmzqchp5NKDMDmp1jHLWmhU4JZNIstOW0LzBqpBgyMAFwSe+eQImq3GVWI0CY/nuYO1Q0dD0R81OeGPCUaaJ7DRuDKbF2dF+pAStr1ysH2N/Fn+va12xhKfkvzSsGWhriFxl1k+87z8hJRrMohVvzELd1cMqtLSmJ1AizsL3qStFnpzdP67onTKSrviLKx0gUrcNWPFzr9xLpuMUyqk3Hmc356EdBkJjYNdErMANf+FC3ZA91Iir38N2VROTXMC0R+swKMIIICcvJddLSIFyNQu656FLSHlZ2cEhqcYacLKnPb4+fD82VX9sVo6FB4YHPojEBKZYJBX2PyCschhW+SPG0LdqbMVsli7aj27NHz1Q8G0T4hHwEwCO88vtS4tghNYROOA/KFIxj0ipE4lmB6Zg1dgMSvO+R9QiZVk8xUM2gPRU5G0SFapWV4kKEnO0lLLorjn2btGTa7CiTbk3L7ajZSxLfpBUj2p/4cRLlklTe/xg+g458dgml6vmbd441Gtme8NjSp3RqFPkEHNeqytXMFSV+VVPDhoiDSSyn9Ww4zXetjeqauTh1/0KkoXILB8wWfRxdpg16I6Kbrfz5KwOb5Kg2cHdsivek5aJ1g2iwANHgsXh4c2QJNBQ4TMOxqy8jpk/uwAxXeo++FkAFm/f578OWcKkHTtxQtjP1l8xG57zO6ITdGXZp7NlGSewLVIDDjiRVs9vkTY32nrEqoummBJ6C4dkBPZc3PSqXfOh/8/VR3EIlhDyRgeIXdS6a992IDrsE+ncd5Fo5uvcp7AlQO/rd+BQtFphTqK4Xfgn6oQKveVEp+MgcB79uV4gARw2T+OP4tE+3YGMTO9d4VYeR9HPh2vYrKsvhStIQnUqoaBdC66/AHdDgL3lLolzlkMerfQFO9KkYhu3iARPqlqKFe0zunRoKv7VAnSfQJCgYaQerNd5i7LUrXoRWF+7E6bnRvimmB72ZjNbUMrMRiaBxixWENmZ0cL870rozbNye0w8Oe3EPc/K3lQX/Vzj+6bxuyvzdfTwbErS+VCh0gvJLNaMXIRE+qTgpeRlSjACMLClNjOHW5hHEBvITUoPktfrg/EJdyYCh30+EOYBvuHfQQGrmOaTvZBkaEmJp5R3uMzwfGHOHHFZ9/sE1A2Yjpdf09l9KUzzMXNml7F+XRhW6cWnszNQrRExFVQkT2iMHJNZ2YMZiMK/p4iDIqV42+Bl8rP3hHbjKdA60KvHvBCfMDyaSpv1EMoO8lrqwhpE+2gmfhz1aIrjwSBcK+BQf5qRTHbWv0jl4cKEvpz7nU0G1QHekx1bhRVGNjere9veIOo9/RtvSclCfn3+t5p1FxxI1yExYkPtEft7PLthoAXmT8BsUsDa7BmyWdo+g7wEXv+06BobYwiMvUmo02leUThFV7EWhQM916nBX9X5oQ7YqMsAEN0+f1yhwknIdNEbkIG1SSz8wtUOh1bJ9o9HNcPbawoyw19TBcEfq6C5UvRshr82dB7yp9Il61L/dDSzeMZbNWdyqbGe2y+6mlqobQ4lpGgzcYCL/mY6E88a2NLt2ChaCIAPcpM8AksLuwG7NsVXfdSPScXC1n0o09OHB8eABV/CgJx2iJXZs41hnESo+3Q+kiZUCqfRqEugoKMoO1ebTSyJpmhV38I1PGR94YPLSJfzEVUW5VAQFl2x132DLapzrGgqNMK27p4LtCTQ3MwxnGxXgVx6dXpJtLpO5oJMI55MCdobNcXNulGy3zU7eU3HtAq7f9Xc9v49NhUw8zzcmPc/i+bEBB7zRKf0xGtcvbN7oDdQBp1Gl9ojdB1RPN3dF/PCVKJB7wnJyhz7kVGraqC8N4iUJDH015mv89LSNUEtWG1AY96zDEjtY7g6VtQWlzFALY4fKIck0jgm5dMHyiz49NyIssoqV+lGs6BwLMohX/j6Mr//dHWRMy8JugWOeZTgZLFIsugh4/vNpsMApWAnQQ0/MJIuZlQlKaxFV9nYV0fay38hbv3ma5tpvp4OxBGvOiCDu8aHOJBI6dITVJeraTprWUiDbgZ/EEP5cApMIwcI3K76oQT5cn+MGvaDrR73779TeXB6TURrcL9OsUOy+H+785SXKVpWGT/AvkwyFLuOMEIhLHeFILfuC9R9gxWM+cItij9uv5yuwPnCiB1W6OHGN/4XCLXeHRGccQZbJaNxtUC+acWpbzmavGl4vxzxrDIcDZb6ivAl/OzPbq/DJfDBf5MIbzSdSl2qcF0hWI+rH7QU3kANEDTREdEqS7FSqSKBKsM4/y6ci7X3hqh+1kGzl5UIx3LUsvBj84ZrQh8DfjHPlyf2dEldQn7U1AKguDoxkFfWxIHAeT1cPYpD0x58+lSyZl+EONi+D6Gm4Herpi6Le++SmF37sywjVpRypcq3nhJ9GN5uccWx/Y+c1cj9kPjQSNC5tezqmWpE8xkY8R842h/vUgzIqtXnifIn7QLx/tjRwVzm9rbNcD8nZrl31Qz+0+OrkP+Nz7WQZ744VsN7hOIgu635iDw0gH0eLqDbYHYExQBqI2U0tc15XH8yTKuXepkiu2H9wFDw2owZegez37sUah4w9kJWFDHey0s7o2Vbpf/2y+MHg0dWIBcxrIkfT3BrebvbzmG4nU9lEGpEB8LpYSxIWiL9dRlMAwPfIEPtJRy+OY0nOwiJOBh63HDSswvN63ofFa43bak1zlFX0wNiUA1xNjzVLIvMOx6if2bzomGmll7n5FxQ2iIsFPNZIhuRzkUZQsiAn9Tlus6hsIkAFvuHQzZvj7jKZTSLhFwSX6eKL7T7eqlOW3Phea7B24BoCyQ9GnCUs04qnMW5bVv7zetXXB30bAKESjAxiuJJtnYZbyOer4rDzVfsO7zPGcvwPuFQjKKEJQ1XZwgCLQIf+CC3zwIdXCTc2DSFGL3TxomV+vYcCCA5FqK5cJCALIwHDKNu5V+iOsZeC670hYjz3CpJRZfWj6fksnuDv45+/1QOjPZvyp4wfxF9G1NdgKR1pk2Qx1lSSfaUl4EvQYUe7/ka76/T11PWdkZ51Zw7A82dvb1djBIGOsL7AAJyRugOu8DTXJnoPKYJ6ryodnaRq3b2xnnhbvqiCeeO0D0q6RxJRkOwntx+F8NqAq22KtgRbuPiLC+u/VqIp9v0488o/m8FuhVQapTTlJ3hEd7a9jfGW1R4tN0LjhEsZSOi/fsD2LYa+0tAZgwGbaYixxfYbDH7ASflI9DhPFUlHFFqo4d27N018W/5E3RBVEVlDJkrmxReuYowVHU9/O++zAm9tKgVp/yj+tscuzoiAAls6a7u/rOhFOLZ48/RiMSl56tqDnyCrnRg/w834dcYt9wa9RHBNSdxoF3zsX09yoWLn0g5DViei8sve1j6wdfF2yYtQW0NJWfcPK2hJZ8D0DCinFY4MfBxOB0TavY/X+otN7UdO0XPASUSSHVYhNjZc6cqS+42llCvfmTMa44j/b6i7G3zK8da7kme4a6pR/F4a/rFuVBO5MB5LBtwbEhGHcmv+ydWYoYi34wAhpTH7dSmUpsDLc+6QsSAidXQo9asXETGh4vlUqP9jdsRGuTNHEkrNmuUCRbVnTGR6XNeKXAZQfqhQkRFJvnUD3mOd+fbXyPCA9CFx061RUgvH+fXNplV9iJPnVzVjtXZj6QNhpE/nqUdamnsGrQnqXcIsFdHFWS7+EMkD+nxleGAd7GGQpELXQjZ6UcOA0KBKU7W1d9gP4oVoK56uZOjgLNX4JeeMjZZof2TA4ru8AwDc5ibrWBqM/xuKkRlNDHC3uB0UIFEwkaDuRlNGCUCW/kTcc8xqT6zgtGK4ASIyiDW6nwguKWFVlI6O3CwtnelMX7YcFpFCoKxtWt7EQCUBCB+FZTGNBVNL6UFQNK/PAuvgwo5BebkCjPzDb+BEhsPAe45OdIjQFM9/Pzjj0m3Ebj87ZvK6t8RlZXMETnD8Dpmm/IVKD8E75FDIz9qWIqTXX9o2X1Dcr7cwqHIqFkJrb5Nyvndb+CNdE9iMhjcm+q3itnGXXHYfDIjSr5QDEnrvw+QGUGdipIY2dMZDSSSUTQJ99CgFuutnkyXoo4rM/fJczZw56YAGko155aTAKdBOzOTL2NKu3HrAZXPkVfDODnX4eZFFJscaDBrpCt0alCthNtRCRaYvWN+5/6ditAG8c8/rs0xPQGHS8pYmtRMiX5l2e8pHSmmUNz6X1Ds6CmXuHlfTo6OL4Tl9CTNjKEZ3eTCNbilOZU6QhExCUX/ZFXsf02Jh65D1JpazW9kfIhAMZxl4+4XDDz/9DPypeM8udn6KRsdmefQl72YIuhnpIdhRtvKd2LuYakPLPiRWHu0nzUenKP6dFc9sz9Hqk7coxUBYhSSpA6+1xCtU49oxvmtqaFnHXT1tpFawIklLtVPbD6cEZVckCdYx4UxZmyHKVIjl76+cgFKLnr1VgrB61o0/Mnl/w85dTesXLA42XZM5KLh3XEHUWLG/IbWGTrAJgyikHuGZsg1h3aCUjLv2SgMLIt/qgQEY6bylvc3XBIvksN2hTd61HQWBD6499iaoM1wXBE64eBSY/fs+PHBsfnIMf8A9KTzRAUV+yddS1nVnZ7Z5HdfCQoUifbXEAPycQFqLtufp8cW9ov++76RAOIxMa/x/e4pX2FSxvcKoUeGwRI8auXd4w4HJ/WdU0krZtzvQQAP5eCwO++gFHuH6WOwgfIRgIeQC4yMwFOGHkRjLPIsDBIen48917+9PlAdpgm61aBCOy4+PApmqNdUE7fn4IDqaz75jKV5yFDGK8IFscKNU4+iqTE4xjkTUY7L2uWB2ruWjlYBfTAebbNJIJABTP+DwX/s3dw8iEO0oaUAlowx9QEYd8Lcl7DvFrwiw39nftOozqZ/pt/54LdgRxEGcC2vGsn9DfXDNg+3V+zscS5bhJWfB1DB1vi+Gnvk0aA3ywd2bhCjDIsY7dv7j0nJbW++20JTrxqNPo5yIl2NSlCKMcJ6ue/jHIS4DFbPDs45hiUPrE1nI0uRQi9ZeYoxBEm3tWEDIN2zc38GLdn2RC+PtYVMy7chcNDonFnpCtNHcX3or81vD6D0xb4ws4DdNYioAWV2m44za6sCu5P4YYA2c/yLIpE9iJRNMeGSqdOIQwyBGGkaNuGfBrK4oYeodNQ95/Tae3F/34fxHEsCDjbKARfFuR1D3/602MeVPKIGUKjcoww5XtiI2HwiSBN1N054L8Y1ngLl0qsz4X1nCl8gRrvb12Fozveyfv2Jx7kblcAv6Grh1utEm7ZYyTbfCY9q+CHBqegkOGgqkYjf8mO5MeiowBJE9MTGS4Cbx3ysNleB78GjgSSJwI166yYwgdB1jubRInzBj3qxSr8Q2PnJ2QoI5fYvhHbsPwd20JTEqkEg1mcfHdH3h/orhqQXjoWJ5Wm8EEDnTjQm1zLIyaLMbjxvjbty3N2/O0Bmm0E0X130EFLwANKjKnLsPhuSn8ZEJ6L4N/91rWszwneLSGLwmeEtF6yTEb4teQK477vLcv/sBMLJdf19wcys5yh1KmP0rsaFqvrV89wlU9n1FjXUVtHcANqFyGRqADMp0wLbZ+HjZgWeeYjbpf6SGiRNL7duZkfm5ArNjYW5yoONf5N8QqZN4HArFvUX2aeUdxqGU5/gKU1EaF9It14hsd6RK44SUVkLqNSuNuXEIiqOcjAWnJKz+SplFD33wDaJ2I1T/S9M396JrTKo8fhhEp+u53XzcvIoo82qd9+y2np1e1bSJVK8zdIey5zGyabHMSj4I0FvDE9s568RAFXYRnYf9j1ZwYntPiNWduRooUqCJ2TvJ8URLAU+/hi8oz0o9bja7t1Wi8HqE0JiNvB0JZ0EnyqwrI4il6U7KvNkW6r6ZuDW6Uni+ffA0DncpxGV1XKyOvtOMq0bCqkgbHfLXdc6mgs2GK9rCv3nJPGONX1ezDQJDInrGJyfRzRmbrAAQwXS3Xcya3BIWDP9z6oR8cqb7FSiWSM5AFe2+Xzi+FSXvjNozwfE89zLOaMJgQ/dzKfFM7LOkfEyxfuYPKLDTartJacmM5mWr25iEeB0CM8kk2X3HB1YswnFVkoEfeftMWuUSR8dyITRB8f9XvoJP8bUcbtLHxRWnggyvYS5wpulTB+siXxyzKBmm/wHrsugQR64oAFl7KKU/IYZstRDrGWgwO0IXeyvMtnNJr4tYNEedNZqqWoTDVMD2RzTCvhzIGSGWIBAnxE0vFwntQYSTq8AAx4EzrihKsF7Zu9CiDvm6ViuIBbaQ9o84JclSzp+/UVZelL33OgtLEVzeWm5lXrzgOsWbdr7Zh3YofupCufu7TPpAp42X7+acOfwL9MP060Ae5D5AB4lhHi+ZeqbGv6nmITjjp/Ovv17DxUruGobvwN6c5jA+B/l6sS00MFVz5yFFO1aU3bvNNCmbVQzKqUpk1r2X/7Aay+0zCWqZQUKo763goxgLDJW62LWwQZLlriLVynwmvOJUG9DXBB0ZrFwgZwUTZCGpwbRSJ6PrZu3jOZ+F0DJG7DBypLkNbCz1abmI87QnHX+Of6VyGk6+jn3oPof2aUFHXBQCV/b2sFzXHeBTbMi5zkxifMoiOQdlk/7bh6+IwAH9HIFb9cWgfivWZBkELSFcUOM3EwZU/szDz1vJkvxLCxniaBZv39JCVecQzf1+5aRx+I6fzVw6ISFpTZUAIi+z1hIG0mqHuBfTHGmDwwvX2OwCuYTMmDAv6EgBXPekUdmsZPevEA8YQTmiOhJgQYeION3+3nrvAwmoG147FFXdu9u0lG82QLxLEBlKwAKUqG0mEM2N/Y1WmbPzWG2FN9TW+0p8eUfAk9ZuKtWGcWCLvenYcvSiE/IQ55vmRBMcUoC22/jyV/gPHpVA6W+qrlwKhSBcgR1HLKzbHRQlU9nTR0PheAGKO7nXJ05DfDQrRS3aC1e1sIxh/OQ0l+hQ5TZNiwkdVu01IZ5Ijj+mXesIxZ3vfWM8i4Jgy1uXNTTC+DOcJqIiLcRdmZzv8/EJaRLMKfF4WIw3EIsmCUQL/opnSLJ3w2DDvxOOpdW8Stl/92QVulM3AMK/RsAi6uFNHOEzXaduL9QZuw0RLrOfCHwVpkHwCdz3EmjPf3YH+MIwUaUEwrOHZAKADZkVIQGS2MU391vAH9DMMmvb37akbYqMDh2nSHcjM1cOACwZYrpYW5iWHZBd1iNUwfhvfautVjDSeu9DKILU16E9ZnADuZTWDSusqD/payTsW3Nsmzo/gXDDkCmdzRCfiUE0VT1CyWOqx0JygGX1D7gXpcUEe7ML628upQQv0iCPgEtZDW40oUqsdLXz3wFVFpvMQ2tmgWUF8sIkawMSX78WON3zw4i5ZRgVdxSx/QsKj7CGUXsRLPIGm0EcIWyLTnnArv47t+fpn7qrCuJU46NHaEFIy5UJKlYsbkiDqcAaxhtg5rfIWbRwyvuPG0gWLJ5NH3r+gLWu4SM/V2heRin59iGKaj5avWncecouaOHQA3bEdTECqbdenbn7+nOz3o9MdMaaIk+AeQJumGyLh0TDY0yDu2aocJ60h+wNKvWFAuO+nKDRfXMB+hld+uiEAGb7otZbDrXqqQgjDSPWddCp6hBeCBEQZV6QSh4eDoq+u1Z1U9IgQETAMvbdSzuJLxyhck7Mxcl824vON2LcnW1nuqNjOULNzaVMGWbi52Xn6bPrFsnsA0kLMQl4hCYNovtSFCYFl+J4R45APBm6F1t1Nd1NCEVq8M3+54d3R2TdYzYdL1Dr3LcGKx+b1kIttbzmU+oDFQIFV1KoP0BWi4lIXR7mhFQaCSHmGnD7wkdhWj8TgbzE/BGGOcHcbWXnVzHcuIjxRbfA6FRtCtu5dpkrQwUzNQ8/BYZmd32z6sOHbmyV+Xu7/u1sKR98PJKfJDhfrEr81myyYRBGf3+2hsn9l+o5Q1OC7oyG9p+PQuvgFjgB7woDZ2n0vwq7HUfeNPjYk+BsbW1Fp4odWbFi/MRdAPtbKSxS0+vXj8B0sQbxqZXTnu7WBHbIE9rhBAkv3g59v1yV+w9HG0adI9UrtCBAat8tkZ8suKFKglIlkeaZQZgtYlFdDnW19d7d1TD2ehuQFChCEEleIW1YeYiEDSK/dLpp45pwwx02pda8EkcJ5ms5wPi7gA9WFoPilcgeM6fGbqbc1FAVsBLbX56sAGJN2Gp4uyTwAWn5NFkjK6m/c2i3r6jSSK+3fnmOu2GHCceEKPzgPg3CM3O8JvSLiGllTgNIzJ+IaNubrtIDSpCSobXrbjjrD6l5R54qMvK1Z4i59kvMQcV/miowzQlKdg9h6QiggxzR3/w0T5HCYE4pZzAXfFSiPqTsJj9CkMlWEB5ybv1fWj64WDeL+xd8/wrXeb3u0d+RwK/j1MoELZh2bqESmHoIMmxXnb2vnzqj1ZegxnBPRC2s5z9DT9YlxhEiAzpJkPYBhM4LpMVh23Y4WlXVmJf9wisizgWs1jL0xN6gwauz7j15ApuqZIGj1bWnzsjwnb/P1Qi9fGcfUmI+kqZx+Mj1fw70GGgMd8ntdsmnOdVTK0BdssvHa/7hp0YRgC7l5aJgcPNTYZAcFeSIHIdkPkN8n+yZj4eEk3RCV5UdltfA6ZioDfTRwvSC4dJgViuW/3bRh+thP0r7pEE2yu+mm4lysbpJYg1WUcIOJMrM7hQYVO2BxCLUGK/FGL6jb60p6GrkWrNP/DmrQETF3owZLU6pBTKgXzNp8y424HJoES5H40H4/5MAEG5ob8N8zpNOoVw6PTFjWDKY9VjnEVkAUn5/r9BZsi58Vfje7qPN8YCBv+NSJ2SxrsMip/DKQf9xNTK83Lch42fQwfFv2FMBoIVtshxXOCEvZkj30ifB3hc21bprsf4rFjv8tJhie4QaXXcHeQsRyDgUt7ObRllVWSIKGKqO+jxZ+Ykp/xhLUcz8wk1cUSFNK16PdlXEOXfYhrnmLFkra9clIjlkqjN7PkB1F/tJk1JsftAWMiI+Hltkzj+fkIRyQFY0rJMyjmgp1p6Yt+6NdPqAWJDUyfMPWl8U4v75zsznVHBHFghW8DFkzZ2t80+M7O38r7qAOUjioV6plvSdgH9gd9NL9R02iYOU+7D84puRDutYpdQuIbDn8MpXUT4vTDceAMjxVyIkAUEhDlnze8OBpieiOY9f+1lTy/Zg8aOWhNoSbP0mSQ1hopjsQJNit4rVylELVypIAli4Msl7y/dVqVZv2czGPpV2RDV/iLwmBbNJgBARGLIdugcDe9DuTQqFJ301KhrrwRPcEgenMFc0DbkfbCrpDuwslZqAdcQNN1pmSM8RzcIbfqSOopGJNnT6K0JfDM9FS9PRgEvOrjBof0nPDue2NC+eAHKZzu1p7tfEDh+LEG+y2hgZ6tO8e+o5glveVQmwyERRjPfXhmCM6cLYBrsTsq6wycGN8JzVnA9OvNW+RgiGFuzWQn9qJH0iStbpDry0eePZHbmaZ5g/CE4tsG7p0tDpd/tPh7iAp0HknyBJrvPOZNlHHzNZ3EOy7Rxo7mgGhWZphXgS8gyhEDUozRfBFODXTW0sdV9BkVABafu+IAlHMLaVGtle2HHXqou0mnURix9Nzsryvjc2Je7xaos0TXBGVzwD/LqOPxth/wdY40vpPzFtbRaZ4u+P7rr0znEQ+yISwa5r/Q4Mju04NIj74DoeC8iP/TiPNi07IimcyG1Au4CcyPGPd734/MFQzYhrzftamMtPdEovWZS7yNx1APEXDnS3MhQHpTUaZFDNAWI2SxG1EQeVqFc2tzt3udZY53lK4+FeKAaZymfTKRZp8WtklSu5kYWxYr3VBuO+RxMiBbmfYpnJ7pPv3DoRUQLiPZl/QVXPMW7YHusdo7tsZUTUscJBNrKcvwnyyM/beYcrv+bNO0wgs+Csy0uzA0jzCgXc7oprUN5kzsOKWomgDVRC7mPPE1AtfhM0jWzY4bd1ZJNHWZN3WfAeGt2OWvrfkELvGGMwebWFTDEjbgOe4LRF1UikNG2m/8tEUFrXymTmHaW9hQ+9ByuM+7h+H0WcHYcTcwO/3eYh6RgPuuryrDYcFnB/3JnW+oxmKM60eVc9T+i0hDES8bSeWSNYA71JeP5hFf10uzCUqGcMGxN6HtK++dk86Fnk/geuEYuIjNUW4mmTvVLmW6hZXKkUXNXwRK/dEJPF8ThXXywH4KsloC+C+tUEjFpiAMFvozGqW1/n1UggOS4mS5F7/jjDeCu/d2sGbXVyQMSVD7vzFZA5tK/w+g3lPF73eHHnlkObstrRCohcuAUo6Wx5SXcGQqqwoJkld8Wb3WEDTLxTVXDrAWODrGrMMnLsE5DHs7Om41hvumzeEe0wep7Ht46DrQmG7aGWKp41jznCM9T3CSemzA4DWBt33ESxKCTVIYu66TeM8JwjL3c1VShHPC342o3Ui9H+tlnRC1A26z9j44rZuYx4VlN7sDWqT4kTt2Wtpw+DAoVlAm1PSCEaI2D/gil23M/9BtaSQRN/b0h0S4nIutvWupFT6L4p64J6UhbVz3zd93uWDNBGkTjRWtmYvYjcu9pZB+Y7uyXx3jhrsq7O1ucx9RzOSoHxIs+s9CmgRhIwoJQGxfkIhsOaZgASLdpPQJ+ubClBvTPwTpZ/gWuTUwQako+xqZ+yBAYxCXNWQgeZYce5mvahWvKf5A6wEhdpskXIQp17VcCV5B8nT6szEGWFdYjAydLS1tFVord83+YUwFccKvFaWGHeCAoV88qnrVc0Xdoiydr9Z1bligIz/YR+GB3DT4IJWoRSJN0vM6kCo3ezTKU6kwaMF+NX6CFCeB84fekgRX8K15zEMIAQhlD6UDZZJlDTrO8kztw/rchKfDIwQrrS32NnC1YZcdfq1V/pjmZnNq3pl/TqUPpGpm/7VFekizWHJTAkYmXUkvQOwi6h7d8ipBkrCESyZfRvvEL2vrzJxDzClgBk3Pi0m2+F01BRL93+JC6sn1DXY+iBIW+4av8InJZp7zKFq2Jv+E09jE2I6tQ8RGXyfme15JXjuiMJ5/f3QNxysuJD6MrUa93GUpHVxNIbNesdL4/pMV32sCOhj1PmzXCCYKyZ5ZN4wLvZiwDDALPPtOmHl/8gR4I1m46QT0Dy2H+8oe7t1hyRKRBi+0EjWszgiCYbxuTXPfMc7VkX4DH5RJeVBPwHuAFkg2XswNc0dHZzzQiwPLhBdmK5uEBj42nZuHjmVo7D4RBYBLw9tr4k9ht0IALBM02f7DfJEJuUTsGLDLaEG1LgqySz3136JOi73No16UwHcWM99tXzTPZkgieX8IXZD6s5fGM9+7a6TyxlxD4yTNqZD9oAn14XWly8db7iujA1blgOAxV4v6SYag6L8XRxbV344PiehKwBsZF587a9CKzgcwsJbER2ZrOyV69pQMVh+C7Z0Y30YwOYmGP9WhjO3Vq5A56QoT4VP1qlt5szJY0HTrq7kX14CqGVA0Ab6kHv+UgKmL+FIug2C5r5uXJF4nyrdavfdiuxld4RaNO3o07P6u42p4F3/NRYZvRPkzQ9y9pv+rdzgCTPWqV9uHk8FRRYm21mUBUiq/lZkAxKxMJjAO6951CRodZbNDN8AswtYQUDgWQygQUaymaIIg8EDvU0dN88UKZ5jzCRgcwHzeZ7THq7AR0Rrby4z58NnuL8L8fRMlGtWPiM+stxMWVKZ/2pF95BOmLb9OV1l8QKtzOfhyGxlzI7ugDSeI3G0V0fgRCIXvEjjntePYsto5cqjkdlX3gr8yzrXbL1jDV2NVrqy562CtntBeHu4j72E9i+pIxPkiezzvc3Vk4bvAyefKbSlT+yCaFQFBmN787wIU7KEWruRE4ivIhjNsm8qSc7Dq3+mWkwEL1qyzCgg0wDen3qLd1YyyPZEUDVyeY7Qk4scVvLDFcXjrKr/0yeTI9rMd/aAx06uKPzFBx/owS1JM7YG2+6mcR64ULsr03UYSbZ6tvF0YBOhSfne6SyLfDdQIZaBwyNvcMewF0zQbbkXDSNM+DGrXpjXaM3G5P8T82eaEvdsQMJiWBcCfxuIjA2mAjEFl9X7w2QyTr9eU17N3H+Z7zljs9xPvUHM/Gmypoi1iCvp6o5QJRlpGn4fCmYg1VfhFZ/rufSP9uB7xhb3j6pP/SVva6aaOQ56IULxItTOkq/s/Pu1lXVHcfFbe69to20tBvWBGaAU9kERllXqibWbioHl8kpt3phOvUX6SzFFI7SEaFvjhi8TeXsknD5CFrY/fuLyVZMBRzi+tV3lP9Q/d/InMzRAcG4u4YgE9YP1+YLB1iPP827SnvHJTAWQkJIWeYAjN55n4z5zxD/YmXFi6UmGBdYdyI3CfMzbQKJbnL7Pxf+6QH0Wr8Y6yKp7IQ8EhMHHIad952TawcUxMCgU7iff4JSNV5MPfJXGkOkPaPZrT3LQvuXoFFM47AHWeoNKrvqCBjhkavERSgUvaCkmeN+HjHWLIuEDM9ALNL3L+7VEeUbDk3ngExrUNI8PKaIH0kA9V/Len+2X99IpOsrLpHff4dCYUVJYDRV6KfOaA2AiCm26l4xTiZRF8BFhEDM/xVcPjHgzMhJqGGF8TmUlLYaqia7y3QDcfeuEuMkAM4tFi+L5sdG0L5/6FFht610J+3I/rIkLeZDY5wa4SA18+KUdzwho3wm9EWOTpXbMOp4keQWi9Ky9vWu2ZMReE51z27wwTwu3bubLoXUqTCO2ffXHs9lNDzdkWRQc5akaKxDf2nA4SYdcdP0ESjkVEdNrPyOYm/0oVRLwRwFjHmfJAdZReE/WMohLc+bEvUC3qSEhZzye5uUCAKVejbmuDY6duMaf5+fto/xHjsW3A0Vecx3CpHBrwTPvyO4GmsxxhGvyLZpi5x6rL0q/Yls2MYSoc7pqjZgDgxxrFxJLZnhjT29ssLm36zgAAlTE++MqwnEsWqdjh2YdI3pAZJlrTdxUV9Td3j8TaRzH/+L5ZSolK3sxj8dWBpMmMkGQSve1ZLumvG2SP0zUSdNpCU/swcKBplDS2rXo1ydxcVy2G9s9v1/jRs5YJDcIF+IrgZXKF4YXog2FvPFrq35I1iOrOin9JSeHrKXuSRwkKQ3LC6/T+OZPn4DCiyuRE5rOfSq+R+ggKZ26o6v+WxjsnHkH+E/z9+KHff0af7vNut++WoX2UA2Sjd5LDCtwi5FjEczDT3B8ovUbgYVwl8Fyyux4pi8yCbtDvcDRcjIpo7Bt6Fnj7Gt4OBNxqE4bsHOucIZpjJJXoAx+tIPzvL3Xq/EyQgZcm9mKHewzrcfywJZas2bv3hb0+8rxFriGpf4DCYilZ9YVY32bT76ZS+odego93F8RNFyopNolzAVAf8INv1jlobMiBjst2TVxk5Z7j8CIMLhCosTUmrtZVepztxCnm2tpACkpX/NZOhnxGj7aNCDhyx6ZGz9k+LQrjBeOepYz3Pha9eWROgN+91r+95IpFh1DELYAlEx4a8AjUV0x9exuem3tJLVpnHjc/g49ZxrngN3ynjcUvTzYvCHckt7pyF3c9wGHotLhF2m7B/zeVkUVFgf3/uTwDN5X4O4ge1kzD8fb1blwQ4OcSB9c+42Brj2UIUf14rFnaiJCYRoPbBvfgwP551k9WoOuZrsa/xitlaCWRyYALGN73tzaHi8BUOoMo/igiPDHylRs7gIGgBA38eOvKRCxiCiMjPA/oxH5D48A4UTj/3/nWdlo0gkGGU2KtcDYFoyeCJBP4SBGc4hLQ+vJ/IOtKA9JeoB8RURARl0OU+114ZxTS3Yzt5rD8SxxXt8V160DLDXdVarQ7TDICDYfp7Nar+JHZBsNgft2O1vsaUriJZQYvZkiQhZk0PjApUGW5XjVkxUTHk71nr+t9vogCGygjaLCLOBxWYKY2czV2uxCpTLjc1Uw6Ip4LFcySsOAyIGmz77dXVX+RlXZheldNZPpXKvvDVTfmvCPIpHhlakkV0V7sWw04bNXoE3G8XPoIm4K7/0qx2XiICBkvxCGpZFTIfpXHGI7H957YK68fHA0hRqbXlSUWZ7mOIDsOq7PXWsbnh83fjqyAX98yarmkNwrvzzVFNLcAoSl36spsZxRKou2ioinrVZVilAdMTXDpitevx4Q0Fyg5cbHu3Pp4MPIjObclB7QJm8LuaOKQHW5Amps6WzyoPEV4iIwdoxwkc+qn0lyY6rk7O7QCdX5fp49VGrM5QhnwxuvPZvo54i+QsK0nbARCSVV8GRse2Psavo6jUUKnlBqVihWOaoKksGkNrtyIN05LyU2U32YzgzPhpQiElYNpB1mQFQdCzVEnL5Z9szGIBPd+Z/M1H64cgmflrMrJgA68Fc0uZB0by+heKVG9GqCOMsivgUSKKV5k5fQkD5Wjxmt/p8iOLKZ8TNm516zO0XuGr4iHl4gpy0NNeG6wgubes95PHWfkFNLjl3nRVakv/CYH2KMtpTkBwDk9x2O6xq53cweI7rQYVEeudWxXHcDn0LO8mePcZcr6ny4lVVqV3h+gctMJZJsiH+TFmamNvlfY9gvWZwAPV4UCJZ1p0A6lErDDY+QsXVE3njShReJx+saeJT2ip/L6gknIDpfwXho1t53dI28AIeniT4+P+hW1JdLB1QmERuSgZaBkq6rRQxOf+gBI6/Tw5QrGSaBelSHx7aZ6j41IshnO+T/6V3E4iTvgzGq7GH7cSdUCKVq+ld2iuEsmWcgrs7ciJ0gys7SQ4eVwQZ84kcbRc+iT05u4Doe1qPGTDQmG40fIMnuZPbufML8+1tYlUFQwXO9TgG5f6rB1nDuQ7ISG73Tec0jWfHvi/un9JrlZa0imK8Op1yB9ZHaq2FoTVCt9ple6/kqAJvBfFGPjrI5JFgvBNXxYQRrVu2k9XpEBPDTdX/4Q9WFrs3cJakpIN9Zp0DK7lL6+oZaOki5r1Ri2lNF3Jas0ipDZAsGs3tThLoAlnekjUOFzRAS9UhRU2+C+bvzYR9tAU4E9Kj/hIQqNlHygKcMsmfDI0X/VAYdhKtTSMcsUJ/9ZeKYpznFhP2kbasHXoalPZDB16I40c+X5+prvDTAObmKyuvVcMTpm1ra8d2UbWld6QOcIOF7rQcQiA9UP0f+9UhGFyO/WJ0FsaIPJaBfCKJOKWcS/vluPXLefaDzFefvB7kaQOTNAWadEegtPWYD2dQU4KRhMjh13Jey6lfWdnmidWtXoNtmRT6gihvcxfYHxZGfdfctgaouCrwXVec4we5TvCl4nEz4juDC7NaZNSDPL2vc5ViBgxNSCM1fD6LQixjVCJ/aA+vInVk2PyPPFqnzIrW9xUcfUuOR9J5ssIR89/0mgxKieSn9fRrBjN/Xpl/60dld7jdyz0x180vioQqtcwV5pd4a6cp5x/EmmIhNlBNisJbC7qMMLJVyo5brlWMVvi9cIL6wCj1OwYjEBSatVkH9skXe6T3V/W2luZfcBEAatfYJtw4T0JaDMSH+eiE/mcOQPMvmUsWkMDZo4W14T4SpUdt8jsXEmS2YY+LWheA4vhn+knrjQvJXxs46oJV0o4PXgOgVjs12oN0Zgoq0GVDaWT59F6nLZocU/KHc/lafq4KOE52dLmmXIjHN0Qaw03vv2XJF117QyjEbe932beo3DiX3ABLXEOBrvUuF0SaMz4iHP1k8Zkwx7ctiTKn+P9vx3j600oXhWdtFNotctUeza8Cmnd3PVRZHPGpuJZ2ZTNtVEjZSmkaSWG8X2S9w3EurGSi4+PuO04YrZabL6//beY3RJj0SduYqIP1j7AfgwpbDqFdrDbxH0lm14IOJWvyqVpVoqgNo4FKNlDbntabdCIqeJSXI/czbDhqVYFkGcaP4L6byOS3u/CeMKv4+WcNDCUE+8SF7X3I4wVbREg/Omm6/cg0svyFsae6whYyn4jo8kP33Q48tMDSt0a+Pbyt52981O3JhvmQEu5+gKdompmtEP39EPkatWkVZQ/TPluqHXwusANEvhk9MuxwLT9pLMCr3HnGP3RusavxH3vpNFx0daMmi7h8BPrBrm/Luo3bFJzgxN1C+BOuTOUNl25v+gTzpIVmM7tnJYV/xGCY/bcUFPWIhXG481SW5ot2LbNj7sOSPGlfpoCwVse4R56jakz6pzPF5+P0ZLPRLzWYE29sVX9UO0pN+wGnJnqRRRNk+0VAN6a8arSUsSDFZrtAgaUnLIkA3zgBx4lwNHV6fsRfE/MYijpUJ1NJad0LvfGf122qhC7f/L9EQWn+kxKEF1OPcnMPeTpUxmB8oUC4E2C8Bd0QAgC5uewZ4AjQtWOl1cNdvEXWRON3Rx6BxWn7sogBLmcsRXZAFm5inDJ2WZaH/9Vbv7/Tn5dz1mqee+yJHvRBjCQ4x0OQOD2TYYKqiOZzilnPG1MfuFhJ9m+xzey5AabQvzR500qlitz/0/Evl9oDsESGYNozoP/FG1jehuhiKyFH2z/BRR2Nx0fUGu/ju3ZbfwvauSqlcuQrB5GB1qRXOhN6AuYoHBAznV0p0pNC7shI5aSlooDtaCkY7bLTcHJm00VRa4Impsn8cycfFO7m9eaiop1i08WVFJzKKfweTTthRUIiS1zzUhay4sATYTHYE8cGYSl0D0OFDjoXndliLhsdMDbYYqF9yV09LwSRv16WWEQqfeZ5sGUwH4hOb6lJsfWlW/GDuPFm9oEinjqKaZkCe2Y9MMuD4d4QS5BgTarQ7aHPNUzty7TnLAKKI1zQM1UuWwIjrsdJwYLEANjvbtAzWPTv5VUc7T75Z6p4U44cVAY5p8BkvrYOM9wAtlnwgjWhO6+ukbrDOxuum/KnSVYB4MIKSI014Vke5ZM0FtUBUmSZ8O0RTOr21wFfMC0XL9ZhkFmSaElQjS9PbpO3fwE4DAyZ3HYJVWTc95vLo+yr5o6mq3j/XQHXNiD11xyiON5DX5txk1ba+2uD4hAojtVwKyx2wfzXQcvafojfZYJWxkuxteczhI6960xSECkDdVIhMYfB5LG7VGqaiJdUzLYWks7frt7WGlzg5QE3I6lXpWnP8uu1T4ZF2f9/vAH911GjOYHHjmIc1CSg0U2HRu+I6sxhTXTYfLBepn5QBkKVeHgSL8GXi8XYKs3Esw08WUEbPTDUS/283ns6fJpIINRzNsElPb29WuXl9PNEADDe55xitaSU2WsYeq0/rG2J0+Neqzou5tks6HgZh8vWrha2xffRPbV4FqxGBSlqaDq/mURrBCui/X8dQV/r5JauKSivehQD6vijir2cNe9XhtXMNWwoK5Z2hIF6mkMwl0xFmVdn98SXxNWm4VpHskqoErzZg6hZvLb4Xb2Vdka1NdWgWzFt1Q+lhlWLILnaCL398JasQ+plJ9zWsEmXPFxRErLx8S95u1X2iHjRSypYKZh5i53LZUSi1XRZda18QABRBb0cmfPV7kJ/RPmjwo3171wTDnLRJogR/m+WIYis1MAPTsAkrrSAsQDvxXLE0Yph0JvXIWoWC5fq6fl4hAvd+ZZfx2y+Q0zCE2aDhpHCbZUSsyFxL2XLoEF1UrzAUWvYVlKz0EvW1LNhxpVWcG5fqTIZv+wQ8XsmONtmEBXwciRP2rREgrTo5bvO7P6uqbkpZGBTm1fB90cpjizcnZaQL/Lh7384AWwbD/ij4CsUD76LZnTvV65nEDWFBAPPmIGjWVJUYR2b+qzHAkl+iToKItwFXtHEgDh57/hkMwXUA5h9L005Q0T/06RWExXBH2iiJqy1EyQQ/Q22LrbMYIzKEog4myt5lIav9/hrg4kql2qUIgrkgZwhCrI6eRd+0V+KYwxzWruBDyxVnZ/YAKwgpiJVUhMOn++NSagMx94n+gpcmFhGF8ZDYq+o1tLKch//i+IDg7dhfZ+pgHQYoB/647NVjq2DydVksx+M3gpMBGq1Yno36456GCWjYMtU20X5xQhOcwcG7JYMVpkcmB5DX/1OPAarS2U9PkOHcZc3mRHnqOYh4REr2qDSW2AJhK5KJaKH8cdISbOhrSgEqAcDGHpbspTOVr0IOZH4Thmz+sb4uAaQ+/ATe+ZPCQbacaYf44A4Tdgdo/oCt5mB3myS8w5krOdJEXXa1iDnBvuoiJ3RRnlgl5FxXLFZawNnyLqIN7h/wTxmDY3l4C0rAIKepw55BJwtprAqW+fcpkahboetaS+5H6QFP5U167aUIjBegQgkeoxkCK1zsfkIo99ZKTU0GUyqudTbMpyhYoZVQZx/NhQZCQizziHKtqSG/lVwDqZpBGjAFOXaW9Rt8E1oN6PjjWAGbWLbWO7lkGP7b4WZyY24Nj6Q3tMORQFhlSXZ0YveYrGRr6v/qHCmwHjXYJw5Lxb/HZioVFxLFn+yvhoNccShDmu2c55vZUtXnKHYrjATnIBG2YJBYlUoZwWfuCmtm637/I14zDBRZj08lAymm5hl3GAVZQRB2n4N+UTxlyzKFn13udLHi6zFALplOpsS9URjH6CjzC0qcYp2rtlblv9RNipayIbqp1sUe4tSPooBKXOsV3aPzYq1Ggwx2x9oGG491DXwB8iIfwad4A3RfpLEqKfo0m9w7L/q2TsA7VjbKPT1kWKC4O3rJdw0xIsjMPG/3M73q4Fwnb9CmtM7rtn1INwwy73f4AgO+ScWjBsr4viqCYz4SWOxRsBb9z0KsIo2I13O9NErO0b7A+TDZ+KDoCPFs3U+ClWXDeyVKJqD/O4i0AgdXlrOAknXdJYy/ehPqLsERIO6QymMmJWfOzYQqARtH7onnCo+V3ZUkmXV2EsWGz3DIEFGA5vSZpuABr3RlWgleZKbkOwFDu7r+o8zD5C90L5wj/X8ady5hcEWJhS6rH6xxSHRsWttTxBorwCpRwtcuF++iy6YfuTYPKJXAVNCvH+/GPLzwHvitvK0OldogUCH0wd5RSscSvWWakymZ3uZTQywXxhr5z50Qaz8oczsbPtzSUvbMfODzlhtYPQtwFGQjJ19SvM/FD+d5AwTujzeUXcSfFRMDWGfoUeXY/4Ypg727pjGMdenJls1sCHMP+RNyhKWatK2TIX8GaCCOrvjn7MZLeiEsz9BovRNt2D14Q+Y30XXbBkPf4qU6fQbmm7qmVN/Z5qx/uf3Z8Kqaxk5d4XbkxMyj1zSmo7As48MMr27OMgEAn38tPvK0Fy/Qy90HtENhklplEJouvLe0P+UdUmIZNB73/phodr6Hj58oTr4K4wOiZfYYHZNP+jawcEt6hSDjmdnuEfgcmDZdG7fe5dLZ1xeb2L1CMeFaH5zD9pDjkdheZZljlxs9OqY/TpKCbbgQ/ND+QwviUazh2W60WBG/7iHNLW+3xlxJl4/L8PI2k2uAclOZDIhKfEtZN3uFCUxlfxFj2+wAmSKeqpqVziyaqesy8jZ7bh1Xa2B7+zZbO4eHtSyLbl+bbXb05c+FiFqoByQYHuoAN/rzL5i1nhCBc4QHWHgd17U+SUxCcHzGAe49spSWhDh8s25n3R8u6JgLfvOxEc2dxzkGJzGR1LfQY0tL+Eio7zeuVUhAupjHvqk+DZc2P21F6L5xqVoBIgwrsJ4L64IdtYbWg2Z5aYOo4tQ+qWrlQwOyM/AntHEHBOOy2g68oFMiW3TL485SYnKLZMarBCtz5NVeDuUTBv8NTl/ww3E6w2M/nZYfgiPejV3aF8fPH9iFsirTzqjNbXExKRmDZ3uB8dTX9Nurfp8T6WB6/4tPVNxnQNBh5izqEFL2JewkZqD8Uh1zxfxoXoz9OBW3T9zgM3AxwZhjwrPyM0msCMIOUovttrv1nZLlIma00XMt646exR8yR5WKC2AiweFMdkh6Eh1+sZj8mshAdkMhnUXH7e1sX1M9d/LgBsryn88p2Ld0JfytLKTSjOt8w/qhPnQQpnv+UBPrZh/jKao5WuI4dlCER7Mz1fcFPaxYdV1JUBVjGxDr4vJQVJ26zVKxon/mpW/c3q7rrT4ybNSuUOmqxqu+xWaNuSaPf5fW8J31p6D877EbooZkUHYUotgsFy7cNfSqgT3QY3R2t92Vi+8Ml/m6GYQF1qzNYbCeqELK+Sr9paufo9n/geu8owxC60n/gz2XrXxtkWCeXW6Md6LH4feMHfWEWD1KCeVGoWlulsViyv83C2eWqqK8MEWQSkCB/7sDUh6yTbZSE9zq7y2haNzZaQ7XAMaotabShJmfoplSljzLfb0c8fTOO9GB3lNwOzvFsoToWhJwoXBcAx9FJ/jucUjj524G0wCs7M5HYZaZRr5Wi1obxY4k/pTjahtO4x++bJ6oycPc4UUIUkUdPTuyY4vYwPTDHJjN1/CUPR+UM3nM7k9szS2AZFUyztPgDCF5sI8XfptaKieHYv0gQjd9AGFHVOsaIit+IySOp9G0Kbi+H21xe7rRt3xatIYg+JApBmXTN0cE+B8eeN4jzz5SIlGaFG6+jVnv9+AItEb5izjIxqONdhMyZFdjXGAM7oCN3gG92SnsIFpBhC8jz6kGaozdGaEtNspoUnDPaodh/Xfyl19d0kClyh6Yekv0z0l8aEg4AYAPwfl3E7ajFvEa5Xh5kAfM0Cpv6UAF5/27RzDOeDM+LNQXX80qqDgh1sGs7aQUCcuNsCx20WZnj13uNKje2PtXvzg2wddAifGInA+xceXYSlzpGSAZ6VS+MiwiMO0I5IGNZBNzdEk9dq+OoohC8PW2F/i+oNnYTooA4JhmIjorG4qdUmVwi0/DB7tr6IKy0cX5hREjvAI5kiR3iZQIS6vRAHwO4AlI5K8Aqv/Y8Xn+xLScCz8cgal35sE4NdQmU+W0rWZRbGri53UMggarHTGTyFB1hexdsT0yWxDjOEscZNQ2MPoWHKHQzXRCBRP9Yma1C8C5menyh9n1aL+7E2YkFZ4wAWKBesXl5x097PEqNGU5nZzzkW8aZafwVzpnpPOtAruqzRXaWI6BAZLPCiXoHCT432RO2uLjvS8OiAQ7CfZ5cwv8AUFnC12nRXhBEXcH7kMcn5T9Nwv7+TPNaEmGHRkq/qtEsO+vipGADrerHxgd3+N/8ibmIcQSIo2fWa/Y4X5RA+68echGjm/3KtKbedsWojKEmPi+ngNJrJCU7NB59mSYFQH0NxE57P7C/n+vtoe5k6DwcqZfjF8Vq9khoa8nBFa0UrcqU4TB6plX4qgoBvVTNunDX2KwvBdtZ25Y/aUIPej/lEDDd4/klLV7N8LvQXgr68iynrUdHWjveZ6LnxV/cQZISZLhiIUzVgeOVX/qKXPR7u12QcT4iX7AYCTNiXXAiEm5ioojfeIvjWa+coEjIRAEbDNUmVWit0Yf3Q1Q9rnzOIgzcXnPMX8i2PyNUPDawwfg0uQLWoABAXYaM4BIr+oleLvQSxzyP/0OqMFVsWRbEBzY+56C7/WeU4MIPWpuzgILPSiIq4uQsvCoB/ExT628YwTA7Cb4UcGzkCcgrCCjiWV/5A5bbLVSanTRSuDSh27W0NfHKcaxqCRMVnFPFqOH9yfpgD8ugvqVJUiaCMTMq6fve+w7WkJYYhRt1AS34ZpgpCup4RHIYt47d6GZo9sjZJJX0Ja5XYvpO/+ffyBjpjQxtCzEf/nW2OKxh6Q6aCTgwxcHS8xRlvqgtXZX22VAiYl9GilznRSXK8Ui59xOWnoOu4IuD+X8Xg072wwRukprVY7fCJCE8OXPGwteSDQMCN+9zANJg4h932l7LEUgthuHxGMqpgaOVUDKU86AkkQbsd/0TqTKjXWIvfxx4pjpUEHxETTJMRJMsoSk4zXdf2U//LMhvmUYjHn9zFB6cK/4In/GGQVpRCyYKA+lVKX7+deGcibGW9GIr0WtDPnsC+ARqtnIVyF3k02k4Sn6wflAGV3STcXek4IcGF5vUpa8ofjWrRZ6yM6StEo6zUv/ibMCJdlxluhTm3OVtJ/J/kTKXyYDWR7z1NEM9vpFot3pysarkVz5LO+ptteoXR6IGs4RuTl4f/Etb3OaXI0K+4CRRhDATY/PoZXbuhd69U+/XXg1AUy69NZO3Vfy444ZbOIHii6vEcNMAad5EWCZuzyfNatBrB5n/38d9KL06cNrHsj8FC1kSM5+cfpVrBKGDEdW1acYtH76BizcHNuKPFo/4u0kVgMKXU8O+Li9UehQRKcQEPDNOmVjahzKDiR0Sf1XzzHVDnmtu1ie0KOphFHJJ5tLhvyhxzFEA9tbrmviQrD6Ss9dDSNjQh7nXCEr9a1QtkMRUemU8rYwfOIn+0L5kdHXdMcaOLJ8wnv1hNVFIWuokp1ZX2Z7/RZLtiTGskEK2QcuWqiuz/KZv9tJNIgT1gXy2smuwPw6gQUwOLi3mry6AdfJ0f/jbjhLGPJsR+Tedx3AJ2m68m1HVFjbuti34G2wmWue4PECb4uEaCVtXSReD3Si0m6jYPwIMUjBg0fZWHGugm7v0dI85DFHcSD5rmsgBHRxgxxFJ0PQ0wUNRaKihdGv31SZG8pR2tAzDc+IZCaRdpdysQ/L/G2ZUJ+VWQqKWQcuwtD9DPT14jAszKf5Nfp0e1XyjGkPwMsU7g1wE8FtyaBcietpSJ65q4c7Psd24hGcnZGZL5MqlEP6faeaX13xIy5mwB94GiSb/hb0/XWiCQ+2uGSGIAmIYDLAwRlxjpbqZ3rXbPB6RfHn2LKzXDDSew6A/LfaYN+9Bl5aRGHvtXRtOyosj5sR5RfthGTMiZ9uGWgKkc+UoU7P6VlMhXse13f7NKFOQlOVtRl8DGZxqpd4URJ6NCP5Ju74eCa9rWvmQTQ9yjqGxGlw6yzH6/+/l5KNNBia6kxvae59OpsqE5QscLlznz/Dp1wpKRkI+QYDS+MOTiXoAw2mS9KUAMNwPayJwRr0oenXLbd3xbBHj1Wg/jWsuLyNCBaKdcl6P7Qj2mm7jlszKrwIq1VGnWORgSDTTyvBgXM4WiyloPHSIQ7zBzH2hFAmGM5WVEB4AvCZduqhqjdRwSb2sXSwT9Fib4x+ks8UxFQXxlrMyUhW1CauxQjfqsCODeQnh+cXgHRBqAFgbeE2c+EpQoPZsILQnOd1pKlEXgvCtuAeBZILmV7ka8awLQai9eoyi1/7CAmauX/3D9C3Iea9ipdTrlBn+beTvYb86TMS+2020ej5kvJcOceM9yhiw2eobwuMOsvrXqpzbH/gQ1+dhDc7AUWVuJUCANEXMCEaV/OMXW4pGQXsewvvrh2nH2dn3iUx6vyFzYawNhSlYISJKkyzYl/C1wFVt1DI9gA+Qtc0Kz+AXaBy5XN6O7su4MfFS5RfkTzztm/IyjBzcJc0oK2lcg1HcV6YT41OK2VtG/3Awt07w0Ksp7cWS+eBtVmfBk0IpRNKYZfg7icxsDrdQAyFZ+MdfJDnQoNoiVBOukBJf0LTiIkMKj+zdib3g/s7eB4MfXpnyE0P1U3zrOPhXud8TsrUZhU3W++Xi/Y3521IhEU7QHLtpnW2y9I6404NCifF4ZY+V1vg+N0Wprno/YMEhQhUD1Ji4ODR8ell1nZK+TBnS3i/DJX8MLpcOjocxRXQlKWqVZDA6+tl+KlWMVK3wSvkJXotNmcz76jpLbPGf0hwKW4dEFtE43vHdFCiX8eNpKD50xCGCJxE4oOcnhJfiFhOscMStTkH3MU+JYcuScBqWb1/qoMR0pHTtfsnSa+dmsqoJry72jt3NtucrR0os3mBhnEAwJgB3yvdaAVMLGuNXfV826m6f0QJD8Xzo8lC1Ygd6DjvAfMStJEdf8Q4wHNgJS37KFACBMK86aUsJA4iwKz70GvASASjnUl+LrY/pl4pqeVV7yjJ7dk6y/YyPK8Gihjlx7AVUEOWsLGRvEdMFsn89TKJR0MBDZN2qiTKo1/QAipKRQO0P2NO3hiay4E92m7z3uRvH6811j46zvUExSjaLWV8Jc8IIoKGIHtJ8D299kBBiWCxtLggN7GWkqagIZgoIKlaZcHq8jlJneaCOicYms+zOSw1/3OUe0mUynhH1ZPg5jl0svKCAM+QMwb8oRm/T/Fv9awsn7QdD70nvzqBvJDLO5lk29sU9PrcxRz4gyV5csnKxgconMT7mBa0n4dIGHm6ykDvP/uQd78n4KgK5mVrg9y8Bvy/nc5jv41Q+Zd4i/B7+HYT5rZ+sKWW789bc/gfEP4zyvGqmDHase+FstZD4TTasS6JQMw+YLwNYh0OPJ3MtgoqicCBjKiWMP79jl9W2UJ/dYdyrU/Lqe0PjaGTVt4OR6x21RIMNCk1RBwsiV2aDtz/RUW9G/kbRFrs0/diM+XJjqdU3BLpr6j59MvP7bN26mv8MlMlyJM2WAMGb/RHuvcPabDdRPAO2WYLZn58btuTnXvWbfJZFf7ggJnI6LZqomwpw6Ak5Zy3tcqkh2LqNuK2n+FJiUX0iL0i5EnEzKZkifCKxv5nzfLJVgKDrbgr9AomhsEIeMp5BVkKJYEaoMccDlFaB6OpueCwPm/HtfOI3khzhm/gooH1NYMQM56YBotKCBZqqodFVBoKS1eL+fPeDj3MN6DCjfUHvOawtO+Kyq0rgpdZJaFqGE118WdJ2adXSo6lQcUNVmCQeR8Sl1UAAqX4B7AppnCjBwBot8nJredKaqAJG+h7kjGYJVIhZ7s+Lztzf4ohw9qjWFFBgaSv2cJejxQmyQ/NTKW7AdW+gEUh6HZTLWcioKy9ppKyQk6Lq8aLU3mCyqi4evPYBup/gqbXSmr3qgBR4CqbMlRGWIiwWqiOljjLT80l49cMIPt6DlWgKUaDYCq7to6KM/PzUxHeIxMjVWkRqKfOB0P0c5CdTnnzb7hB1rCNtFaBukS4qwk2tKIh63LthaPZrGTwPb0BX5nG50ekch4VWUCLhlk9cR/QIFe5NPWZWlB4t2A7hlO5H22DiYKjttcRxvLE/z0RRAOBI1H6o/7pfq13POOiEhxGQ3bPyEQiPr+434fP6ogfC77Ot/gi8mmromBRbUzaJaNkXxVuYEeCBTIZlNF28UIDrYqGYkNyPnEpEdAecXT7PPkKxTkiNjHabrkfUIo7xkodFV5c3AfqlLakeLPe2ARlJgA1Iiq13zmVognUTHxC3960DBmGSjz9zrlycolSG/IzIN4spl9q5GTcZRhmhyE0vQLKtHFunyJ5Tqt14ekEiJNe/1N97Tcg42vup7tuAiNq1xEVeg5lo16i8uucwSitOIJSL0kLkVRYRr++xEvU9N3deTDSdFuzcerZIu0/7nj/Ss1wVGcR9NahNzMIko0N98ViMYFw763R0V/M1skya2n6cL0EMXZRz1Uf8CX5y+iJBNDKjTS6S59Rj2vVhatnjrK+zNgO9g7Czra1OQ7IjFQ4sLmOCroBxsWkSWa/4EVXmxmQG/Lop43mW8nV4anjQAcWapA3MSzjRTIRp85B3omLg3Joc4tNKY2SbZ+BuiT2/GdP4dt9BDde5GACRlbNHiANeAnGk8DqHy7vh8ed7AfGavkZ/rZyC/pynoiwrP2B6WRzMOCc3m8UD8ybhnFvcWDs6Fz2EcnRCXsavqBgNQBdl79YYKPFZl20v8vxErLlpZPwe76buZD6sbb5VpjKQEQBKJzmCTaV3r2f7HQw7usrwF+LRXFoamUwt25o8JFhDkweRVI3/KvOZJpW1kpzMFNQ7Bj28BlznjMe3iVT/mt+HR6PXGlT1bhQm3icDfQsOVNd1f71BtkFXnh27RrAph5pCcOPfYz+ne/FwT2c3ryd29HiKwc81WdgunEreclXRynyN8Ud3Hu9bNCW9zDD9ihw51dBdRuijFvPjqf7f39pJq2wtehqeZo2qjPY8B0fxf/4pZm3h0smPtLxzK4asiDH/9aQXsNE3m9STZYRF71wahCZBGbrFayp7iPKH/tpFvS/i6CkV/usfNK2bS17zyRNlIJ3ZrswtFAYBDD1+U7ysEK9/U2ZpazIsJLUL6FrQE146FrMx/Xw/x7MYsptS5OxU8IOhJLkonstQNFaBA1EKw5Glf3dC7tYJ+BaX/D3138yPqaCDA129UtWZbv8yMSDgqkFBOSBddfKBZx5HAPeWDjAn5n8Yn3Ds4dtJdg5Ca0Cq2A53M5tRbvpUrWtvlR1vCJT9BzJcuEiyhm7MHQpmouEtC5mNHKOZ7cjAoTWKPyENFL3FLf9P3rxFxy2lYi2rbI+wausJHeu48ehTkgcsJkYu7xKzowp+z6nDcckna289NcYz+urM6ajRFdjq8+WTecfW3OECUeC0vVH7zq0zyfN3M23RDFouSHQbGZynFJ6lea4zDyDAZgh+ijDD+gUKBf8TZ+KTZIqfc8FmEX6A7PXrxAp2edNwx2AG9GdtB6Qv3yEEQZjsHjeR3QDmo/J1gnF6yFXORFLM2hvZnh82HoPG6WVEeYKhL8Gw33hKZz5OACyjdKdUx41hpKtpQomOmFyJACD1FPnLQF9HgzpcyRM4WufI7x9BXUr6JvXIcibbgWSTL442+DoipRhcXtM1NTu1Xcgr3I1L61tHFSwTPu/AjlD7FGmejSEdmqqfVGEROkqakVuNlkveCV1GM+w3WpMoH9+CPRmyV9YTzkO7AajVRcS6HclgLYuBGEBVl8RrCOE29GyLHXjIZEbHiM0nsUbfRm9Bu0Xt8C3VuNK+T7udF58mjMr8SK2hKUri43TzK3p85/ZY1vRbt+nrrUyuO3v6OBPeQH3F7eRL1aPT87EuMGo6S1PskAhGmDFSAZLszOMKY65l1lw8Pruk1p6Gog+YF+m7JebHvbFndRmDTZgeTi2al4KNO43nNyPn01xMCdGTrANk2IgZ4o/aGDZwbkFzUqouwW9B45LeV0AO93pW75bpUA8zn/9djIpkTCne6RCGaPlXbM7X/hFnnoGVhxO9bTcedmTRRKh7/cf0rUxjyn7cA+XyfHu8CIOuxZDVHV+2BHFepVEkMSJGCeD9HDzuflcwIZNOBolWYt1HNgoagh614BJ+zr1hQdzHDmy2uNZ2GMm6IV3gu9ULOwr9bv5IN0wOXADs9MzK4bE+/+3pJxUYQHEzSEiKu1kYbDKCOZ5n+DKqKDOINhZdacS7d3oBpsCcF8rIyf2qNb4VByBTdH6OcCdxpz7qSGQYBXDyZqLO53Tv3s0/5HUOFD1qtx2HfOMNFkDADaj0NEsQAL42MRpkryql4Tl4a03XyU4nuQ5PWytfE20zyHhWl/3h/f5K1EFbXPjCdIfzk+K7alCSok/NTf3cy0nI6fIpmYG08x0XQjPwf3HIrDqWNAn0akpsCbs9nCpEJTjZuxXXhK1mFlKpiyLZXOYU5lc84q4ijbgjoIz030U3HM9rzJx//uGS9pZbdhAoTLAmeqIG8yYKQ3tOhd2TaVM2J0MwMD59KMkGnq+krJ3UNalArg0mBaQnWh7Di3bKm9NSsouhTCwCskJ76Qv33MfhOu6BAuY9N5mB6URFKmGJdgaJEH2XlnU6KVODT6TE7ddse25Jo630nof4+4nGbYscQDC/LvNsa6zZihR4ZQSF23Sj+sSfYmwHI9gTlOzCiOPf8wWoPuev5e5+TltbdnuFL6q9bYh7KKvqH/ltkCOcWHGfr4ggqUNdjb6baLRTAJRaoa7yRpF6V4PgjK2wCxZB/FYFvWgLKCzT9TxD7oQ9F09FgidvzkYLpyhOZmSqX1u/oeuui/G0IMCu0GV3uvA5xRourqxYAf/3PRPRTHNNsRf+Ivy+5m5kxCMOCHmQCT/BhjmtyuVNY1ZENhXnG1zFKQSeP9Apv7EE4/2bfh3qQOdSkrmje+Zy74liUVrftkFbji4WllF1K0G0cK1J7qx/jiJLt5Lnx8ZavrJBOAVqGMR68WGOWWFcrUv76R9PrtdcBX0KhGYanQ+UlK7z2bha/krHwken4+2H5UKtIZa2GV3F+UA+I8mAeTmuwoT2BMUoXvb6g9WnSxzcLFs1/QRpGR6MUA4XN3KQXuUIsXmrxP4HydtCdsGQSRaNZEYk0g7LnaqX43Jb2sgsJo7dT6Q91lVpfBGEUvBP5nWlGFav9r6dxrxUrehpBWjU4ew8PGfOuAaZhtJHYAMYyxm3qdmCG+RSPSOL3icoDPPhY+0EiMb6gP/FI6DbAjyL/l6C6KGHNHKp1sAl722zsQOlQI1GIrnkk0Stc6LjtFduPmqv+NrtiqbgUHqW7CX34T6dfZu35IWmnvrJwILCvOKGf0A1zpvmHSnBrY8mL+XpX5R2onV+EMWeR96oMMf8vWFUUBpmy2pAIRdoA3IiOt0I6N6HXsiJUXSdolKW/w3uh1tbCtSOT8UFztsWfBpRvia0ncwmcGhWY2+5xYFdQhyHquqV512gY+q/KE4JeY7BShpK/3CbeSJDav2W+UzqGCDCayU1pS4P0rSCcGk8Bz/9jYRUueKxrTImSPSicufXpNqgqhlw8+OzxnVj05sDyvkfMujsj4TEHJyoRT2M+4rujpApshgZF089a0kP9UAbQkp4WK5TLEDCKP7MCEqzJYvisQbKBfGVbcIN0dCF/oolw9+SRlwCzpGT+8iss8dXKqF5oda0swCwUADYesbUvr/2tdePt/tVphGXgEfDet5FLIg0rZFYLTM4rvdJ3nGB7E8IYjaLIb7M/Y9t9UJl0Z+HewHbfGq+QW2VaTWyhP/ZwEyEi4cKwLDEwRRjGz1UZ5fbI20UExTX/TcoEOMzmYIUjrjYCmZroN+wfJUIVBuPZa7yEuUK0w6wYDSKUGdG2akKlJ+iji9dS+LLKpP1JzlxCbaFGi1iRqIIAtKYfLtazPu4e5wZRKo2vn/lkgGGQXzC22TVEwjw0kWOBSwNYxdlzRwmAtcdn2RQZ1mgqJ+Wu0ijpRcA8EGqQwRPmId7q2mfqDcOoBWOS57syWO7s7RBFZ7+kpk7//TONY3NiSeWRyPEm1lQLCrsSG7Nf4+/UNMvSUAKq+k1F2LWpLdteorKOEqCWPULLAF0xodlu7jSU7LUIde0W0/Z1DErBThGgtadvS1wGvqFOh4URaxGg/D97ktZ1iPlQAw6OLq7MU4+EhnE9WDn7dx5/rNUes3+hnNc3ppHLp4HeNsaRKsW5vrX8NQub3JGS5R1VMSKi5UyYG7TWxSNmWg2ETrI/Aax9CFi8lzaLjufeCNtpKOPYsRVx76V4TodTRYBiwAmhRWuI53cpmUMTprN+mCV9virg96OyFMBX1FU0/inqNf6MSS0HG9nkBhKR178olmeoJsohoHDoBnlM7wuDk/LHnJUIVBqZDrhfDr2hLbwxYGMk4NFe7T0TNUhdozIkTpF85c9c/IS1jjEGmbZ4TTuCSl2CjCZ95YrZKU77+LCW4Qcy5exq3Z5HyCe/nFNMeHbEX4bDRJqkHIFESjFd4+Dtc1I9zsVcERZmXRQ6x95XneeIai0Zjpf9gaeSdPsAp3dXGy/W3Anbaw0AZ13UxC1X8VmqTWdXHB3cWenoTB/6Aa8bM4ydVAxhWnHLQBEQEkdMqzMbqaJ6ytE+eIcCgnqwTUFCMC3NJrJrnSTRVWZEcape9b5yfg9PSiPZcGx3heZMlv9NGxu4agEd8i8oVmOadu2B+Wf5ZdIla8fPrJdeEJooC1gDRBw825TMrff0qPaaTv3c1HGJec2iVIJKm/VoFAeaSQ6GWPLp46Az4t5jZM1L3nyLLDH9T5f+mJDnscDNrLtlMxIDnHHib1k/UADpEvC+bXei7Q+6vEEBeJazz1sZewTpU7lPH1/sV66K0VtN2Sv6YFZmRPps2aIUek6aSAykP04EZ59jEwiS49qwXAeYeehi3TrTvgc3g9S2fg5SR2TMskAiAoKb35SOIjIbTNq4okMu88CgK2fC3uf9auHrU5eao3FK541dnailQ+565taA0EXFIevoWjyR53YX/Nka2aBFWkerbOVJl4iG4J4MjfRgjokUA25P1JTsNCI+E0NSAMgIalD211/RpS7kAex5a/8h2sMEAR+EEGtjGRjc+cm9X4KDg4ihCOrKHVh2cpZRr12uydlIMR42Sz9X0lA23h3kDn+2JN8C6Fp2q2hJ8EDPcDOG8p++uvI7rUJPdJ6rlyyrYBubWkpTpdCw9Uy0xaQ8zyl7g9N35yf4uaINmdH9pOd/w1Y0fC79z1lcTCLRj1k+Eh863px7zEpQ91v+dpuDr8g3fd7jK5q+ECr0GCni448Y0bTfbpWtVt2km/q8HIyEl6ZstIucIHdV6Hw9IwxHDnOwjaera7pLeFmlGfuvPEHChc1nlurY2o5Ku8BNPbJj+KcthNiHX90Xxr+oHbRh5KdNY8HLXic0Qr4jpmnqjMu8iWl3eRvM/ZOub86pI5DJOl8f/7K0sR29688YgpC78qcUmHa3CL4+//S7eZdrqJsYgSuYTqy5Vw4gvZOhtb/p2p+tiQhQKiAN3f1p0QnKOKFXb1Y7gFsYCZ8g2YL5xF+F9wdl9CJEYI2IeE3+Dx3zrj7RTwxU12x0Me8GS61ExM7//+kh67FoxKp4CjckyDOcoiwVYFRZtSLD2U08WzBPbil8vvF+128jlqGmU1VYurt+Ss7xC7rIeuVy4eBH73L0ISduZDjjjnFPMliRqNoEJ5gmh1H3LQrrw7mzHCE5jqxH5uOs+NAFa2ncf6Zv6yypjpwhHj7SDFX9Y93Zj4kcs377xUrxfwxWV4u+NbimmtbfuWlx6o8p6Z0G3xXNO+w3haNHT4alo3bprD26Q1W8/8o/dMn37BbMRMf7nMc7HXVm1Y+chqV41sMBwnQHiAJwbNJ6nHGU1dit+DvR/os69gUJAe7hbZ/6e9XrEjbD9b7c3t6hrgansmR1A8yFHzuhiaBqan9ZW26CWOUSAJVkkO2hzqaEVm5pRCXMpV0KXDqVxO6KdPpJ4ni33PTiY7uGmaioNrdjKbDvr5Wh7B/iYzVTIIrNtVDOdz6DQGniVlML76bMDkuVj6ryFzp8zcOm7q8vjOleZtTm0NPgINFaQweTNlwkMdc3Wok3Q1qok6jdiGI7ednvnJxpwlrPKiX49atxzUJ5upbKjVg4Pc/v76lsMSHba1BNl3LFVgohehqGSswceG9cwuPbveUXd05vl50V3zssS7jlgmEyoXce4yLDazeeYPzvyyU76RSUmvjyXJVJeZ/BD6TfjwG/LSRSR9UilaxBs2VtBZ3fyAilRsRicX31WcVwQCNYKx0zB3uC0HBDXO05rvvFQg+k2mtzreNcdgk+8NOclBZToKuXvjhrPPosyqX6T87B8ewVvrYBM+7rVEEXNieOCIQAO3qJbNAHbEohQ==" title="Mekko Graphics Chart">
            <a:extLst>
              <a:ext uri="{FF2B5EF4-FFF2-40B4-BE49-F238E27FC236}">
                <a16:creationId xmlns:a16="http://schemas.microsoft.com/office/drawing/2014/main" id="{C3632DCA-466B-4701-B8F9-F7703BDB301E}"/>
              </a:ext>
            </a:extLst>
          </p:cNvPr>
          <p:cNvSpPr>
            <a:spLocks noChangeAspect="1"/>
          </p:cNvSpPr>
          <p:nvPr>
            <p:custDataLst>
              <p:tags r:id="rId8"/>
            </p:custDataLst>
          </p:nvPr>
        </p:nvSpPr>
        <p:spPr bwMode="gray">
          <a:xfrm>
            <a:off x="7056284" y="2014837"/>
            <a:ext cx="1414811" cy="3910686"/>
          </a:xfrm>
          <a:prstGeom prst="rect">
            <a:avLst/>
          </a:prstGeom>
          <a:blipFill>
            <a:blip r:embed="rId15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51" name="Rectangle 50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ItN+BdkIU6kSkys1oz4FTbg3IAHFZDQQIUI41CPkYeCkR+S8QFB2kPylUA3JsntOnMnXuTmmpeohPhgnOvWjiJahxbCEkKhcALAa4/g5rVRNUo4brP4JhiLsU+8O7v73AugP61KaL9V/ZMDFmIanld6KNo4Tnuo4CWlQ3Kec22FtIEqMisG3RMmj5wobwJmsj8l6v1JQfLZaoon24tS/ioy6j09oDLuh7RRZyxVpcRdzOJjmmHUa0qnMr5Uegu32pOZ7YDnLB2Kug8Z2k+gzN41szMpcTwsFOrnZvPaAzlsdFKar9I7xTBXyhuPu65sqsySYzv/TMR2o5avDQK3tAkwzTP5gMC67GjfB7vcNfWLHrawTs9BApP3rgdfsgUG4hx5y3YhUW8pSYX5Np15tpQi7oZ/nQRePxQ6d32NQhnddmqHdSMtojhYECD5/tOorHxi5r/z10JJlhaGgyckrIbWMkD4P2NQH80nsfr10dyz3KtZEh9KhHOIr1vI9Dh2pN5hQatsVhAVX5LgPsTJr+uG1fYIzLRhD0Vevryif4IF8GS4uBxV1b1mWL2Wd/tUCeoIHXN3ayGc8qHB6Zx+ZRci9dQi1VoJqLHFyoY2cVG0E1SU3nZlZPyUlyUoM/ATt7kwrX4Xb3Yomb6ITrUfiXKf762JJdFluQW1ODcnwxNuZ1j5xEwk7Yz+qjXkoTtRrnOfdlklIeHof+9Hqh9eorCwCC/QHQVsCuVYf1p6ackljKsZj+djFn4b2spEw+NHDaZk0LerNciqm0g0qXJZlv6ZMj3k7zNMHyzJTV/7eJ5Fdor5olnNRWsD+oFIar1V8Ty2IvxZv2BnU//x+HmuD74Laoo7OyKnlsAPstoTozWzZjMeQZnRRnN9rDDWXb4E+xNqDP0FTXQxf3nmZbvSDWX64uEPNcIANdv5PzlRN8b8CLjRbeZIdOLMylURNkIeZZ4X0cb2hALYkL61o2yX9G4Ir20PySTuVgTN54fxRGj1+cR6SzFnjgB9XkgIPhzTmsRrPvpWCLhV9fwJ7n5oz0ceniZujo+Yod1WE/0yK88W0S0p5GC9cBbsCBSLVqagml4qTYcZiMk9qeAN0L5CEA7oFsFl3BCHB6KmglNFQsCVLq+6ONZj+BVIQdfPu4QjyUocCaIFAjTXTrBW/kCiy84TbIkRZdN4jAOSIDaXK7EZs6rYRwUNjp12lkr4Cv8Dmug6/sgREQPQMJOia2jNV2Rbif65ueT/O0ohP51o8YyqvI3ELm8bGRox6ivi+panTpmwaIgG8i+xMy23Thszb98bi+jETIOlT6Z4t277PIkhYTcfjqia+mhFVNejXkH65fHP7VgulxAWErv4uvKWUkJH0TYqzJjwbz9Hvh5PmB0KJAGIAts5OKSFsyACzkgMZJAV6BlN70OcQAmw/vvxBYfJHsQmx4rrpp4EhU6VSQAIdXvsUffW8YNm6ES/Wfw33h8gRpZAuJt/pczbRQWaa+uelNNvphl1fVfAdUvSJ+w1ZzeHQb4DWXAy07dCTRYoTJbIL3od9cmvlrzLzBiIuIkvOQYAu5IMrecglHjmokAzlfWexafsMIJSi9GIy4S0fFIo5IEGaHgxKuYgKIOXgfEe1cK/hL6gyyNncHu/NRhWak22w2aUX8wdBYIfeTG10YQUD/IlQkvDu7eHzVyNCfcAxT5kJ7aKGdMMuEdCpbsdDCMOEh4l6hdr5mRPsRSCoprooplp2OCAmWPaxq6eSoIZb2W/fL5MhQ5YzCh3YGLdxhZbQF5bbqol6NKYB6mNexZmih4k0eAte7ambbRFPTCOKIALnpAvTJeubCXDArtSJsEXHB7uTVVB3FckRXpobmwzdxkqW77W7sRB1O5gdCo6f7GsZ0qgx/XP2dW29J/dXp3x9LdHYUTpLHHsL1Cw5Fi1JiIIUlUP+uSBEzYP9OmSVhd/vv71HGFzwgoQX48NkhiZiSU2dVwP1W1I1QleeyTE70bYalqrJljkg8uDTuZidKKBzVcc8ojYaPBjj+FBJYYR3FlgdN1QxitL4HdcQUdNa7twUDduOGFMMYbIHxEvQKSyM+Cqq7iZtLutrOLA+w6UhkaDg96UME/tJm2PgsGx7TJRwKyjCsYu/qM5GS+XBGe/HJySPiS5BH5R64lfd5aHdIsdksnLGfT0cdTfP2sxIEUxr01RxakXPEwldN3F3fpWuEL+qftHv9wgqqixlyw/NfRYLXVVrv7YsaHsO4QMqOAHAl2JqAMVY2JSwS/I0hHalCvo3v4DWSHLaMr9GNpeW+V81WL1funWHRmbnM1+I1YT3FU+Tcj6goJkKikszAErthuApj/QaB2MHGwwhWpu6C71YQZolUMFFyJYB0XgA04YrR0hshOpLfQzEdDltti22aQ+aaE2IxEfrL7eRbyv6NoBhV+2Wbf4pVZeBoC8QkwifeI9HPOqUy+BRa3M4M9o4sZBn3SRCtooqWmksrQLnYxb7gwKXfDMC0iQbin3alqY1EnsJBr41bG8XEMJdptuumWunQalQhJ6aIuaoB71Ioy5Q0FkTVcnYAnFa8v6YavhRhFAfgebfAe+7NVwBDs8HE+EBwk30wDegGigQ3G+wu2n6KlCxB39WW10dEba201IuW7uEqepIMEuco7QJrLFjcRBqMmcEbjM3BQmk2fU32LtJLdRAaL8EppvXa9DDPIcB/2VO0U4fIShyviM2bOGeEC8d+mzNW0qzbp3pNI1Qd8VwlE+uq4fvZxEIgmUeQBPZC+EZJipvT9mZ7M54MrH3mgRkaZd1aHGdEl23u/GKVqSytdveTS/e87vInM0UXc2TD1PzzCOHMqqhRu/hPpfJbw4phiJPNrpYmqQjBY3kg0pLrQT0R28bY7OxbPT8cx7536uoSVBsTz1zOReUIHefRspcjJ3gHYZ+wzA4QG648SHl4OO4riRiPLmDfMgJkBipYY8pDxw4GbRnPJXmxLbuD5hum7i4FSfMy3ZywqtlWMR0yZJte1QqLRqx4NdbpmWHKr3WLq8qPUeqnPuggl1uAI6TGKiWMGYDZGZ0sFoPbVsijiFY1uKDeJdPLz189Sn+qmu2LtMEUedax2ATSAx6C2JKX+6JYHWwZt4Y5Qw6Cdm+QzlRuBBOdZgLA8rEnB7VwIXRbyOd7QinUePRgmfTu62JdjJNAwCcr7fLO1pUupmALb1ZEGY4NEPWyObHHk1ZoES+uQJbL1qzUn+ukfexQiLb84U/VxGVSJTB6AnRw99kzP0eL6MQBa1LiXvfS9M+Vie4xL3i/ulttOYQqCeNToIa2/MfdBwVNNWtjh+R3VH4wl4/O4NVKnvWmzdOf7VfJLXuDXaEjA3vU31YUoBJPw7zrq5LwZ9jOpIBSDMjv/LD7n9/bqn6h6sBcMxGyRWrrGQ8V0wqHsRjs785xm+wcvtA8TxN9FVYohunJLeSjSa//nI0UFKMozCDiFyj1V7RCUh+ZxKZgCFCNzDQElLCTgWXqii+s5z4+ZopBJzzsvgKAHElfKWAQSmGVBSbcsnmdMxbyfNht/e9ZSv9fyv4lvAj0KqfnMTBmWtf/wPNz4jAAafiWrf5N9d3DzFyEZcBevoWkAZAcb+8UKxmplUtUS5Nj1LJEdD3TS4JSE2AfrXESWl1bNnQIMnbPhozJZRemu5nTAXshM0SRG6FApFMIhGyUw6mvH4bTQsd2/wCSjs82cv2zRRtmNhcL6FjrfO77vlBkBiT+AC7hE5B1ZQ6Ww5rzCTwTPenhzE+96Dxr33Gi7rQqdA3KISL4RUkG/r1PJG8uZ9mg6v2a8wbI9en2taOyYDWZ1l3voUVh1mnS7+OVVXQPjSBrwO4HKwsrFV8sPhVm0dDv5s+3CRC3WareS2kirtzgzAZms9DNrHuCE0DfJEraDjUB1x9+4JdfHmGdsXCQg3D8a5InWr0Pu0kwh7YsBFc+7wE5K8O3EJe5Tg52pXRdztujbOdhBhJ5ndEmQhmsQ+krFGsTDOckpbM5v1ctNU6zGbaZy9j/0ai9oZF9Yh/xZjvVdw4KY8cOlVdQ8ENiETauDTrAGH2P+lU4/PDR5MQy9kfyZ2nRss8Tdqewy714RsmN6RkdBOixpgGKQumkG1DxjzuDrD2JR9SzIrfZjiIjhF3XQrs1wmKIjPGHwzvO1Ydr96O3bq4/OZntq0vFoyvm26wRkE7sOSQSOMJvJekTK2HgAm96lJ+bn+X4JXKZ1vfUG6D/dApgidEK1Q1jiUCcsEoBcnk/tYgPZCiDp2Iw/CWYY69nzmsbxproBHAdAWC3c+A8ChWX0HbzG/zx6E/CU6r6TOV8KFo2upn1xuLp9BMRwRFBEiRuSMb2gpJ3jl5g/wN0Lunjp+yGXtJANZAc0SrKwc8+woGJGHKTMu1kKSfKriLFScN6vnXBV+0YsVk3fMOglY2BAhHqVgZ904Ja3ThTMFLJcKja6x9KnSsccY/aLwglY7Yll0hSw5DdDXjoImuXb5jTNmeyy0YP7LrqC0fG+wafxtY1tVqrgaT7dziiuSaNKSG7YzsuSaB6rLHoaylGDHe0XqxfVgpPS0mIbx56Uv11ZWu5Anr1xLj0pgxYMslTQcnmCvpW0iik5aLLjvsOlhtVjZn7H+YdeBUR+yZHm77aiFVOdNfYP9d3UcLJ9K6VntgS4uWx/Q+fZxXnbJoLD/jZil+2d00gpNs0RT/QEzzoGBEO5egDrDUDBg6QLD2u8O2pi2jApl/w8tlFJoLHa4Sp76d5r7xnkK+S42EIGyBV6dSiFEN1TskT/ysF8YMa1KG9KmcfW9SdOxEWaoyEssnin7N1EtcA4NftkMOkzSp/ug5cpPK6IzcdhWgyWRCFl+iY9p8S3zXATK9C39Wj6gI7QZUuWplItkJLevQpU5eSvFeQHyh4GHQrZyf7zj9tVQJjW6WP/StLvcincKf/5OmQ2aYRkQDG3dNIHVLlDo0r2nQYnbMC9ggtXYbJWq86wA8ogzMp7WAt/uE6SRPZMeIXdfclQ8ExuR4Lb3NkLUCUh4olwjqrNYA4DpwCpyvvND4v9fR3MklYefcuOjnUw5kwzUGR7msBFSTCNRxGo7jKekHzbz1Zwfkax8OAzSmfUtNU76DdXduHLkQwpfWDT3JvqgA0mfFsEPxV8DsPMR1wIDc1ijkEpkpRo2X3oNijj5beJg4J6CEVNYE4KslS4Rb1+dfRpxKUqxnvW8AmbaFgy3l2z1h7MlM3miLYLtgyJQ+3f0ijS/bMipC9KElAVKijBq8EvF5Evaf/5Qe9XKxe0xTE5gR26ws5o4n2toXaFCoHE1Ea2sHE6HzqxvUmULc7hyhx36XhnjWcPLcgEtYsR8WWikfXjptUu8nyInUTeW/+XU9ky7WKU5BU3hJbJ8P5/I3cNsr1ts6fL8i+/ycl5je6g7GKkIkmsKqD5C1se63FArWZO9+fncaJk/07DXcNBHbDjvPCtpY8k/lz2MC8KOdT1E/CSt8cfGej5wPqj4hRl5Btr8YhrmD7pG+9plygdLhfelTlkjzhQY6Gfu4WnlfUEqlv7Z05EptD5j8VQ9tUP4cEPRN3sp69mNCHMRQLphoK/bapgfXSGzJ1Z+yyGOXUHLKLaq5kxoXYkxwhsDr5zDzlYb9MrhH16eSfe102FtUzHipLPLh8xVcWWof6rHWuGFo778U2FJ4zmijB0yZuOLKyh/1KV9Rzz+ovRBGEtta+6M6cqKGOxdeBDw8f+I03nl822H+N9xfpxKJXYlWLJjb5uOAO2pODqcN+uSr79KYuiItyEhBgtU6zIGnUEB7dvyCQvocI2sM0yDH+eXWLy8AjTuglAUTAzkb81tVy/PfZnAHU0QDVc0l4qyMkZi9TjYr2pnSRLE3UAE3u7e/TXAAAeT1KbZ/7tLCmHbaAznQtRPnYAA/sXDM4AI6AZdddBT+FuNFTrc1NSPEaC4CwaqjzAbhHWhyWWvf53O+mV788eljwLJJCIgSaJr2Ii6hsZYvu32CY0qp5z2sEHVmxLwCqZzpuJmx0sf1z+n7mCGE6Uq7ytDhWswc+em4lJHivgIYmlwNHwMVtviwYVltpoagymdlXtl4/Enz2gZEDO1vz9QYKVJIMlh51zA3c067W8y+vzwMJcvGMWH8AVG1R1I+CzBhUr8U9RhvE5g77shTnjjEJgzevjnT24NycIYw0ziFzjctEm0tP/wyqG2GYbhKuoOQY5wPXnGceri8aOgi+aVWkprxTQYZjJKLBUG+K4ZPGAfL35zyaQhhWthhmwuYYYoqurVTSDr442XJVm12KmQW6oRrEmgb1L4RQhBftt4aGghH011ASCc6WUyQl5gektmSRwj1izf17nIt3/eJvnny+8wb4StiHvqktSDAA9B9wm2GZvyWSTWjRAkEW8ccxs1DfdhID4TRm+DwUevK1aa0YBHIVE0ksD1S8BtdmFpApky2TFyB0LAX9c2gNjzhWlTRcDMVzXqpqCZQIlkp/s6xLfcZzHKS/g0HWnT4Ztiqw1DRkxSup7dfxHS/aMgAsl9fCOZp+uHhBtaHlOT4GIdfyjxk3Al7mCnwWOChwDU8tgeJhQ/H2XkXJxk8sZ77hBrb7n59Gzvd7zmkWjwGEIPaYWljuBECXdY9rf29bq24lqdszXYAbrQBWSlLzO6mT0KVHUyRTJJpCzHq4AZAQOUBqa21S9tAVzAzEjGs2/epimU3DFhDPsczgI2CKT/nEPSyharLRWBycAs+HS3WG6ZdxnokWkEBtwpOFFO4JoiUo/hEmddsTGc5oNvOI6I7BpM4NQedPkgDZq1ZoF/kspFaGQwSjdHriNOXjiItpZgxJ5a05BOxGAE/UOMv0hCO1sRwxApPfm+hCfbj/V2jgJtmmL4ZypXhxKwj3bYnclwM3qHecxud+W7an8Gab0BLuaEAXEXRqKg+1u6VP8x0rIQchgk/MTLyv5+J7nAnRvxAPUM21igCtLayQ6z+EwZl9OIl8vjTe0jPwoHZ1DZxSWoCTP5W5cypcsqe8y2DtWyr0r5yPsf8ZAiTBg49puqKdzNKWwjXipunMYj/Hpt2zeiDEOtKCQ2fr3lZvaUoXnM71ZLf4IQuwAklGp3jNNVM9GJereMR4+nJX3/uprBHV36g5znUwvcbI/S77oVYMjr2x2thu8+FcHZ4r4iFFOjopl+JjT73eRQ3H3Bfiw+iHCyMtSf+iBuP62P64Fi6oqkK0x8HJbBxv48SWREmZm0GoQ5wFe7fzlhb/w5sSqnedg/MqEv2pV/j4FPojuaHFDbe9NCYtj+raYJ8ehrYARkt2xQWUchaEV0X36ZbeiN6t/Ugei6EKHEJqaPjURBptEJtLjOb2CRZkt5DCHJTo1ufEaGKF65yaU++oeqTzpLbq4CKSmIyCFrys8Lz1gP9zb6xsQd+6f0Lg22GHPQs3ntBVoZpxVXIzC6XECW7AsfoZa4rN+4n2Gk0VYttCL9dCCzbMrFNpIF9MpTf2G3dxJSsr2hwNiC+BzwSEUm/ApAVuLAMtXvvuvuKg/doE6ICcx6BydwZXcjvN8MFW75stYr1WqupSnukk65CAttt7VyYCM1ZwWjIZ8hOXfUMOnAykQtjIEikJveIQlFYZOz+fhuyNgerTa0H7rJecv5Y4BzCpTdn9HvPetIHMVVIroxiIYC1N7PvJmQpsD35pxj3xta0Xt/5riD7E8UjlCugQRYHr7XjCiJaEpjMgT8KtmdmMFYqshrqreBhlXzMomJBztguVHkZwfpKszSJzs7zI1zCoZC4EJbiCFZxSsWcSMhnD0QpuSaYDPmvSpDR197eoRHMAGh4w/oxT5H7r5LaMgtIrwJ87dz+CPIC+m2EJ3j2WAYMqqha8QIotezs9eIfL04qC3q4RHAvKwH3om9BCGARtHcyGfkdXeiB5B3qia55+l4BJjS5P/Xy+BCfC8mpaKSZYcUnD/kvXQnnHRA9yIARm2FzGF0DtfXRuyJlIrCAlX314Tu2R3qlAGA1o68B8t47it9DmOagg7XItnatWEowChK8GlMf8ZN2cL40jbKsoSJwhOJjtssAObgGnPIayuw6M3Q3JnqMmS2OyL+MHYSfcP6jcC92EBWqDt0zI4LsDh7I4UBOeBw3U1uUWQWaxPKKqTJw/rvkEemLtQf/xAkvqlw3QCVxn5m/uLqt6kvBpFVahv1MkLda8Qg6app2xngg3jewkQnvSqflSpN09fdl4OHcHI8s+mA9moS6mbpUnw+cXMBA41L1Fq7lKAdx952EoEUIRQZ6e9QBa2ABZkgBC/GVwDmcrKa85M3CL2nVDjd5wbUHDGqiWotwFKKW10MJSkr2gaBXPHc0HPvwTc5NIG3VvCCNm5istTfe52myqRikKzDDVI5ldl0o4clp8R57I6FRe+ruOJbnpTlNu48MvlIfBgSe2gEKIHguxqKrfPEDm1Ou6D4nn3PLHkXQIRDvMAtOnGDKUekRpcQTuvynMM5jY0wVzpgGwTTtc4DtR4vfw386NlIYuvBedETwQiXyDcscwzVaQRaggS+wnpg1hMVHKlxLBaR2aavchDtaf0CpdgPVBPPlG4e0feGQXTiG5Wn2l5HdkKnFlkhvQVhawhU41WGtikQJM6ae6c7NpEKb+8D3yJzAGxwebZqUfSfJtScDKjTKTwcd1vDdsCEvIJbDFhKzQGUkYYrmBSVp5QMHXhQokJdSmatEW9Pkr0BuKJZS7UY7A1HU5HHc2JW9JI9uQHZvabb83JL1cnsJZCkt5U9+/+XLsHNojeR3K9pke7Q1+xrU1iQxmeXVom+GyMokzyHkNfyyqJQ3NfjLg8+kIFZC9M1mJrB2trVedQ94Xwitg6TGGWvFA92LlrN9Bt1NOpose7Ez+p2KrkwQvWrlJIDWIGGUgvZPuk2YW/ur958wCMejD7XQ76qr21Zn9O/3qsYUlcfEvNY5j/jE7+ogOhRPBXzjfg1uhL8bK355qikVjc1xrg3srKI+B9tSXC3PrZ/BlywNsVAkkAZFlVwx73raubPAuf7Q3XV/Z/KoCGylnH3X219L1JS2G4A+Ov568HYvGULqhdpULpK4QVImlX/jmyRJygML1F4/OmEUUoOmEXDQCXekwShYB6aaUH4O6ThN6xnFx/xo9h/qST0HmMsi+Dl0XDdWDxb9y+Zab+LEnPQiM8xcTEusV1rD3WiOzC9ta/7YMQPFePW433KyCaa7bhTcVmJ6cBxGcwRO8F5rH8nuIh197OmU2jj/yjc/1j+5qIquEK6+6cqtfAw2tQgxND6+C3MAazQFeqmKYXBdVGJDIwNUYB0p0hlQ8X0g2eexndW+qKrxLL9PLhqKsNzgCUGAKl+ptyginJN44Z9qfGvas7o8WQkKkO+F6A3pYUhgWWUt1twhRLuU6QQF8TjyAYZBOZ7TEnBvPmAJ/BD8wfNGD/oxdGwEvDB6c0raOgyRhnYM0LuFDon+HsT+MuuGxXcYMiIJ3m02OxtVjF5II55ZjqmV9E0AsSWsPHX7qoORemMIiWmrv6X8tLT82h59i3rGFMLi84G/rvZjWHi2dGJdY9wX5RabJ8Jam0eE7EirQu7jZ5vBbqk8UjHIdP7MVMvclzwaPXK0Iz6GReGmBcWwvGuq75s8O8aTsbXfjtjoXhy2OwWTEYcul9pPHJcfyApbPmbvDw3gxgwsAp4sA4qmqPVbMy2g6owsuNCcu9eoKUgfiPUed20Earg6U79Kz/Z73bOQOvWk8Kbzpi6pKCqDG2+Mss68/hU2csBdtkkcuCLzJXYfs3W+d3+IcyRH7tZAesn4FU0i7bN2V8mQV7krwi1cZTddkUztoTp7oulMNEJRWqlak6E8UF8tb29vq4kQhFArxSPuSHOh6LSvDv1NhjQK7QMW9P24tX1C//0fdrlL5Rxx795be3iEJDLzUU2g+Z7AeQfZR7XsSY+e91KlbIqfR56f2NbYfczwURZTeSDe+KnYvHI20MFE/6hXvEVsrdpFohMNtypnvDO/E2gWJrDgNOC7HF3gM8QPnX10oGgpZSITITsNOaFY4047PmclyvDSiT610coE+y9H9jxjZbL5SUR7/Kbmd7MEmmbZc7UApT6ONbO4lLDq1Qg2AukgHRGGkYPveP1ZePtX29jEwOqV/RD+Ym8gBIHLJ34MQz8rc/oADL7Br4SKOMNm451OOYnonJtaNyrdsdqw+KKXkUmA+GrEgsjRakrHAKIIK2wrwKhHnjyWXU+envb3O4G80i38JVSpSF7++YC6aQaUqf5euCGZVQifW/iq/JEBhR5gdr/VruVi9c0QGeXjt0PsOvGzW9wwSTxCEsxpDj0/vqicDhR+2XWw+AgdhxCMc+F1F0W2yVeb9i/ZGwF108iXsZJvJiLFgD8KvYR8T1W0IcXIL2SL5NknOhHyN3zqUN4/WSsUVZ//oTrkvcuLA3sB0ZlF6+SyB+KR4mVh4JBHANIw7oDoKD7Nn5ZZ03/UHsf+8XTZrqa9g21f9F58DJY+MTgesQJDWKyxLrHHFKla7WZ7a/EuDzay0bbL5cvQg30OLHc1vXRT1VJjkWH+i3apU9g2JzzST5hKBlqBOkL0D6dbRkiCkpVYJXL+ovHQpgs4U/F8kfKcgyqxbEfTed5SatwNl1QHv0yTQYHimIELIPv5Swgz0Mh/kpZieAHbU7BlZj6g9qcP4MW5X/w/+6378NxlFJb2M7U3ithlzB1tvZHzklY9SVMaMg8IZMvIfJ6u5rKRlD35zEbk8qPPhhaVGTNkPvuFmXAsm8vhZsZmHkodsF+OdayOCf8vL8mLuuZ10FpYY/XjC7B+CP2Q19HLfBzWbL61AmWDi5lVeDvwXGnsy25vwXYxh5DVtObVmZM1TqUDENL2Gsankhmk4B8sQDhHxBWf9Oe10rgqihgvh02yMq1ZeqBzcRpOyMYEJmgPiMvJ7uIVIQqBpJ92kSIXX7qxpbM1a+Jokg4ZGpSd6pSxFyXE3wnvdx6y03fi66/0ImRAzK9wUTN7mGZIgEyIn9c7Ck1JpLrSW6GRs3wEdYcPzFO5d4PH7cOuxlrQHotqCxYJaCNaeR/IPQ38sB6dEn25cPLKzpERDyV06MB/EtoGttgcT0TS9Z8qGii0x0hl2MQsU7bNhg3DKt/VAKBPkgAq8s1ZH5qs8183iW3GBw9XUpYDhD1jSxHUsz6J101VVagyLp4Awf24ZKCINSr1pDpGVk93hPQt5wyGeCJOc74VFWMPHpaUlT9V+FuYexVET1qNJca21xWw5VHTFi/DGqm7MEdiNJ6kMX+iJgNBE9WrK6zbkNv8YMxvDuFOvkjZrFtaY14UtwAxnznAa6OxSMHq7vChXN6o5TC4c5xoKWAQLKq7cFBz9Xrcb5NPgQKeg1SZeo5RXy6y4tao1W6BNpYMI+EGdxB5xDlD7rvFVYGOualbhnIAMWcu8mu7th5RAoLSNwiT3ZFseyhzLenRc3iQ2hJ59j4xwMVavLVytuZ0TGSI2J81znbbwIDEy+k75GuQajqZPD5uwC5+oDjyEm6yGh+jDB0aj+W4GtId+YFyUK/B5UqAP9+2GvPNnNpBByKxNWBtsUIt9jtarZRl2dyeDWp6hXzzEBtpA9/kZ9hygfcwT5Uh+iDFrDCXXgbJxXRIUs5XYc+cKLcutsqb7+hQsbtVx2dibpNuY9OJjD80U8Y7P+xZSeqBKCfvP1nI1yMmC5Q9N7ofmHV+1wpHji+TG3R7AF4RoDxAudcTwSHL0RalpJhTOV3f5Ry4gL3SSHtGu67eXmtkqX25N+dJb2qtMva2cmvjAE34qwcAu8nZmha9P2+iX+d2nDtYRrjkox4xrs98T/QEOfZq5oU9CJwhl4NQ6bHjOpdxuTX9w+SaG5WLBl1Ki7920HeUPu2XsG4HgBHiACAcFTYdrDiJ5Wa1yzy8EFfZrjj/d5hOpRTmz99A+NMQ6aUmWo7fbMMsiBGjCE3cZS9rBqlfiBs67f+jNPXOGx25j7hYj5n0iI1qzmKrPeWjXXcV4mHtpdetcfglQEqtWmMCwj1fLt+L6VTLvDK4RXpWoTB396GeNDpS+gyggp6KiDtF2xi3RcF0O5qUp4zfdUYB/Pyz3d0rGoDpAmmo6Zfgb4wpKi1CF9Uox0vIlHwNh4v2Jh+VopFbjcoKNF0TIxxzwnk8ICoRl340/3JSdylYyFYxsADj5ryJON7lDVgnY+WfXuA7iHNmZl4vPRBovJf0QW4pfTCVycOzI9j2+IYNQ2YGubXSAavdEjidlmAO7IegrWvAmmRa3fhoSCcXUgnc9K1BOAxv0lYjObK+LLwEbHNOjyMFRXw6vpbIP/TzZRbRcN6C3E4c6vPcYsxwo1H7Z9T9WVRm6tKnnqta+99R5QsE23VGsLshDcj/u0ubSpb3fYuz055hnvi/cZtkKXSD4dQtheqrDRxZKDfXOj1PnOkZ6RxLgg+ZqBIewcxOUjoCq8VyP0pMMf04byOr/oePN0BQRyjdvP7fGOyQqdOpWJsb3qIz2nO78COcZj9ro3VQ+yYHdqo0s6y4AbYWRhvj7ySFk2Y5ZB52xptnGbf1m5NwhP2gNvsN1ZL/LMOnZUMHJK05qHcnD7mwMf96pGpueGQhn0Mn1sN3QCarPIt2b4oJfyiZ4naZRt076kUgFg6+wG8Uuqh4tl4xng1fg/g1Bwje8eJ/nnaO2sVb+5gdZA1IznadaCOsr1e3UobB0teHkujy7QM7N3NprbfJFA1vrLxvxTwNbPEWF7LGzK/ajTNYL+7UV+ZTJ6yeiupeH8H03OCiQkrMz62ubzfKtOgpgyr0briSnL3c/zZbVkF+0qBrI43o//1CdUV63PP0Po0tJypzzHcgXhDpP2eqbLjJ/xV3q8MpJUkV1mS0F0RRIfyOrt46+n5VznVF+EyRCLdyfLMEZF3xFV4PUZkjCJVVvLqToEEMA+z0RZ7AhcAr7WZZgw7Ey9gXy8ypmU/Uz7th0o5zRPcLbeK5TyBvqPz8l/GolnBlJ50zdY5/qwQTD+fO2jlwdVIa9tTkNssIZzpa9B7zDi5CCvfFZ6P3DUnGm8L81T4q3EdB3Y8yQTVjvUbYB+aYJd1SgiaGfTuFa2B9D1LhdlKCP/Uuk5pLo6AwVSycU6Az4JBnhpyfgIR4b3rXD9FwF0jZwS0AF6vF9jgdtTLJ1jUqs3ALuQMHd+J8hsJjIlqdTePZ0F5srTciv/b2//7tbnQT7rkjCAD44HrhKswt6d9a6N/MQwZVh14KxJLW80wKmzTPsoIZkPT1uodXsJ14RuZ1eqJlHh2IlJwb0TFuVJC5QLkJEZDWWv86n3TlScbdslMxLgUa+qDJtiDdhJmqz0bCD2ORzxSxkxvAe6zKlTUA62Vzb/CgPaZ3V0s1pGhznnrKQKByrIweKbN7xGX23zzFD/0Youvva6qyLXWwYltNlyiVZF72eeA/R8a0nAqZYibhqOD8c0u6ZITJlBVqM/ptaMjseUtqQ8pTGE8Gobd9JVfviq13K8/DJlgkS5v5/nB01cUl4stWl2ATsrUnhMncQIjw9f/5G0QiQMpfCxAqvNuFkqxvr/bpChPgx/lj1iE/zAqTy5LLtTUlk6P4f6KZJBla4P9Dkf37j+/rKz1QevADZdiQnyXntLQ4YlUEuZ/Syghg5z4fAM55Cd5aVpga7a0nJb8f/NQ+U0VE7ZCy1gEDGHGZ32dTJbUgl48JKtnod3yFcjVFPeNxx7dXCe0FFsYxUc2xCYA8DebgOfWqCFjnV1vYnGd8Z9b8wmbPUhMOmj6aeGvR63sp/5AqErvlmMlmY3vssG3LXxaUTkWHz4un5uFBzjBODOimqTzZhMjeuGNpmSrk5lLnbq+5m9lE/FFccEd+IODZZh6P+pM5gYSZYKr7/E3RDc7XHN81AJmDui4JaiV2uIkPC+bgRgkN2VF5XzDBCLCyBtj5nyFym5d+B6oye6LenJ4t07CjAkv9rUshFc0TRw5HydBsvj/qr+20OBnhe6kwOrKQb6GAj97eaUTPBnRP1geVbC+Ox1ePRCGaLGKiUsA7zd+kgLz4nfhJ9tbHPHCyC4G7QaWiOV58bPMZ02z+wewIDOmihEBHfUFONHK7ArYSYLflyo6wZXvgJwXP8NQ9Wm8rYZliq74kUE6FuFN5Ocxs5/UOljv5vY/CuzQD7NQfqHw7BfmqrmG22K2sbOHnrgDFBvbUUXxttcwtdrXkB2Gk+NjtdaQZB2dZuxoTWSI8dHQxnR/V20nRoJydFNIK9G8imKyiR996CCA0oGszhjrZgGIpXAA0eqlpzvwu+iK2B5rYdnnEoFbW0uhk11NCW2814eBRGf9gJRRjvEuwlPaczZibsaVF+m0g5sVI+LYzNtLKubd7qltFDPdNf0Rb46yQOj21zm6Kk4/snkhBBtW1iu+MIpP/0VdnTxU6K+hjkA304S8M6VTPHkTnD9OyKip9tS4DRYc9dvOCS9jIvAzEF3IPGCm/78bzUeO8C8ZOAgox1Y5B7/BHvvoXRU2tIKjK10EtXnfYL0M5wQUu758ie8j9yUUnlgzzzPFUq41lKDD/LnGvEqHC+fCWLD4kDBnVOkxfZSNkWzDNZa9qR1XlMXK+dtP5Q9XtSatiJI4aCNWcrD9U/VqxFabr0cUYv+M+h44bihCN6A+PzUAdhomh7XjqZndA08icPA+JzO8e6BNtRs0U/Uri1hsjVQlZm/Q5d5afoKA3paq61VDQr4ZPBkf7FW3dUQeRRfJpzadfsqxaJPvgzz3PnNbpHT3DdTxpm5Z4Lzpc6NPdqxS8U2xv1iivk3qTWJUIgoIhuqsb3i82MBPx6n3N2w8Kk3LJp1MXn1oz1NCnx82mQzLig4Gskur/OgAGsH9m8zJ4rXKbP2g3yCs/JNimvE844H9oO07M1EQ8DtWowJ9tTzJxqS/eG7/GfL8y/814cXStdJx5TMCxVPHWobqcfL5KCL8NONE5+0R5BOYit6fwqRWfeH/PMhK9HZUcRmk+WpR/ICldYcyXxQYexvWn5B+NklYk6edaNLMoHb9z5ITZ0QCYDBpKB870ki//pUqicbbqUpV3JELFl/R/kBTLERLRPV8X9D6LiLzLHJOdHg4HRQnBg9lELEmBZL1mNfER4wdu5JbffKipNO+u/96hyGw4U88cDwsIBB4itdVPqQub3jVzBNlD+gtfiKiHKC1qzgaU6uHfLcdOGPC8zHdtiGXE/ZLSI8tyKMocThOdMGSxQafuXzBbHhT+tRrKfHRJ+bpFy37PrAN3zDY2QOLR/8QjwGtV5sWVOdB6QxtmUQfjj/Db9JaKtOO4YyzjvUoXVrwx6ByuYGCTx1x6cupZ3lICbkN6iw2GlefHhd/IjGx8HkUBngyVuBSI+SWUAajFsxHGXZbiNvI67UMXyEYycxK4Kf7be0zwhYVugF9FGD0bSXinuXXDGbHhXYXYhfMCQKP9cT5e5D4YT3+LmPOLuDwTtEb3teYATYZvNrpx3zGBjokliDv2csM62Meeeh+ShvWTR3l2IF83WhVVTQUzuZATZ5lzIcC6DX4dnFIMbDmVrlDR9G7yPKEGYrGRdY9WnRf9qRzl8NzOhD59twTUb0On6qe93reKdlMDHZmcsoVexJqT33b4R4nHdP3jhtW4swoWT/HucWGfAsINhccWR7fZr+aA9bziPIfdFtjt9/g4s9NV2Wb4AURpdhHoD7F8+JJIg+0Yxbj42u9+3+3270ISzMhlf9zB59cTr1ihTmCf3bM038G5ZVOa9TvZxtCNhCt/IHY+UYN8yqmEZAMwxx55WlMqcHV0SAiQcboYb8TsXSiEz8vJhZd+Gr/nRdBaWdg6zSSx1gGDUnS7YhpJt3Ccnfi35/ESCPHlFaEC1nYqSHF2m9JHKtbkqqb2X7LFnKakoTXLJXcW9Mnssc7CaXV0ETQ/kJrTqnItoTIzlipA8q7R8DS6SeSvENna2aFWxRZPKSkizVig+V5NiLLYIuX/+CuSooYVqjSRcJ6GKfn6PJgryj8Q6oXhbgHup21Kqcf8vKgeZDbDBKXhQFIPimavKHz1+MGaRxFX/brLVzprkEPTFmkffJbFcRPni1bvW1e3PZv62et9A0fBW2pri0+TKRPx+2YZ7aPYCPoKn5bKu3d5j0EDfRWqjTunC2M2Ucr1fRA55Zgd52Dw2Ybi69FfM8j2SZ1M+4d/KCPgg1zjspEN9sT4pGoj93Bzrt+8dauZRMBRGS2m6gQNiSTIX1uHyaSjI2IDvpDZo0mUhCn9ZEeUX3MEYW5WtezHa/Im0MeJ9wq43ZZPz98n3HLhA3Rz/A315inMWl968cwHixRnpySnm2MB6F1V5dJc3uD7FhfaJ2NXJXHtythoLkEGq7f3GbEv5YQAuWYRTw6PUzZPgLaCspJjno56GvviQAHnSs+xP72+/YWi8MRwpOhqw/n4HtqEQqVINotgs9lc6xHo0cOE22IdcKkNo9KS2aTGmBbJcL+jdPvjvPq9SF4AnLdY5oSRXUrEjbExMwhz3ZmO1T80WlNJQhDHwan4akRtzeARFON/VJh607oBnsrrQNxzGRPJld0TIAQK+K0nQ9Pd7ZbphIB/XDg/NqkDNxddkhIx0/PqPIk2L8Dvk+5XXKzmMEmY1w3n4N6ZOtvnPtKZhJaL2PBYQUsukh5kkCIZFB/uc5NJUp/HZ7WU0lLsK6ANLbxYdkTZqf6YPKO0XpxMfUoWI0kq7GKbmXNcz9CyMqzdVK37t1loge+GSnCMtbz3M2d2r+Qgg/xcDN5JW9bgNa9xODMsi2McDOg05UXGKlxcY6EO1P2I+sDB4PUqsAoAl1Df+aPWJTgHp+8iUZGnWWNkSXTa/nE6cWvcsIEOwQz1DkUiGopRY6qsQ9H2hCsNkhu3dBTWbdb6N4zqvC1aD6JRXRJdJnyVXXoh1HPcMQUEf3qXplTVpCPx3ml50Z4w2bViOPHLIuheW9stp4BDDraucVsZEH74fVP5fKlZ3TqjyEGXtfhVqFz1/TFNfYhdiH3Vd4EGpLLAuCfiZ0MFZGW6hj4lRJX/Ya6EAS556l4kjD4btI/gc4xQUIozVvXAanqIp4n5WSCO7rnDOvbb3sQpKAD0ghlNp1xRI+Dnx2ud8nhOHLZvkLmx8aVbf3X0fhqknUHbDedohRVWiPoS3w590U9Z4qXbCM3Dl4DJmorVeK/5ES6/ta9r2KBIF3kpzjW+6ijig3ysZO1kaMWQ60lN7MbD8pGrz83b19SHOSCCwJkQQ7P74aM7hrooEAkaLU60LEem3+yu5b7l+TncXBSC+QOZa5bcrXaweFn6LACJan7T3j/ZAkQSf3uU7JaId2nWwTJDEoEJJLqiglgjqZVSBdnxkNWdLajqxD3R3IWH8vCWY3SL7PpxH4zmNryjSW6RMRbgwCxyKAi0RoW0K+WLIWs/a/zALSk8P+hOS9gaGSsfXOdAtxnM2KnQ4vQWZ2mTuN52nUqoMHiBDpXsyBcWtligHpaNrhYMfa3HVg/7kmULnvXQjtVKvNeniUcodyR4DYAVkVhfA3FRisOraAuAYONKMLOWXYod9KaDyWR4vNKiWz6LN/glstyT7SdoDTKjg/0qJvRCPS2A5sho87BhYYEdS0mFcrfCDvUELhXVK7ZfV+jf512kFj8rPyKfi3z8zAwRHVeUvr1Sf74gICLXplrWrMawFQJU45jPBUpA2GCQVqcECOzPlwvqpvpDOTRRRlNko7XG6+G3k6yFueSPcYOvPWVyRhuR+f7aZUowv0Uw301vGLLPuyOr7vc50bQP+kX2HNCju49Hf9QvOtLKaWKqYGSWCRcKw6Dh3AM8nSy0oHRmfGkogxMNrkPHwGFbz6+t/POTYbSGWN0kn0WJFdgC9UkFsrjpiRUn+jIlHwdKBp8giUkj0Q7hD8fCzb9tMbHl/tqOKzwQc8nB2qh3UC1jYE4oFQOMOQzD8DB05NiYkH1LOg4v7kqVtYqpEcoOtHP3PcyomAXvzzjjdJ/NBrvo98curdl+UVGkka7AdI8xWj7Exxj9JwRUyXWT2ytmE78s7eMzcwzOtl1i6PEm9pUxEk3e77TBKy3oHmyyKdP94KTb6q/vaOWA94qZ8YfKd31lEOms+XjDC6CfW9ymVO5IniI5fANv+0pmh/dSGaTxyO45zBS+x9lTzMR2ZwPXc39lrV+OpumLchHHFpzGro76TrIwt5oyQDvcFSNdJB15/f9R2zwLCefxJ3f6wZzCDvJvuwtOCUnd4S2JYPs70A0GQd2ioIBf3usONXTy4Hi7dHhBxp/vbkR/IwWuc8jcc7fikNPGtW04Xi13BXchjG7GxkpizkRIBg8xsGLJRJu1I8mNzH2+0jLD0abRLNrpg0KHzjpBp4kRvvwXoG3lzs5Gv/xt57VL7Ij/abAIIqydS112xguJPgpseh9ycVPSM4lfcYySlgKHvWi8iWMoLwZd3FQfi5ezqdsqA3mI5DN6iB6Ng1FmV9xkrFjEfG1KTqLoZFx6CWMCvckM6nBugLJQrHCZSn6dNtfu39mk1wZMM1yzqmxxXGGlp5yI1x9MbXILWQYD5/9cNq003+D29XtQU6Y47YXTA+baswVbHH+tW7aLfO52u0pYLeTFZjwkeSB2uVlj2kyqJpS+L5cmk/zeU2HSTEXlku/WN+wW6uInwm72CCVbp/GuCv4+VIrd2pzHjMlIPpTApy/DzdyUjX6SpAxbWCUS21E0hBqx35andsiwUZc1qDVMISZs+1jiS6xBZSeaQ1u1nF56O1qMFFDbsmtGUKghT9e2ThhU3Lh8gwbV1WeuqhEzFLUIkQc2PVlMi/c98r6NgeQVMAYnow+wZ2T3w8GMNpWkfL0vmhEoNs9nGKg36TzdOhucKpmzqchp5NKDMDmp1jHLWmhU4JZNIstOW0LzBqpBgyMAFwSe+eQImq3GVWI0CY/nuYO1Q0dD0R81OeGPCUaaJ7DRuDKbF2dF+pAStr1ysH2N/Fn+va12xhKfkvzSsGWhriFxl1k+87z8hJRrMohVvzELd1cMqtLSmJ1AizsL3qStFnpzdP67onTKSrviLKx0gUrcNWPFzr9xLpuMUyqk3Hmc356EdBkJjYNdErMANf+FC3ZA91Iir38N2VROTXMC0R+swKMIIICcvJddLSIFyNQu656FLSHlZ2cEhqcYacLKnPb4+fD82VX9sVo6FB4YHPojEBKZYJBX2PyCschhW+SPG0LdqbMVsli7aj27NHz1Q8G0T4hHwEwCO88vtS4tghNYROOA/KFIxj0ipE4lmB6Zg1dgMSvO+R9QiZVk8xUM2gPRU5G0SFapWV4kKEnO0lLLorjn2btGTa7CiTbk3L7ajZSxLfpBUj2p/4cRLlklTe/xg+g458dgml6vmbd441Gtme8NjSp3RqFPkEHNeqytXMFSV+VVPDhoiDSSyn9Ww4zXetjeqauTh1/0KkoXILB8wWfRxdpg16I6Kbrfz5KwOb5Kg2cHdsivek5aJ1g2iwANHgsXh4c2QJNBQ4TMOxqy8jpk/uwAxXeo++FkAFm/f578OWcKkHTtxQtjP1l8xG57zO6ITdGXZp7NlGSewLVIDDjiRVs9vkTY32nrEqoummBJ6C4dkBPZc3PSqXfOh/8/VR3EIlhDyRgeIXdS6a992IDrsE+ncd5Fo5uvcp7AlQO/rd+BQtFphTqK4Xfgn6oQKveVEp+MgcB79uV4gARw2T+OP4tE+3YGMTO9d4VYeR9HPh2vYrKsvhStIQnUqoaBdC66/AHdDgL3lLolzlkMerfQFO9KkYhu3iARPqlqKFe0zunRoKv7VAnSfQJCgYaQerNd5i7LUrXoRWF+7E6bnRvimmB72ZjNbUMrMRiaBxixWENmZ0cL870rozbNye0w8Oe3EPc/K3lQX/Vzj+6bxuyvzdfTwbErS+VCh0gvJLNaMXIRE+qTgpeRlSjACMLClNjOHW5hHEBvITUoPktfrg/EJdyYCh30+EOYBvuHfQQGrmOaTvZBkaEmJp5R3uMzwfGHOHHFZ9/sE1A2Yjpdf09l9KUzzMXNml7F+XRhW6cWnszNQrRExFVQkT2iMHJNZ2YMZiMK/p4iDIqV42+Bl8rP3hHbjKdA60KvHvBCfMDyaSpv1EMoO8lrqwhpE+2gmfhz1aIrjwSBcK+BQf5qRTHbWv0jl4cKEvpz7nU0G1QHekx1bhRVGNjere9veIOo9/RtvSclCfn3+t5p1FxxI1yExYkPtEft7PLthoAXmT8BsUsDa7BmyWdo+g7wEXv+06BobYwiMvUmo02leUThFV7EWhQM916nBX9X5oQ7YqMsAEN0+f1yhwknIdNEbkIG1SSz8wtUOh1bJ9o9HNcPbawoyw19TBcEfq6C5UvRshr82dB7yp9Il61L/dDSzeMZbNWdyqbGe2y+6mlqobQ4lpGgzcYCL/mY6E88a2NLt2ChaCIAPcpM8AksLuwG7NsVXfdSPScXC1n0o09OHB8eABV/CgJx2iJXZs41hnESo+3Q+kiZUCqfRqEugoKMoO1ebTSyJpmhV38I1PGR94YPLSJfzEVUW5VAQFl2x132DLapzrGgqNMK27p4LtCTQ3MwxnGxXgVx6dXpJtLpO5oJMI55MCdobNcXNulGy3zU7eU3HtAq7f9Xc9v49NhUw8zzcmPc/i+bEBB7zRKf0xGtcvbN7oDdQBp1Gl9ojdB1RPN3dF/PCVKJB7wnJyhz7kVGraqC8N4iUJDH015mv89LSNUEtWG1AY96zDEjtY7g6VtQWlzFALY4fKIck0jgm5dMHyiz49NyIssoqV+lGs6BwLMohX/j6Mr//dHWRMy8JugWOeZTgZLFIsugh4/vNpsMApWAnQQ0/MJIuZlQlKaxFV9nYV0fay38hbv3ma5tpvp4OxBGvOiCDu8aHOJBI6dITVJeraTprWUiDbgZ/EEP5cApMIwcI3K76oQT5cn+MGvaDrR73779TeXB6TURrcL9OsUOy+H+785SXKVpWGT/AvkwyFLuOMEIhLHeFILfuC9R9gxWM+cItij9uv5yuwPnCiB1W6OHGN/4XCLXeHRGccQZbJaNxtUC+acWpbzmavGl4vxzxrDIcDZb6ivAl/OzPbq/DJfDBf5MIbzSdSl2qcF0hWI+rH7QU3kANEDTREdEqS7FSqSKBKsM4/y6ci7X3hqh+1kGzl5UIx3LUsvBj84ZrQh8DfjHPlyf2dEldQn7U1AKguDoxkFfWxIHAeT1cPYpD0x58+lSyZl+EONi+D6Gm4Herpi6Le++SmF37sywjVpRypcq3nhJ9GN5uccWx/Y+c1cj9kPjQSNC5tezqmWpE8xkY8R842h/vUgzIqtXnifIn7QLx/tjRwVzm9rbNcD8nZrl31Qz+0+OrkP+Nz7WQZ744VsN7hOIgu635iDw0gH0eLqDbYHYExQBqI2U0tc15XH8yTKuXepkiu2H9wFDw2owZegez37sUah4w9kJWFDHey0s7o2Vbpf/2y+MHg0dWIBcxrIkfT3BrebvbzmG4nU9lEGpEB8LpYSxIWiL9dRlMAwPfIEPtJRy+OY0nOwiJOBh63HDSswvN63ofFa43bak1zlFX0wNiUA1xNjzVLIvMOx6if2bzomGmll7n5FxQ2iIsFPNZIhuRzkUZQsiAn9Tlus6hsIkAFvuHQzZvj7jKZTSLhFwSX6eKL7T7eqlOW3Phea7B24BoCyQ9GnCUs04qnMW5bVv7zetXXB30bAKESjAxiuJJtnYZbyOer4rDzVfsO7zPGcvwPuFQjKKEJQ1XZwgCLQIf+CC3zwIdXCTc2DSFGL3TxomV+vYcCCA5FqK5cJCALIwHDKNu5V+iOsZeC670hYjz3CpJRZfWj6fksnuDv45+/1QOjPZvyp4wfxF9G1NdgKR1pk2Qx1lSSfaUl4EvQYUe7/ka76/T11PWdkZ51Zw7A82dvb1djBIGOsL7AAJyRugOu8DTXJnoPKYJ6ryodnaRq3b2xnnhbvqiCeeO0D0q6RxJRkOwntx+F8NqAq22KtgRbuPiLC+u/VqIp9v0488o/m8FuhVQapTTlJ3hEd7a9jfGW1R4tN0LjhEsZSOi/fsD2LYa+0tAZgwGbaYixxfYbDH7ASflI9DhPFUlHFFqo4d27N018W/5E3RBVEVlDJkrmxReuYowVHU9/O++zAm9tKgVp/yj+tscuzoiAAls6a7u/rOhFOLZ48/RiMSl56tqDnyCrnRg/w834dcYt9wa9RHBNSdxoF3zsX09yoWLn0g5DViei8sve1j6wdfF2yYtQW0NJWfcPK2hJZ8D0DCinFY4MfBxOB0TavY/X+otN7UdO0XPASUSSHVYhNjZc6cqS+42llCvfmTMa44j/b6i7G3zK8da7kme4a6pR/F4a/rFuVBO5MB5LBtwbEhGHcmv+ydWYoYi34wAhpTH7dSmUpsDLc+6QsSAidXQo9asXETGh4vlUqP9jdsRGuTNHEkrNmuUCRbVnTGR6XNeKXAZQfqhQkRFJvnUD3mOd+fbXyPCA9CFx061RUgvH+fXNplV9iJPnVzVjtXZj6QNhpE/nqUdamnsGrQnqXcIsFdHFWS7+EMkD+nxleGAd7GGQpELXQjZ6UcOA0KBKU7W1d9gP4oVoK56uZOjgLNX4JeeMjZZof2TA4ru8AwDc5ibrWBqM/xuKkRlNDHC3uB0UIFEwkaDuRlNGCUCW/kTcc8xqT6zgtGK4ASIyiDW6nwguKWFVlI6O3CwtnelMX7YcFpFCoKxtWt7EQCUBCB+FZTGNBVNL6UFQNK/PAuvgwo5BebkCjPzDb+BEhsPAe45OdIjQFM9/Pzjj0m3Ebj87ZvK6t8RlZXMETnD8Dpmm/IVKD8E75FDIz9qWIqTXX9o2X1Dcr7cwqHIqFkJrb5Nyvndb+CNdE9iMhjcm+q3itnGXXHYfDIjSr5QDEnrvw+QGUGdipIY2dMZDSSSUTQJ99CgFuutnkyXoo4rM/fJczZw56YAGko155aTAKdBOzOTL2NKu3HrAZXPkVfDODnX4eZFFJscaDBrpCt0alCthNtRCRaYvWN+5/6ditAG8c8/rs0xPQGHS8pYmtRMiX5l2e8pHSmmUNz6X1Ds6CmXuHlfTo6OL4Tl9CTNjKEZ3eTCNbilOZU6QhExCUX/ZFXsf02Jh65D1JpazW9kfIhAMZxl4+4XDDz/9DPypeM8udn6KRsdmefQl72YIuhnpIdhRtvKd2LuYakPLPiRWHu0nzUenKP6dFc9sz9Hqk7coxUBYhSSpA6+1xCtU49oxvmtqaFnHXT1tpFawIklLtVPbD6cEZVckCdYx4UxZmyHKVIjl76+cgFKLnr1VgrB61o0/Mnl/w85dTesXLA42XZM5KLh3XEHUWLG/IbWGTrAJgyikHuGZsg1h3aCUjLv2SgMLIt/qgQEY6bylvc3XBIvksN2hTd61HQWBD6499iaoM1wXBE64eBSY/fs+PHBsfnIMf8A9KTzRAUV+yddS1nVnZ7Z5HdfCQoUifbXEAPycQFqLtufp8cW9ov++76RAOIxMa/x/e4pX2FSxvcKoUeGwRI8auXd4w4HJ/WdU0krZtzvQQAP5eCwO++gFHuH6WOwgfIRgIeQC4yMwFOGHkRjLPIsDBIen48917+9PlAdpgm61aBCOy4+PApmqNdUE7fn4IDqaz75jKV5yFDGK8IFscKNU4+iqTE4xjkTUY7L2uWB2ruWjlYBfTAebbNJIJABTP+DwX/s3dw8iEO0oaUAlowx9QEYd8Lcl7DvFrwiw39nftOozqZ/pt/54LdgRxEGcC2vGsn9DfXDNg+3V+zscS5bhJWfB1DB1vi+Gnvk0aA3ywd2bhCjDIsY7dv7j0nJbW++20JTrxqNPo5yIl2NSlCKMcJ6ue/jHIS4DFbPDs45hiUPrE1nI0uRQi9ZeYoxBEm3tWEDIN2zc38GLdn2RC+PtYVMy7chcNDonFnpCtNHcX3or81vD6D0xb4ws4DdNYioAWV2m44za6sCu5P4YYA2c/yLIpE9iJRNMeGSqdOIQwyBGGkaNuGfBrK4oYeodNQ95/Tae3F/34fxHEsCDjbKARfFuR1D3/602MeVPKIGUKjcoww5XtiI2HwiSBN1N054L8Y1ngLl0qsz4X1nCl8gRrvb12Fozveyfv2Jx7kblcAv6Grh1utEm7ZYyTbfCY9q+CHBqegkOGgqkYjf8mO5MeiowBJE9MTGS4Cbx3ysNleB78GjgSSJwI166yYwgdB1jubRInzBj3qxSr8Q2PnJ2QoI5fYvhHbsPwd20JTEqkEg1mcfHdH3h/orhqQXjoWJ5Wm8EEDnTjQm1zLIyaLMbjxvjbty3N2/O0Bmm0E0X130EFLwANKjKnLsPhuSn8ZEJ6L4N/91rWszwneLSGLwmeEtF6yTEb4teQK477vLcv/sBMLJdf19wcys5yh1KmP0rsaFqvrV89wlU9n1FjXUVtHcANqFyGRqADMp0wLbZ+HjZgWeeYjbpf6SGiRNL7duZkfm5ArNjYW5yoONf5N8QqZN4HArFvUX2aeUdxqGU5/gKU1EaF9It14hsd6RK44SUVkLqNSuNuXEIiqOcjAWnJKz+SplFD33wDaJ2I1T/S9M396JrTKo8fhhEp+u53XzcvIoo82qd9+y2np1e1bSJVK8zdIey5zGyabHMSj4I0FvDE9s568RAFXYRnYf9j1ZwYntPiNWduRooUqCJ2TvJ8URLAU+/hi8oz0o9bja7t1Wi8HqE0JiNvB0JZ0EnyqwrI4il6U7KvNkW6r6ZuDW6Uni+ffA0DncpxGV1XKyOvtOMq0bCqkgbHfLXdc6mgs2GK9rCv3nJPGONX1ezDQJDInrGJyfRzRmbrAAQwXS3Xcya3BIWDP9z6oR8cqb7FSiWSM5AFe2+Xzi+FSXvjNozwfE89zLOaMJgQ/dzKfFM7LOkfEyxfuYPKLDTartJacmM5mWr25iEeB0CM8kk2X3HB1YswnFVkoEfeftMWuUSR8dyITRB8f9XvoJP8bUcbtLHxRWnggyvYS5wpulTB+siXxyzKBmm/wHrsugQR64oAFl7KKU/IYZstRDrGWgwO0IXeyvMtnNJr4tYNEedNZqqWoTDVMD2RzTCvhzIGSGWIBAnxE0vFwntQYSTq8AAx4EzrihKsF7Zu9CiDvm6ViuIBbaQ9o84JclSzp+/UVZelL33OgtLEVzeWm5lXrzgOsWbdr7Zh3YofupCufu7TPpAp42X7+acOfwL9MP060Ae5D5AB4lhHi+ZeqbGv6nmITjjp/Ovv17DxUruGobvwN6c5jA+B/l6sS00MFVz5yFFO1aU3bvNNCmbVQzKqUpk1r2X/7Aay+0zCWqZQUKo763goxgLDJW62LWwQZLlriLVynwmvOJUG9DXBB0ZrFwgZwUTZCGpwbRSJ6PrZu3jOZ+F0DJG7DBypLkNbCz1abmI87QnHX+Of6VyGk6+jn3oPof2aUFHXBQCV/b2sFzXHeBTbMi5zkxifMoiOQdlk/7bh6+IwAH9HIFb9cWgfivWZBkELSFcUOM3EwZU/szDz1vJkvxLCxniaBZv39JCVecQzf1+5aRx+I6fzVw6ISFpTZUAIi+z1hIG0mqHuBfTHGmDwwvX2OwCuYTMmDAv6EgBXPekUdmsZPevEA8YQTmiOhJgQYeION3+3nrvAwmoG147FFXdu9u0lG82QLxLEBlKwAKUqG0mEM2N/Y1WmbPzWG2FN9TW+0p8eUfAk9ZuKtWGcWCLvenYcvSiE/IQ55vmRBMcUoC22/jyV/gPHpVA6W+qrlwKhSBcgR1HLKzbHRQlU9nTR0PheAGKO7nXJ05DfDQrRS3aC1e1sIxh/OQ0l+hQ5TZNiwkdVu01IZ5Ijj+mXesIxZ3vfWM8i4Jgy1uXNTTC+DOcJqIiLcRdmZzv8/EJaRLMKfF4WIw3EIsmCUQL/opnSLJ3w2DDvxOOpdW8Stl/92QVulM3AMK/RsAi6uFNHOEzXaduL9QZuw0RLrOfCHwVpkHwCdz3EmjPf3YH+MIwUaUEwrOHZAKADZkVIQGS2MU391vAH9DMMmvb37akbYqMDh2nSHcjM1cOACwZYrpYW5iWHZBd1iNUwfhvfautVjDSeu9DKILU16E9ZnADuZTWDSusqD/payTsW3Nsmzo/gXDDkCmdzRCfiUE0VT1CyWOqx0JygGX1D7gXpcUEe7ML628upQQv0iCPgEtZDW40oUqsdLXz3wFVFpvMQ2tmgWUF8sIkawMSX78WON3zw4i5ZRgVdxSx/QsKj7CGUXsRLPIGm0EcIWyLTnnArv47t+fpn7qrCuJU46NHaEFIy5UJKlYsbkiDqcAaxhtg5rfIWbRwyvuPG0gWLJ5NH3r+gLWu4SM/V2heRin59iGKaj5avWncecouaOHQA3bEdTECqbdenbn7+nOz3o9MdMaaIk+AeQJumGyLh0TDY0yDu2aocJ60h+wNKvWFAuO+nKDRfXMB+hld+uiEAGb7otZbDrXqqQgjDSPWddCp6hBeCBEQZV6QSh4eDoq+u1Z1U9IgQETAMvbdSzuJLxyhck7Mxcl824vON2LcnW1nuqNjOULNzaVMGWbi52Xn6bPrFsnsA0kLMQl4hCYNovtSFCYFl+J4R45APBm6F1t1Nd1NCEVq8M3+54d3R2TdYzYdL1Dr3LcGKx+b1kIttbzmU+oDFQIFV1KoP0BWi4lIXR7mhFQaCSHmGnD7wkdhWj8TgbzE/BGGOcHcbWXnVzHcuIjxRbfA6FRtCtu5dpkrQwUzNQ8/BYZmd32z6sOHbmyV+Xu7/u1sKR98PJKfJDhfrEr81myyYRBGf3+2hsn9l+o5Q1OC7oyG9p+PQuvgFjgB7woDZ2n0vwq7HUfeNPjYk+BsbW1Fp4odWbFi/MRdAPtbKSxS0+vXj8B0sQbxqZXTnu7WBHbIE9rhBAkv3g59v1yV+w9HG0adI9UrtCBAat8tkZ8suKFKglIlkeaZQZgtYlFdDnW19d7d1TD2ehuQFChCEEleIW1YeYiEDSK/dLpp45pwwx02pda8EkcJ5ms5wPi7gA9WFoPilcgeM6fGbqbc1FAVsBLbX56sAGJN2Gp4uyTwAWn5NFkjK6m/c2i3r6jSSK+3fnmOu2GHCceEKPzgPg3CM3O8JvSLiGllTgNIzJ+IaNubrtIDSpCSobXrbjjrD6l5R54qMvK1Z4i59kvMQcV/miowzQlKdg9h6QiggxzR3/w0T5HCYE4pZzAXfFSiPqTsJj9CkMlWEB5ybv1fWj64WDeL+xd8/wrXeb3u0d+RwK/j1MoELZh2bqESmHoIMmxXnb2vnzqj1ZegxnBPRC2s5z9DT9YlxhEiAzpJkPYBhM4LpMVh23Y4WlXVmJf9wisizgWs1jL0xN6gwauz7j15ApuqZIGj1bWnzsjwnb/P1Qi9fGcfUmI+kqZx+Mj1fw70GGgMd8ntdsmnOdVTK0BdssvHa/7hp0YRgC7l5aJgcPNTYZAcFeSIHIdkPkN8n+yZj4eEk3RCV5UdltfA6ZioDfTRwvSC4dJgViuW/3bRh+thP0r7pEE2yu+mm4lysbpJYg1WUcIOJMrM7hQYVO2BxCLUGK/FGL6jb60p6GrkWrNP/DmrQETF3owZLU6pBTKgXzNp8y424HJoES5H40H4/5MAEG5ob8N8zpNOoVw6PTFjWDKY9VjnEVkAUn5/r9BZsi58Vfje7qPN8YCBv+NSJ2SxrsMip/DKQf9xNTK83Lch42fQwfFv2FMBoIVtshxXOCEvZkj30ifB3hc21bprsf4rFjv8tJhie4QaXXcHeQsRyDgUt7ObRllVWSIKGKqO+jxZ+Ykp/xhLUcz8wk1cUSFNK16PdlXEOXfYhrnmLFkra9clIjlkqjN7PkB1F/tJk1JsftAWMiI+Hltkzj+fkIRyQFY0rJMyjmgp1p6Yt+6NdPqAWJDUyfMPWl8U4v75zsznVHBHFghW8DFkzZ2t80+M7O38r7qAOUjioV6plvSdgH9gd9NL9R02iYOU+7D84puRDutYpdQuIbDn8MpXUT4vTDceAMjxVyIkAUEhDlnze8OBpieiOY9f+1lTy/Zg8aOWhNoSbP0mSQ1hopjsQJNit4rVylELVypIAli4Msl7y/dVqVZv2czGPpV2RDV/iLwmBbNJgBARGLIdugcDe9DuTQqFJ301KhrrwRPcEgenMFc0DbkfbCrpDuwslZqAdcQNN1pmSM8RzcIbfqSOopGJNnT6K0JfDM9FS9PRgEvOrjBof0nPDue2NC+eAHKZzu1p7tfEDh+LEG+y2hgZ6tO8e+o5glveVQmwyERRjPfXhmCM6cLYBrsTsq6wycGN8JzVnA9OvNW+RgiGFuzWQn9qJH0iStbpDry0eePZHbmaZ5g/CE4tsG7p0tDpd/tPh7iAp0HknyBJrvPOZNlHHzNZ3EOy7Rxo7mgGhWZphXgS8gyhEDUozRfBFODXTW0sdV9BkVABafu+IAlHMLaVGtle2HHXqou0mnURix9Nzsryvjc2Je7xaos0TXBGVzwD/LqOPxth/wdY40vpPzFtbRaZ4u+P7rr0znEQ+yISwa5r/Q4Mju04NIj74DoeC8iP/TiPNi07IimcyG1Au4CcyPGPd734/MFQzYhrzftamMtPdEovWZS7yNx1APEXDnS3MhQHpTUaZFDNAWI2SxG1EQeVqFc2tzt3udZY53lK4+FeKAaZymfTKRZp8WtklSu5kYWxYr3VBuO+RxMiBbmfYpnJ7pPv3DoRUQLiPZl/QVXPMW7YHusdo7tsZUTUscJBNrKcvwnyyM/beYcrv+bNO0wgs+Csy0uzA0jzCgXc7oprUN5kzsOKWomgDVRC7mPPE1AtfhM0jWzY4bd1ZJNHWZN3WfAeGt2OWvrfkELvGGMwebWFTDEjbgOe4LRF1UikNG2m/8tEUFrXymTmHaW9hQ+9ByuM+7h+H0WcHYcTcwO/3eYh6RgPuuryrDYcFnB/3JnW+oxmKM60eVc9T+i0hDES8bSeWSNYA71JeP5hFf10uzCUqGcMGxN6HtK++dk86Fnk/geuEYuIjNUW4mmTvVLmW6hZXKkUXNXwRK/dEJPF8ThXXywH4KsloC+C+tUEjFpiAMFvozGqW1/n1UggOS4mS5F7/jjDeCu/d2sGbXVyQMSVD7vzFZA5tK/w+g3lPF73eHHnlkObstrRCohcuAUo6Wx5SXcGQqqwoJkld8Wb3WEDTLxTVXDrAWODrGrMMnLsE5DHs7Om41hvumzeEe0wep7Ht46DrQmG7aGWKp41jznCM9T3CSemzA4DWBt33ESxKCTVIYu66TeM8JwjL3c1VShHPC342o3Ui9H+tlnRC1A26z9j44rZuYx4VlN7sDWqT4kTt2Wtpw+DAoVlAm1PSCEaI2D/gil23M/9BtaSQRN/b0h0S4nIutvWupFT6L4p64J6UhbVz3zd93uWDNBGkTjRWtmYvYjcu9pZB+Y7uyXx3jhrsq7O1ucx9RzOSoHxIs+s9CmgRhIwoJQGxfkIhsOaZgASLdpPQJ+ubClBvTPwTpZ/gWuTUwQako+xqZ+yBAYxCXNWQgeZYce5mvahWvKf5A6wEhdpskXIQp17VcCV5B8nT6szEGWFdYjAydLS1tFVord83+YUwFccKvFaWGHeCAoV88qnrVc0Xdoiydr9Z1bligIz/YR+GB3DT4IJWoRSJN0vM6kCo3ezTKU6kwaMF+NX6CFCeB84fekgRX8K15zEMIAQhlD6UDZZJlDTrO8kztw/rchKfDIwQrrS32NnC1YZcdfq1V/pjmZnNq3pl/TqUPpGpm/7VFekizWHJTAkYmXUkvQOwi6h7d8ipBkrCESyZfRvvEL2vrzJxDzClgBk3Pi0m2+F01BRL93+JC6sn1DXY+iBIW+4av8InJZp7zKFq2Jv+E09jE2I6tQ8RGXyfme15JXjuiMJ5/f3QNxysuJD6MrUa93GUpHVxNIbNesdL4/pMV32sCOhj1PmzXCCYKyZ5ZN4wLvZiwDDALPPtOmHl/8gR4I1m46QT0Dy2H+8oe7t1hyRKRBi+0EjWszgiCYbxuTXPfMc7VkX4DH5RJeVBPwHuAFkg2XswNc0dHZzzQiwPLhBdmK5uEBj42nZuHjmVo7D4RBYBLw9tr4k9ht0IALBM02f7DfJEJuUTsGLDLaEG1LgqySz3136JOi73No16UwHcWM99tXzTPZkgieX8IXZD6s5fGM9+7a6TyxlxD4yTNqZD9oAn14XWly8db7iujA1blgOAxV4v6SYag6L8XRxbV344PiehKwBsZF587a9CKzgcwsJbER2ZrOyV69pQMVh+C7Z0Y30YwOYmGP9WhjO3Vq5A56QoT4VP1qlt5szJY0HTrq7kX14CqGVA0Ab6kHv+UgKmL+FIug2C5r5uXJF4nyrdavfdiuxld4RaNO3o07P6u42p4F3/NRYZvRPkzQ9y9pv+rdzgCTPWqV9uHk8FRRYm21mUBUiq/lZkAxKxMJjAO6951CRodZbNDN8AswtYQUDgWQygQUaymaIIg8EDvU0dN88UKZ5jzCRgcwHzeZ7THq7AR0Rrby4z58NnuL8L8fRMlGtWPiM+stxMWVKZ/2pF95BOmLb9OV1l8QKtzOfhyGxlzI7ugDSeI3G0V0fgRCIXvEjjntePYsto5cqjkdlX3gr8yzrXbL1jDV2NVrqy562CtntBeHu4j72E9i+pIxPkiezzvc3Vk4bvAyefKbSlT+yCaFQFBmN787wIU7KEWruRE4ivIhjNsm8qSc7Dq3+mWkwEL1qyzCgg0wDen3qLd1YyyPZEUDVyeY7Qk4scVvLDFcXjrKr/0yeTI9rMd/aAx06uKPzFBx/owS1JM7YG2+6mcR64ULsr03UYSbZ6tvF0YBOhSfne6SyLfDdQIZaBwyNvcMewF0zQbbkXDSNM+DGrXpjXaM3G5P8T82eaEvdsQMJiWBcCfxuIjA2mAjEFl9X7w2QyTr9eU17N3H+Z7zljs9xPvUHM/Gmypoi1iCvp6o5QJRlpGn4fCmYg1VfhFZ/rufSP9uB7xhb3j6pP/SVva6aaOQ56IULxItTOkq/s/Pu1lXVHcfFbe69to20tBvWBGaAU9kERllXqibWbioHl8kpt3phOvUX6SzFFI7SEaFvjhi8TeXsknD5CFrY/fuLyVZMBRzi+tV3lP9Q/d/InMzRAcG4u4YgE9YP1+YLB1iPP827SnvHJTAWQkJIWeYAjN55n4z5zxD/YmXFi6UmGBdYdyI3CfMzbQKJbnL7Pxf+6QH0Wr8Y6yKp7IQ8EhMHHIad952TawcUxMCgU7iff4JSNV5MPfJXGkOkPaPZrT3LQvuXoFFM47AHWeoNKrvqCBjhkavERSgUvaCkmeN+HjHWLIuEDM9ALNL3L+7VEeUbDk3ngExrUNI8PKaIH0kA9V/Len+2X99IpOsrLpHff4dCYUVJYDRV6KfOaA2AiCm26l4xTiZRF8BFhEDM/xVcPjHgzMhJqGGF8TmUlLYaqia7y3QDcfeuEuMkAM4tFi+L5sdG0L5/6FFht610J+3I/rIkLeZDY5wa4SA18+KUdzwho3wm9EWOTpXbMOp4keQWi9Ky9vWu2ZMReE51z27wwTwu3bubLoXUqTCO2ffXHs9lNDzdkWRQc5akaKxDf2nA4SYdcdP0ESjkVEdNrPyOYm/0oVRLwRwFjHmfJAdZReE/WMohLc+bEvUC3qSEhZzye5uUCAKVejbmuDY6duMaf5+fto/xHjsW3A0Vecx3CpHBrwTPvyO4GmsxxhGvyLZpi5x6rL0q/Yls2MYSoc7pqjZgDgxxrFxJLZnhjT29ssLm36zgAAlTE++MqwnEsWqdjh2YdI3pAZJlrTdxUV9Td3j8TaRzH/+L5ZSolK3sxj8dWBpMmMkGQSve1ZLumvG2SP0zUSdNpCU/swcKBplDS2rXo1ydxcVy2G9s9v1/jRs5YJDcIF+IrgZXKF4YXog2FvPFrq35I1iOrOin9JSeHrKXuSRwkKQ3LC6/T+OZPn4DCiyuRE5rOfSq+R+ggKZ26o6v+WxjsnHkH+E/z9+KHff0af7vNut++WoX2UA2Sjd5LDCtwi5FjEczDT3B8ovUbgYVwl8Fyyux4pi8yCbtDvcDRcjIpo7Bt6Fnj7Gt4OBNxqE4bsHOucIZpjJJXoAx+tIPzvL3Xq/EyQgZcm9mKHewzrcfywJZas2bv3hb0+8rxFriGpf4DCYilZ9YVY32bT76ZS+odego93F8RNFyopNolzAVAf8INv1jlobMiBjst2TVxk5Z7j8CIMLhCosTUmrtZVepztxCnm2tpACkpX/NZOhnxGj7aNCDhyx6ZGz9k+LQrjBeOepYz3Pha9eWROgN+91r+95IpFh1DELYAlEx4a8AjUV0x9exuem3tJLVpnHjc/g49ZxrngN3ynjcUvTzYvCHckt7pyF3c9wGHotLhF2m7B/zeVkUVFgf3/uTwDN5X4O4ge1kzD8fb1blwQ4OcSB9c+42Brj2UIUf14rFnaiJCYRoPbBvfgwP551k9WoOuZrsa/xitlaCWRyYALGN73tzaHi8BUOoMo/igiPDHylRs7gIGgBA38eOvKRCxiCiMjPA/oxH5D48A4UTj/3/nWdlo0gkGGU2KtcDYFoyeCJBP4SBGc4hLQ+vJ/IOtKA9JeoB8RURARl0OU+114ZxTS3Yzt5rD8SxxXt8V160DLDXdVarQ7TDICDYfp7Nar+JHZBsNgft2O1vsaUriJZQYvZkiQhZk0PjApUGW5XjVkxUTHk71nr+t9vogCGygjaLCLOBxWYKY2czV2uxCpTLjc1Uw6Ip4LFcySsOAyIGmz77dXVX+RlXZheldNZPpXKvvDVTfmvCPIpHhlakkV0V7sWw04bNXoE3G8XPoIm4K7/0qx2XiICBkvxCGpZFTIfpXHGI7H957YK68fHA0hRqbXlSUWZ7mOIDsOq7PXWsbnh83fjqyAX98yarmkNwrvzzVFNLcAoSl36spsZxRKou2ioinrVZVilAdMTXDpitevx4Q0Fyg5cbHu3Pp4MPIjObclB7QJm8LuaOKQHW5Amps6WzyoPEV4iIwdoxwkc+qn0lyY6rk7O7QCdX5fp49VGrM5QhnwxuvPZvo54i+QsK0nbARCSVV8GRse2Psavo6jUUKnlBqVihWOaoKksGkNrtyIN05LyU2U32YzgzPhpQiElYNpB1mQFQdCzVEnL5Z9szGIBPd+Z/M1H64cgmflrMrJgA68Fc0uZB0by+heKVG9GqCOMsivgUSKKV5k5fQkD5Wjxmt/p8iOLKZ8TNm516zO0XuGr4iHl4gpy0NNeG6wgubes95PHWfkFNLjl3nRVakv/CYH2KMtpTkBwDk9x2O6xq53cweI7rQYVEeudWxXHcDn0LO8mePcZcr6ny4lVVqV3h+gctMJZJsiH+TFmamNvlfY9gvWZwAPV4UCJZ1p0A6lErDDY+QsXVE3njShReJx+saeJT2ip/L6gknIDpfwXho1t53dI28AIeniT4+P+hW1JdLB1QmERuSgZaBkq6rRQxOf+gBI6/Tw5QrGSaBelSHx7aZ6j41IshnO+T/6V3E4iTvgzGq7GH7cSdUCKVq+ld2iuEsmWcgrs7ciJ0gys7SQ4eVwQZ84kcbRc+iT05u4Doe1qPGTDQmG40fIMnuZPbufML8+1tYlUFQwXO9TgG5f6rB1nDuQ7ISG73Tec0jWfHvi/un9JrlZa0imK8Op1yB9ZHaq2FoTVCt9ple6/kqAJvBfFGPjrI5JFgvBNXxYQRrVu2k9XpEBPDTdX/4Q9WFrs3cJakpIN9Zp0DK7lL6+oZaOki5r1Ri2lNF3Jas0ipDZAsGs3tThLoAlnekjUOFzRAS9UhRU2+C+bvzYR9tAU4E9Kj/hIQqNlHygKcMsmfDI0X/VAYdhKtTSMcsUJ/9ZeKYpznFhP2kbasHXoalPZDB16I40c+X5+prvDTAObmKyuvVcMTpm1ra8d2UbWld6QOcIOF7rQcQiA9UP0f+9UhGFyO/WJ0FsaIPJaBfCKJOKWcS/vluPXLefaDzFefvB7kaQOTNAWadEegtPWYD2dQU4KRhMjh13Jey6lfWdnmidWtXoNtmRT6gihvcxfYHxZGfdfctgaouCrwXVec4we5TvCl4nEz4juDC7NaZNSDPL2vc5ViBgxNSCM1fD6LQixjVCJ/aA+vInVk2PyPPFqnzIrW9xUcfUuOR9J5ssIR89/0mgxKieSn9fRrBjN/Xpl/60dld7jdyz0x180vioQqtcwV5pd4a6cp5x/EmmIhNlBNisJbC7qMMLJVyo5brlWMVvi9cIL6wCj1OwYjEBSatVkH9skXe6T3V/W2luZfcBEAatfYJtw4T0JaDMSH+eiE/mcOQPMvmUsWkMDZo4W14T4SpUdt8jsXEmS2YY+LWheA4vhn+knrjQvJXxs46oJV0o4PXgOgVjs12oN0Zgoq0GVDaWT59F6nLZocU/KHc/lafq4KOE52dLmmXIjHN0Qaw03vv2XJF117QyjEbe932beo3DiX3ABLXEOBrvUuF0SaMz4iHP1k8Zkwx7ctiTKn+P9vx3j600oXhWdtFNotctUeza8Cmnd3PVRZHPGpuJZ2ZTNtVEjZSmkaSWG8X2S9w3EurGSi4+PuO04YrZabL6//beY3RJj0SduYqIP1j7AfgwpbDqFdrDbxH0lm14IOJWvyqVpVoqgNo4FKNlDbntabdCIqeJSXI/czbDhqVYFkGcaP4L6byOS3u/CeMKv4+WcNDCUE+8SF7X3I4wVbREg/Omm6/cg0svyFsae6whYyn4jo8kP33Q48tMDSt0a+Pbyt52981O3JhvmQEu5+gKdompmtEP39EPkatWkVZQ/TPluqHXwusANEvhk9MuxwLT9pLMCr3HnGP3RusavxH3vpNFx0daMmi7h8BPrBrm/Luo3bFJzgxN1C+BOuTOUNl25v+gTzpIVmM7tnJYV/xGCY/bcUFPWIhXG481SW5ot2LbNj7sOSPGlfpoCwVse4R56jakz6pzPF5+P0ZLPRLzWYE29sVX9UO0pN+wGnJnqRRRNk+0VAN6a8arSUsSDFZrtAgaUnLIkA3zgBx4lwNHV6fsRfE/MYijpUJ1NJad0LvfGf122qhC7f/L9EQWn+kxKEF1OPcnMPeTpUxmB8oUC4E2C8Bd0QAgC5uewZ4AjQtWOl1cNdvEXWRON3Rx6BxWn7sogBLmcsRXZAFm5inDJ2WZaH/9Vbv7/Tn5dz1mqee+yJHvRBjCQ4x0OQOD2TYYKqiOZzilnPG1MfuFhJ9m+xzey5AabQvzR500qlitz/0/Evl9oDsESGYNozoP/FG1jehuhiKyFH2z/BRR2Nx0fUGu/ju3ZbfwvauSqlcuQrB5GB1qRXOhN6AuYoHBAznV0p0pNC7shI5aSlooDtaCkY7bLTcHJm00VRa4Impsn8cycfFO7m9eaiop1i08WVFJzKKfweTTthRUIiS1zzUhay4sATYTHYE8cGYSl0D0OFDjoXndliLhsdMDbYYqF9yV09LwSRv16WWEQqfeZ5sGUwH4hOb6lJsfWlW/GDuPFm9oEinjqKaZkCe2Y9MMuD4d4QS5BgTarQ7aHPNUzty7TnLAKKI1zQM1UuWwIjrsdJwYLEANjvbtAzWPTv5VUc7T75Z6p4U44cVAY5p8BkvrYOM9wAtlnwgjWhO6+ukbrDOxuum/KnSVYB4MIKSI014Vke5ZM0FtUBUmSZ8O0RTOr21wFfMC0XL9ZhkFmSaElQjS9PbpO3fwE4DAyZ3HYJVWTc95vLo+yr5o6mq3j/XQHXNiD11xyiON5DX5txk1ba+2uD4hAojtVwKyx2wfzXQcvafojfZYJWxkuxteczhI6960xSECkDdVIhMYfB5LG7VGqaiJdUzLYWks7frt7WGlzg5QE3I6lXpWnP8uu1T4ZF2f9/vAH911GjOYHHjmIc1CSg0U2HRu+I6sxhTXTYfLBepn5QBkKVeHgSL8GXi8XYKs3Esw08WUEbPTDUS/283ns6fJpIINRzNsElPb29WuXl9PNEADDe55xitaSU2WsYeq0/rG2J0+Neqzou5tks6HgZh8vWrha2xffRPbV4FqxGBSlqaDq/mURrBCui/X8dQV/r5JauKSivehQD6vijir2cNe9XhtXMNWwoK5Z2hIF6mkMwl0xFmVdn98SXxNWm4VpHskqoErzZg6hZvLb4Xb2Vdka1NdWgWzFt1Q+lhlWLILnaCL398JasQ+plJ9zWsEmXPFxRErLx8S95u1X2iHjRSypYKZh5i53LZUSi1XRZda18QABRBb0cmfPV7kJ/RPmjwo3171wTDnLRJogR/m+WIYis1MAPTsAkrrSAsQDvxXLE0Yph0JvXIWoWC5fq6fl4hAvd+ZZfx2y+Q0zCE2aDhpHCbZUSsyFxL2XLoEF1UrzAUWvYVlKz0EvW1LNhxpVWcG5fqTIZv+wQ8XsmONtmEBXwciRP2rREgrTo5bvO7P6uqbkpZGBTm1fB90cpjizcnZaQL/Lh7384AWwbD/ij4CsUD76LZnTvV65nEDWFBAPPmIGjWVJUYR2b+qzHAkl+iToKItwFXtHEgDh57/hkMwXUA5h9L005Q0T/06RWExXBH2iiJqy1EyQQ/Q22LrbMYIzKEog4myt5lIav9/hrg4kql2qUIgrkgZwhCrI6eRd+0V+KYwxzWruBDyxVnZ/YAKwgpiJVUhMOn++NSagMx94n+gpcmFhGF8ZDYq+o1tLKch//i+IDg7dhfZ+pgHQYoB/647NVjq2DydVksx+M3gpMBGq1Yno36456GCWjYMtU20X5xQhOcwcG7JYMVpkcmB5DX/1OPAarS2U9PkOHcZc3mRHnqOYh4REr2qDSW2AJhK5KJaKH8cdISbOhrSgEqAcDGHpbspTOVr0IOZH4Thmz+sb4uAaQ+/ATe+ZPCQbacaYf44A4Tdgdo/oCt5mB3myS8w5krOdJEXXa1iDnBvuoiJ3RRnlgl5FxXLFZawNnyLqIN7h/wTxmDY3l4C0rAIKepw55BJwtprAqW+fcpkahboetaS+5H6QFP5U167aUIjBegQgkeoxkCK1zsfkIo99ZKTU0GUyqudTbMpyhYoZVQZx/NhQZCQizziHKtqSG/lVwDqZpBGjAFOXaW9Rt8E1oN6PjjWAGbWLbWO7lkGP7b4WZyY24Nj6Q3tMORQFhlSXZ0YveYrGRr6v/qHCmwHjXYJw5Lxb/HZioVFxLFn+yvhoNccShDmu2c55vZUtXnKHYrjATnIBG2YJBYlUoZwWfuCmtm637/I14zDBRZj08lAymm5hl3GAVZQRB2n4N+UTxlyzKFn13udLHi6zFALplOpsS9URjH6CjzC0qcYp2rtlblv9RNipayIbqp1sUe4tSPooBKXOsV3aPzYq1Ggwx2x9oGG491DXwB8iIfwad4A3RfpLEqKfo0m9w7L/q2TsA7VjbKPT1kWKC4O3rJdw0xIsjMPG/3M73q4Fwnb9CmtM7rtn1INwwy73f4AgO+ScWjBsr4viqCYz4SWOxRsBb9z0KsIo2I13O9NErO0b7A+TDZ+KDoCPFs3U+ClWXDeyVKJqD/O4i0AgdXlrOAknXdJYy/ehPqLsERIO6QymMmJWfOzYQqARtH7onnCo+V3ZUkmXV2EsWGz3DIEFGA5vSZpuABr3RlWgleZKbkOwFDu7r+o8zD5C90L5wj/X8ady5hcEWJhS6rH6xxSHRsWttTxBorwCpRwtcuF++iy6YfuTYPKJXAVNCvH+/GPLzwHvitvK0OldogUCH0wd5RSscSvWWakymZ3uZTQywXxhr5z50Qaz8oczsbPtzSUvbMfODzlhtYPQtwFGQjJ19SvM/FD+d5AwTujzeUXcSfFRMDWGfoUeXY/4Ypg727pjGMdenJls1sCHMP+RNyhKWatK2TIX8GaCCOrvjn7MZLeiEsz9BovRNt2D14Q+Y30XXbBkPf4qU6fQbmm7qmVN/Z5qx/uf3Z8Kqaxk5d4XbkxMyj1zSmo7As48MMr27OMgEAn38tPvK0Fy/Qy90HtENhklplEJouvLe0P+UdUmIZNB73/phodr6Hj58oTr4K4wOiZfYYHZNP+jawcEt6hSDjmdnuEfgcmDZdG7fe5dLZ1xeb2L1CMeFaH5zD9pDjkdheZZljlxs9OqY/TpKCbbgQ/ND+QwviUazh2W60WBG/7iHNLW+3xlxJl4/L8PI2k2uAclOZDIhKfEtZN3uFCUxlfxFj2+wAmSKeqpqVziyaqesy8jZ7bh1Xa2B7+zZbO4eHtSyLbl+bbXb05c+FiFqoByQYHuoAN/rzL5i1nhCBc4QHWHgd17U+SUxCcHzGAe49spSWhDh8s25n3R8u6JgLfvOxEc2dxzkGJzGR1LfQY0tL+Eio7zeuVUhAupjHvqk+DZc2P21F6L5xqVoBIgwrsJ4L64IdtYbWg2Z5aYOo4tQ+qWrlQwOyM/AntHEHBOOy2g68oFMiW3TL485SYnKLZMarBCtz5NVeDuUTBv8NTl/ww3E6w2M/nZYfgiPejV3aF8fPH9iFsirTzqjNbXExKRmDZ3uB8dTX9Nurfp8T6WB6/4tPVNxnQNBh5izqEFL2JewkZqD8Uh1zxfxoXoz9OBW3T9zgM3AxwZhjwrPyM0msCMIOUovttrv1nZLlIma00XMt646exR8yR5WKC2AiweFMdkh6Eh1+sZj8mshAdkMhnUXH7e1sX1M9d/LgBsryn88p2Ld0JfytLKTSjOt8w/qhPnQQpnv+UBPrZh/jKao5WuI4dlCER7Mz1fcFPaxYdV1JUBVjGxDr4vJQVJ26zVKxon/mpW/c3q7rrT4ybNSuUOmqxqu+xWaNuSaPf5fW8J31p6D877EbooZkUHYUotgsFy7cNfSqgT3QY3R2t92Vi+8Ml/m6GYQF1qzNYbCeqELK+Sr9paufo9n/geu8owxC60n/gz2XrXxtkWCeXW6Md6LH4feMHfWEWD1KCeVGoWlulsViyv83C2eWqqK8MEWQSkCB/7sDUh6yTbZSE9zq7y2haNzZaQ7XAMaotabShJmfoplSljzLfb0c8fTOO9GB3lNwOzvFsoToWhJwoXBcAx9FJ/jucUjj524G0wCs7M5HYZaZRr5Wi1obxY4k/pTjahtO4x++bJ6oycPc4UUIUkUdPTuyY4vYwPTDHJjN1/CUPR+UM3nM7k9szS2AZFUyztPgDCF5sI8XfptaKieHYv0gQjd9AGFHVOsaIit+IySOp9G0Kbi+H21xe7rRt3xatIYg+JApBmXTN0cE+B8eeN4jzz5SIlGaFG6+jVnv9+AItEb5izjIxqONdhMyZFdjXGAM7oCN3gG92SnsIFpBhC8jz6kGaozdGaEtNspoUnDPaodh/Xfyl19d0kClyh6Yekv0z0l8aEg4AYAPwfl3E7ajFvEa5Xh5kAfM0Cpv6UAF5/27RzDOeDM+LNQXX80qqDgh1sGs7aQUCcuNsCx20WZnj13uNKje2PtXvzg2wddAifGInA+xceXYSlzpGSAZ6VS+MiwiMO0I5IGNZBNzdEk9dq+OoohC8PW2F/i+oNnYTooA4JhmIjorG4qdUmVwi0/DB7tr6IKy0cX5hREjvAI5kiR3iZQIS6vRAHwO4AlI5K8Aqv/Y8Xn+xLScCz8cgal35sE4NdQmU+W0rWZRbGri53UMggarHTGTyFB1hexdsT0yWxDjOEscZNQ2MPoWHKHQzXRCBRP9Yma1C8C5menyh9n1aL+7E2YkFZ4wAWKBesXl5x097PEqNGU5nZzzkW8aZafwVzpnpPOtAruqzRXaWI6BAZLPCiXoHCT432RO2uLjvS8OiAQ7CfZ5cwv8AUFnC12nRXhBEXcH7kMcn5T9Nwv7+TPNaEmGHRkq/qtEsO+vipGADrerHxgd3+N/8ibmIcQSIo2fWa/Y4X5RA+68echGjm/3KtKbedsWojKEmPi+ngNJrJCU7NB59mSYFQH0NxE57P7C/n+vtoe5k6DwcqZfjF8Vq9khoa8nBFa0UrcqU4TB6plX4qgoBvVTNunDX2KwvBdtZ25Y/aUIPej/lEDDd4/klLV7N8LvQXgr68iynrUdHWjveZ6LnxV/cQZISZLhiIUzVgeOVX/qKXPR7u12QcT4iX7AYCTNiXXAiEm5ioojfeIvjWa+coEjIRAEbDNUmVWit0Yf3Q1Q9rnzOIgzcXnPMX8i2PyNUPDawwfg0uQLWoABAXYaM4BIr+oleLvQSxzyP/0OqMFVsWRbEBzY+56C7/WeU4MIPWpuzgILPSiIq4uQsvCoB/ExT628YwTA7Cb4UcGzkCcgrCCjiWV/5A5bbLVSanTRSuDSh27W0NfHKcaxqCRMVnFPFqOH9yfpgD8ugvqVJUiaCMTMq6fve+w7WkJYYhRt1AS34ZpgpCup4RHIYt47d6GZo9sjZJJX0Ja5XYvpO/+ffyBjpjQxtCzEf/nW2OKxh6Q6aCTgwxcHS8xRlvqgtXZX22VAiYl9GilznRSXK8Ui59xOWnoOu4IuD+X8Xg072wwRukprVY7fCJCE8OXPGwteSDQMCN+9zANJg4h932l7LEUgthuHxGMqpgaOVUDKU86AkkQbsd/0TqTKjXWIvfxx4pjpUEHxETTJMRJMsoSk4zXdf2U//LMhvmUYjHn9zFB6cK/4In/GGQVpRCyYKA+lVKX7+deGcibGW9GIr0WtDPnsC+ARqtnIVyF3k02k4Sn6wflAGV3STcXek4IcGF5vUpa8ofjWrRZ6yM6StEo6zUv/ibMCJdlxluhTm3OVtJ/J/kTKXyYDWR7z1NEM9vpFot3pysarkVz5LO+ptteoXR6IGs4RuTl4f/Etb3OaXI0K+4CRRhDATY/PoZXbuhd69U+/XXg1AUy69NZO3Vfy444ZbOIHii6vEcNMAad5EWCZuzyfNatBrB5n/38d9KL06cNrHsj8FC1kSM5+cfpVrBKGDEdW1acYtH76BizcHNuKPFo/4u0kVgMKXU8O+Li9UehQRKcQEPDNOmVjahzKDiR0Sf1XzzHVDnmtu1ie0KOphFHJJ5tLhvyhxzFEA9tbrmviQrD6Ss9dDSNjQh7nXCEr9a1QtkMRUemU8rYwfOIn+0L5kdHXdMcaOLJ8wnv1hNVFIWuokp1ZX2Z7/RZLtiTGskEK2QcuWqiuz/KZv9tJNIgT1gXy2smuwPw6gQUwOLi3mry6AdfJ0f/jbjhLGPJsR+Tedx3AJ2m68m1HVFjbuti34G2wmWue4PECb4uEaCVtXSReD3Si0m6jYPwIMUjBg0fZWHGugm7v0dI85DFHcSD5rmsgBHRxgxxFJ0PQ0wUNRaKihdGv31SZG8pR2tAzDc+IZCaRdpdysQ/L/G2ZUJ+VWQqKWQcuwtD9DPT14jAszKf5Nfp0e1XyjGkPwMsU7g1wE8FtyaBcietpSJ65q4c7Psd24hGcnZGZL5MqlEP6faeaX13xIy5mwB94GiSb/hb0/XWiCQ+2uGSGIAmIYDLAwRlxjpbqZ3rXbPB6RfHn2LKzXDDSew6A/LfaYN+9Bl5aRGHvtXRtOyosj5sR5RfthGTMiZ9uGWgKkc+UoU7P6VlMhXse13f7NKFOQlOVtRl8DGZxqpd4URJ6NCP5Ju74eCa9rWvmQTQ9yjqGxGlw6yzH6/+/l5KNNBia6kxvae59OpsqE5QscLlznz/Dp1wpKRkI+QYDS+MOTiXoAw2mS9KUAMNwPayJwRr0oenXLbd3xbBHj1Wg/jWsuLyNCBaKdcl6P7Qj2mm7jlszKrwIq1VGnWORgSDTTyvBgXM4WiyloPHSIQ7zBzH2hFAmGM5WVEB4AvCZduqhqjdRwSb2sXSwT9Fib4x+ks8UxFQXxlrMyUhW1CauxQjfqsCODeQnh+cXgHRBqAFgbeE2c+EpQoPZsILQnOd1pKlEXgvCtuAeBZILmV7ka8awLQai9eoyi1/7CAmauX/3D9C3Iea9ipdTrlBn+beTvYb86TMS+2020ej5kvJcOceM9yhiw2eobwuMOsvrXqpzbH/gQ1+dhDc7AUWVuJUCANEXMCEaV/OMXW4pGQXsewvvrh2nH2dn3iUx6vyFzYawNhSlYISJKkyzYl/C1wFVt1DI9gA+Qtc0Kz+AXaBy5XN6O7su4MfFS5RfkTzztm/IyjBzcJc0oK2lcg1HcV6YT41OK2VtG/3Awt07w0Ksp7cWS+eBtVmfBk0IpRNKYZfg7icxsDrdQAyFZ+MdfJDnQoNoiVBOukBJf0LTiIkMKj+zdib3g/s7eB4MfXpnyE0P1U3zrOPhXud8TsrUZhU3W++Xi/Y3521IhEU7QHLtpnW2y9I6404NCifF4ZY+V1vg+N0Wprno/YMEhQhUD1Ji4ODR8ell1nZK+TBnS3i/DJX8MLpcOjocxRXQlKWqVZDA6+tl+KlWMVK3wSvkJXotNmcz76jpLbPGf0hwKW4dEFtE43vHdFCiX8eNpKD50xCGCJxE4oOcnhJfiFhOscMStTkH3MU+JYcuScBqWb1/qoMR0pHTtfsnSa+dmsqoJry72jt3NtucrR0os3mBhnEAwJgB3yvdaAVMLGuNXfV826m6f0QJD8Xzo8lC1Ygd6DjvAfMStJEdf8Q4wHNgJS37KFACBMK86aUsJA4iwKz70GvASASjnUl+LrY/pl4pqeVV7yjJ7dk6y/YyPK8Gihjlx7AVUEOWsLGRvEdMFsn89TKJR0MBDZN2qiTKo1/QAipKRQO0P2NO3hiay4E92m7z3uRvH6811j46zvUExSjaLWV8Jc8IIoKGIHtJ8D299kBBiWCxtLggN7GWkqagIZgoIKlaZcHq8jlJneaCOicYms+zOSw1/3OUe0mUynhH1ZPg5jl0svKCAM+QMwb8oRm/T/Fv9awsn7QdD70nvzqBvJDLO5lk29sU9PrcxRz4gyV5csnKxgconMT7mBa0n4dIGHm6ykDvP/uQd78n4KgK5mVrg9y8Bvy/nc5jv41Q+Zd4i/B7+HYT5rZ+sKWW789bc/gfEP4zyvGqmDHase+FstZD4TTasS6JQMw+YLwNYh0OPJ3MtgoqicCBjKiWMP79jl9W2UJ/dYdyrU/Lqe0PjaGTVt4OR6x21RIMNCk1RBwsiV2aDtz/RUW9G/kbRFrs0/diM+XJjqdU3BLpr6j59MvP7bN26mv8MlMlyJM2WAMGb/RHuvcPabDdRPAO2WYLZn58btuTnXvWbfJZFf7ggJnI6LZqomwpw6Ak5Zy3tcqkh2LqNuK2n+FJiUX0iL0i5EnEzKZkifCKxv5nzfLJVgKDrbgr9AomhsEIeMp5BVkKJYEaoMccDlFaB6OpueCwPm/HtfOI3khzhm/gooH1NYMQM56YBotKCBZqqodFVBoKS1eL+fPeDj3MN6DCjfUHvOawtO+Kyq0rgpdZJaFqGE118WdJ2adXSo6lQcUNVmCQeR8Sl1UAAqX4B7AppnCjBwBot8nJredKaqAJG+h7kjGYJVIhZ7s+Lztzf4ohw9qjWFFBgaSv2cJejxQmyQ/NTKW7AdW+gEUh6HZTLWcioKy9ppKyQk6Lq8aLU3mCyqi4evPYBup/gqbXSmr3qgBR4CqbMlRGWIiwWqiOljjLT80l49cMIPt6DlWgKUaDYCq7to6KM/PzUxHeIxMjVWkRqKfOB0P0c5CdTnnzb7hB1rCNtFaBukS4qwk2tKIh63LthaPZrGTwPb0BX5nG50ekch4VWUCLhlk9cR/QIFe5NPWZWlB4t2A7hlO5H22DiYKjttcRxvLE/z0RRAOBI1H6o/7pfq13POOiEhxGQ3bPyEQiPr+434fP6ogfC77Ot/gi8mmromBRbUzaJaNkXxVuYEeCBTIZlNF28UIDrYqGYkNyPnEpEdAecXT7PPkKxTkiNjHabrkfUIo7xkodFV5c3AfqlLakeLPe2ARlJgA1Iiq13zmVognUTHxC3960DBmGSjz9zrlycolSG/IzIN4spl9q5GTcZRhmhyE0vQLKtHFunyJ5Tqt14ekEiJNe/1N97Tcg42vup7tuAiNq1xEVeg5lo16i8uucwSitOIJSL0kLkVRYRr++xEvU9N3deTDSdFuzcerZIu0/7nj/Ss1wVGcR9NahNzMIko0N98ViMYFw763R0V/M1skya2n6cL0EMXZRz1Uf8CX5y+iJBNDKjTS6S59Rj2vVhatnjrK+zNgO9g7Czra1OQ7IjFQ4sLmOCroBxsWkSWa/4EVXmxmQG/Lop43mW8nV4anjQAcWapA3MSzjRTIRp85B3omLg3Joc4tNKY2SbZ+BuiT2/GdP4dt9BDde5GACRlbNHiANeAnGk8DqHy7vh8ed7AfGavkZ/rZyC/pynoiwrP2B6WRzMOCc3m8UD8ybhnFvcWDs6Fz2EcnRCXsavqBgNQBdl79YYKPFZl20v8vxErLlpZPwe76buZD6sbb5VpjKQEQBKJzmCTaV3r2f7HQw7usrwF+LRXFoamUwt25o8JFhDkweRVI3/KvOZJpW1kpzMFNQ7Bj28BlznjMe3iVT/mt+HR6PXGlT1bhQm3icDfQsOVNd1f71BtkFXnh27RrAph5pCcOPfYz+ne/FwT2c3ryd29HiKwc81WdgunEreclXRynyN8Ud3Hu9bNCW9zDD9ihw51dBdRuijFvPjqf7f39pJq2wtehqeZo2qjPY8B0fxf/4pZm3h0smPtLxzK4asiDH/9aQXsNE3m9STZYRF71wahCZBGbrFayp7iPKH/tpFvS/i6CkV/usfNK2bS17zyRNlIJ3ZrswtFAYBDD1+U7ysEK9/U2ZpazIsJLUL6FrQE146FrMx/Xw/x7MYsptS5OxU8IOhJLkonstQNFaBA1EKw5Glf3dC7tYJ+BaX/D3138yPqaCDA129UtWZbv8yMSDgqkFBOSBddfKBZx5HAPeWDjAn5n8Yn3Ds4dtJdg5Ca0Cq2A53M5tRbvpUrWtvlR1vCJT9BzJcuEiyhm7MHQpmouEtC5mNHKOZ7cjAoTWKPyENFL3FLf9P3rxFxy2lYi2rbI+wausJHeu48ehTkgcsJkYu7xKzowp+z6nDcckna289NcYz+urM6ajRFdjq8+WTecfW3OECUeC0vVH7zq0zyfN3M23RDFouSHQbGZynFJ6lea4zDyDAZgh+ijDD+gUKBf8TZ+KTZIqfc8FmEX6A7PXrxAp2edNwx2AG9GdtB6Qv3yEEQZjsHjeR3QDmo/J1gnF6yFXORFLM2hvZnh82HoPG6WVEeYKhL8Gw33hKZz5OACyjdKdUx41hpKtpQomOmFyJACD1FPnLQF9HgzpcyRM4WufI7x9BXUr6JvXIcibbgWSTL442+DoipRhcXtM1NTu1Xcgr3I1L61tHFSwTPu/AjlD7FGmejSEdmqqfVGEROkqakVuNlkveCV1GM+w3WpMoH9+CPRmyV9YTzkO7AajVRcS6HclgLYuBGEBVl8RrCOE29GyLHXjIZEbHiM0nsUbfRm9Bu0Xt8C3VuNK+T7udF58mjMr8SK2hKUri43TzK3p85/ZY1vRbt+nrrUyuO3v6OBPeQH3F7eRL1aPT87EuMGo6S1PskAhGmDFSAZLszOMKY65l1lw8Pruk1p6Gog+YF+m7JebHvbFndRmDTZgeTi2al4KNO43nNyPn01xMCdGTrANk2IgZ4o/aGDZwbkFzUqouwW9B45LeV0AO93pW75bpUA8zn/9djIpkTCne6RCGaPlXbM7X/hFnnoGVhxO9bTcedmTRRKh7/cf0rUxjyn7cA+XyfHu8CIOuxZDVHV+2BHFepVEkMSJGCeD9HDzuflcwIZNOBolWYt1HNgoagh614BJ+zr1hQdzHDmy2uNZ2GMm6IV3gu9ULOwr9bv5IN0wOXADs9MzK4bE+/+3pJxUYQHEzSEiKu1kYbDKCOZ5n+DKqKDOINhZdacS7d3oBpsCcF8rIyf2qNb4VByBTdH6OcCdxpz7qSGQYBXDyZqLO53Tv3s0/5HUOFD1qtx2HfOMNFkDADaj0NEsQAL42MRpkryql4Tl4a03XyU4nuQ5PWytfE20zyHhWl/3h/f5K1EFbXPjCdIfzk+K7alCSok/NTf3cy0nI6fIpmYG08x0XQjPwf3HIrDqWNAn0akpsCbs9nCpEJTjZuxXXhK1mFlKpiyLZXOYU5lc84q4ijbgjoIz030U3HM9rzJx//uGS9pZbdhAoTLAmeqIG8yYKQ3tOhd2TaVM2J0MwMD59KMkGnq+krJ3UNalArg0mBaQnWh7Di3bKm9NSsouhTCwCskJ76Qv33MfhOu6BAuY9N5mB6URFKmGJdgaJEH2XlnU6KVODT6TE7ddse25Jo630nof4+4nGbYscQDC/LvNsa6zZihR4ZQSF23Sj+sSfYmwHI9gTlOzCiOPf8wWoPuev5e5+TltbdnuFL6q9bYh7KKvqH/ltkCOcWHGfr4ggqUNdjb6baLRTAJRaoa7yRpF6V4PgjK2wCxZB/FYFvWgLKCzT9TxD7oQ9F09FgidvzkYLpyhOZmSqX1u/oeuui/G0IMCu0GV3uvA5xRourqxYAf/3PRPRTHNNsRf+Ivy+5m5kxCMOCHmQCT/BhjmtyuVNY1ZENhXnG1zFKQSeP9Apv7EE4/2bfh3qQOdSkrmje+Zy74liUVrftkFbji4WllF1K0G0cK1J7qx/jiJLt5Lnx8ZavrJBOAVqGMR68WGOWWFcrUv76R9PrtdcBX0KhGYanQ+UlK7z2bha/krHwken4+2H5UKtIZa2GV3F+UA+I8mAeTmuwoT2BMUoXvb6g9WnSxzcLFs1/QRpGR6MUA4XN3KQXuUIsXmrxP4HydtCdsGQSRaNZEYk0g7LnaqX43Jb2sgsJo7dT6Q91lVpfBGEUvBP5nWlGFav9r6dxrxUrehpBWjU4ew8PGfOuAaZhtJHYAMYyxm3qdmCG+RSPSOL3icoDPPhY+0EiMb6gP/FI6DbAjyL/l6C6KGHNHKp1sAl722zsQOlQI1GIrnkk0Stc6LjtFduPmqv+NrtiqbgUHqW7CX34T6dfZu35IWmnvrJwILCvOKGf0A1zpvmHSnBrY8mL+XpX5R2onV+EMWeR96oMMf8vWFUUBpmy2pAIRdoA3IiOt0I6N6HXsiJUXSdolKW/w3uh1tbCtSOT8UFztsWfBpRvia0ncwmcGhWY2+5xYFdQhyHquqV512gY+q/KE4JeY7BShpK/3CbeSJDav2W+UzqGCDCayU1pS4P0rSCcGk8Bz/9jYRUueKxrTImSPSicufXpNqgqhlw8+OzxnVj05sDyvkfMujsj4TEHJyoRT2M+4rujpApshgZF089a0kP9UAbQkp4WK5TLEDCKP7MCEqzJYvisQbKBfGVbcIN0dCF/oolw9+SRlwCzpGT+8iss8dXKqF5oda0swCwUADYesbUvr/2tdePt/tVphGXgEfDet5FLIg0rZFYLTM4rvdJ3nGB7E8IYjaLIb7M/Y9t9UJl0Z+HewHbfGq+QW2VaTWyhP/ZwEyEi4cKwLDEwRRjGz1UZ5fbI20UExTX/TcoEOMzmYIUjrjYCmZroN+wfJUIVBuPZa7yEuUK0w6wYDSKUGdG2akKlJ+iji9dS+LLKpP1JzlxCbaFGi1iRqIIAtKYfLtazPu4e5wZRKo2vn/lkgGGQXzC22TVEwjw0kWOBSwNYxdlzRwmAtcdn2RQZ1mgqJ+Wu0ijpRcA8EGqQwRPmId7q2mfqDcOoBWOS57syWO7s7RBFZ7+kpk7//TONY3NiSeWRyPEm1lQLCrsSG7Nf4+/UNMvSUAKq+k1F2LWpLdteorKOEqCWPULLAF0xodlu7jSU7LUIde0W0/Z1DErBThGgtadvS1wGvqFOh4URaxGg/D97ktZ1iPlQAw6OLq7MU4+EhnE9WDn7dx5/rNUes3+hnNc3ppHLp4HeNsaRKsW5vrX8NQub3JGS5R1VMSKi5UyYG7TWxSNmWg2ETrI/Aax9CFi8lzaLjufeCNtpKOPYsRVx76V4TodTRYBiwAmhRWuI53cpmUMTprN+mCV9virg96OyFMBX1FU0/inqNf6MSS0HG9nkBhKR178olmeoJsohoHDoBnlM7wuDk/LHnJUIVBqZDrhfDr2hLbwxYGMk4NFe7T0TNUhdozIkTpF85c9c/IS1jjEGmbZ4TTuCSl2CjCZ95YrZKU77+LCW4Qcy5exq3Z5HyCe/nFNMeHbEX4bDRJqkHIFESjFd4+Dtc1I9zsVcERZmXRQ6x95XneeIai0Zjpf9gaeSdPsAp3dXGy/W3Anbaw0AZ13UxC1X8VmqTWdXHB3cWenoTB/6Aa8bM4ydVAxhWnHLQBEQEkdMqzMbqaJ6ytE+eIcCgnqwTUFCMC3NJrJrnSTRVWZEcape9b5yfg9PSiPZcGx3heZMlv9NGxu4agEd8i8oVmOadu2B+Wf5ZdIla8fPrJdeEJooC1gDRBw825TMrff0qPaaTv3c1HGJec2iVIJKm/VoFAeaSQ6GWPLp46Az4t5jZM1L3nyLLDH9T5f+mJDnscDNrLtlMxIDnHHib1k/UADpEvC+bXei7Q+6vEEBeJazz1sZewTpU7lPH1/sV66K0VtN2Sv6YFZmRPps2aIUek6aSAykP04EZ59jEwiS49qwXAeYeehi3TrTvgc3g9S2fg5SR2TMskAiAoKb35SOIjIbTNq4okMu88CgK2fC3uf9auHrU5eao3FK541dnailQ+565taA0EXFIevoWjyR53YX/Nka2aBFWkerbOVJl4iG4J4MjfRgjokUA25P1JTsNCI+E0NSAMgIalD211/RpS7kAex5a/8h2sMEAR+EEGtjGRjc+cm9X4KDg4ihCOrKHVh2cpZRr12uydlIMR42Sz9X0lA23h3kDn+2JN8C6Fp2q2hJ8EDPcDOG8p++uvI7rUJPdJ6rlyyrYBubWkpTpdCw9Uy0xaQ8zyl7g9N35yf4uaINmdH9pOd/w1Y0fC79z1lcTCLRj1k+Eh863px7zEpQ91v+dpuDr8g3fd7jK5q+ECr0GCni448Y0bTfbpWtVt2km/q8HIyEl6ZstIucIHdV6Hw9IwxHDnOwjaera7pLeFmlGfuvPEHChc1nlurY2o5Ku8BNPbJj+KcthNiHX90Xxr+oHbRh5KdNY8HLXic0Qr4jpmnqjMu8iWl3eRvM/ZOub86pI5DJOl8f/7K0sR29688YgpC78qcUmHa3CL4+//S7eZdrqJsYgSuYTqy5Vw4gvZOhtb/p2p+tiQhQKiAN3f1p0QnKOKFXb1Y7gFsYCZ8g2YL5xF+F9wdl9CJEYI2IeE3+Dx3zrj7RTwxU12x0Me8GS61ExM7//+kh67FoxKp4CjckyDOcoiwVYFRZtSLD2U08WzBPbil8vvF+128jlqGmU1VYurt+Ss7xC7rIeuVy4eBH73L0ISduZDjjjnFPMliRqNoEJ5gmh1H3LQrrw7mzHCE5jqxH5uOs+NAFa2ncf6Zv6yypjpwhHj7SDFX9Y93Zj4kcs377xUrxfwxWV4u+NbimmtbfuWlx6o8p6Z0G3xXNO+w3haNHT4alo3bprD26Q1W8/8o/dMn37BbMRMf7nMc7HXVm1Y+chqV41sMBwnQHiAJwbNJ6nHGU1dit+DvR/os69gUJAe7hbZ/6e9XrEjbD9b7c3t6hrgansmR1A8yFHzuhiaBqan9ZW26CWOUSAJVkkO2hzqaEVm5pRCXMpV0KXDqVxO6KdPpJ4ni33PTiY7uGmaioNrdjKbDvr5Wh7B/iYzVTIIrNtVDOdz6DQGniVlML76bMDkuVj6ryFzp8zcOm7q8vjOleZtTm0NPgINFaQweTNlwkMdc3Wok3Q1qok6jdiGI7ednvnJxpwlrPKiX49atxzUJ5upbKjVg4Pc/v76lsMSHba1BNl3LFVgohehqGSswceG9cwuPbveUXd05vl50V3zssS7jlgmEyoXce4yLDazeeYPzvyyU76RSUmvjyXJVJeZ/BD6TfjwG/LSRSR9UilaxBs2VtBZ3fyAilRsRicX31WcVwQCNYKx0zB3uC0HBDXO05rvvFQg+k2mtzreNcdgk+8NOclBZToKuXvjhrPPosyqX6T87B8ewVvrYBM+7rVEEXNieOCIQAO3qJbNAHbEohQ==" title="Mekko Graphics Chart">
            <a:extLst>
              <a:ext uri="{FF2B5EF4-FFF2-40B4-BE49-F238E27FC236}">
                <a16:creationId xmlns:a16="http://schemas.microsoft.com/office/drawing/2014/main" id="{39BFC80F-5691-486C-8DF7-B46439F84B27}"/>
              </a:ext>
            </a:extLst>
          </p:cNvPr>
          <p:cNvSpPr>
            <a:spLocks noChangeAspect="1"/>
          </p:cNvSpPr>
          <p:nvPr>
            <p:custDataLst>
              <p:tags r:id="rId9"/>
            </p:custDataLst>
          </p:nvPr>
        </p:nvSpPr>
        <p:spPr bwMode="gray">
          <a:xfrm>
            <a:off x="8685107" y="2014837"/>
            <a:ext cx="1414811" cy="3910686"/>
          </a:xfrm>
          <a:prstGeom prst="rect">
            <a:avLst/>
          </a:prstGeom>
          <a:blipFill>
            <a:blip r:embed="rId15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52" name="Rectangle 51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ItN+BdkIU6kSkys1oz4FTbg3IAHFZDQQIUI41CPkYeCkR+S8QFB2kPylUA3JsntOnMnXuTmmpeohPhgnOvWjiJahxbCEkKhcALAa4/g5rVRNUo4brP4JhiLsU+8O7v73AugP61KaL9V/ZMDFmIanld6KNo4Tnuo4CWlQ3Kec22FtIEqMisG3RMmj5wobwJmsj8l6v1JQfLZaoon24tS/ioy6j09oDLuh7RRZyxVpcRdzOJjmmHUa0qnMr5Uegu32pOZ7YDnLB2Kug8Z2k+gzN41szMpcTwsFOrnZvPaAzlsdFKar9I7xTBXyhuPu65sqsySYzv/TMR2o5avDQK3tAkwzTP5gMC67GjfB7vcNfWLHrawTs9BApP3rgdfsgUG4hx5y3YhUW8pSYX5Np15tpQi7oZ/nQRePxQ6d32NQhnddmqHdSMtojhYECD5/tOorHxi5r/z10JJlhaGgyckrIbWMkD4P2NQH80nsfr10dyz3KtZEh9KhHOIr1vI9Dh2pN5hQatsVhAVX5LgPsTJr+uG1fYIzLRhD0Vevryif4IF8GS4uBxV1b1mWL2Wd/tUCeoIHXN3ayGc8qHB6Zx+ZRci9dQi1VoJqLHFyoY2cVG0E1SU3nZlZPyUlyUoM/ATt7kwrX4Xb3Yomb6ITrUfiXKf762JJdFluQW1ODcnwxNuZ1j5xEwk7Yz+qjXkoTtRrnOfdlklIeHof+9Hqh9eorCwCC/QHQVsCuVYf1p6ackljKsZj+djFn4b2spEw+NHDaZk0LerNciqm0g0qXJZlv6ZMj3k7zNMHyzJTV/7eJ5Fdor5olnNRWsD+oFIar1V8Ty2IvxZv2BnU//x+HmuD74Laoo7OyKnlsAPstoTozWzZjMeQZnRRnN9rDDWXb4E+xNqDP0FTXQxf3nmZbvSDWX64uEPNcIANdv5PzlRN8b8CLjRbeZIdOLMylURNkIeZZ4X0cb2hALYkL61o2yX9G4Ir20PySTuVgTN54fxRGj1+cR6SzFnjgB9XkgIPhzTmsRrPvpWCLhV9fwJ7n5oz0ceniZujo+Yod1WE/0yK88W0S0p5GC9cBbsCBSLVqagml4qTYcZiMk9qeAN0L5CEA7oFsFl3BCHB6KmglNFQsCVLq+6ONZj+BVIQdfPu4QjyUocCaIFAjTXTrBW/kCiy84TbIkRZdN4jAOSIDaXK7EZs6rYRwUNjp12lkr4Cv8Dmug6/sgREQPQMJOia2jNV2Rbif65ueT/O0ohP51o8YyqvI3ELm8bGRox6ivi+panTpmwaIgG8i+xMy23Thszb98bi+jETIOlT6Z4t277PIkhYTcfjqia+mhFVNejXkH65fHP7VgulxAWErv4uvKWUkJH0TYqzJjwbz9Hvh5PmB0KJAGIAts5OKSFsyACzkgMZJAV6BlN70OcQAmw/vvxBYfJHsQmx4rrpp4EhU6VSQAIdXvsUffW8YNm6ES/Wfw33h8gRpZAuJt/pczbRQWaa+uelNNvphl1fVfAdUvSJ+w1ZzeHQb4DWXAy07dCTRYoTJbIL3od9cmvlrzLzBiIuIkvOQYAu5IMrecglHjmokAzlfWexafsMIJSi9GIy4S0fFIo5IEGaHgxKuYgKIOXgfEe1cK/hL6gyyNncHu/NRhWak22w2aUX8wdBYIfeTG10YQUD/IlQkvDu7eHzVyNCfcAxT5kJ7aKGdMMuEdCpbsdDCMOEh4l6hdr5mRPsRSCoprooplp2OCAmWPaxq6eSoIZb2W/fL5MhQ5YzCh3YGLdxhZbQF5bbqol6NKYB6mNexZmih4k0eAte7ambbRFPTCOKIALnpAvTJeubCXDArtSJsEXHB7uTVVB3FckRXpobmwzdxkqW77W7sRB1O5gdCo6f7GsZ0qgx/XP2dW29J/dXp3x9LdHYUTpLHHsL1Cw5Fi1JiIIUlUP+uSBEzYP9OmSVhd/vv71HGFzwgoQX48NkhiZiSU2dVwP1W1I1QleeyTE70bYalqrJljkg8uDTuZidKKBzVcc8ojYaPBjj+FBJYYR3FlgdN1QxitL4HdcQUdNa7twUDduOGFMMYbIHxEvQKSyM+Cqq7iZtLutrOLA+w6UhkaDg96UME/tJm2PgsGx7TJRwKyjCsYu/qM5GS+XBGe/HJySPiS5BH5R64lfd5aHdIsdksnLGfT0cdTfP2sxIEUxr01RxakXPEwldN3F3fpWuEL+qftHv9wgqqixlyw/NfRYLXVVrv7YsaHsO4QMqOAHAl2JqAMVY2JSwS/I0hHalCvo3v4DWSHLaMr9GNpeW+V81WL1funWHRmbnM1+I1YT3FU+Tcj6goJkKikszAErthuApj/QaB2MHGwwhWpu6C71YQZolUMFFyJYB0XgA04YrR0hshOpLfQzEdDltti22aQ+aaE2IxEfrL7eRbyv6NoBhV+2Wbf4pVZeBoC8QkwifeI9HPOqUy+BRa3M4M9o4sZBn3SRCtooqWmksrQLnYxb7gwKXfDMC0iQbin3alqY1EnsJBr41bG8XEMJdptuumWunQalQhJ6aIuaoB71Ioy5Q0FkTVcnYAnFa8v6YavhRhFAfgebfAe+7NVwBDs8HE+EBwk30wDegGigQ3G+wu2n6KlCxB39WW10dEba201IuW7uEqepIMEuco7QJrLFjcRBqMmcEbjM3BQmk2fU32LtJLdRAaL8EppvXa9DDPIcB/2VO0U4fIShyviM2bOGeEC8d+mzNW0qzbp3pNI1Qd8VwlE+uq4fvZxEIgmUeQBPZC+EZJipvT9mZ7M54MrH3mgRkaZd1aHGdEl23u/GKVqSytdveTS/e87vInM0UXc2TD1PzzCOHMqqhRu/hPpfJbw4phiJPNrpYmqQjBY3kg0pLrQT0R28bY7OxbPT8cx7536uoSVBsTz1zOReUIHefRspcjJ3gHYZ+wzA4QG648SHl4OO4riRiPLmDfMgJkBipYY8pDxw4GbRnPJXmxLbuD5hum7i4FSfMy3ZywqtlWMR0yZJte1QqLRqx4NdbpmWHKr3WLq8qPUeqnPuggl1uAI6TGKiWMGYDZGZ0sFoPbVsijiFY1uKDeJdPLz189Sn+qmu2LtMEUedax2ATSAx6C2JKX+6JYHWwZt4Y5Qw6Cdm+QzlRuBBOdZgLA8rEnB7VwIXRbyOd7QinUePRgmfTu62JdjJNAwCcr7fLO1pUupmALb1ZEGY4NEPWyObHHk1ZoES+uQJbL1qzUn+ukfexQiLb84U/VxGVSJTB6AnRw99kzP0eL6MQBa1LiXvfS9M+Vie4xL3i/ulttOYQqCeNToIa2/MfdBwVNNWtjh+R3VH4wl4/O4NVKnvWmzdOf7VfJLXuDXaEjA3vU31YUoBJPw7zrq5LwZ9jOpIBSDMjv/LD7n9/bqn6h6sBcMxGyRWrrGQ8V0wqHsRjs785xm+wcvtA8TxN9FVYohunJLeSjSa//nI0UFKMozCDiFyj1V7RCUh+ZxKZgCFCNzDQElLCTgWXqii+s5z4+ZopBJzzsvgKAHElfKWAQSmGVBSbcsnmdMxbyfNht/e9ZSv9fyv4lvAj0KqfnMTBmWtf/wPNz4jAAafiWrf5N9d3DzFyEZcBevoWkAZAcb+8UKxmplUtUS5Nj1LJEdD3TS4JSE2AfrXESWl1bNnQIMnbPhozJZRemu5nTAXshM0SRG6FApFMIhGyUw6mvH4bTQsd2/wCSjs82cv2zRRtmNhcL6FjrfO77vlBkBiT+AC7hE5B1ZQ6Ww5rzCTwTPenhzE+96Dxr33Gi7rQqdA3KISL4RUkG/r1PJG8uZ9mg6v2a8wbI9en2taOyYDWZ1l3voUVh1mnS7+OVVXQPjSBrwO4HKwsrFV8sPhVm0dDv5s+3CRC3WareS2kirtzgzAZms9DNrHuCE0DfJEraDjUB1x9+4JdfHmGdsXCQg3D8a5InWr0Pu0kwh7YsBFc+7wE5K8O3EJe5Tg52pXRdztujbOdhBhJ5ndEmQhmsQ+krFGsTDOckpbM5v1ctNU6zGbaZy9j/0ai9oZF9Yh/xZjvVdw4KY8cOlVdQ8ENiETauDTrAGH2P+lU4/PDR5MQy9kfyZ2nRss8Tdqewy714RsmN6RkdBOixpgGKQumkG1DxjzuDrD2JR9SzIrfZjiIjhF3XQrs1wmKIjPGHwzvO1Ydr96O3bq4/OZntq0vFoyvm26wRkE7sOSQSOMJvJekTK2HgAm96lJ+bn+X4JXKZ1vfUG6D/dApgidEK1Q1jiUCcsEoBcnk/tYgPZCiDp2Iw/CWYY69nzmsbxproBHAdAWC3c+A8ChWX0HbzG/zx6E/CU6r6TOV8KFo2upn1xuLp9BMRwRFBEiRuSMb2gpJ3jl5g/wN0Lunjp+yGXtJANZAc0SrKwc8+woGJGHKTMu1kKSfKriLFScN6vnXBV+0YsVk3fMOglY2BAhHqVgZ904Ja3ThTMFLJcKja6x9KnSsccY/aLwglY7Yll0hSw5DdDXjoImuXb5jTNmeyy0YP7LrqC0fG+wafxtY1tVqrgaT7dziiuSaNKSG7YzsuSaB6rLHoaylGDHe0XqxfVgpPS0mIbx56Uv11ZWu5Anr1xLj0pgxYMslTQcnmCvpW0iik5aLLjvsOlhtVjZn7H+YdeBUR+yZHm77aiFVOdNfYP9d3UcLJ9K6VntgS4uWx/Q+fZxXnbJoLD/jZil+2d00gpNs0RT/QEzzoGBEO5egDrDUDBg6QLD2u8O2pi2jApl/w8tlFJoLHa4Sp76d5r7xnkK+S42EIGyBV6dSiFEN1TskT/ysF8YMa1KG9KmcfW9SdOxEWaoyEssnin7N1EtcA4NftkMOkzSp/ug5cpPK6IzcdhWgyWRCFl+iY9p8S3zXATK9C39Wj6gI7QZUuWplItkJLevQpU5eSvFeQHyh4GHQrZyf7zj9tVQJjW6WP/StLvcincKf/5OmQ2aYRkQDG3dNIHVLlDo0r2nQYnbMC9ggtXYbJWq86wA8ogzMp7WAt/uE6SRPZMeIXdfclQ8ExuR4Lb3NkLUCUh4olwjqrNYA4DpwCpyvvND4v9fR3MklYefcuOjnUw5kwzUGR7msBFSTCNRxGo7jKekHzbz1Zwfkax8OAzSmfUtNU76DdXduHLkQwpfWDT3JvqgA0mfFsEPxV8DsPMR1wIDc1ijkEpkpRo2X3oNijj5beJg4J6CEVNYE4KslS4Rb1+dfRpxKUqxnvW8AmbaFgy3l2z1h7MlM3miLYLtgyJQ+3f0ijS/bMipC9KElAVKijBq8EvF5Evaf/5Qe9XKxe0xTE5gR26ws5o4n2toXaFCoHE1Ea2sHE6HzqxvUmULc7hyhx36XhnjWcPLcgEtYsR8WWikfXjptUu8nyInUTeW/+XU9ky7WKU5BU3hJbJ8P5/I3cNsr1ts6fL8i+/ycl5je6g7GKkIkmsKqD5C1se63FArWZO9+fncaJk/07DXcNBHbDjvPCtpY8k/lz2MC8KOdT1E/CSt8cfGej5wPqj4hRl5Btr8YhrmD7pG+9plygdLhfelTlkjzhQY6Gfu4WnlfUEqlv7Z05EptD5j8VQ9tUP4cEPRN3sp69mNCHMRQLphoK/bapgfXSGzJ1Z+yyGOXUHLKLaq5kxoXYkxwhsDr5zDzlYb9MrhH16eSfe102FtUzHipLPLh8xVcWWof6rHWuGFo778U2FJ4zmijB0yZuOLKyh/1KV9Rzz+ovRBGEtta+6M6cqKGOxdeBDw8f+I03nl822H+N9xfpxKJXYlWLJjb5uOAO2pODqcN+uSr79KYuiItyEhBgtU6zIGnUEB7dvyCQvocI2sM0yDH+eXWLy8AjTuglAUTAzkb81tVy/PfZnAHU0QDVc0l4qyMkZi9TjYr2pnSRLE3UAE3u7e/TXAAAeT1KbZ/7tLCmHbaAznQtRPnYAA/sXDM4AI6AZdddBT+FuNFTrc1NSPEaC4CwaqjzAbhHWhyWWvf53O+mV788eljwLJJCIgSaJr2Ii6hsZYvu32CY0qp5z2sEHVmxLwCqZzpuJmx0sf1z+n7mCGE6Uq7ytDhWswc+em4lJHivgIYmlwNHwMVtviwYVltpoagymdlXtl4/Enz2gZEDO1vz9QYKVJIMlh51zA3c067W8y+vzwMJcvGMWH8AVG1R1I+CzBhUr8U9RhvE5g77shTnjjEJgzevjnT24NycIYw0ziFzjctEm0tP/wyqG2GYbhKuoOQY5wPXnGceri8aOgi+aVWkprxTQYZjJKLBUG+K4ZPGAfL35zyaQhhWthhmwuYYYoqurVTSDr442XJVm12KmQW6oRrEmgb1L4RQhBftt4aGghH011ASCc6WUyQl5gektmSRwj1izf17nIt3/eJvnny+8wb4StiHvqktSDAA9B9wm2GZvyWSTWjRAkEW8ccxs1DfdhID4TRm+DwUevK1aa0YBHIVE0ksD1S8BtdmFpApky2TFyB0LAX9c2gNjzhWlTRcDMVzXqpqCZQIlkp/s6xLfcZzHKS/g0HWnT4Ztiqw1DRkxSup7dfxHS/aMgAsl9fCOZp+uHhBtaHlOT4GIdfyjxk3Al7mCnwWOChwDU8tgeJhQ/H2XkXJxk8sZ77hBrb7n59Gzvd7zmkWjwGEIPaYWljuBECXdY9rf29bq24lqdszXYAbrQBWSlLzO6mT0KVHUyRTJJpCzHq4AZAQOUBqa21S9tAVzAzEjGs2/epimU3DFhDPsczgI2CKT/nEPSyharLRWBycAs+HS3WG6ZdxnokWkEBtwpOFFO4JoiUo/hEmddsTGc5oNvOI6I7BpM4NQedPkgDZq1ZoF/kspFaGQwSjdHriNOXjiItpZgxJ5a05BOxGAE/UOMv0hCO1sRwxApPfm+hCfbj/V2jgJtmmL4ZypXhxKwj3bYnclwM3qHecxud+W7an8Gab0BLuaEAXEXRqKg+1u6VP8x0rIQchgk/MTLyv5+J7nAnRvxAPUM21igCtLayQ6z+EwZl9OIl8vjTe0jPwoHZ1DZxSWoCTP5W5cypcsqe8y2DtWyr0r5yPsf8ZAiTBg49puqKdzNKWwjXipunMYj/Hpt2zeiDEOtKCQ2fr3lZvaUoXnM71ZLf4IQuwAklGp3jNNVM9GJereMR4+nJX3/uprBHV36g5znUwvcbI/S77oVYMjr2x2thu8+FcHZ4r4iFFOjopl+JjT73eRQ3H3Bfiw+iHCyMtSf+iBuP62P64Fi6oqkK0x8HJbBxv48SWREmZm0GoQ5wFe7fzlhb/w5sSqnedg/MqEv2pV/j4FPojuaHFDbe9NCYtj+raYJ8ehrYARkt2xQWUchaEV0X36ZbeiN6t/Ugei6EKHEJqaPjURBptEJtLjOb2CRZkt5DCHJTo1ufEaGKF65yaU++oeqTzpLbq4CKSmIyCFrys8Lz1gP9zb6xsQd+6f0Lg22GHPQs3ntBVoZpxVXIzC6XECW7AsfoZa4rN+4n2Gk0VYttCL9dCCzbMrFNpIF9MpTf2G3dxJSsr2hwNiC+BzwSEUm/ApAVuLAMtXvvuvuKg/doE6ICcx6BydwZXcjvN8MFW75stYr1WqupSnukk65CAttt7VyYCM1ZwWjIZ8hOXfUMOnAykQtjIEikJveIQlFYZOz+fhuyNgerTa0H7rJecv5Y4BzCpTdn9HvPetIHMVVIroxiIYC1N7PvJmQpsD35pxj3xta0Xt/5riD7E8UjlCugQRYHr7XjCiJaEpjMgT8KtmdmMFYqshrqreBhlXzMomJBztguVHkZwfpKszSJzs7zI1zCoZC4EJbiCFZxSsWcSMhnD0QpuSaYDPmvSpDR197eoRHMAGh4w/oxT5H7r5LaMgtIrwJ87dz+CPIC+m2EJ3j2WAYMqqha8QIotezs9eIfL04qC3q4RHAvKwH3om9BCGARtHcyGfkdXeiB5B3qia55+l4BJjS5P/Xy+BCfC8mpaKSZYcUnD/kvXQnnHRA9yIARm2FzGF0DtfXRuyJlIrCAlX314Tu2R3qlAGA1o68B8t47it9DmOagg7XItnatWEowChK8GlMf8ZN2cL40jbKsoSJwhOJjtssAObgGnPIayuw6M3Q3JnqMmS2OyL+MHYSfcP6jcC92EBWqDt0zI4LsDh7I4UBOeBw3U1uUWQWaxPKKqTJw/rvkEemLtQf/xAkvqlw3QCVxn5m/uLqt6kvBpFVahv1MkLda8Qg6app2xngg3jewkQnvSqflSpN09fdl4OHcHI8s+mA9moS6mbpUnw+cXMBA41L1Fq7lKAdx952EoEUIRQZ6e9QBa2ABZkgBC/GVwDmcrKa85M3CL2nVDjd5wbUHDGqiWotwFKKW10MJSkr2gaBXPHc0HPvwTc5NIG3VvCCNm5istTfe52myqRikKzDDVI5ldl0o4clp8R57I6FRe+ruOJbnpTlNu48MvlIfBgSe2gEKIHguxqKrfPEDm1Ou6D4nn3PLHkXQIRDvMAtOnGDKUekRpcQTuvynMM5jY0wVzpgGwTTtc4DtR4vfw386NlIYuvBedETwQiXyDcscwzVaQRaggS+wnpg1hMVHKlxLBaR2aavchDtaf0CpdgPVBPPlG4e0feGQXTiG5Wn2l5HdkKnFlkhvQVhawhU41WGtikQJM6ae6c7NpEKb+8D3yJzAGxwebZqUfSfJtScDKjTKTwcd1vDdsCEvIJbDFhKzQGUkYYrmBSVp5QMHXhQokJdSmatEW9Pkr0BuKJZS7UY7A1HU5HHc2JW9JI9uQHZvabb83JL1cnsJZCkt5U9+/+XLsHNojeR3K9pke7Q1+xrU1iQxmeXVom+GyMokzyHkNfyyqJQ3NfjLg8+kIFZC9M1mJrB2trVedQ94Xwitg6TGGWvFA92LlrN9Bt1NOpose7Ez+p2KrkwQvWrlJIDWIGGUgvZPuk2YW/ur958wCMejD7XQ76qr21Zn9O/3qsYUlcfEvNY5j/jE7+ogOhRPBXzjfg1uhL8bK355qikVjc1xrg3srKI+B9tSXC3PrZ/BlywNsVAkkAZFlVwx73raubPAuf7Q3XV/Z/KoCGylnH3X219L1JS2G4A+Ov568HYvGULqhdpULpK4QVImlX/jmyRJygML1F4/OmEUUoOmEXDQCXekwShYB6aaUH4O6ThN6xnFx/xo9h/qST0HmMsi+Dl0XDdWDxb9y+Zab+LEnPQiM8xcTEusV1rD3WiOzC9ta/7YMQPFePW433KyCaa7bhTcVmJ6cBxGcwRO8F5rH8nuIh197OmU2jj/yjc/1j+5qIquEK6+6cqtfAw2tQgxND6+C3MAazQFeqmKYXBdVGJDIwNUYB0p0hlQ8X0g2eexndW+qKrxLL9PLhqKsNzgCUGAKl+ptyginJN44Z9qfGvas7o8WQkKkO+F6A3pYUhgWWUt1twhRLuU6QQF8TjyAYZBOZ7TEnBvPmAJ/BD8wfNGD/oxdGwEvDB6c0raOgyRhnYM0LuFDon+HsT+MuuGxXcYMiIJ3m02OxtVjF5II55ZjqmV9E0AsSWsPHX7qoORemMIiWmrv6X8tLT82h59i3rGFMLi84G/rvZjWHi2dGJdY9wX5RabJ8Jam0eE7EirQu7jZ5vBbqk8UjHIdP7MVMvclzwaPXK0Iz6GReGmBcWwvGuq75s8O8aTsbXfjtjoXhy2OwWTEYcul9pPHJcfyApbPmbvDw3gxgwsAp4sA4qmqPVbMy2g6owsuNCcu9eoKUgfiPUed20Earg6U79Kz/Z73bOQOvWk8Kbzpi6pKCqDG2+Mss68/hU2csBdtkkcuCLzJXYfs3W+d3+IcyRH7tZAesn4FU0i7bN2V8mQV7krwi1cZTddkUztoTp7oulMNEJRWqlak6E8UF8tb29vq4kQhFArxSPuSHOh6LSvDv1NhjQK7QMW9P24tX1C//0fdrlL5Rxx795be3iEJDLzUU2g+Z7AeQfZR7XsSY+e91KlbIqfR56f2NbYfczwURZTeSDe+KnYvHI20MFE/6hXvEVsrdpFohMNtypnvDO/E2gWJrDgNOC7HF3gM8QPnX10oGgpZSITITsNOaFY4047PmclyvDSiT610coE+y9H9jxjZbL5SUR7/Kbmd7MEmmbZc7UApT6ONbO4lLDq1Qg2AukgHRGGkYPveP1ZePtX29jEwOqV/RD+Ym8gBIHLJ34MQz8rc/oADL7Br4SKOMNm451OOYnonJtaNyrdsdqw+KKXkUmA+GrEgsjRakrHAKIIK2wrwKhHnjyWXU+envb3O4G80i38JVSpSF7++YC6aQaUqf5euCGZVQifW/iq/JEBhR5gdr/VruVi9c0QGeXjt0PsOvGzW9wwSTxCEsxpDj0/vqicDhR+2XWw+AgdhxCMc+F1F0W2yVeb9i/ZGwF108iXsZJvJiLFgD8KvYR8T1W0IcXIL2SL5NknOhHyN3zqUN4/WSsUVZ//oTrkvcuLA3sB0ZlF6+SyB+KR4mVh4JBHANIw7oDoKD7Nn5ZZ03/UHsf+8XTZrqa9g21f9F58DJY+MTgesQJDWKyxLrHHFKla7WZ7a/EuDzay0bbL5cvQg30OLHc1vXRT1VJjkWH+i3apU9g2JzzST5hKBlqBOkL0D6dbRkiCkpVYJXL+ovHQpgs4U/F8kfKcgyqxbEfTed5SatwNl1QHv0yTQYHimIELIPv5Swgz0Mh/kpZieAHbU7BlZj6g9qcP4MW5X/w/+6378NxlFJb2M7U3ithlzB1tvZHzklY9SVMaMg8IZMvIfJ6u5rKRlD35zEbk8qPPhhaVGTNkPvuFmXAsm8vhZsZmHkodsF+OdayOCf8vL8mLuuZ10FpYY/XjC7B+CP2Q19HLfBzWbL61AmWDi5lVeDvwXGnsy25vwXYxh5DVtObVmZM1TqUDENL2Gsankhmk4B8sQDhHxBWf9Oe10rgqihgvh02yMq1ZeqBzcRpOyMYEJmgPiMvJ7uIVIQqBpJ92kSIXX7qxpbM1a+Jokg4ZGpSd6pSxFyXE3wnvdx6y03fi66/0ImRAzK9wUTN7mGZIgEyIn9c7Ck1JpLrSW6GRs3wEdYcPzFO5d4PH7cOuxlrQHotqCxYJaCNaeR/IPQ38sB6dEn25cPLKzpERDyV06MB/EtoGttgcT0TS9Z8qGii0x0hl2MQsU7bNhg3DKt/VAKBPkgAq8s1ZH5qs8183iW3GBw9XUpYDhD1jSxHUsz6J101VVagyLp4Awf24ZKCINSr1pDpGVk93hPQt5wyGeCJOc74VFWMPHpaUlT9V+FuYexVET1qNJca21xWw5VHTFi/DGqm7MEdiNJ6kMX+iJgNBE9WrK6zbkNv8YMxvDuFOvkjZrFtaY14UtwAxnznAa6OxSMHq7vChXN6o5TC4c5xoKWAQLKq7cFBz9Xrcb5NPgQKeg1SZeo5RXy6y4tao1W6BNpYMI+EGdxB5xDlD7rvFVYGOualbhnIAMWcu8mu7th5RAoLSNwiT3ZFseyhzLenRc3iQ2hJ59j4xwMVavLVytuZ0TGSI2J81znbbwIDEy+k75GuQajqZPD5uwC5+oDjyEm6yGh+jDB0aj+W4GtId+YFyUK/B5UqAP9+2GvPNnNpBByKxNWBtsUIt9jtarZRl2dyeDWp6hXzzEBtpA9/kZ9hygfcwT5Uh+iDFrDCXXgbJxXRIUs5XYc+cKLcutsqb7+hQsbtVx2dibpNuY9OJjD80U8Y7P+xZSeqBKCfvP1nI1yMmC5Q9N7ofmHV+1wpHji+TG3R7AF4RoDxAudcTwSHL0RalpJhTOV3f5Ry4gL3SSHtGu67eXmtkqX25N+dJb2qtMva2cmvjAE34qwcAu8nZmha9P2+iX+d2nDtYRrjkox4xrs98T/QEOfZq5oU9CJwhl4NQ6bHjOpdxuTX9w+SaG5WLBl1Ki7920HeUPu2XsG4HgBHiACAcFTYdrDiJ5Wa1yzy8EFfZrjj/d5hOpRTmz99A+NMQ6aUmWo7fbMMsiBGjCE3cZS9rBqlfiBs67f+jNPXOGx25j7hYj5n0iI1qzmKrPeWjXXcV4mHtpdetcfglQEqtWmMCwj1fLt+L6VTLvDK4RXpWoTB396GeNDpS+gyggp6KiDtF2xi3RcF0O5qUp4zfdUYB/Pyz3d0rGoDpAmmo6Zfgb4wpKi1CF9Uox0vIlHwNh4v2Jh+VopFbjcoKNF0TIxxzwnk8ICoRl340/3JSdylYyFYxsADj5ryJON7lDVgnY+WfXuA7iHNmZl4vPRBovJf0QW4pfTCVycOzI9j2+IYNQ2YGubXSAavdEjidlmAO7IegrWvAmmRa3fhoSCcXUgnc9K1BOAxv0lYjObK+LLwEbHNOjyMFRXw6vpbIP/TzZRbRcN6C3E4c6vPcYsxwo1H7Z9T9WVRm6tKnnqta+99R5QsE23VGsLshDcj/u0ubSpb3fYuz055hnvi/cZtkKXSD4dQtheqrDRxZKDfXOj1PnOkZ6RxLgg+ZqBIewcxOUjoCq8VyP0pMMf04byOr/oePN0BQRyjdvP7fGOyQqdOpWJsb3qIz2nO78COcZj9ro3VQ+yYHdqo0s6y4AbYWRhvj7ySFk2Y5ZB52xptnGbf1m5NwhP2gNvsN1ZL/LMOnZUMHJK05qHcnD7mwMf96pGpueGQhn0Mn1sN3QCarPIt2b4oJfyiZ4naZRt076kUgFg6+wG8Uuqh4tl4xng1fg/g1Bwje8eJ/nnaO2sVb+5gdZA1IznadaCOsr1e3UobB0teHkujy7QM7N3NprbfJFA1vrLxvxTwNbPEWF7LGzK/ajTNYL+7UV+ZTJ6yeiupeH8H03OCiQkrMz62ubzfKtOgpgyr0briSnL3c/zZbVkF+0qBrI43o//1CdUV63PP0Po0tJypzzHcgXhDpP2eqbLjJ/xV3q8MpJUkV1mS0F0RRIfyOrt46+n5VznVF+EyRCLdyfLMEZF3xFV4PUZkjCJVVvLqToEEMA+z0RZ7AhcAr7WZZgw7Ey9gXy8ypmU/Uz7th0o5zRPcLbeK5TyBvqPz8l/GolnBlJ50zdY5/qwQTD+fO2jlwdVIa9tTkNssIZzpa9B7zDi5CCvfFZ6P3DUnGm8L81T4q3EdB3Y8yQTVjvUbYB+aYJd1SgiaGfTuFa2B9D1LhdlKCP/Uuk5pLo6AwVSycU6Az4JBnhpyfgIR4b3rXD9FwF0jZwS0AF6vF9jgdtTLJ1jUqs3ALuQMHd+J8hsJjIlqdTePZ0F5srTciv/b2//7tbnQT7rkjCAD44HrhKswt6d9a6N/MQwZVh14KxJLW80wKmzTPsoIZkPT1uodXsJ14RuZ1eqJlHh2IlJwb0TFuVJC5QLkJEZDWWv86n3TlScbdslMxLgUa+qDJtiDdhJmqz0bCD2ORzxSxkxvAe6zKlTUA62Vzb/CgPaZ3V0s1pGhznnrKQKByrIweKbN7xGX23zzFD/0Youvva6qyLXWwYltNlyiVZF72eeA/R8a0nAqZYibhqOD8c0u6ZITJlBVqM/ptaMjseUtqQ8pTGE8Gobd9JVfviq13K8/DJlgkS5v5/nB01cUl4stWl2ATsrUnhMncQIjw9f/5G0QiQMpfCxAqvNuFkqxvr/bpChPgx/lj1iE/zAqTy5LLtTUlk6P4f6KZJBla4P9Dkf37j+/rKz1QevADZdiQnyXntLQ4YlUEuZ/Syghg5z4fAM55Cd5aVpga7a0nJb8f/NQ+U0VE7ZCy1gEDGHGZ32dTJbUgl48JKtnod3yFcjVFPeNxx7dXCe0FFsYxUc2xCYA8DebgOfWqCFjnV1vYnGd8Z9b8wmbPUhMOmj6aeGvR63sp/5AqErvlmMlmY3vssG3LXxaUTkWHz4un5uFBzjBODOimqTzZhMjeuGNpmSrk5lLnbq+5m9lE/FFccEd+IODZZh6P+pM5gYSZYKr7/E3RDc7XHN81AJmDui4JaiV2uIkPC+bgRgkN2VF5XzDBCLCyBtj5nyFym5d+B6oye6LenJ4t07CjAkv9rUshFc0TRw5HydBsvj/qr+20OBnhe6kwOrKQb6GAj97eaUTPBnRP1geVbC+Ox1ePRCGaLGKiUsA7zd+kgLz4nfhJ9tbHPHCyC4G7QaWiOV58bPMZ02z+wewIDOmihEBHfUFONHK7ArYSYLflyo6wZXvgJwXP8NQ9Wm8rYZliq74kUE6FuFN5Ocxs5/UOljv5vY/CuzQD7NQfqHw7BfmqrmG22K2sbOHnrgDFBvbUUXxttcwtdrXkB2Gk+NjtdaQZB2dZuxoTWSI8dHQxnR/V20nRoJydFNIK9G8imKyiR996CCA0oGszhjrZgGIpXAA0eqlpzvwu+iK2B5rYdnnEoFbW0uhk11NCW2814eBRGf9gJRRjvEuwlPaczZibsaVF+m0g5sVI+LYzNtLKubd7qltFDPdNf0Rb46yQOj21zm6Kk4/snkhBBtW1iu+MIpP/0VdnTxU6K+hjkA304S8M6VTPHkTnD9OyKip9tS4DRYc9dvOCS9jIvAzEF3IPGCm/78bzUeO8C8ZOAgox1Y5B7/BHvvoXRU2tIKjK10EtXnfYL0M5wQUu758ie8j9yUUnlgzzzPFUq41lKDD/LnGvEqHC+fCWLD4kDBnVOkxfZSNkWzDNZa9qR1XlMXK+dtP5Q9XtSatiJI4aCNWcrD9U/VqxFabr0cUYv+M+h44bihCN6A+PzUAdhomh7XjqZndA08icPA+JzO8e6BNtRs0U/Uri1hsjVQlZm/Q5d5afoKA3paq61VDQr4ZPBkf7FW3dUQeRRfJpzadfsqxaJPvgzz3PnNbpHT3DdTxpm5Z4Lzpc6NPdqxS8U2xv1iivk3qTWJUIgoIhuqsb3i82MBPx6n3N2w8Kk3LJp1MXn1oz1NCnx82mQzLig4Gskur/OgAGsH9m8zJ4rXKbP2g3yCs/JNimvE844H9oO07M1EQ8DtWowJ9tTzJxqS/eG7/GfL8y/814cXStdJx5TMCxVPHWobqcfL5KCL8NONE5+0R5BOYit6fwqRWfeH/PMhK9HZUcRmk+WpR/ICldYcyXxQYexvWn5B+NklYk6edaNLMoHb9z5ITZ0QCYDBpKB870ki//pUqicbbqUpV3JELFl/R/kBTLERLRPV8X9D6LiLzLHJOdHg4HRQnBg9lELEmBZL1mNfER4wdu5JbffKipNO+u/96hyGw4U88cDwsIBB4itdVPqQub3jVzBNlD+gtfiKiHKC1qzgaU6uHfLcdOGPC8zHdtiGXE/ZLSI8tyKMocThOdMGSxQafuXzBbHhT+tRrKfHRJ+bpFy37PrAN3zDY2QOLR/8QjwGtV5sWVOdB6QxtmUQfjj/Db9JaKtOO4YyzjvUoXVrwx6ByuYGCTx1x6cupZ3lICbkN6iw2GlefHhd/IjGx8HkUBngyVuBSI+SWUAajFsxHGXZbiNvI67UMXyEYycxK4Kf7be0zwhYVugF9FGD0bSXinuXXDGbHhXYXYhfMCQKP9cT5e5D4YT3+LmPOLuDwTtEb3teYATYZvNrpx3zGBjokliDv2csM62Meeeh+ShvWTR3l2IF83WhVVTQUzuZATZ5lzIcC6DX4dnFIMbDmVrlDR9G7yPKEGYrGRdY9WnRf9qRzl8NzOhD59twTUb0On6qe93reKdlMDHZmcsoVexJqT33b4R4nHdP3jhtW4swoWT/HucWGfAsINhccWR7fZr+aA9bziPIfdFtjt9/g4s9NV2Wb4AURpdhHoD7F8+JJIg+0Yxbj42u9+3+3270ISzMhlf9zB59cTr1ihTmCf3bM038G5ZVOa9TvZxtCNhCt/IHY+UYN8yqmEZAMwxx55WlMqcHV0SAiQcboYb8TsXSiEz8vJhZd+Gr/nRdBaWdg6zSSx1gGDUnS7YhpJt3Ccnfi35/ESCPHlFaEC1nYqSHF2m9JHKtbkqqb2X7LFnKakoTXLJXcW9Mnssc7CaXV0ETQ/kJrTqnItoTIzlipA8q7R8DS6SeSvENna2aFWxRZPKSkizVig+V5NiLLYIuX/+CuSooYVqjSRcJ6GKfn6PJgryj8Q6oXhbgHup21Kqcf8vKgeZDbDBKXhQFIPimavKHz1+MGaRxFX/brLVzprkEPTFmkffJbFcRPni1bvW1e3PZv62et9A0fBW2pri0+TKRPx+2YZ7aPYCPoKn5bKu3d5j0EDfRWqjTunC2M2Ucr1fRA55Zgd52Dw2Ybi69FfM8j2SZ1M+4d/KCPgg1zjspEN9sT4pGoj93Bzrt+8dauZRMBRGS2m6gQNiSTIX1uHyaSjI2IDvpDZo0mUhCn9ZEeUX3MEYW5WtezHa/Im0MeJ9wq43ZZPz98n3HLhA3Rz/A315inMWl968cwHixRnpySnm2MB6F1V5dJc3uD7FhfaJ2NXJXHtythoLkEGq7f3GbEv5YQAuWYRTw6PUzZPgLaCspJjno56GvviQAHnSs+xP72+/YWi8MRwpOhqw/n4HtqEQqVINotgs9lc6xHo0cOE22IdcKkNo9KS2aTGmBbJcL+jdPvjvPq9SF4AnLdY5oSRXUrEjbExMwhz3ZmO1T80WlNJQhDHwan4akRtzeARFON/VJh607oBnsrrQNxzGRPJld0TIAQK+K0nQ9Pd7ZbphIB/XDg/NqkDNxddkhIx0/PqPIk2L8Dvk+5XXKzmMEmY1w3n4N6ZOtvnPtKZhJaL2PBYQUsukh5kkCIZFB/uc5NJUp/HZ7WU0lLsK6ANLbxYdkTZqf6YPKO0XpxMfUoWI0kq7GKbmXNcz9CyMqzdVK37t1loge+GSnCMtbz3M2d2r+Qgg/xcDN5JW9bgNa9xODMsi2McDOg05UXGKlxcY6EO1P2I+sDB4PUqsAoAl1Df+aPWJTgHp+8iUZGnWWNkSXTa/nE6cWvcsIEOwQz1DkUiGopRY6qsQ9H2hCsNkhu3dBTWbdb6N4zqvC1aD6JRXRJdJnyVXXoh1HPcMQUEf3qXplTVpCPx3ml50Z4w2bViOPHLIuheW9stp4BDDraucVsZEH74fVP5fKlZ3TqjyEGXtfhVqFz1/TFNfYhdiH3Vd4EGpLLAuCfiZ0MFZGW6hj4lRJX/Ya6EAS556l4kjD4btI/gc4xQUIozVvXAanqIp4n5WSCO7rnDOvbb3sQpKAD0ghlNp1xRI+Dnx2ud8nhOHLZvkLmx8aVbf3X0fhqknUHbDedohRVWiPoS3w590U9Z4qXbCM3Dl4DJmorVeK/5ES6/ta9r2KBIF3kpzjW+6ijig3ysZO1kaMWQ60lN7MbD8pGrz83b19SHOSCCwJkQQ7P74aM7hrooEAkaLU60LEem3+yu5b7l+TncXBSC+QOZa5bcrXaweFn6LACJan7T3j/ZAkQSf3uU7JaId2nWwTJDEoEJJLqiglgjqZVSBdnxkNWdLajqxD3R3IWH8vCWY3SL7PpxH4zmNryjSW6RMRbgwCxyKAi0RoW0K+WLIWs/a/zALSk8P+hOS9gaGSsfXOdAtxnM2KnQ4vQWZ2mTuN52nUqoMHiBDpXsyBcWtligHpaNrhYMfa3HVg/7kmULnvXQjtVKvNeniUcodyR4DYAVkVhfA3FRisOraAuAYONKMLOWXYod9KaDyWR4vNKiWz6LN/glstyT7SdoDTKjg/0qJvRCPS2A5sho87BhYYEdS0mFcrfCDvUELhXVK7ZfV+jf512kFj8rPyKfi3z8zAwRHVeUvr1Sf74gICLXplrWrMawFQJU45jPBUpA2GCQVqcECOzPlwvqpvpDOTRRRlNko7XG6+G3k6yFueSPcYOvPWVyRhuR+f7aZUowv0Uw301vGLLPuyOr7vc50bQP+kX2HNCju49Hf9QvOtLKaWKqYGSWCRcKw6Dh3AM8nSy0oHRmfGkogxMNrkPHwGFbz6+t/POTYbSGWN0kn0WJFdgC9UkFsrjpiRUn+jIlHwdKBp8giUkj0Q7hD8fCzb9tMbHl/tqOKzwQc8nB2qh3UC1jYE4oFQOMOQzD8DB05NiYkH1LOg4v7kqVtYqpEcoOtHP3PcyomAXvzzjjdJ/NBrvo98curdl+UVGkka7AdI8xWj7Exxj9JwRUyXWT2ytmE78s7eMzcwzOtl1i6PEm9pUxEk3e77TBKy3oHmyyKdP94KTb6q/vaOWA94qZ8YfKd31lEOms+XjDC6CfW9ymVO5IniI5fANv+0pmh/dSGaTxyO45zBS+x9lTzMR2ZwPXc39lrV+OpumLchHHFpzGro76TrIwt5oyQDvcFSNdJB15/f9R2zwLCefxJ3f6wZzCDvJvuwtOCUnd4S2JYPs70A0GQd2ioIBf3usONXTy4Hi7dHhBxp/vbkR/IwWuc8jcc7fikNPGtW04Xi13BXchjG7GxkpizkRIBg8xsGLJRJu1I8mNzH2+0jLD0abRLNrpg0KHzjpBp4kRvvwXoG3lzs5Gv/xt57VL7Ij/abAIIqydS112xguJPgpseh9ycVPSM4lfcYySlgKHvWi8iWMoLwZd3FQfi5ezqdsqA3mI5DN6iB6Ng1FmV9xkrFjEfG1KTqLoZFx6CWMCvckM6nBugLJQrHCZSn6dNtfu39mk1wZMM1yzqmxxXGGlp5yI1x9MbXILWQYD5/9cNq003+D29XtQU6Y47YXTA+baswVbHH+tW7aLfO52u0pYLeTFZjwkeSB2uVlj2kyqJpS+L5cmk/zeU2HSTEXlku/WN+wW6uInwm72CCVbp/GuCv4+VIrd2pzHjMlIPpTApy/DzdyUjX6SpAxbWCUS21E0hBqx35andsiwUZc1qDVMISZs+1jiS6xBZSeaQ1u1nF56O1qMFFDbsmtGUKghT9e2ThhU3Lh8gwbV1WeuqhEzFLUIkQc2PVlMi/c98r6NgeQVMAYnow+wZ2T3w8GMNpWkfL0vmhEoNs9nGKg36TzdOhucKpmzqchp5NKDMDmp1jHLWmhU4JZNIstOW0LzBqpBgyMAFwSe+eQImq3GVWI0CY/nuYO1Q0dD0R81OeGPCUaaJ7DRuDKbF2dF+pAStr1ysH2N/Fn+va12xhKfkvzSsGWhriFxl1k+87z8hJRrMohVvzELd1cMqtLSmJ1AizsL3qStFnpzdP67onTKSrviLKx0gUrcNWPFzr9xLpuMUyqk3Hmc356EdBkJjYNdErMANf+FC3ZA91Iir38N2VROTXMC0R+swKMIIICcvJddLSIFyNQu656FLSHlZ2cEhqcYacLKnPb4+fD82VX9sVo6FB4YHPojEBKZYJBX2PyCschhW+SPG0LdqbMVsli7aj27NHz1Q8G0T4hHwEwCO88vtS4tghNYROOA/KFIxj0ipE4lmB6Zg1dgMSvO+R9QiZVk8xUM2gPRU5G0SFapWV4kKEnO0lLLorjn2btGTa7CiTbk3L7ajZSxLfpBUj2p/4cRLlklTe/xg+g458dgml6vmbd441Gtme8NjSp3RqFPkEHNeqytXMFSV+VVPDhoiDSSyn9Ww4zXetjeqauTh1/0KkoXILB8wWfRxdpg16I6Kbrfz5KwOb5Kg2cHdsivek5aJ1g2iwANHgsXh4c2QJNBQ4TMOxqy8jpk/uwAxXeo++FkAFm/f578OWcKkHTtxQtjP1l8xG57zO6ITdGXZp7NlGSewLVIDDjiRVs9vkTY32nrEqoummBJ6C4dkBPZc3PSqXfOh/8/VR3EIlhDyRgeIXdS6a992IDrsE+ncd5Fo5uvcp7AlQO/rd+BQtFphTqK4Xfgn6oQKveVEp+MgcB79uV4gARw2T+OP4tE+3YGMTO9d4VYeR9HPh2vYrKsvhStIQnUqoaBdC66/AHdDgL3lLolzlkMerfQFO9KkYhu3iARPqlqKFe0zunRoKv7VAnSfQJCgYaQerNd5i7LUrXoRWF+7E6bnRvimmB72ZjNbUMrMRiaBxixWENmZ0cL870rozbNye0w8Oe3EPc/K3lQX/Vzj+6bxuyvzdfTwbErS+VCh0gvJLNaMXIRE+qTgpeRlSjACMLClNjOHW5hHEBvITUoPktfrg/EJdyYCh30+EOYBvuHfQQGrmOaTvZBkaEmJp5R3uMzwfGHOHHFZ9/sE1A2Yjpdf09l9KUzzMXNml7F+XRhW6cWnszNQrRExFVQkT2iMHJNZ2YMZiMK/p4iDIqV42+Bl8rP3hHbjKdA60KvHvBCfMDyaSpv1EMoO8lrqwhpE+2gmfhz1aIrjwSBcK+BQf5qRTHbWv0jl4cKEvpz7nU0G1QHekx1bhRVGNjere9veIOo9/RtvSclCfn3+t5p1FxxI1yExYkPtEft7PLthoAXmT8BsUsDa7BmyWdo+g7wEXv+06BobYwiMvUmo02leUThFV7EWhQM916nBX9X5oQ7YqMsAEN0+f1yhwknIdNEbkIG1SSz8wtUOh1bJ9o9HNcPbawoyw19TBcEfq6C5UvRshr82dB7yp9Il61L/dDSzeMZbNWdyqbGe2y+6mlqobQ4lpGgzcYCL/mY6E88a2NLt2ChaCIAPcpM8AksLuwG7NsVXfdSPScXC1n0o09OHB8eABV/CgJx2iJXZs41hnESo+3Q+kiZUCqfRqEugoKMoO1ebTSyJpmhV38I1PGR94YPLSJfzEVUW5VAQFl2x132DLapzrGgqNMK27p4LtCTQ3MwxnGxXgVx6dXpJtLpO5oJMI55MCdobNcXNulGy3zU7eU3HtAq7f9Xc9v49NhUw8zzcmPc/i+bEBB7zRKf0xGtcvbN7oDdQBp1Gl9ojdB1RPN3dF/PCVKJB7wnJyhz7kVGraqC8N4iUJDH015mv89LSNUEtWG1AY96zDEjtY7g6VtQWlzFALY4fKIck0jgm5dMHyiz49NyIssoqV+lGs6BwLMohX/j6Mr//dHWRMy8JugWOeZTgZLFIsugh4/vNpsMApWAnQQ0/MJIuZlQlKaxFV9nYV0fay38hbv3ma5tpvp4OxBGvOiCDu8aHOJBI6dITVJeraTprWUiDbgZ/EEP5cApMIwcI3K76oQT5cn+MGvaDrR73779TeXB6TURrcL9OsUOy+H+785SXKVpWGT/AvkwyFLuOMEIhLHeFILfuC9R9gxWM+cItij9uv5yuwPnCiB1W6OHGN/4XCLXeHRGccQZbJaNxtUC+acWpbzmavGl4vxzxrDIcDZb6ivAl/OzPbq/DJfDBf5MIbzSdSl2qcF0hWI+rH7QU3kANEDTREdEqS7FSqSKBKsM4/y6ci7X3hqh+1kGzl5UIx3LUsvBj84ZrQh8DfjHPlyf2dEldQn7U1AKguDoxkFfWxIHAeT1cPYpD0x58+lSyZl+EONi+D6Gm4Herpi6Le++SmF37sywjVpRypcq3nhJ9GN5uccWx/Y+c1cj9kPjQSNC5tezqmWpE8xkY8R842h/vUgzIqtXnifIn7QLx/tjRwVzm9rbNcD8nZrl31Qz+0+OrkP+Nz7WQZ744VsN7hOIgu635iDw0gH0eLqDbYHYExQBqI2U0tc15XH8yTKuXepkiu2H9wFDw2owZegez37sUah4w9kJWFDHey0s7o2Vbpf/2y+MHg0dWIBcxrIkfT3BrebvbzmG4nU9lEGpEB8LpYSxIWiL9dRlMAwPfIEPtJRy+OY0nOwiJOBh63HDSswvN63ofFa43bak1zlFX0wNiUA1xNjzVLIvMOx6if2bzomGmll7n5FxQ2iIsFPNZIhuRzkUZQsiAn9Tlus6hsIkAFvuHQzZvj7jKZTSLhFwSX6eKL7T7eqlOW3Phea7B24BoCyQ9GnCUs04qnMW5bVv7zetXXB30bAKESjAxiuJJtnYZbyOer4rDzVfsO7zPGcvwPuFQjKKEJQ1XZwgCLQIf+CC3zwIdXCTc2DSFGL3TxomV+vYcCCA5FqK5cJCALIwHDKNu5V+iOsZeC670hYjz3CpJRZfWj6fksnuDv45+/1QOjPZvyp4wfxF9G1NdgKR1pk2Qx1lSSfaUl4EvQYUe7/ka76/T11PWdkZ51Zw7A82dvb1djBIGOsL7AAJyRugOu8DTXJnoPKYJ6ryodnaRq3b2xnnhbvqiCeeO0D0q6RxJRkOwntx+F8NqAq22KtgRbuPiLC+u/VqIp9v0488o/m8FuhVQapTTlJ3hEd7a9jfGW1R4tN0LjhEsZSOi/fsD2LYa+0tAZgwGbaYixxfYbDH7ASflI9DhPFUlHFFqo4d27N018W/5E3RBVEVlDJkrmxReuYowVHU9/O++zAm9tKgVp/yj+tscuzoiAAls6a7u/rOhFOLZ48/RiMSl56tqDnyCrnRg/w834dcYt9wa9RHBNSdxoF3zsX09yoWLn0g5DViei8sve1j6wdfF2yYtQW0NJWfcPK2hJZ8D0DCinFY4MfBxOB0TavY/X+otN7UdO0XPASUSSHVYhNjZc6cqS+42llCvfmTMa44j/b6i7G3zK8da7kme4a6pR/F4a/rFuVBO5MB5LBtwbEhGHcmv+ydWYoYi34wAhpTH7dSmUpsDLc+6QsSAidXQo9asXETGh4vlUqP9jdsRGuTNHEkrNmuUCRbVnTGR6XNeKXAZQfqhQkRFJvnUD3mOd+fbXyPCA9CFx061RUgvH+fXNplV9iJPnVzVjtXZj6QNhpE/nqUdamnsGrQnqXcIsFdHFWS7+EMkD+nxleGAd7GGQpELXQjZ6UcOA0KBKU7W1d9gP4oVoK56uZOjgLNX4JeeMjZZof2TA4ru8AwDc5ibrWBqM/xuKkRlNDHC3uB0UIFEwkaDuRlNGCUCW/kTcc8xqT6zgtGK4ASIyiDW6nwguKWFVlI6O3CwtnelMX7YcFpFCoKxtWt7EQCUBCB+FZTGNBVNL6UFQNK/PAuvgwo5BebkCjPzDb+BEhsPAe45OdIjQFM9/Pzjj0m3Ebj87ZvK6t8RlZXMETnD8Dpmm/IVKD8E75FDIz9qWIqTXX9o2X1Dcr7cwqHIqFkJrb5Nyvndb+CNdE9iMhjcm+q3itnGXXHYfDIjSr5QDEnrvw+QGUGdipIY2dMZDSSSUTQJ99CgFuutnkyXoo4rM/fJczZw56YAGko155aTAKdBOzOTL2NKu3HrAZXPkVfDODnX4eZFFJscaDBrpCt0alCthNtRCRaYvWN+5/6ditAG8c8/rs0xPQGHS8pYmtRMiX5l2e8pHSmmUNz6X1Ds6CmXuHlfTo6OL4Tl9CTNjKEZ3eTCNbilOZU6QhExCUX/ZFXsf02Jh65D1JpazW9kfIhAMZxl4+4XDDz/9DPypeM8udn6KRsdmefQl72YIuhnpIdhRtvKd2LuYakPLPiRWHu0nzUenKP6dFc9sz9Hqk7coxUBYhSSpA6+1xCtU49oxvmtqaFnHXT1tpFawIklLtVPbD6cEZVckCdYx4UxZmyHKVIjl76+cgFKLnr1VgrB61o0/Mnl/w85dTesXLA42XZM5KLh3XEHUWLG/IbWGTrAJgyikHuGZsg1h3aCUjLv2SgMLIt/qgQEY6bylvc3XBIvksN2hTd61HQWBD6499iaoM1wXBE64eBSY/fs+PHBsfnIMf8A9KTzRAUV+yddS1nVnZ7Z5HdfCQoUifbXEAPycQFqLtufp8cW9ov++76RAOIxMa/x/e4pX2FSxvcKoUeGwRI8auXd4w4HJ/WdU0krZtzvQQAP5eCwO++gFHuH6WOwgfIRgIeQC4yMwFOGHkRjLPIsDBIen48917+9PlAdpgm61aBCOy4+PApmqNdUE7fn4IDqaz75jKV5yFDGK8IFscKNU4+iqTE4xjkTUY7L2uWB2ruWjlYBfTAebbNJIJABTP+DwX/s3dw8iEO0oaUAlowx9QEYd8Lcl7DvFrwiw39nftOozqZ/pt/54LdgRxEGcC2vGsn9DfXDNg+3V+zscS5bhJWfB1DB1vi+Gnvk0aA3ywd2bhCjDIsY7dv7j0nJbW++20JTrxqNPo5yIl2NSlCKMcJ6ue/jHIS4DFbPDs45hiUPrE1nI0uRQi9ZeYoxBEm3tWEDIN2zc38GLdn2RC+PtYVMy7chcNDonFnpCtNHcX3or81vD6D0xb4ws4DdNYioAWV2m44za6sCu5P4YYA2c/yLIpE9iJRNMeGSqdOIQwyBGGkaNuGfBrK4oYeodNQ95/Tae3F/34fxHEsCDjbKARfFuR1D3/602MeVPKIGUKjcoww5XtiI2HwiSBN1N054L8Y1ngLl0qsz4X1nCl8gRrvb12Fozveyfv2Jx7kblcAv6Grh1utEm7ZYyTbfCY9q+CHBqegkOGgqkYjf8mO5MeiowBJE9MTGS4Cbx3ysNleB78GjgSSJwI166yYwgdB1jubRInzBj3qxSr8Q2PnJ2QoI5fYvhHbsPwd20JTEqkEg1mcfHdH3h/orhqQXjoWJ5Wm8EEDnTjQm1zLIyaLMbjxvjbty3N2/O0Bmm0E0X130EFLwANKjKnLsPhuSn8ZEJ6L4N/91rWszwneLSGLwmeEtF6yTEb4teQK477vLcv/sBMLJdf19wcys5yh1KmP0rsaFqvrV89wlU9n1FjXUVtHcANqFyGRqADMp0wLbZ+HjZgWeeYjbpf6SGiRNL7duZkfm5ArNjYW5yoONf5N8QqZN4HArFvUX2aeUdxqGU5/gKU1EaF9It14hsd6RK44SUVkLqNSuNuXEIiqOcjAWnJKz+SplFD33wDaJ2I1T/S9M396JrTKo8fhhEp+u53XzcvIoo82qd9+y2np1e1bSJVK8zdIey5zGyabHMSj4I0FvDE9s568RAFXYRnYf9j1ZwYntPiNWduRooUqCJ2TvJ8URLAU+/hi8oz0o9bja7t1Wi8HqE0JiNvB0JZ0EnyqwrI4il6U7KvNkW6r6ZuDW6Uni+ffA0DncpxGV1XKyOvtOMq0bCqkgbHfLXdc6mgs2GK9rCv3nJPGONX1ezDQJDInrGJyfRzRmbrAAQwXS3Xcya3BIWDP9z6oR8cqb7FSiWSM5AFe2+Xzi+FSXvjNozwfE89zLOaMJgQ/dzKfFM7LOkfEyxfuYPKLDTartJacmM5mWr25iEeB0CM8kk2X3HB1YswnFVkoEfeftMWuUSR8dyITRB8f9XvoJP8bUcbtLHxRWnggyvYS5wpulTB+siXxyzKBmm/wHrsugQR64oAFl7KKU/IYZstRDrGWgwO0IXeyvMtnNJr4tYNEedNZqqWoTDVMD2RzTCvhzIGSGWIBAnxE0vFwntQYSTq8AAx4EzrihKsF7Zu9CiDvm6ViuIBbaQ9o84JclSzp+/UVZelL33OgtLEVzeWm5lXrzgOsWbdr7Zh3YofupCufu7TPpAp42X7+acOfwL9MP060Ae5D5AB4lhHi+ZeqbGv6nmITjjp/Ovv17DxUruGobvwN6c5jA+B/l6sS00MFVz5yFFO1aU3bvNNCmbVQzKqUpk1r2X/7Aay+0zCWqZQUKo763goxgLDJW62LWwQZLlriLVynwmvOJUG9DXBB0ZrFwgZwUTZCGpwbRSJ6PrZu3jOZ+F0DJG7DBypLkNbCz1abmI87QnHX+Of6VyGk6+jn3oPof2aUFHXBQCV/b2sFzXHeBTbMi5zkxifMoiOQdlk/7bh6+IwAH9HIFb9cWgfivWZBkELSFcUOM3EwZU/szDz1vJkvxLCxniaBZv39JCVecQzf1+5aRx+I6fzVw6ISFpTZUAIi+z1hIG0mqHuBfTHGmDwwvX2OwCuYTMmDAv6EgBXPekUdmsZPevEA8YQTmiOhJgQYeION3+3nrvAwmoG147FFXdu9u0lG82QLxLEBlKwAKUqG0mEM2N/Y1WmbPzWG2FN9TW+0p8eUfAk9ZuKtWGcWCLvenYcvSiE/IQ55vmRBMcUoC22/jyV/gPHpVA6W+qrlwKhSBcgR1HLKzbHRQlU9nTR0PheAGKO7nXJ05DfDQrRS3aC1e1sIxh/OQ0l+hQ5TZNiwkdVu01IZ5Ijj+mXesIxZ3vfWM8i4Jgy1uXNTTC+DOcJqIiLcRdmZzv8/EJaRLMKfF4WIw3EIsmCUQL/opnSLJ3w2DDvxOOpdW8Stl/92QVulM3AMK/RsAi6uFNHOEzXaduL9QZuw0RLrOfCHwVpkHwCdz3EmjPf3YH+MIwUaUEwrOHZAKADZkVIQGS2MU391vAH9DMMmvb37akbYqMDh2nSHcjM1cOACwZYrpYW5iWHZBd1iNUwfhvfautVjDSeu9DKILU16E9ZnADuZTWDSusqD/payTsW3Nsmzo/gXDDkCmdzRCfiUE0VT1CyWOqx0JygGX1D7gXpcUEe7ML628upQQv0iCPgEtZDW40oUqsdLXz3wFVFpvMQ2tmgWUF8sIkawMSX78WON3zw4i5ZRgVdxSx/QsKj7CGUXsRLPIGm0EcIWyLTnnArv47t+fpn7qrCuJU46NHaEFIy5UJKlYsbkiDqcAaxhtg5rfIWbRwyvuPG0gWLJ5NH3r+gLWu4SM/V2heRin59iGKaj5avWncecouaOHQA3bEdTECqbdenbn7+nOz3o9MdMaaIk+AeQJumGyLh0TDY0yDu2aocJ60h+wNKvWFAuO+nKDRfXMB+hld+uiEAGb7otZbDrXqqQgjDSPWddCp6hBeCBEQZV6QSh4eDoq+u1Z1U9IgQETAMvbdSzuJLxyhck7Mxcl824vON2LcnW1nuqNjOULNzaVMGWbi52Xn6bPrFsnsA0kLMQl4hCYNovtSFCYFl+J4R45APBm6F1t1Nd1NCEVq8M3+54d3R2TdYzYdL1Dr3LcGKx+b1kIttbzmU+oDFQIFV1KoP0BWi4lIXR7mhFQaCSHmGnD7wkdhWj8TgbzE/BGGOcHcbWXnVzHcuIjxRbfA6FRtCtu5dpkrQwUzNQ8/BYZmd32z6sOHbmyV+Xu7/u1sKR98PJKfJDhfrEr81myyYRBGf3+2hsn9l+o5Q1OC7oyG9p+PQuvgFjgB7woDZ2n0vwq7HUfeNPjYk+BsbW1Fp4odWbFi/MRdAPtbKSxS0+vXj8B0sQbxqZXTnu7WBHbIE9rhBAkv3g59v1yV+w9HG0adI9UrtCBAat8tkZ8suKFKglIlkeaZQZgtYlFdDnW19d7d1TD2ehuQFChCEEleIW1YeYiEDSK/dLpp45pwwx02pda8EkcJ5ms5wPi7gA9WFoPilcgeM6fGbqbc1FAVsBLbX56sAGJN2Gp4uyTwAWn5NFkjK6m/c2i3r6jSSK+3fnmOu2GHCceEKPzgPg3CM3O8JvSLiGllTgNIzJ+IaNubrtIDSpCSobXrbjjrD6l5R54qMvK1Z4i59kvMQcV/miowzQlKdg9h6QiggxzR3/w0T5HCYE4pZzAXfFSiPqTsJj9CkMlWEB5ybv1fWj64WDeL+xd8/wrXeb3u0d+RwK/j1MoELZh2bqESmHoIMmxXnb2vnzqj1ZegxnBPRC2s5z9DT9YlxhEiAzpJkPYBhM4LpMVh23Y4WlXVmJf9wisizgWs1jL0xN6gwauz7j15ApuqZIGj1bWnzsjwnb/P1Qi9fGcfUmI+kqZx+Mj1fw70GGgMd8ntdsmnOdVTK0BdssvHa/7hp0YRgC7l5aJgcPNTYZAcFeSIHIdkPkN8n+yZj4eEk3RCV5UdltfA6ZioDfTRwvSC4dJgViuW/3bRh+thP0r7pEE2yu+mm4lysbpJYg1WUcIOJMrM7hQYVO2BxCLUGK/FGL6jb60p6GrkWrNP/DmrQETF3owZLU6pBTKgXzNp8y424HJoES5H40H4/5MAEG5ob8N8zpNOoVw6PTFjWDKY9VjnEVkAUn5/r9BZsi58Vfje7qPN8YCBv+NSJ2SxrsMip/DKQf9xNTK83Lch42fQwfFv2FMBoIVtshxXOCEvZkj30ifB3hc21bprsf4rFjv8tJhie4QaXXcHeQsRyDgUt7ObRllVWSIKGKqO+jxZ+Ykp/xhLUcz8wk1cUSFNK16PdlXEOXfYhrnmLFkra9clIjlkqjN7PkB1F/tJk1JsftAWMiI+Hltkzj+fkIRyQFY0rJMyjmgp1p6Yt+6NdPqAWJDUyfMPWl8U4v75zsznVHBHFghW8DFkzZ2t80+M7O38r7qAOUjioV6plvSdgH9gd9NL9R02iYOU+7D84puRDutYpdQuIbDn8MpXUT4vTDceAMjxVyIkAUEhDlnze8OBpieiOY9f+1lTy/Zg8aOWhNoSbP0mSQ1hopjsQJNit4rVylELVypIAli4Msl7y/dVqVZv2czGPpV2RDV/iLwmBbNJgBARGLIdugcDe9DuTQqFJ301KhrrwRPcEgenMFc0DbkfbCrpDuwslZqAdcQNN1pmSM8RzcIbfqSOopGJNnT6K0JfDM9FS9PRgEvOrjBof0nPDue2NC+eAHKZzu1p7tfEDh+LEG+y2hgZ6tO8e+o5glveVQmwyERRjPfXhmCM6cLYBrsTsq6wycGN8JzVnA9OvNW+RgiGFuzWQn9qJH0iStbpDry0eePZHbmaZ5g/CE4tsG7p0tDpd/tPh7iAp0HknyBJrvPOZNlHHzNZ3EOy7Rxo7mgGhWZphXgS8gyhEDUozRfBFODXTW0sdV9BkVABafu+IAlHMLaVGtle2HHXqou0mnURix9Nzsryvjc2Je7xaos0TXBGVzwD/LqOPxth/wdY40vpPzFtbRaZ4u+P7rr0znEQ+yISwa5r/Q4Mju04NIj74DoeC8iP/TiPNi07IimcyG1Au4CcyPGPd734/MFQzYhrzftamMtPdEovWZS7yNx1APEXDnS3MhQHpTUaZFDNAWI2SxG1EQeVqFc2tzt3udZY53lK4+FeKAaZymfTKRZp8WtklSu5kYWxYr3VBuO+RxMiBbmfYpnJ7pPv3DoRUQLiPZl/QVXPMW7YHusdo7tsZUTUscJBNrKcvwnyyM/beYcrv+bNO0wgs+Csy0uzA0jzCgXc7oprUN5kzsOKWomgDVRC7mPPE1AtfhM0jWzY4bd1ZJNHWZN3WfAeGt2OWvrfkELvGGMwebWFTDEjbgOe4LRF1UikNG2m/8tEUFrXymTmHaW9hQ+9ByuM+7h+H0WcHYcTcwO/3eYh6RgPuuryrDYcFnB/3JnW+oxmKM60eVc9T+i0hDES8bSeWSNYA71JeP5hFf10uzCUqGcMGxN6HtK++dk86Fnk/geuEYuIjNUW4mmTvVLmW6hZXKkUXNXwRK/dEJPF8ThXXywH4KsloC+C+tUEjFpiAMFvozGqW1/n1UggOS4mS5F7/jjDeCu/d2sGbXVyQMSVD7vzFZA5tK/w+g3lPF73eHHnlkObstrRCohcuAUo6Wx5SXcGQqqwoJkld8Wb3WEDTLxTVXDrAWODrGrMMnLsE5DHs7Om41hvumzeEe0wep7Ht46DrQmG7aGWKp41jznCM9T3CSemzA4DWBt33ESxKCTVIYu66TeM8JwjL3c1VShHPC342o3Ui9H+tlnRC1A26z9j44rZuYx4VlN7sDWqT4kTt2Wtpw+DAoVlAm1PSCEaI2D/gil23M/9BtaSQRN/b0h0S4nIutvWupFT6L4p64J6UhbVz3zd93uWDNBGkTjRWtmYvYjcu9pZB+Y7uyXx3jhrsq7O1ucx9RzOSoHxIs+s9CmgRhIwoJQGxfkIhsOaZgASLdpPQJ+ubClBvTPwTpZ/gWuTUwQako+xqZ+yBAYxCXNWQgeZYce5mvahWvKf5A6wEhdpskXIQp17VcCV5B8nT6szEGWFdYjAydLS1tFVord83+YUwFccKvFaWGHeCAoV88qnrVc0Xdoiydr9Z1bligIz/YR+GB3DT4IJWoRSJN0vM6kCo3ezTKU6kwaMF+NX6CFCeB84fekgRX8K15zEMIAQhlD6UDZZJlDTrO8kztw/rchKfDIwQrrS32NnC1YZcdfq1V/pjmZnNq3pl/TqUPpGpm/7VFekizWHJTAkYmXUkvQOwi6h7d8ipBkrCESyZfRvvEL2vrzJxDzClgBk3Pi0m2+F01BRL93+JC6sn1DXY+iBIW+4av8InJZp7zKFq2Jv+E09jE2I6tQ8RGXyfme15JXjuiMJ5/f3QNxysuJD6MrUa93GUpHVxNIbNesdL4/pMV32sCOhj1PmzXCCYKyZ5ZN4wLvZiwDDALPPtOmHl/8gR4I1m46QT0Dy2H+8oe7t1hyRKRBi+0EjWszgiCYbxuTXPfMc7VkX4DH5RJeVBPwHuAFkg2XswNc0dHZzzQiwPLhBdmK5uEBj42nZuHjmVo7D4RBYBLw9tr4k9ht0IALBM02f7DfJEJuUTsGLDLaEG1LgqySz3136JOi73No16UwHcWM99tXzTPZkgieX8IXZD6s5fGM9+7a6TyxlxD4yTNqZD9oAn14XWly8db7iujA1blgOAxV4v6SYag6L8XRxbV344PiehKwBsZF587a9CKzgcwsJbER2ZrOyV69pQMVh+C7Z0Y30YwOYmGP9WhjO3Vq5A56QoT4VP1qlt5szJY0HTrq7kX14CqGVA0Ab6kHv+UgKmL+FIug2C5r5uXJF4nyrdavfdiuxld4RaNO3o07P6u42p4F3/NRYZvRPkzQ9y9pv+rdzgCTPWqV9uHk8FRRYm21mUBUiq/lZkAxKxMJjAO6951CRodZbNDN8AswtYQUDgWQygQUaymaIIg8EDvU0dN88UKZ5jzCRgcwHzeZ7THq7AR0Rrby4z58NnuL8L8fRMlGtWPiM+stxMWVKZ/2pF95BOmLb9OV1l8QKtzOfhyGxlzI7ugDSeI3G0V0fgRCIXvEjjntePYsto5cqjkdlX3gr8yzrXbL1jDV2NVrqy562CtntBeHu4j72E9i+pIxPkiezzvc3Vk4bvAyefKbSlT+yCaFQFBmN787wIU7KEWruRE4ivIhjNsm8qSc7Dq3+mWkwEL1qyzCgg0wDen3qLd1YyyPZEUDVyeY7Qk4scVvLDFcXjrKr/0yeTI9rMd/aAx06uKPzFBx/owS1JM7YG2+6mcR64ULsr03UYSbZ6tvF0YBOhSfne6SyLfDdQIZaBwyNvcMewF0zQbbkXDSNM+DGrXpjXaM3G5P8T82eaEvdsQMJiWBcCfxuIjA2mAjEFl9X7w2QyTr9eU17N3H+Z7zljs9xPvUHM/Gmypoi1iCvp6o5QJRlpGn4fCmYg1VfhFZ/rufSP9uB7xhb3j6pP/SVva6aaOQ56IULxItTOkq/s/Pu1lXVHcfFbe69to20tBvWBGaAU9kERllXqibWbioHl8kpt3phOvUX6SzFFI7SEaFvjhi8TeXsknD5CFrY/fuLyVZMBRzi+tV3lP9Q/d/InMzRAcG4u4YgE9YP1+YLB1iPP827SnvHJTAWQkJIWeYAjN55n4z5zxD/YmXFi6UmGBdYdyI3CfMzbQKJbnL7Pxf+6QH0Wr8Y6yKp7IQ8EhMHHIad952TawcUxMCgU7iff4JSNV5MPfJXGkOkPaPZrT3LQvuXoFFM47AHWeoNKrvqCBjhkavERSgUvaCkmeN+HjHWLIuEDM9ALNL3L+7VEeUbDk3ngExrUNI8PKaIH0kA9V/Len+2X99IpOsrLpHff4dCYUVJYDRV6KfOaA2AiCm26l4xTiZRF8BFhEDM/xVcPjHgzMhJqGGF8TmUlLYaqia7y3QDcfeuEuMkAM4tFi+L5sdG0L5/6FFht610J+3I/rIkLeZDY5wa4SA18+KUdzwho3wm9EWOTpXbMOp4keQWi9Ky9vWu2ZMReE51z27wwTwu3bubLoXUqTCO2ffXHs9lNDzdkWRQc5akaKxDf2nA4SYdcdP0ESjkVEdNrPyOYm/0oVRLwRwFjHmfJAdZReE/WMohLc+bEvUC3qSEhZzye5uUCAKVejbmuDY6duMaf5+fto/xHjsW3A0Vecx3CpHBrwTPvyO4GmsxxhGvyLZpi5x6rL0q/Yls2MYSoc7pqjZgDgxxrFxJLZnhjT29ssLm36zgAAlTE++MqwnEsWqdjh2YdI3pAZJlrTdxUV9Td3j8TaRzH/+L5ZSolK3sxj8dWBpMmMkGQSve1ZLumvG2SP0zUSdNpCU/swcKBplDS2rXo1ydxcVy2G9s9v1/jRs5YJDcIF+IrgZXKF4YXog2FvPFrq35I1iOrOin9JSeHrKXuSRwkKQ3LC6/T+OZPn4DCiyuRE5rOfSq+R+ggKZ26o6v+WxjsnHkH+E/z9+KHff0af7vNut++WoX2UA2Sjd5LDCtwi5FjEczDT3B8ovUbgYVwl8Fyyux4pi8yCbtDvcDRcjIpo7Bt6Fnj7Gt4OBNxqE4bsHOucIZpjJJXoAx+tIPzvL3Xq/EyQgZcm9mKHewzrcfywJZas2bv3hb0+8rxFriGpf4DCYilZ9YVY32bT76ZS+odego93F8RNFyopNolzAVAf8INv1jlobMiBjst2TVxk5Z7j8CIMLhCosTUmrtZVepztxCnm2tpACkpX/NZOhnxGj7aNCDhyx6ZGz9k+LQrjBeOepYz3Pha9eWROgN+91r+95IpFh1DELYAlEx4a8AjUV0x9exuem3tJLVpnHjc/g49ZxrngN3ynjcUvTzYvCHckt7pyF3c9wGHotLhF2m7B/zeVkUVFgf3/uTwDN5X4O4ge1kzD8fb1blwQ4OcSB9c+42Brj2UIUf14rFnaiJCYRoPbBvfgwP551k9WoOuZrsa/xitlaCWRyYALGN73tzaHi8BUOoMo/igiPDHylRs7gIGgBA38eOvKRCxiCiMjPA/oxH5D48A4UTj/3/nWdlo0gkGGU2KtcDYFoyeCJBP4SBGc4hLQ+vJ/IOtKA9JeoB8RURARl0OU+114ZxTS3Yzt5rD8SxxXt8V160DLDXdVarQ7TDICDYfp7Nar+JHZBsNgft2O1vsaUriJZQYvZkiQhZk0PjApUGW5XjVkxUTHk71nr+t9vogCGygjaLCLOBxWYKY2czV2uxCpTLjc1Uw6Ip4LFcySsOAyIGmz77dXVX+RlXZheldNZPpXKvvDVTfmvCPIpHhlakkV0V7sWw04bNXoE3G8XPoIm4K7/0qx2XiICBkvxCGpZFTIfpXHGI7H957YK68fHA0hRqbXlSUWZ7mOIDsOq7PXWsbnh83fjqyAX98yarmkNwrvzzVFNLcAoSl36spsZxRKou2ioinrVZVilAdMTXDpitevx4Q0Fyg5cbHu3Pp4MPIjObclB7QJm8LuaOKQHW5Amps6WzyoPEV4iIwdoxwkc+qn0lyY6rk7O7QCdX5fp49VGrM5QhnwxuvPZvo54i+QsK0nbARCSVV8GRse2Psavo6jUUKnlBqVihWOaoKksGkNrtyIN05LyU2U32YzgzPhpQiElYNpB1mQFQdCzVEnL5Z9szGIBPd+Z/M1H64cgmflrMrJgA68Fc0uZB0by+heKVG9GqCOMsivgUSKKV5k5fQkD5Wjxmt/p8iOLKZ8TNm516zO0XuGr4iHl4gpy0NNeG6wgubes95PHWfkFNLjl3nRVakv/CYH2KMtpTkBwDk9x2O6xq53cweI7rQYVEeudWxXHcDn0LO8mePcZcr6ny4lVVqV3h+gctMJZJsiH+TFmamNvlfY9gvWZwAPV4UCJZ1p0A6lErDDY+QsXVE3njShReJx+saeJT2ip/L6gknIDpfwXho1t53dI28AIeniT4+P+hW1JdLB1QmERuSgZaBkq6rRQxOf+gBI6/Tw5QrGSaBelSHx7aZ6j41IshnO+T/6V3E4iTvgzGq7GH7cSdUCKVq+ld2iuEsmWcgrs7ciJ0gys7SQ4eVwQZ84kcbRc+iT05u4Doe1qPGTDQmG40fIMnuZPbufML8+1tYlUFQwXO9TgG5f6rB1nDuQ7ISG73Tec0jWfHvi/un9JrlZa0imK8Op1yB9ZHaq2FoTVCt9ple6/kqAJvBfFGPjrI5JFgvBNXxYQRrVu2k9XpEBPDTdX/4Q9WFrs3cJakpIN9Zp0DK7lL6+oZaOki5r1Ri2lNF3Jas0ipDZAsGs3tThLoAlnekjUOFzRAS9UhRU2+C+bvzYR9tAU4E9Kj/hIQqNlHygKcMsmfDI0X/VAYdhKtTSMcsUJ/9ZeKYpznFhP2kbasHXoalPZDB16I40c+X5+prvDTAObmKyuvVcMTpm1ra8d2UbWld6QOcIOF7rQcQiA9UP0f+9UhGFyO/WJ0FsaIPJaBfCKJOKWcS/vluPXLefaDzFefvB7kaQOTNAWadEegtPWYD2dQU4KRhMjh13Jey6lfWdnmidWtXoNtmRT6gihvcxfYHxZGfdfctgaouCrwXVec4we5TvCl4nEz4juDC7NaZNSDPL2vc5ViBgxNSCM1fD6LQixjVCJ/aA+vInVk2PyPPFqnzIrW9xUcfUuOR9J5ssIR89/0mgxKieSn9fRrBjN/Xpl/60dld7jdyz0x180vioQqtcwV5pd4a6cp5x/EmmIhNlBNisJbC7qMMLJVyo5brlWMVvi9cIL6wCj1OwYjEBSatVkH9skXe6T3V/W2luZfcBEAatfYJtw4T0JaDMSH+eiE/mcOQPMvmUsWkMDZo4W14T4SpUdt8jsXEmS2YY+LWheA4vhn+knrjQvJXxs46oJV0o4PXgOgVjs12oN0Zgoq0GVDaWT59F6nLZocU/KHc/lafq4KOE52dLmmXIjHN0Qaw03vv2XJF117QyjEbe932beo3DiX3ABLXEOBrvUuF0SaMz4iHP1k8Zkwx7ctiTKn+P9vx3j600oXhWdtFNotctUeza8Cmnd3PVRZHPGpuJZ2ZTNtVEjZSmkaSWG8X2S9w3EurGSi4+PuO04YrZabL6//beY3RJj0SduYqIP1j7AfgwpbDqFdrDbxH0lm14IOJWvyqVpVoqgNo4FKNlDbntabdCIqeJSXI/czbDhqVYFkGcaP4L6byOS3u/CeMKv4+WcNDCUE+8SF7X3I4wVbREg/Omm6/cg0svyFsae6whYyn4jo8kP33Q48tMDSt0a+Pbyt52981O3JhvmQEu5+gKdompmtEP39EPkatWkVZQ/TPluqHXwusANEvhk9MuxwLT9pLMCr3HnGP3RusavxH3vpNFx0daMmi7h8BPrBrm/Luo3bFJzgxN1C+BOuTOUNl25v+gTzpIVmM7tnJYV/xGCY/bcUFPWIhXG481SW5ot2LbNj7sOSPGlfpoCwVse4R56jakz6pzPF5+P0ZLPRLzWYE29sVX9UO0pN+wGnJnqRRRNk+0VAN6a8arSUsSDFZrtAgaUnLIkA3zgBx4lwNHV6fsRfE/MYijpUJ1NJad0LvfGf122qhC7f/L9EQWn+kxKEF1OPcnMPeTpUxmB8oUC4E2C8Bd0QAgC5uewZ4AjQtWOl1cNdvEXWRON3Rx6BxWn7sogBLmcsRXZAFm5inDJ2WZaH/9Vbv7/Tn5dz1mqee+yJHvRBjCQ4x0OQOD2TYYKqiOZzilnPG1MfuFhJ9m+xzey5AabQvzR500qlitz/0/Evl9oDsESGYNozoP/FG1jehuhiKyFH2z/BRR2Nx0fUGu/ju3ZbfwvauSqlcuQrB5GB1qRXOhN6AuYoHBAznV0p0pNC7shI5aSlooDtaCkY7bLTcHJm00VRa4Impsn8cycfFO7m9eaiop1i08WVFJzKKfweTTthRUIiS1zzUhay4sATYTHYE8cGYSl0D0OFDjoXndliLhsdMDbYYqF9yV09LwSRv16WWEQqfeZ5sGUwH4hOb6lJsfWlW/GDuPFm9oEinjqKaZkCe2Y9MMuD4d4QS5BgTarQ7aHPNUzty7TnLAKKI1zQM1UuWwIjrsdJwYLEANjvbtAzWPTv5VUc7T75Z6p4U44cVAY5p8BkvrYOM9wAtlnwgjWhO6+ukbrDOxuum/KnSVYB4MIKSI014Vke5ZM0FtUBUmSZ8O0RTOr21wFfMC0XL9ZhkFmSaElQjS9PbpO3fwE4DAyZ3HYJVWTc95vLo+yr5o6mq3j/XQHXNiD11xyiON5DX5txk1ba+2uD4hAojtVwKyx2wfzXQcvafojfZYJWxkuxteczhI6960xSECkDdVIhMYfB5LG7VGqaiJdUzLYWks7frt7WGlzg5QE3I6lXpWnP8uu1T4ZF2f9/vAH911GjOYHHjmIc1CSg0U2HRu+I6sxhTXTYfLBepn5QBkKVeHgSL8GXi8XYKs3Esw08WUEbPTDUS/283ns6fJpIINRzNsElPb29WuXl9PNEADDe55xitaSU2WsYeq0/rG2J0+Neqzou5tks6HgZh8vWrha2xffRPbV4FqxGBSlqaDq/mURrBCui/X8dQV/r5JauKSivehQD6vijir2cNe9XhtXMNWwoK5Z2hIF6mkMwl0xFmVdn98SXxNWm4VpHskqoErzZg6hZvLb4Xb2Vdka1NdWgWzFt1Q+lhlWLILnaCL398JasQ+plJ9zWsEmXPFxRErLx8S95u1X2iHjRSypYKZh5i53LZUSi1XRZda18QABRBb0cmfPV7kJ/RPmjwo3171wTDnLRJogR/m+WIYis1MAPTsAkrrSAsQDvxXLE0Yph0JvXIWoWC5fq6fl4hAvd+ZZfx2y+Q0zCE2aDhpHCbZUSsyFxL2XLoEF1UrzAUWvYVlKz0EvW1LNhxpVWcG5fqTIZv+wQ8XsmONtmEBXwciRP2rREgrTo5bvO7P6uqbkpZGBTm1fB90cpjizcnZaQL/Lh7384AWwbD/ij4CsUD76LZnTvV65nEDWFBAPPmIGjWVJUYR2b+qzHAkl+iToKItwFXtHEgDh57/hkMwXUA5h9L005Q0T/06RWExXBH2iiJqy1EyQQ/Q22LrbMYIzKEog4myt5lIav9/hrg4kql2qUIgrkgZwhCrI6eRd+0V+KYwxzWruBDyxVnZ/YAKwgpiJVUhMOn++NSagMx94n+gpcmFhGF8ZDYq+o1tLKch//i+IDg7dhfZ+pgHQYoB/647NVjq2DydVksx+M3gpMBGq1Yno36456GCWjYMtU20X5xQhOcwcG7JYMVpkcmB5DX/1OPAarS2U9PkOHcZc3mRHnqOYh4REr2qDSW2AJhK5KJaKH8cdISbOhrSgEqAcDGHpbspTOVr0IOZH4Thmz+sb4uAaQ+/ATe+ZPCQbacaYf44A4Tdgdo/oCt5mB3myS8w5krOdJEXXa1iDnBvuoiJ3RRnlgl5FxXLFZawNnyLqIN7h/wTxmDY3l4C0rAIKepw55BJwtprAqW+fcpkahboetaS+5H6QFP5U167aUIjBegQgkeoxkCK1zsfkIo99ZKTU0GUyqudTbMpyhYoZVQZx/NhQZCQizziHKtqSG/lVwDqZpBGjAFOXaW9Rt8E1oN6PjjWAGbWLbWO7lkGP7b4WZyY24Nj6Q3tMORQFhlSXZ0YveYrGRr6v/qHCmwHjXYJw5Lxb/HZioVFxLFn+yvhoNccShDmu2c55vZUtXnKHYrjATnIBG2YJBYlUoZwWfuCmtm637/I14zDBRZj08lAymm5hl3GAVZQRB2n4N+UTxlyzKFn13udLHi6zFALplOpsS9URjH6CjzC0qcYp2rtlblv9RNipayIbqp1sUe4tSPooBKXOsV3aPzYq1Ggwx2x9oGG491DXwB8iIfwad4A3RfpLEqKfo0m9w7L/q2TsA7VjbKPT1kWKC4O3rJdw0xIsjMPG/3M73q4Fwnb9CmtM7rtn1INwwy73f4AgO+ScWjBsr4viqCYz4SWOxRsBb9z0KsIo2I13O9NErO0b7A+TDZ+KDoCPFs3U+ClWXDeyVKJqD/O4i0AgdXlrOAknXdJYy/ehPqLsERIO6QymMmJWfOzYQqARtH7onnCo+V3ZUkmXV2EsWGz3DIEFGA5vSZpuABr3RlWgleZKbkOwFDu7r+o8zD5C90L5wj/X8ady5hcEWJhS6rH6xxSHRsWttTxBorwCpRwtcuF++iy6YfuTYPKJXAVNCvH+/GPLzwHvitvK0OldogUCH0wd5RSscSvWWakymZ3uZTQywXxhr5z50Qaz8oczsbPtzSUvbMfODzlhtYPQtwFGQjJ19SvM/FD+d5AwTujzeUXcSfFRMDWGfoUeXY/4Ypg727pjGMdenJls1sCHMP+RNyhKWatK2TIX8GaCCOrvjn7MZLeiEsz9BovRNt2D14Q+Y30XXbBkPf4qU6fQbmm7qmVN/Z5qx/uf3Z8Kqaxk5d4XbkxMyj1zSmo7As48MMr27OMgEAn38tPvK0Fy/Qy90HtENhklplEJouvLe0P+UdUmIZNB73/phodr6Hj58oTr4K4wOiZfYYHZNP+jawcEt6hSDjmdnuEfgcmDZdG7fe5dLZ1xeb2L1CMeFaH5zD9pDjkdheZZljlxs9OqY/TpKCbbgQ/ND+QwviUazh2W60WBG/7iHNLW+3xlxJl4/L8PI2k2uAclOZDIhKfEtZN3uFCUxlfxFj2+wAmSKeqpqVziyaqesy8jZ7bh1Xa2B7+zZbO4eHtSyLbl+bbXb05c+FiFqoByQYHuoAN/rzL5i1nhCBc4QHWHgd17U+SUxCcHzGAe49spSWhDh8s25n3R8u6JgLfvOxEc2dxzkGJzGR1LfQY0tL+Eio7zeuVUhAupjHvqk+DZc2P21F6L5xqVoBIgwrsJ4L64IdtYbWg2Z5aYOo4tQ+qWrlQwOyM/AntHEHBOOy2g68oFMiW3TL485SYnKLZMarBCtz5NVeDuUTBv8NTl/ww3E6w2M/nZYfgiPejV3aF8fPH9iFsirTzqjNbXExKRmDZ3uB8dTX9Nurfp8T6WB6/4tPVNxnQNBh5izqEFL2JewkZqD8Uh1zxfxoXoz9OBW3T9zgM3AxwZhjwrPyM0msCMIOUovttrv1nZLlIma00XMt646exR8yR5WKC2AiweFMdkh6Eh1+sZj8mshAdkMhnUXH7e1sX1M9d/LgBsryn88p2Ld0JfytLKTSjOt8w/qhPnQQpnv+UBPrZh/jKao5WuI4dlCER7Mz1fcFPaxYdV1JUBVjGxDr4vJQVJ26zVKxon/mpW/c3q7rrT4ybNSuUOmqxqu+xWaNuSaPf5fW8J31p6D877EbooZkUHYUotgsFy7cNfSqgT3QY3R2t92Vi+8Ml/m6GYQF1qzNYbCeqELK+Sr9paufo9n/geu8owxC60n/gz2XrXxtkWCeXW6Md6LH4feMHfWEWD1KCeVGoWlulsViyv83C2eWqqK8MEWQSkCB/7sDUh6yTbZSE9zq7y2haNzZaQ7XAMaotabShJmfoplSljzLfb0c8fTOO9GB3lNwOzvFsoToWhJwoXBcAx9FJ/jucUjj524G0wCs7M5HYZaZRr5Wi1obxY4k/pTjahtO4x++bJ6oycPc4UUIUkUdPTuyY4vYwPTDHJjN1/CUPR+UM3nM7k9szS2AZFUyztPgDCF5sI8XfptaKieHYv0gQjd9AGFHVOsaIit+IySOp9G0Kbi+H21xe7rRt3xatIYg+JApBmXTN0cE+B8eeN4jzz5SIlGaFG6+jVnv9+AItEb5izjIxqONdhMyZFdjXGAM7oCN3gG92SnsIFpBhC8jz6kGaozdGaEtNspoUnDPaodh/Xfyl19d0kClyh6Yekv0z0l8aEg4AYAPwfl3E7ajFvEa5Xh5kAfM0Cpv6UAF5/27RzDOeDM+LNQXX80qqDgh1sGs7aQUCcuNsCx20WZnj13uNKje2PtXvzg2wddAifGInA+xceXYSlzpGSAZ6VS+MiwiMO0I5IGNZBNzdEk9dq+OoohC8PW2F/i+oNnYTooA4JhmIjorG4qdUmVwi0/DB7tr6IKy0cX5hREjvAI5kiR3iZQIS6vRAHwO4AlI5K8Aqv/Y8Xn+xLScCz8cgal35sE4NdQmU+W0rWZRbGri53UMggarHTGTyFB1hexdsT0yWxDjOEscZNQ2MPoWHKHQzXRCBRP9Yma1C8C5menyh9n1aL+7E2YkFZ4wAWKBesXl5x097PEqNGU5nZzzkW8aZafwVzpnpPOtAruqzRXaWI6BAZLPCiXoHCT432RO2uLjvS8OiAQ7CfZ5cwv8AUFnC12nRXhBEXcH7kMcn5T9Nwv7+TPNaEmGHRkq/qtEsO+vipGADrerHxgd3+N/8ibmIcQSIo2fWa/Y4X5RA+68echGjm/3KtKbedsWojKEmPi+ngNJrJCU7NB59mSYFQH0NxE57P7C/n+vtoe5k6DwcqZfjF8Vq9khoa8nBFa0UrcqU4TB6plX4qgoBvVTNunDX2KwvBdtZ25Y/aUIPej/lEDDd4/klLV7N8LvQXgr68iynrUdHWjveZ6LnxV/cQZISZLhiIUzVgeOVX/qKXPR7u12QcT4iX7AYCTNiXXAiEm5ioojfeIvjWa+coEjIRAEbDNUmVWit0Yf3Q1Q9rnzOIgzcXnPMX8i2PyNUPDawwfg0uQLWoABAXYaM4BIr+oleLvQSxzyP/0OqMFVsWRbEBzY+56C7/WeU4MIPWpuzgILPSiIq4uQsvCoB/ExT628YwTA7Cb4UcGzkCcgrCCjiWV/5A5bbLVSanTRSuDSh27W0NfHKcaxqCRMVnFPFqOH9yfpgD8ugvqVJUiaCMTMq6fve+w7WkJYYhRt1AS34ZpgpCup4RHIYt47d6GZo9sjZJJX0Ja5XYvpO/+ffyBjpjQxtCzEf/nW2OKxh6Q6aCTgwxcHS8xRlvqgtXZX22VAiYl9GilznRSXK8Ui59xOWnoOu4IuD+X8Xg072wwRukprVY7fCJCE8OXPGwteSDQMCN+9zANJg4h932l7LEUgthuHxGMqpgaOVUDKU86AkkQbsd/0TqTKjXWIvfxx4pjpUEHxETTJMRJMsoSk4zXdf2U//LMhvmUYjHn9zFB6cK/4In/GGQVpRCyYKA+lVKX7+deGcibGW9GIr0WtDPnsC+ARqtnIVyF3k02k4Sn6wflAGV3STcXek4IcGF5vUpa8ofjWrRZ6yM6StEo6zUv/ibMCJdlxluhTm3OVtJ/J/kTKXyYDWR7z1NEM9vpFot3pysarkVz5LO+ptteoXR6IGs4RuTl4f/Etb3OaXI0K+4CRRhDATY/PoZXbuhd69U+/XXg1AUy69NZO3Vfy444ZbOIHii6vEcNMAad5EWCZuzyfNatBrB5n/38d9KL06cNrHsj8FC1kSM5+cfpVrBKGDEdW1acYtH76BizcHNuKPFo/4u0kVgMKXU8O+Li9UehQRKcQEPDNOmVjahzKDiR0Sf1XzzHVDnmtu1ie0KOphFHJJ5tLhvyhxzFEA9tbrmviQrD6Ss9dDSNjQh7nXCEr9a1QtkMRUemU8rYwfOIn+0L5kdHXdMcaOLJ8wnv1hNVFIWuokp1ZX2Z7/RZLtiTGskEK2QcuWqiuz/KZv9tJNIgT1gXy2smuwPw6gQUwOLi3mry6AdfJ0f/jbjhLGPJsR+Tedx3AJ2m68m1HVFjbuti34G2wmWue4PECb4uEaCVtXSReD3Si0m6jYPwIMUjBg0fZWHGugm7v0dI85DFHcSD5rmsgBHRxgxxFJ0PQ0wUNRaKihdGv31SZG8pR2tAzDc+IZCaRdpdysQ/L/G2ZUJ+VWQqKWQcuwtD9DPT14jAszKf5Nfp0e1XyjGkPwMsU7g1wE8FtyaBcietpSJ65q4c7Psd24hGcnZGZL5MqlEP6faeaX13xIy5mwB94GiSb/hb0/XWiCQ+2uGSGIAmIYDLAwRlxjpbqZ3rXbPB6RfHn2LKzXDDSew6A/LfaYN+9Bl5aRGHvtXRtOyosj5sR5RfthGTMiZ9uGWgKkc+UoU7P6VlMhXse13f7NKFOQlOVtRl8DGZxqpd4URJ6NCP5Ju74eCa9rWvmQTQ9yjqGxGlw6yzH6/+/l5KNNBia6kxvae59OpsqE5QscLlznz/Dp1wpKRkI+QYDS+MOTiXoAw2mS9KUAMNwPayJwRr0oenXLbd3xbBHj1Wg/jWsuLyNCBaKdcl6P7Qj2mm7jlszKrwIq1VGnWORgSDTTyvBgXM4WiyloPHSIQ7zBzH2hFAmGM5WVEB4AvCZduqhqjdRwSb2sXSwT9Fib4x+ks8UxFQXxlrMyUhW1CauxQjfqsCODeQnh+cXgHRBqAFgbeE2c+EpQoPZsILQnOd1pKlEXgvCtuAeBZILmV7ka8awLQai9eoyi1/7CAmauX/3D9C3Iea9ipdTrlBn+beTvYb86TMS+2020ej5kvJcOceM9yhiw2eobwuMOsvrXqpzbH/gQ1+dhDc7AUWVuJUCANEXMCEaV/OMXW4pGQXsewvvrh2nH2dn3iUx6vyFzYawNhSlYISJKkyzYl/C1wFVt1DI9gA+Qtc0Kz+AXaBy5XN6O7su4MfFS5RfkTzztm/IyjBzcJc0oK2lcg1HcV6YT41OK2VtG/3Awt07w0Ksp7cWS+eBtVmfBk0IpRNKYZfg7icxsDrdQAyFZ+MdfJDnQoNoiVBOukBJf0LTiIkMKj+zdib3g/s7eB4MfXpnyE0P1U3zrOPhXud8TsrUZhU3W++Xi/Y3521IhEU7QHLtpnW2y9I6404NCifF4ZY+V1vg+N0Wprno/YMEhQhUD1Ji4ODR8ell1nZK+TBnS3i/DJX8MLpcOjocxRXQlKWqVZDA6+tl+KlWMVK3wSvkJXotNmcz76jpLbPGf0hwKW4dEFtE43vHdFCiX8eNpKD50xCGCJxE4oOcnhJfiFhOscMStTkH3MU+JYcuScBqWb1/qoMR0pHTtfsnSa+dmsqoJry72jt3NtucrR0os3mBhnEAwJgB3yvdaAVMLGuNXfV826m6f0QJD8Xzo8lC1Ygd6DjvAfMStJEdf8Q4wHNgJS37KFACBMK86aUsJA4iwKz70GvASASjnUl+LrY/pl4pqeVV7yjJ7dk6y/YyPK8Gihjlx7AVUEOWsLGRvEdMFsn89TKJR0MBDZN2qiTKo1/QAipKRQO0P2NO3hiay4E92m7z3uRvH6811j46zvUExSjaLWV8Jc8IIoKGIHtJ8D299kBBiWCxtLggN7GWkqagIZgoIKlaZcHq8jlJneaCOicYms+zOSw1/3OUe0mUynhH1ZPg5jl0svKCAM+QMwb8oRm/T/Fv9awsn7QdD70nvzqBvJDLO5lk29sU9PrcxRz4gyV5csnKxgconMT7mBa0n4dIGHm6ykDvP/uQd78n4KgK5mVrg9y8Bvy/nc5jv41Q+Zd4i/B7+HYT5rZ+sKWW789bc/gfEP4zyvGqmDHase+FstZD4TTasS6JQMw+YLwNYh0OPJ3MtgoqicCBjKiWMP79jl9W2UJ/dYdyrU/Lqe0PjaGTVt4OR6x21RIMNCk1RBwsiV2aDtz/RUW9G/kbRFrs0/diM+XJjqdU3BLpr6j59MvP7bN26mv8MlMlyJM2WAMGb/RHuvcPabDdRPAO2WYLZn58btuTnXvWbfJZFf7ggJnI6LZqomwpw6Ak5Zy3tcqkh2LqNuK2n+FJiUX0iL0i5EnEzKZkifCKxv5nzfLJVgKDrbgr9AomhsEIeMp5BVkKJYEaoMccDlFaB6OpueCwPm/HtfOI3khzhm/gooH1NYMQM56YBotKCBZqqodFVBoKS1eL+fPeDj3MN6DCjfUHvOawtO+Kyq0rgpdZJaFqGE118WdJ2adXSo6lQcUNVmCQeR8Sl1UAAqX4B7AppnCjBwBot8nJredKaqAJG+h7kjGYJVIhZ7s+Lztzf4ohw9qjWFFBgaSv2cJejxQmyQ/NTKW7AdW+gEUh6HZTLWcioKy9ppKyQk6Lq8aLU3mCyqi4evPYBup/gqbXSmr3qgBR4CqbMlRGWIiwWqiOljjLT80l49cMIPt6DlWgKUaDYCq7to6KM/PzUxHeIxMjVWkRqKfOB0P0c5CdTnnzb7hB1rCNtFaBukS4qwk2tKIh63LthaPZrGTwPb0BX5nG50ekch4VWUCLhlk9cR/QIFe5NPWZWlB4t2A7hlO5H22DiYKjttcRxvLE/z0RRAOBI1H6o/7pfq13POOiEhxGQ3bPyEQiPr+434fP6ogfC77Ot/gi8mmromBRbUzaJaNkXxVuYEeCBTIZlNF28UIDrYqGYkNyPnEpEdAecXT7PPkKxTkiNjHabrkfUIo7xkodFV5c3AfqlLakeLPe2ARlJgA1Iiq13zmVognUTHxC3960DBmGSjz9zrlycolSG/IzIN4spl9q5GTcZRhmhyE0vQLKtHFunyJ5Tqt14ekEiJNe/1N97Tcg42vup7tuAiNq1xEVeg5lo16i8uucwSitOIJSL0kLkVRYRr++xEvU9N3deTDSdFuzcerZIu0/7nj/Ss1wVGcR9NahNzMIko0N98ViMYFw763R0V/M1skya2n6cL0EMXZRz1Uf8CX5y+iJBNDKjTS6S59Rj2vVhatnjrK+zNgO9g7Czra1OQ7IjFQ4sLmOCroBxsWkSWa/4EVXmxmQG/Lop43mW8nV4anjQAcWapA3MSzjRTIRp85B3omLg3Joc4tNKY2SbZ+BuiT2/GdP4dt9BDde5GACRlbNHiANeAnGk8DqHy7vh8ed7AfGavkZ/rZyC/pynoiwrP2B6WRzMOCc3m8UD8ybhnFvcWDs6Fz2EcnRCXsavqBgNQBdl79YYKPFZl20v8vxErLlpZPwe76buZD6sbb5VpjKQEQBKJzmCTaV3r2f7HQw7usrwF+LRXFoamUwt25o8JFhDkweRVI3/KvOZJpW1kpzMFNQ7Bj28BlznjMe3iVT/mt+HR6PXGlT1bhQm3icDfQsOVNd1f71BtkFXnh27RrAph5pCcOPfYz+ne/FwT2c3ryd29HiKwc81WdgunEreclXRynyN8Ud3Hu9bNCW9zDD9ihw51dBdRuijFvPjqf7f39pJq2wtehqeZo2qjPY8B0fxf/4pZm3h0smPtLxzK4asiDH/9aQXsNE3m9STZYRF71wahCZBGbrFayp7iPKH/tpFvS/i6CkV/usfNK2bS17zyRNlIJ3ZrswtFAYBDD1+U7ysEK9/U2ZpazIsJLUL6FrQE146FrMx/Xw/x7MYsptS5OxU8IOhJLkonstQNFaBA1EKw5Glf3dC7tYJ+BaX/D3138yPqaCDA129UtWZbv8yMSDgqkFBOSBddfKBZx5HAPeWDjAn5n8Yn3Ds4dtJdg5Ca0Cq2A53M5tRbvpUrWtvlR1vCJT9BzJcuEiyhm7MHQpmouEtC5mNHKOZ7cjAoTWKPyENFL3FLf9P3rxFxy2lYi2rbI+wausJHeu48ehTkgcsJkYu7xKzowp+z6nDcckna289NcYz+urM6ajRFdjq8+WTecfW3OECUeC0vVH7zq0zyfN3M23RDFouSHQbGZynFJ6lea4zDyDAZgh+ijDD+gUKBf8TZ+KTZIqfc8FmEX6A7PXrxAp2edNwx2AG9GdtB6Qv3yEEQZjsHjeR3QDmo/J1gnF6yFXORFLM2hvZnh82HoPG6WVEeYKhL8Gw33hKZz5OACyjdKdUx41hpKtpQomOmFyJACD1FPnLQF9HgzpcyRM4WufI7x9BXUr6JvXIcibbgWSTL442+DoipRhcXtM1NTu1Xcgr3I1L61tHFSwTPu/AjlD7FGmejSEdmqqfVGEROkqakVuNlkveCV1GM+w3WpMoH9+CPRmyV9YTzkO7AajVRcS6HclgLYuBGEBVl8RrCOE29GyLHXjIZEbHiM0nsUbfRm9Bu0Xt8C3VuNK+T7udF58mjMr8SK2hKUri43TzK3p85/ZY1vRbt+nrrUyuO3v6OBPeQH3F7eRL1aPT87EuMGo6S1PskAhGmDFSAZLszOMKY65l1lw8Pruk1p6Gog+YF+m7JebHvbFndRmDTZgeTi2al4KNO43nNyPn01xMCdGTrANk2IgZ4o/aGDZwbkFzUqouwW9B45LeV0AO93pW75bpUA8zn/9djIpkTCne6RCGaPlXbM7X/hFnnoGVhxO9bTcedmTRRKh7/cf0rUxjyn7cA+XyfHu8CIOuxZDVHV+2BHFepVEkMSJGCeD9HDzuflcwIZNOBolWYt1HNgoagh614BJ+zr1hQdzHDmy2uNZ2GMm6IV3gu9ULOwr9bv5IN0wOXADs9MzK4bE+/+3pJxUYQHEzSEiKu1kYbDKCOZ5n+DKqKDOINhZdacS7d3oBpsCcF8rIyf2qNb4VByBTdH6OcCdxpz7qSGQYBXDyZqLO53Tv3s0/5HUOFD1qtx2HfOMNFkDADaj0NEsQAL42MRpkryql4Tl4a03XyU4nuQ5PWytfE20zyHhWl/3h/f5K1EFbXPjCdIfzk+K7alCSok/NTf3cy0nI6fIpmYG08x0XQjPwf3HIrDqWNAn0akpsCbs9nCpEJTjZuxXXhK1mFlKpiyLZXOYU5lc84q4ijbgjoIz030U3HM9rzJx//uGS9pZbdhAoTLAmeqIG8yYKQ3tOhd2TaVM2J0MwMD59KMkGnq+krJ3UNalArg0mBaQnWh7Di3bKm9NSsouhTCwCskJ76Qv33MfhOu6BAuY9N5mB6URFKmGJdgaJEH2XlnU6KVODT6TE7ddse25Jo630nof4+4nGbYscQDC/LvNsa6zZihR4ZQSF23Sj+sSfYmwHI9gTlOzCiOPf8wWoPuev5e5+TltbdnuFL6q9bYh7KKvqH/ltkCOcWHGfr4ggqUNdjb6baLRTAJRaoa7yRpF6V4PgjK2wCxZB/FYFvWgLKCzT9TxD7oQ9F09FgidvzkYLpyhOZmSqX1u/oeuui/G0IMCu0GV3uvA5xRourqxYAf/3PRPRTHNNsRf+Ivy+5m5kxCMOCHmQCT/BhjmtyuVNY1ZENhXnG1zFKQSeP9Apv7EE4/2bfh3qQOdSkrmje+Zy74liUVrftkFbji4WllF1K0G0cK1J7qx/jiJLt5Lnx8ZavrJBOAVqGMR68WGOWWFcrUv76R9PrtdcBX0KhGYanQ+UlK7z2bha/krHwken4+2H5UKtIZa2GV3F+UA+I8mAeTmuwoT2BMUoXvb6g9WnSxzcLFs1/QRpGR6MUA4XN3KQXuUIsXmrxP4HydtCdsGQSRaNZEYk0g7LnaqX43Jb2sgsJo7dT6Q91lVpfBGEUvBP5nWlGFav9r6dxrxUrehpBWjU4ew8PGfOuAaZhtJHYAMYyxm3qdmCG+RSPSOL3icoDPPhY+0EiMb6gP/FI6DbAjyL/l6C6KGHNHKp1sAl722zsQOlQI1GIrnkk0Stc6LjtFduPmqv+NrtiqbgUHqW7CX34T6dfZu35IWmnvrJwILCvOKGf0A1zpvmHSnBrY8mL+XpX5R2onV+EMWeR96oMMf8vWFUUBpmy2pAIRdoA3IiOt0I6N6HXsiJUXSdolKW/w3uh1tbCtSOT8UFztsWfBpRvia0ncwmcGhWY2+5xYFdQhyHquqV512gY+q/KE4JeY7BShpK/3CbeSJDav2W+UzqGCDCayU1pS4P0rSCcGk8Bz/9jYRUueKxrTImSPSicufXpNqgqhlw8+OzxnVj05sDyvkfMujsj4TEHJyoRT2M+4rujpApshgZF089a0kP9UAbQkp4WK5TLEDCKP7MCEqzJYvisQbKBfGVbcIN0dCF/oolw9+SRlwCzpGT+8iss8dXKqF5oda0swCwUADYesbUvr/2tdePt/tVphGXgEfDet5FLIg0rZFYLTM4rvdJ3nGB7E8IYjaLIb7M/Y9t9UJl0Z+HewHbfGq+QW2VaTWyhP/ZwEyEi4cKwLDEwRRjGz1UZ5fbI20UExTX/TcoEOMzmYIUjrjYCmZroN+wfJUIVBuPZa7yEuUK0w6wYDSKUGdG2akKlJ+iji9dS+LLKpP1JzlxCbaFGi1iRqIIAtKYfLtazPu4e5wZRKo2vn/lkgGGQXzC22TVEwjw0kWOBSwNYxdlzRwmAtcdn2RQZ1mgqJ+Wu0ijpRcA8EGqQwRPmId7q2mfqDcOoBWOS57syWO7s7RBFZ7+kpk7//TONY3NiSeWRyPEm1lQLCrsSG7Nf4+/UNMvSUAKq+k1F2LWpLdteorKOEqCWPULLAF0xodlu7jSU7LUIde0W0/Z1DErBThGgtadvS1wGvqFOh4URaxGg/D97ktZ1iPlQAw6OLq7MU4+EhnE9WDn7dx5/rNUes3+hnNc3ppHLp4HeNsaRKsW5vrX8NQub3JGS5R1VMSKi5UyYG7TWxSNmWg2ETrI/Aax9CFi8lzaLjufeCNtpKOPYsRVx76V4TodTRYBiwAmhRWuI53cpmUMTprN+mCV9virg96OyFMBX1FU0/inqNf6MSS0HG9nkBhKR178olmeoJsohoHDoBnlM7wuDk/LHnJUIVBqZDrhfDr2hLbwxYGMk4NFe7T0TNUhdozIkTpF85c9c/IS1jjEGmbZ4TTuCSl2CjCZ95YrZKU77+LCW4Qcy5exq3Z5HyCe/nFNMeHbEX4bDRJqkHIFESjFd4+Dtc1I9zsVcERZmXRQ6x95XneeIai0Zjpf9gaeSdPsAp3dXGy/W3Anbaw0AZ13UxC1X8VmqTWdXHB3cWenoTB/6Aa8bM4ydVAxhWnHLQBEQEkdMqzMbqaJ6ytE+eIcCgnqwTUFCMC3NJrJrnSTRVWZEcape9b5yfg9PSiPZcGx3heZMlv9NGxu4agEd8i8oVmOadu2B+Wf5ZdIla8fPrJdeEJooC1gDRBw825TMrff0qPaaTv3c1HGJec2iVIJKm/VoFAeaSQ6GWPLp46Az4t5jZM1L3nyLLDH9T5f+mJDnscDNrLtlMxIDnHHib1k/UADpEvC+bXei7Q+6vEEBeJazz1sZewTpU7lPH1/sV66K0VtN2Sv6YFZmRPps2aIUek6aSAykP04EZ59jEwiS49qwXAeYeehi3TrTvgc3g9S2fg5SR2TMskAiAoKb35SOIjIbTNq4okMu88CgK2fC3uf9auHrU5eao3FK541dnailQ+565taA0EXFIevoWjyR53YX/Nka2aBFWkerbOVJl4iG4J4MjfRgjokUA25P1JTsNCI+E0NSAMgIalD211/RpS7kAex5a/8h2sMEAR+EEGtjGRjc+cm9X4KDg4ihCOrKHVh2cpZRr12uydlIMR42Sz9X0lA23h3kDn+2JN8C6Fp2q2hJ8EDPcDOG8p++uvI7rUJPdJ6rlyyrYBubWkpTpdCw9Uy0xaQ8zyl7g9N35yf4uaINmdH9pOd/w1Y0fC79z1lcTCLRj1k+Eh863px7zEpQ91v+dpuDr8g3fd7jK5q+ECr0GCni448Y0bTfbpWtVt2km/q8HIyEl6ZstIucIHdV6Hw9IwxHDnOwjaera7pLeFmlGfuvPEHChc1nlurY2o5Ku8BNPbJj+KcthNiHX90Xxr+oHbRh5KdNY8HLXic0Qr4jpmnqjMu8iWl3eRvM/ZOub86pI5DJOl8f/7K0sR29688YgpC78qcUmHa3CL4+//S7eZdrqJsYgSuYTqy5Vw4gvZOhtb/p2p+tiQhQKiAN3f1p0QnKOKFXb1Y7gFsYCZ8g2YL5xF+F9wdl9CJEYI2IeE3+Dx3zrj7RTwxU12x0Me8GS61ExM7//+kh67FoxKp4CjckyDOcoiwVYFRZtSLD2U08WzBPbil8vvF+128jlqGmU1VYurt+Ss7xC7rIeuVy4eBH73L0ISduZDjjjnFPMliRqNoEJ5gmh1H3LQrrw7mzHCE5jqxH5uOs+NAFa2ncf6Zv6yypjpwhHj7SDFX9Y93Zj4kcs377xUrxfwxWV4u+NbimmtbfuWlx6o8p6Z0G3xXNO+w3haNHT4alo3bprD26Q1W8/8o/dMn37BbMRMf7nMc7HXVm1Y+chqV41sMBwnQHiAJwbNJ6nHGU1dit+DvR/os69gUJAe7hbZ/6e9XrEjbD9b7c3t6hrgansmR1A8yFHzuhiaBqan9ZW26CWOUSAJVkkO2hzqaEVm5pRCXMpV0KXDqVxO6KdPpJ4ni33PTiY7uGmaioNrdjKbDvr5Wh7B/iYzVTIIrNtVDOdz6DQGniVlML76bMDkuVj6ryFzp8zcOm7q8vjOleZtTm0NPgINFaQweTNlwkMdc3Wok3Q1qok6jdiGI7ednvnJxpwlrPKiX49atxzUJ5upbKjVg4Pc/v76lsMSHba1BNl3LFVgohehqGSswceG9cwuPbveUXd05vl50V3zssS7jlgmEyoXce4yLDazeeYPzvyyU76RSUmvjyXJVJeZ/BD6TfjwG/LSRSR9UilaxBs2VtBZ3fyAilRsRicX31WcVwQCNYKx0zB3uC0HBDXO05rvvFQg+k2mtzreNcdgk+8NOclBZToKuXvjhrPPosyqX6T87B8ewVvrYBM+7rVEEXNieOCIQAO3qJbNAHbEohQ==" title="Mekko Graphics Chart">
            <a:extLst>
              <a:ext uri="{FF2B5EF4-FFF2-40B4-BE49-F238E27FC236}">
                <a16:creationId xmlns:a16="http://schemas.microsoft.com/office/drawing/2014/main" id="{5CC64E63-8F28-428F-850C-CA61B6273269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 bwMode="gray">
          <a:xfrm>
            <a:off x="10320333" y="2014837"/>
            <a:ext cx="1414811" cy="3910686"/>
          </a:xfrm>
          <a:prstGeom prst="rect">
            <a:avLst/>
          </a:prstGeom>
          <a:blipFill>
            <a:blip r:embed="rId15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grpSp>
        <p:nvGrpSpPr>
          <p:cNvPr id="64" name="btfpRunningAgenda2Level895607">
            <a:extLst>
              <a:ext uri="{FF2B5EF4-FFF2-40B4-BE49-F238E27FC236}">
                <a16:creationId xmlns:a16="http://schemas.microsoft.com/office/drawing/2014/main" id="{3B2C61E1-6CFE-4331-8E2A-ECD344BBF63F}"/>
              </a:ext>
            </a:extLst>
          </p:cNvPr>
          <p:cNvGrpSpPr/>
          <p:nvPr>
            <p:custDataLst>
              <p:tags r:id="rId11"/>
            </p:custDataLst>
          </p:nvPr>
        </p:nvGrpSpPr>
        <p:grpSpPr>
          <a:xfrm>
            <a:off x="-1" y="944429"/>
            <a:ext cx="3872915" cy="257442"/>
            <a:chOff x="-1" y="876300"/>
            <a:chExt cx="3872915" cy="257442"/>
          </a:xfrm>
        </p:grpSpPr>
        <p:sp>
          <p:nvSpPr>
            <p:cNvPr id="65" name="btfpRunningAgenda2LevelBarLeft895607">
              <a:extLst>
                <a:ext uri="{FF2B5EF4-FFF2-40B4-BE49-F238E27FC236}">
                  <a16:creationId xmlns:a16="http://schemas.microsoft.com/office/drawing/2014/main" id="{F2583BA5-F909-43A4-A6DF-75900BC0E9E4}"/>
                </a:ext>
              </a:extLst>
            </p:cNvPr>
            <p:cNvSpPr/>
            <p:nvPr/>
          </p:nvSpPr>
          <p:spPr bwMode="gray">
            <a:xfrm>
              <a:off x="-1" y="876300"/>
              <a:ext cx="1279417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79416 w 1279416"/>
                <a:gd name="connsiteY0" fmla="*/ 0 h 257442"/>
                <a:gd name="connsiteX1" fmla="*/ 1056380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4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9417" h="257442">
                  <a:moveTo>
                    <a:pt x="1279417" y="0"/>
                  </a:moveTo>
                  <a:lnTo>
                    <a:pt x="1224695" y="257442"/>
                  </a:lnTo>
                  <a:lnTo>
                    <a:pt x="0" y="257442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btfpRunningAgenda2LevelTextLeft895607">
              <a:extLst>
                <a:ext uri="{FF2B5EF4-FFF2-40B4-BE49-F238E27FC236}">
                  <a16:creationId xmlns:a16="http://schemas.microsoft.com/office/drawing/2014/main" id="{5BF8C214-55A5-4938-8E59-C1CF06BC1E10}"/>
                </a:ext>
              </a:extLst>
            </p:cNvPr>
            <p:cNvSpPr txBox="1"/>
            <p:nvPr/>
          </p:nvSpPr>
          <p:spPr bwMode="gray">
            <a:xfrm>
              <a:off x="0" y="876300"/>
              <a:ext cx="1224695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KPC</a:t>
              </a:r>
            </a:p>
          </p:txBody>
        </p:sp>
        <p:sp>
          <p:nvSpPr>
            <p:cNvPr id="67" name="btfpRunningAgenda2LevelBarRight895607">
              <a:extLst>
                <a:ext uri="{FF2B5EF4-FFF2-40B4-BE49-F238E27FC236}">
                  <a16:creationId xmlns:a16="http://schemas.microsoft.com/office/drawing/2014/main" id="{838C05B0-DCE4-4A06-B436-7FCDAD140A00}"/>
                </a:ext>
              </a:extLst>
            </p:cNvPr>
            <p:cNvSpPr/>
            <p:nvPr/>
          </p:nvSpPr>
          <p:spPr bwMode="gray">
            <a:xfrm>
              <a:off x="1144574" y="876300"/>
              <a:ext cx="2728340" cy="257442"/>
            </a:xfrm>
            <a:custGeom>
              <a:avLst/>
              <a:gdLst>
                <a:gd name="connsiteX0" fmla="*/ 95080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50801 w 2313135"/>
                <a:gd name="connsiteY0" fmla="*/ 0 h 257442"/>
                <a:gd name="connsiteX1" fmla="*/ 89608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1 w 950800"/>
                <a:gd name="connsiteY3" fmla="*/ 0 h 257442"/>
                <a:gd name="connsiteX0" fmla="*/ 1128733 w 1128733"/>
                <a:gd name="connsiteY0" fmla="*/ 0 h 257442"/>
                <a:gd name="connsiteX1" fmla="*/ 896079 w 1128733"/>
                <a:gd name="connsiteY1" fmla="*/ 257442 h 257442"/>
                <a:gd name="connsiteX2" fmla="*/ 0 w 1128733"/>
                <a:gd name="connsiteY2" fmla="*/ 257442 h 257442"/>
                <a:gd name="connsiteX3" fmla="*/ 54721 w 1128733"/>
                <a:gd name="connsiteY3" fmla="*/ 0 h 257442"/>
                <a:gd name="connsiteX0" fmla="*/ 1128733 w 1128733"/>
                <a:gd name="connsiteY0" fmla="*/ 0 h 257442"/>
                <a:gd name="connsiteX1" fmla="*/ 1074012 w 1128733"/>
                <a:gd name="connsiteY1" fmla="*/ 257442 h 257442"/>
                <a:gd name="connsiteX2" fmla="*/ 0 w 1128733"/>
                <a:gd name="connsiteY2" fmla="*/ 257442 h 257442"/>
                <a:gd name="connsiteX3" fmla="*/ 54721 w 1128733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2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314682 w 1314682"/>
                <a:gd name="connsiteY0" fmla="*/ 0 h 257442"/>
                <a:gd name="connsiteX1" fmla="*/ 1074013 w 1314682"/>
                <a:gd name="connsiteY1" fmla="*/ 257442 h 257442"/>
                <a:gd name="connsiteX2" fmla="*/ 0 w 1314682"/>
                <a:gd name="connsiteY2" fmla="*/ 257442 h 257442"/>
                <a:gd name="connsiteX3" fmla="*/ 54721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54721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54721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54721 w 1314682"/>
                <a:gd name="connsiteY3" fmla="*/ 0 h 257442"/>
                <a:gd name="connsiteX0" fmla="*/ 1500631 w 1500631"/>
                <a:gd name="connsiteY0" fmla="*/ 0 h 257442"/>
                <a:gd name="connsiteX1" fmla="*/ 1259961 w 1500631"/>
                <a:gd name="connsiteY1" fmla="*/ 257442 h 257442"/>
                <a:gd name="connsiteX2" fmla="*/ 0 w 1500631"/>
                <a:gd name="connsiteY2" fmla="*/ 257442 h 257442"/>
                <a:gd name="connsiteX3" fmla="*/ 54721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54721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54721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54721 w 1500631"/>
                <a:gd name="connsiteY3" fmla="*/ 0 h 257442"/>
                <a:gd name="connsiteX0" fmla="*/ 1660931 w 1660931"/>
                <a:gd name="connsiteY0" fmla="*/ 0 h 257442"/>
                <a:gd name="connsiteX1" fmla="*/ 1445910 w 1660931"/>
                <a:gd name="connsiteY1" fmla="*/ 257442 h 257442"/>
                <a:gd name="connsiteX2" fmla="*/ 0 w 1660931"/>
                <a:gd name="connsiteY2" fmla="*/ 257442 h 257442"/>
                <a:gd name="connsiteX3" fmla="*/ 54721 w 1660931"/>
                <a:gd name="connsiteY3" fmla="*/ 0 h 257442"/>
                <a:gd name="connsiteX0" fmla="*/ 1660931 w 1660931"/>
                <a:gd name="connsiteY0" fmla="*/ 0 h 257442"/>
                <a:gd name="connsiteX1" fmla="*/ 1606210 w 1660931"/>
                <a:gd name="connsiteY1" fmla="*/ 257442 h 257442"/>
                <a:gd name="connsiteX2" fmla="*/ 0 w 1660931"/>
                <a:gd name="connsiteY2" fmla="*/ 257442 h 257442"/>
                <a:gd name="connsiteX3" fmla="*/ 54721 w 1660931"/>
                <a:gd name="connsiteY3" fmla="*/ 0 h 257442"/>
                <a:gd name="connsiteX0" fmla="*/ 1660931 w 1660931"/>
                <a:gd name="connsiteY0" fmla="*/ 0 h 257442"/>
                <a:gd name="connsiteX1" fmla="*/ 1606210 w 1660931"/>
                <a:gd name="connsiteY1" fmla="*/ 257442 h 257442"/>
                <a:gd name="connsiteX2" fmla="*/ 0 w 1660931"/>
                <a:gd name="connsiteY2" fmla="*/ 257442 h 257442"/>
                <a:gd name="connsiteX3" fmla="*/ 54721 w 1660931"/>
                <a:gd name="connsiteY3" fmla="*/ 0 h 257442"/>
                <a:gd name="connsiteX0" fmla="*/ 1660931 w 1660931"/>
                <a:gd name="connsiteY0" fmla="*/ 0 h 257442"/>
                <a:gd name="connsiteX1" fmla="*/ 1606210 w 1660931"/>
                <a:gd name="connsiteY1" fmla="*/ 257442 h 257442"/>
                <a:gd name="connsiteX2" fmla="*/ 0 w 1660931"/>
                <a:gd name="connsiteY2" fmla="*/ 257442 h 257442"/>
                <a:gd name="connsiteX3" fmla="*/ 54721 w 1660931"/>
                <a:gd name="connsiteY3" fmla="*/ 0 h 257442"/>
                <a:gd name="connsiteX0" fmla="*/ 1829247 w 1829247"/>
                <a:gd name="connsiteY0" fmla="*/ 0 h 257442"/>
                <a:gd name="connsiteX1" fmla="*/ 1606210 w 1829247"/>
                <a:gd name="connsiteY1" fmla="*/ 257442 h 257442"/>
                <a:gd name="connsiteX2" fmla="*/ 0 w 1829247"/>
                <a:gd name="connsiteY2" fmla="*/ 257442 h 257442"/>
                <a:gd name="connsiteX3" fmla="*/ 54721 w 1829247"/>
                <a:gd name="connsiteY3" fmla="*/ 0 h 257442"/>
                <a:gd name="connsiteX0" fmla="*/ 1829247 w 1829247"/>
                <a:gd name="connsiteY0" fmla="*/ 0 h 257442"/>
                <a:gd name="connsiteX1" fmla="*/ 1774526 w 1829247"/>
                <a:gd name="connsiteY1" fmla="*/ 257442 h 257442"/>
                <a:gd name="connsiteX2" fmla="*/ 0 w 1829247"/>
                <a:gd name="connsiteY2" fmla="*/ 257442 h 257442"/>
                <a:gd name="connsiteX3" fmla="*/ 54721 w 1829247"/>
                <a:gd name="connsiteY3" fmla="*/ 0 h 257442"/>
                <a:gd name="connsiteX0" fmla="*/ 1829247 w 1829247"/>
                <a:gd name="connsiteY0" fmla="*/ 0 h 257442"/>
                <a:gd name="connsiteX1" fmla="*/ 1774526 w 1829247"/>
                <a:gd name="connsiteY1" fmla="*/ 257442 h 257442"/>
                <a:gd name="connsiteX2" fmla="*/ 0 w 1829247"/>
                <a:gd name="connsiteY2" fmla="*/ 257442 h 257442"/>
                <a:gd name="connsiteX3" fmla="*/ 54721 w 1829247"/>
                <a:gd name="connsiteY3" fmla="*/ 0 h 257442"/>
                <a:gd name="connsiteX0" fmla="*/ 1829247 w 1829247"/>
                <a:gd name="connsiteY0" fmla="*/ 0 h 257442"/>
                <a:gd name="connsiteX1" fmla="*/ 1774526 w 1829247"/>
                <a:gd name="connsiteY1" fmla="*/ 257442 h 257442"/>
                <a:gd name="connsiteX2" fmla="*/ 0 w 1829247"/>
                <a:gd name="connsiteY2" fmla="*/ 257442 h 257442"/>
                <a:gd name="connsiteX3" fmla="*/ 54721 w 1829247"/>
                <a:gd name="connsiteY3" fmla="*/ 0 h 257442"/>
                <a:gd name="connsiteX0" fmla="*/ 2149847 w 2149847"/>
                <a:gd name="connsiteY0" fmla="*/ 0 h 257442"/>
                <a:gd name="connsiteX1" fmla="*/ 1774526 w 2149847"/>
                <a:gd name="connsiteY1" fmla="*/ 257442 h 257442"/>
                <a:gd name="connsiteX2" fmla="*/ 0 w 2149847"/>
                <a:gd name="connsiteY2" fmla="*/ 257442 h 257442"/>
                <a:gd name="connsiteX3" fmla="*/ 54721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54721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54721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54721 w 2149847"/>
                <a:gd name="connsiteY3" fmla="*/ 0 h 257442"/>
                <a:gd name="connsiteX0" fmla="*/ 1981532 w 2095126"/>
                <a:gd name="connsiteY0" fmla="*/ 0 h 257442"/>
                <a:gd name="connsiteX1" fmla="*/ 2095126 w 2095126"/>
                <a:gd name="connsiteY1" fmla="*/ 257442 h 257442"/>
                <a:gd name="connsiteX2" fmla="*/ 0 w 2095126"/>
                <a:gd name="connsiteY2" fmla="*/ 257442 h 257442"/>
                <a:gd name="connsiteX3" fmla="*/ 54721 w 2095126"/>
                <a:gd name="connsiteY3" fmla="*/ 0 h 257442"/>
                <a:gd name="connsiteX0" fmla="*/ 1981532 w 1981532"/>
                <a:gd name="connsiteY0" fmla="*/ 0 h 257442"/>
                <a:gd name="connsiteX1" fmla="*/ 1926811 w 1981532"/>
                <a:gd name="connsiteY1" fmla="*/ 257442 h 257442"/>
                <a:gd name="connsiteX2" fmla="*/ 0 w 1981532"/>
                <a:gd name="connsiteY2" fmla="*/ 257442 h 257442"/>
                <a:gd name="connsiteX3" fmla="*/ 54721 w 1981532"/>
                <a:gd name="connsiteY3" fmla="*/ 0 h 257442"/>
                <a:gd name="connsiteX0" fmla="*/ 1981532 w 1981532"/>
                <a:gd name="connsiteY0" fmla="*/ 0 h 257442"/>
                <a:gd name="connsiteX1" fmla="*/ 1926811 w 1981532"/>
                <a:gd name="connsiteY1" fmla="*/ 257442 h 257442"/>
                <a:gd name="connsiteX2" fmla="*/ 0 w 1981532"/>
                <a:gd name="connsiteY2" fmla="*/ 257442 h 257442"/>
                <a:gd name="connsiteX3" fmla="*/ 54721 w 1981532"/>
                <a:gd name="connsiteY3" fmla="*/ 0 h 257442"/>
                <a:gd name="connsiteX0" fmla="*/ 1981532 w 1981532"/>
                <a:gd name="connsiteY0" fmla="*/ 0 h 257442"/>
                <a:gd name="connsiteX1" fmla="*/ 1926811 w 1981532"/>
                <a:gd name="connsiteY1" fmla="*/ 257442 h 257442"/>
                <a:gd name="connsiteX2" fmla="*/ 0 w 1981532"/>
                <a:gd name="connsiteY2" fmla="*/ 257442 h 257442"/>
                <a:gd name="connsiteX3" fmla="*/ 54721 w 1981532"/>
                <a:gd name="connsiteY3" fmla="*/ 0 h 257442"/>
                <a:gd name="connsiteX0" fmla="*/ 2306749 w 2306749"/>
                <a:gd name="connsiteY0" fmla="*/ 0 h 257442"/>
                <a:gd name="connsiteX1" fmla="*/ 1926811 w 2306749"/>
                <a:gd name="connsiteY1" fmla="*/ 257442 h 257442"/>
                <a:gd name="connsiteX2" fmla="*/ 0 w 2306749"/>
                <a:gd name="connsiteY2" fmla="*/ 257442 h 257442"/>
                <a:gd name="connsiteX3" fmla="*/ 54721 w 2306749"/>
                <a:gd name="connsiteY3" fmla="*/ 0 h 257442"/>
                <a:gd name="connsiteX0" fmla="*/ 2306749 w 2306749"/>
                <a:gd name="connsiteY0" fmla="*/ 0 h 257442"/>
                <a:gd name="connsiteX1" fmla="*/ 2252028 w 2306749"/>
                <a:gd name="connsiteY1" fmla="*/ 257442 h 257442"/>
                <a:gd name="connsiteX2" fmla="*/ 0 w 2306749"/>
                <a:gd name="connsiteY2" fmla="*/ 257442 h 257442"/>
                <a:gd name="connsiteX3" fmla="*/ 54721 w 2306749"/>
                <a:gd name="connsiteY3" fmla="*/ 0 h 257442"/>
                <a:gd name="connsiteX0" fmla="*/ 2306749 w 2306749"/>
                <a:gd name="connsiteY0" fmla="*/ 0 h 257442"/>
                <a:gd name="connsiteX1" fmla="*/ 2252028 w 2306749"/>
                <a:gd name="connsiteY1" fmla="*/ 257442 h 257442"/>
                <a:gd name="connsiteX2" fmla="*/ 0 w 2306749"/>
                <a:gd name="connsiteY2" fmla="*/ 257442 h 257442"/>
                <a:gd name="connsiteX3" fmla="*/ 54721 w 2306749"/>
                <a:gd name="connsiteY3" fmla="*/ 0 h 257442"/>
                <a:gd name="connsiteX0" fmla="*/ 2306749 w 2306749"/>
                <a:gd name="connsiteY0" fmla="*/ 0 h 257442"/>
                <a:gd name="connsiteX1" fmla="*/ 2252028 w 2306749"/>
                <a:gd name="connsiteY1" fmla="*/ 257442 h 257442"/>
                <a:gd name="connsiteX2" fmla="*/ 0 w 2306749"/>
                <a:gd name="connsiteY2" fmla="*/ 257442 h 257442"/>
                <a:gd name="connsiteX3" fmla="*/ 54721 w 2306749"/>
                <a:gd name="connsiteY3" fmla="*/ 0 h 257442"/>
                <a:gd name="connsiteX0" fmla="*/ 934771 w 2252028"/>
                <a:gd name="connsiteY0" fmla="*/ 0 h 257442"/>
                <a:gd name="connsiteX1" fmla="*/ 2252028 w 2252028"/>
                <a:gd name="connsiteY1" fmla="*/ 257442 h 257442"/>
                <a:gd name="connsiteX2" fmla="*/ 0 w 2252028"/>
                <a:gd name="connsiteY2" fmla="*/ 257442 h 257442"/>
                <a:gd name="connsiteX3" fmla="*/ 54721 w 2252028"/>
                <a:gd name="connsiteY3" fmla="*/ 0 h 257442"/>
                <a:gd name="connsiteX0" fmla="*/ 934771 w 934771"/>
                <a:gd name="connsiteY0" fmla="*/ 0 h 257442"/>
                <a:gd name="connsiteX1" fmla="*/ 880050 w 934771"/>
                <a:gd name="connsiteY1" fmla="*/ 257442 h 257442"/>
                <a:gd name="connsiteX2" fmla="*/ 0 w 934771"/>
                <a:gd name="connsiteY2" fmla="*/ 257442 h 257442"/>
                <a:gd name="connsiteX3" fmla="*/ 54721 w 934771"/>
                <a:gd name="connsiteY3" fmla="*/ 0 h 257442"/>
                <a:gd name="connsiteX0" fmla="*/ 934770 w 934770"/>
                <a:gd name="connsiteY0" fmla="*/ 0 h 257442"/>
                <a:gd name="connsiteX1" fmla="*/ 880049 w 934770"/>
                <a:gd name="connsiteY1" fmla="*/ 257442 h 257442"/>
                <a:gd name="connsiteX2" fmla="*/ 0 w 934770"/>
                <a:gd name="connsiteY2" fmla="*/ 257442 h 257442"/>
                <a:gd name="connsiteX3" fmla="*/ 54720 w 934770"/>
                <a:gd name="connsiteY3" fmla="*/ 0 h 257442"/>
                <a:gd name="connsiteX0" fmla="*/ 934770 w 934770"/>
                <a:gd name="connsiteY0" fmla="*/ 0 h 257442"/>
                <a:gd name="connsiteX1" fmla="*/ 880049 w 934770"/>
                <a:gd name="connsiteY1" fmla="*/ 257442 h 257442"/>
                <a:gd name="connsiteX2" fmla="*/ 0 w 934770"/>
                <a:gd name="connsiteY2" fmla="*/ 257442 h 257442"/>
                <a:gd name="connsiteX3" fmla="*/ 54720 w 934770"/>
                <a:gd name="connsiteY3" fmla="*/ 0 h 257442"/>
                <a:gd name="connsiteX0" fmla="*/ 1109946 w 1109946"/>
                <a:gd name="connsiteY0" fmla="*/ 0 h 257442"/>
                <a:gd name="connsiteX1" fmla="*/ 880049 w 1109946"/>
                <a:gd name="connsiteY1" fmla="*/ 257442 h 257442"/>
                <a:gd name="connsiteX2" fmla="*/ 0 w 1109946"/>
                <a:gd name="connsiteY2" fmla="*/ 257442 h 257442"/>
                <a:gd name="connsiteX3" fmla="*/ 54720 w 1109946"/>
                <a:gd name="connsiteY3" fmla="*/ 0 h 257442"/>
                <a:gd name="connsiteX0" fmla="*/ 1109946 w 1109946"/>
                <a:gd name="connsiteY0" fmla="*/ 0 h 257442"/>
                <a:gd name="connsiteX1" fmla="*/ 1055225 w 1109946"/>
                <a:gd name="connsiteY1" fmla="*/ 257442 h 257442"/>
                <a:gd name="connsiteX2" fmla="*/ 0 w 1109946"/>
                <a:gd name="connsiteY2" fmla="*/ 257442 h 257442"/>
                <a:gd name="connsiteX3" fmla="*/ 54720 w 1109946"/>
                <a:gd name="connsiteY3" fmla="*/ 0 h 257442"/>
                <a:gd name="connsiteX0" fmla="*/ 1109947 w 1109947"/>
                <a:gd name="connsiteY0" fmla="*/ 0 h 257442"/>
                <a:gd name="connsiteX1" fmla="*/ 1055226 w 1109947"/>
                <a:gd name="connsiteY1" fmla="*/ 257442 h 257442"/>
                <a:gd name="connsiteX2" fmla="*/ 0 w 1109947"/>
                <a:gd name="connsiteY2" fmla="*/ 257442 h 257442"/>
                <a:gd name="connsiteX3" fmla="*/ 54721 w 1109947"/>
                <a:gd name="connsiteY3" fmla="*/ 0 h 257442"/>
                <a:gd name="connsiteX0" fmla="*/ 1109947 w 1109947"/>
                <a:gd name="connsiteY0" fmla="*/ 0 h 257442"/>
                <a:gd name="connsiteX1" fmla="*/ 1055226 w 1109947"/>
                <a:gd name="connsiteY1" fmla="*/ 257442 h 257442"/>
                <a:gd name="connsiteX2" fmla="*/ 0 w 1109947"/>
                <a:gd name="connsiteY2" fmla="*/ 257442 h 257442"/>
                <a:gd name="connsiteX3" fmla="*/ 54722 w 1109947"/>
                <a:gd name="connsiteY3" fmla="*/ 0 h 257442"/>
                <a:gd name="connsiteX0" fmla="*/ 1270249 w 1270249"/>
                <a:gd name="connsiteY0" fmla="*/ 0 h 257442"/>
                <a:gd name="connsiteX1" fmla="*/ 1055226 w 1270249"/>
                <a:gd name="connsiteY1" fmla="*/ 257442 h 257442"/>
                <a:gd name="connsiteX2" fmla="*/ 0 w 1270249"/>
                <a:gd name="connsiteY2" fmla="*/ 257442 h 257442"/>
                <a:gd name="connsiteX3" fmla="*/ 54722 w 1270249"/>
                <a:gd name="connsiteY3" fmla="*/ 0 h 257442"/>
                <a:gd name="connsiteX0" fmla="*/ 1270249 w 1270249"/>
                <a:gd name="connsiteY0" fmla="*/ 0 h 257442"/>
                <a:gd name="connsiteX1" fmla="*/ 1215528 w 1270249"/>
                <a:gd name="connsiteY1" fmla="*/ 257442 h 257442"/>
                <a:gd name="connsiteX2" fmla="*/ 0 w 1270249"/>
                <a:gd name="connsiteY2" fmla="*/ 257442 h 257442"/>
                <a:gd name="connsiteX3" fmla="*/ 54722 w 1270249"/>
                <a:gd name="connsiteY3" fmla="*/ 0 h 257442"/>
                <a:gd name="connsiteX0" fmla="*/ 1270248 w 1270248"/>
                <a:gd name="connsiteY0" fmla="*/ 0 h 257442"/>
                <a:gd name="connsiteX1" fmla="*/ 1215527 w 1270248"/>
                <a:gd name="connsiteY1" fmla="*/ 257442 h 257442"/>
                <a:gd name="connsiteX2" fmla="*/ 0 w 1270248"/>
                <a:gd name="connsiteY2" fmla="*/ 257442 h 257442"/>
                <a:gd name="connsiteX3" fmla="*/ 54721 w 1270248"/>
                <a:gd name="connsiteY3" fmla="*/ 0 h 257442"/>
                <a:gd name="connsiteX0" fmla="*/ 1270248 w 1270248"/>
                <a:gd name="connsiteY0" fmla="*/ 0 h 257442"/>
                <a:gd name="connsiteX1" fmla="*/ 1215527 w 1270248"/>
                <a:gd name="connsiteY1" fmla="*/ 257442 h 257442"/>
                <a:gd name="connsiteX2" fmla="*/ 0 w 1270248"/>
                <a:gd name="connsiteY2" fmla="*/ 257442 h 257442"/>
                <a:gd name="connsiteX3" fmla="*/ 54720 w 1270248"/>
                <a:gd name="connsiteY3" fmla="*/ 0 h 257442"/>
                <a:gd name="connsiteX0" fmla="*/ 1536793 w 1536793"/>
                <a:gd name="connsiteY0" fmla="*/ 0 h 257442"/>
                <a:gd name="connsiteX1" fmla="*/ 1215527 w 1536793"/>
                <a:gd name="connsiteY1" fmla="*/ 257442 h 257442"/>
                <a:gd name="connsiteX2" fmla="*/ 0 w 1536793"/>
                <a:gd name="connsiteY2" fmla="*/ 257442 h 257442"/>
                <a:gd name="connsiteX3" fmla="*/ 54720 w 1536793"/>
                <a:gd name="connsiteY3" fmla="*/ 0 h 257442"/>
                <a:gd name="connsiteX0" fmla="*/ 1536793 w 1536793"/>
                <a:gd name="connsiteY0" fmla="*/ 0 h 257442"/>
                <a:gd name="connsiteX1" fmla="*/ 1482072 w 1536793"/>
                <a:gd name="connsiteY1" fmla="*/ 257442 h 257442"/>
                <a:gd name="connsiteX2" fmla="*/ 0 w 1536793"/>
                <a:gd name="connsiteY2" fmla="*/ 257442 h 257442"/>
                <a:gd name="connsiteX3" fmla="*/ 54720 w 1536793"/>
                <a:gd name="connsiteY3" fmla="*/ 0 h 257442"/>
                <a:gd name="connsiteX0" fmla="*/ 1536794 w 1536794"/>
                <a:gd name="connsiteY0" fmla="*/ 0 h 257442"/>
                <a:gd name="connsiteX1" fmla="*/ 1482073 w 1536794"/>
                <a:gd name="connsiteY1" fmla="*/ 257442 h 257442"/>
                <a:gd name="connsiteX2" fmla="*/ 0 w 1536794"/>
                <a:gd name="connsiteY2" fmla="*/ 257442 h 257442"/>
                <a:gd name="connsiteX3" fmla="*/ 54721 w 1536794"/>
                <a:gd name="connsiteY3" fmla="*/ 0 h 257442"/>
                <a:gd name="connsiteX0" fmla="*/ 1536794 w 1536794"/>
                <a:gd name="connsiteY0" fmla="*/ 0 h 257442"/>
                <a:gd name="connsiteX1" fmla="*/ 1482073 w 1536794"/>
                <a:gd name="connsiteY1" fmla="*/ 257442 h 257442"/>
                <a:gd name="connsiteX2" fmla="*/ 0 w 1536794"/>
                <a:gd name="connsiteY2" fmla="*/ 257442 h 257442"/>
                <a:gd name="connsiteX3" fmla="*/ 54721 w 1536794"/>
                <a:gd name="connsiteY3" fmla="*/ 0 h 257442"/>
                <a:gd name="connsiteX0" fmla="*/ 1697095 w 1697095"/>
                <a:gd name="connsiteY0" fmla="*/ 0 h 257442"/>
                <a:gd name="connsiteX1" fmla="*/ 1482073 w 1697095"/>
                <a:gd name="connsiteY1" fmla="*/ 257442 h 257442"/>
                <a:gd name="connsiteX2" fmla="*/ 0 w 1697095"/>
                <a:gd name="connsiteY2" fmla="*/ 257442 h 257442"/>
                <a:gd name="connsiteX3" fmla="*/ 54721 w 1697095"/>
                <a:gd name="connsiteY3" fmla="*/ 0 h 257442"/>
                <a:gd name="connsiteX0" fmla="*/ 1697095 w 1697095"/>
                <a:gd name="connsiteY0" fmla="*/ 0 h 257442"/>
                <a:gd name="connsiteX1" fmla="*/ 1642374 w 1697095"/>
                <a:gd name="connsiteY1" fmla="*/ 257442 h 257442"/>
                <a:gd name="connsiteX2" fmla="*/ 0 w 1697095"/>
                <a:gd name="connsiteY2" fmla="*/ 257442 h 257442"/>
                <a:gd name="connsiteX3" fmla="*/ 54721 w 1697095"/>
                <a:gd name="connsiteY3" fmla="*/ 0 h 257442"/>
                <a:gd name="connsiteX0" fmla="*/ 1697095 w 1697095"/>
                <a:gd name="connsiteY0" fmla="*/ 0 h 257442"/>
                <a:gd name="connsiteX1" fmla="*/ 1642374 w 1697095"/>
                <a:gd name="connsiteY1" fmla="*/ 257442 h 257442"/>
                <a:gd name="connsiteX2" fmla="*/ 0 w 1697095"/>
                <a:gd name="connsiteY2" fmla="*/ 257442 h 257442"/>
                <a:gd name="connsiteX3" fmla="*/ 54721 w 1697095"/>
                <a:gd name="connsiteY3" fmla="*/ 0 h 257442"/>
                <a:gd name="connsiteX0" fmla="*/ 1697095 w 1697095"/>
                <a:gd name="connsiteY0" fmla="*/ 0 h 257442"/>
                <a:gd name="connsiteX1" fmla="*/ 1642374 w 1697095"/>
                <a:gd name="connsiteY1" fmla="*/ 257442 h 257442"/>
                <a:gd name="connsiteX2" fmla="*/ 0 w 1697095"/>
                <a:gd name="connsiteY2" fmla="*/ 257442 h 257442"/>
                <a:gd name="connsiteX3" fmla="*/ 54721 w 1697095"/>
                <a:gd name="connsiteY3" fmla="*/ 0 h 257442"/>
                <a:gd name="connsiteX0" fmla="*/ 1865411 w 1865411"/>
                <a:gd name="connsiteY0" fmla="*/ 0 h 257442"/>
                <a:gd name="connsiteX1" fmla="*/ 1642374 w 1865411"/>
                <a:gd name="connsiteY1" fmla="*/ 257442 h 257442"/>
                <a:gd name="connsiteX2" fmla="*/ 0 w 1865411"/>
                <a:gd name="connsiteY2" fmla="*/ 257442 h 257442"/>
                <a:gd name="connsiteX3" fmla="*/ 54721 w 1865411"/>
                <a:gd name="connsiteY3" fmla="*/ 0 h 257442"/>
                <a:gd name="connsiteX0" fmla="*/ 1865411 w 1865411"/>
                <a:gd name="connsiteY0" fmla="*/ 0 h 257442"/>
                <a:gd name="connsiteX1" fmla="*/ 1810690 w 1865411"/>
                <a:gd name="connsiteY1" fmla="*/ 257442 h 257442"/>
                <a:gd name="connsiteX2" fmla="*/ 0 w 1865411"/>
                <a:gd name="connsiteY2" fmla="*/ 257442 h 257442"/>
                <a:gd name="connsiteX3" fmla="*/ 54721 w 1865411"/>
                <a:gd name="connsiteY3" fmla="*/ 0 h 257442"/>
                <a:gd name="connsiteX0" fmla="*/ 1865411 w 1865411"/>
                <a:gd name="connsiteY0" fmla="*/ 0 h 257442"/>
                <a:gd name="connsiteX1" fmla="*/ 1810690 w 1865411"/>
                <a:gd name="connsiteY1" fmla="*/ 257442 h 257442"/>
                <a:gd name="connsiteX2" fmla="*/ 0 w 1865411"/>
                <a:gd name="connsiteY2" fmla="*/ 257442 h 257442"/>
                <a:gd name="connsiteX3" fmla="*/ 54721 w 1865411"/>
                <a:gd name="connsiteY3" fmla="*/ 0 h 257442"/>
                <a:gd name="connsiteX0" fmla="*/ 1865411 w 1865411"/>
                <a:gd name="connsiteY0" fmla="*/ 0 h 257442"/>
                <a:gd name="connsiteX1" fmla="*/ 1810690 w 1865411"/>
                <a:gd name="connsiteY1" fmla="*/ 257442 h 257442"/>
                <a:gd name="connsiteX2" fmla="*/ 0 w 1865411"/>
                <a:gd name="connsiteY2" fmla="*/ 257442 h 257442"/>
                <a:gd name="connsiteX3" fmla="*/ 54721 w 1865411"/>
                <a:gd name="connsiteY3" fmla="*/ 0 h 257442"/>
                <a:gd name="connsiteX0" fmla="*/ 2025711 w 2025711"/>
                <a:gd name="connsiteY0" fmla="*/ 0 h 257442"/>
                <a:gd name="connsiteX1" fmla="*/ 1810690 w 2025711"/>
                <a:gd name="connsiteY1" fmla="*/ 257442 h 257442"/>
                <a:gd name="connsiteX2" fmla="*/ 0 w 2025711"/>
                <a:gd name="connsiteY2" fmla="*/ 257442 h 257442"/>
                <a:gd name="connsiteX3" fmla="*/ 54721 w 2025711"/>
                <a:gd name="connsiteY3" fmla="*/ 0 h 257442"/>
                <a:gd name="connsiteX0" fmla="*/ 2025711 w 2025711"/>
                <a:gd name="connsiteY0" fmla="*/ 0 h 257442"/>
                <a:gd name="connsiteX1" fmla="*/ 1970990 w 2025711"/>
                <a:gd name="connsiteY1" fmla="*/ 257442 h 257442"/>
                <a:gd name="connsiteX2" fmla="*/ 0 w 2025711"/>
                <a:gd name="connsiteY2" fmla="*/ 257442 h 257442"/>
                <a:gd name="connsiteX3" fmla="*/ 54721 w 2025711"/>
                <a:gd name="connsiteY3" fmla="*/ 0 h 257442"/>
                <a:gd name="connsiteX0" fmla="*/ 2025711 w 2025711"/>
                <a:gd name="connsiteY0" fmla="*/ 0 h 257442"/>
                <a:gd name="connsiteX1" fmla="*/ 1970990 w 2025711"/>
                <a:gd name="connsiteY1" fmla="*/ 257442 h 257442"/>
                <a:gd name="connsiteX2" fmla="*/ 0 w 2025711"/>
                <a:gd name="connsiteY2" fmla="*/ 257442 h 257442"/>
                <a:gd name="connsiteX3" fmla="*/ 54721 w 2025711"/>
                <a:gd name="connsiteY3" fmla="*/ 0 h 257442"/>
                <a:gd name="connsiteX0" fmla="*/ 2025711 w 2025711"/>
                <a:gd name="connsiteY0" fmla="*/ 0 h 257442"/>
                <a:gd name="connsiteX1" fmla="*/ 1970990 w 2025711"/>
                <a:gd name="connsiteY1" fmla="*/ 257442 h 257442"/>
                <a:gd name="connsiteX2" fmla="*/ 0 w 2025711"/>
                <a:gd name="connsiteY2" fmla="*/ 257442 h 257442"/>
                <a:gd name="connsiteX3" fmla="*/ 54721 w 2025711"/>
                <a:gd name="connsiteY3" fmla="*/ 0 h 257442"/>
                <a:gd name="connsiteX0" fmla="*/ 1865411 w 1970990"/>
                <a:gd name="connsiteY0" fmla="*/ 0 h 257442"/>
                <a:gd name="connsiteX1" fmla="*/ 1970990 w 1970990"/>
                <a:gd name="connsiteY1" fmla="*/ 257442 h 257442"/>
                <a:gd name="connsiteX2" fmla="*/ 0 w 1970990"/>
                <a:gd name="connsiteY2" fmla="*/ 257442 h 257442"/>
                <a:gd name="connsiteX3" fmla="*/ 54721 w 1970990"/>
                <a:gd name="connsiteY3" fmla="*/ 0 h 257442"/>
                <a:gd name="connsiteX0" fmla="*/ 1865411 w 1865411"/>
                <a:gd name="connsiteY0" fmla="*/ 0 h 257442"/>
                <a:gd name="connsiteX1" fmla="*/ 1810690 w 1865411"/>
                <a:gd name="connsiteY1" fmla="*/ 257442 h 257442"/>
                <a:gd name="connsiteX2" fmla="*/ 0 w 1865411"/>
                <a:gd name="connsiteY2" fmla="*/ 257442 h 257442"/>
                <a:gd name="connsiteX3" fmla="*/ 54721 w 1865411"/>
                <a:gd name="connsiteY3" fmla="*/ 0 h 257442"/>
                <a:gd name="connsiteX0" fmla="*/ 1865410 w 1865410"/>
                <a:gd name="connsiteY0" fmla="*/ 0 h 257442"/>
                <a:gd name="connsiteX1" fmla="*/ 1810689 w 1865410"/>
                <a:gd name="connsiteY1" fmla="*/ 257442 h 257442"/>
                <a:gd name="connsiteX2" fmla="*/ 0 w 1865410"/>
                <a:gd name="connsiteY2" fmla="*/ 257442 h 257442"/>
                <a:gd name="connsiteX3" fmla="*/ 54720 w 1865410"/>
                <a:gd name="connsiteY3" fmla="*/ 0 h 257442"/>
                <a:gd name="connsiteX0" fmla="*/ 1865410 w 1865410"/>
                <a:gd name="connsiteY0" fmla="*/ 0 h 257442"/>
                <a:gd name="connsiteX1" fmla="*/ 1810689 w 1865410"/>
                <a:gd name="connsiteY1" fmla="*/ 257442 h 257442"/>
                <a:gd name="connsiteX2" fmla="*/ 0 w 1865410"/>
                <a:gd name="connsiteY2" fmla="*/ 257442 h 257442"/>
                <a:gd name="connsiteX3" fmla="*/ 54720 w 1865410"/>
                <a:gd name="connsiteY3" fmla="*/ 0 h 257442"/>
                <a:gd name="connsiteX0" fmla="*/ 950800 w 1810689"/>
                <a:gd name="connsiteY0" fmla="*/ 0 h 257442"/>
                <a:gd name="connsiteX1" fmla="*/ 1810689 w 1810689"/>
                <a:gd name="connsiteY1" fmla="*/ 257442 h 257442"/>
                <a:gd name="connsiteX2" fmla="*/ 0 w 1810689"/>
                <a:gd name="connsiteY2" fmla="*/ 257442 h 257442"/>
                <a:gd name="connsiteX3" fmla="*/ 54720 w 1810689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54721 w 950800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420289 w 1420289"/>
                <a:gd name="connsiteY0" fmla="*/ 0 h 257442"/>
                <a:gd name="connsiteX1" fmla="*/ 1056380 w 1420289"/>
                <a:gd name="connsiteY1" fmla="*/ 257442 h 257442"/>
                <a:gd name="connsiteX2" fmla="*/ 0 w 1420289"/>
                <a:gd name="connsiteY2" fmla="*/ 257442 h 257442"/>
                <a:gd name="connsiteX3" fmla="*/ 54721 w 1420289"/>
                <a:gd name="connsiteY3" fmla="*/ 0 h 257442"/>
                <a:gd name="connsiteX0" fmla="*/ 1420289 w 1420289"/>
                <a:gd name="connsiteY0" fmla="*/ 0 h 257442"/>
                <a:gd name="connsiteX1" fmla="*/ 1365568 w 1420289"/>
                <a:gd name="connsiteY1" fmla="*/ 257442 h 257442"/>
                <a:gd name="connsiteX2" fmla="*/ 0 w 1420289"/>
                <a:gd name="connsiteY2" fmla="*/ 257442 h 257442"/>
                <a:gd name="connsiteX3" fmla="*/ 54721 w 1420289"/>
                <a:gd name="connsiteY3" fmla="*/ 0 h 257442"/>
                <a:gd name="connsiteX0" fmla="*/ 1420289 w 1420289"/>
                <a:gd name="connsiteY0" fmla="*/ 0 h 257442"/>
                <a:gd name="connsiteX1" fmla="*/ 1365568 w 1420289"/>
                <a:gd name="connsiteY1" fmla="*/ 257442 h 257442"/>
                <a:gd name="connsiteX2" fmla="*/ 0 w 1420289"/>
                <a:gd name="connsiteY2" fmla="*/ 257442 h 257442"/>
                <a:gd name="connsiteX3" fmla="*/ 54721 w 1420289"/>
                <a:gd name="connsiteY3" fmla="*/ 0 h 257442"/>
                <a:gd name="connsiteX0" fmla="*/ 1420289 w 1420289"/>
                <a:gd name="connsiteY0" fmla="*/ 0 h 257442"/>
                <a:gd name="connsiteX1" fmla="*/ 1365568 w 1420289"/>
                <a:gd name="connsiteY1" fmla="*/ 257442 h 257442"/>
                <a:gd name="connsiteX2" fmla="*/ 0 w 1420289"/>
                <a:gd name="connsiteY2" fmla="*/ 257442 h 257442"/>
                <a:gd name="connsiteX3" fmla="*/ 54721 w 1420289"/>
                <a:gd name="connsiteY3" fmla="*/ 0 h 257442"/>
                <a:gd name="connsiteX0" fmla="*/ 1673563 w 1673563"/>
                <a:gd name="connsiteY0" fmla="*/ 0 h 257442"/>
                <a:gd name="connsiteX1" fmla="*/ 1365568 w 1673563"/>
                <a:gd name="connsiteY1" fmla="*/ 257442 h 257442"/>
                <a:gd name="connsiteX2" fmla="*/ 0 w 1673563"/>
                <a:gd name="connsiteY2" fmla="*/ 257442 h 257442"/>
                <a:gd name="connsiteX3" fmla="*/ 54721 w 1673563"/>
                <a:gd name="connsiteY3" fmla="*/ 0 h 257442"/>
                <a:gd name="connsiteX0" fmla="*/ 1673563 w 1673563"/>
                <a:gd name="connsiteY0" fmla="*/ 0 h 257442"/>
                <a:gd name="connsiteX1" fmla="*/ 1618842 w 1673563"/>
                <a:gd name="connsiteY1" fmla="*/ 257442 h 257442"/>
                <a:gd name="connsiteX2" fmla="*/ 0 w 1673563"/>
                <a:gd name="connsiteY2" fmla="*/ 257442 h 257442"/>
                <a:gd name="connsiteX3" fmla="*/ 54721 w 1673563"/>
                <a:gd name="connsiteY3" fmla="*/ 0 h 257442"/>
                <a:gd name="connsiteX0" fmla="*/ 1673563 w 1673563"/>
                <a:gd name="connsiteY0" fmla="*/ 0 h 257442"/>
                <a:gd name="connsiteX1" fmla="*/ 1618842 w 1673563"/>
                <a:gd name="connsiteY1" fmla="*/ 257442 h 257442"/>
                <a:gd name="connsiteX2" fmla="*/ 0 w 1673563"/>
                <a:gd name="connsiteY2" fmla="*/ 257442 h 257442"/>
                <a:gd name="connsiteX3" fmla="*/ 54721 w 1673563"/>
                <a:gd name="connsiteY3" fmla="*/ 0 h 257442"/>
                <a:gd name="connsiteX0" fmla="*/ 1673563 w 1673563"/>
                <a:gd name="connsiteY0" fmla="*/ 0 h 257442"/>
                <a:gd name="connsiteX1" fmla="*/ 1618842 w 1673563"/>
                <a:gd name="connsiteY1" fmla="*/ 257442 h 257442"/>
                <a:gd name="connsiteX2" fmla="*/ 0 w 1673563"/>
                <a:gd name="connsiteY2" fmla="*/ 257442 h 257442"/>
                <a:gd name="connsiteX3" fmla="*/ 54721 w 1673563"/>
                <a:gd name="connsiteY3" fmla="*/ 0 h 257442"/>
                <a:gd name="connsiteX0" fmla="*/ 1833863 w 1833863"/>
                <a:gd name="connsiteY0" fmla="*/ 0 h 257442"/>
                <a:gd name="connsiteX1" fmla="*/ 1618842 w 1833863"/>
                <a:gd name="connsiteY1" fmla="*/ 257442 h 257442"/>
                <a:gd name="connsiteX2" fmla="*/ 0 w 1833863"/>
                <a:gd name="connsiteY2" fmla="*/ 257442 h 257442"/>
                <a:gd name="connsiteX3" fmla="*/ 54721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54721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54721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54721 w 1833863"/>
                <a:gd name="connsiteY3" fmla="*/ 0 h 257442"/>
                <a:gd name="connsiteX0" fmla="*/ 2002178 w 2002178"/>
                <a:gd name="connsiteY0" fmla="*/ 0 h 257442"/>
                <a:gd name="connsiteX1" fmla="*/ 1779142 w 2002178"/>
                <a:gd name="connsiteY1" fmla="*/ 257442 h 257442"/>
                <a:gd name="connsiteX2" fmla="*/ 0 w 2002178"/>
                <a:gd name="connsiteY2" fmla="*/ 257442 h 257442"/>
                <a:gd name="connsiteX3" fmla="*/ 54721 w 2002178"/>
                <a:gd name="connsiteY3" fmla="*/ 0 h 257442"/>
                <a:gd name="connsiteX0" fmla="*/ 2002178 w 2002178"/>
                <a:gd name="connsiteY0" fmla="*/ 0 h 257442"/>
                <a:gd name="connsiteX1" fmla="*/ 1947456 w 2002178"/>
                <a:gd name="connsiteY1" fmla="*/ 257442 h 257442"/>
                <a:gd name="connsiteX2" fmla="*/ 0 w 2002178"/>
                <a:gd name="connsiteY2" fmla="*/ 257442 h 257442"/>
                <a:gd name="connsiteX3" fmla="*/ 54721 w 2002178"/>
                <a:gd name="connsiteY3" fmla="*/ 0 h 257442"/>
                <a:gd name="connsiteX0" fmla="*/ 2002179 w 2002179"/>
                <a:gd name="connsiteY0" fmla="*/ 0 h 257442"/>
                <a:gd name="connsiteX1" fmla="*/ 1947457 w 2002179"/>
                <a:gd name="connsiteY1" fmla="*/ 257442 h 257442"/>
                <a:gd name="connsiteX2" fmla="*/ 0 w 2002179"/>
                <a:gd name="connsiteY2" fmla="*/ 257442 h 257442"/>
                <a:gd name="connsiteX3" fmla="*/ 54722 w 2002179"/>
                <a:gd name="connsiteY3" fmla="*/ 0 h 257442"/>
                <a:gd name="connsiteX0" fmla="*/ 2002179 w 2002179"/>
                <a:gd name="connsiteY0" fmla="*/ 0 h 257442"/>
                <a:gd name="connsiteX1" fmla="*/ 1947457 w 2002179"/>
                <a:gd name="connsiteY1" fmla="*/ 257442 h 257442"/>
                <a:gd name="connsiteX2" fmla="*/ 0 w 2002179"/>
                <a:gd name="connsiteY2" fmla="*/ 257442 h 257442"/>
                <a:gd name="connsiteX3" fmla="*/ 54722 w 2002179"/>
                <a:gd name="connsiteY3" fmla="*/ 0 h 257442"/>
                <a:gd name="connsiteX0" fmla="*/ 2263469 w 2263469"/>
                <a:gd name="connsiteY0" fmla="*/ 0 h 257442"/>
                <a:gd name="connsiteX1" fmla="*/ 1947457 w 2263469"/>
                <a:gd name="connsiteY1" fmla="*/ 257442 h 257442"/>
                <a:gd name="connsiteX2" fmla="*/ 0 w 2263469"/>
                <a:gd name="connsiteY2" fmla="*/ 257442 h 257442"/>
                <a:gd name="connsiteX3" fmla="*/ 54722 w 2263469"/>
                <a:gd name="connsiteY3" fmla="*/ 0 h 257442"/>
                <a:gd name="connsiteX0" fmla="*/ 2263469 w 2263469"/>
                <a:gd name="connsiteY0" fmla="*/ 0 h 257442"/>
                <a:gd name="connsiteX1" fmla="*/ 2208748 w 2263469"/>
                <a:gd name="connsiteY1" fmla="*/ 257442 h 257442"/>
                <a:gd name="connsiteX2" fmla="*/ 0 w 2263469"/>
                <a:gd name="connsiteY2" fmla="*/ 257442 h 257442"/>
                <a:gd name="connsiteX3" fmla="*/ 54722 w 2263469"/>
                <a:gd name="connsiteY3" fmla="*/ 0 h 257442"/>
                <a:gd name="connsiteX0" fmla="*/ 2263468 w 2263468"/>
                <a:gd name="connsiteY0" fmla="*/ 0 h 257442"/>
                <a:gd name="connsiteX1" fmla="*/ 2208747 w 2263468"/>
                <a:gd name="connsiteY1" fmla="*/ 257442 h 257442"/>
                <a:gd name="connsiteX2" fmla="*/ 0 w 2263468"/>
                <a:gd name="connsiteY2" fmla="*/ 257442 h 257442"/>
                <a:gd name="connsiteX3" fmla="*/ 54721 w 2263468"/>
                <a:gd name="connsiteY3" fmla="*/ 0 h 257442"/>
                <a:gd name="connsiteX0" fmla="*/ 2263468 w 2263468"/>
                <a:gd name="connsiteY0" fmla="*/ 0 h 257442"/>
                <a:gd name="connsiteX1" fmla="*/ 2208747 w 2263468"/>
                <a:gd name="connsiteY1" fmla="*/ 257442 h 257442"/>
                <a:gd name="connsiteX2" fmla="*/ 0 w 2263468"/>
                <a:gd name="connsiteY2" fmla="*/ 257442 h 257442"/>
                <a:gd name="connsiteX3" fmla="*/ 54720 w 2263468"/>
                <a:gd name="connsiteY3" fmla="*/ 0 h 257442"/>
                <a:gd name="connsiteX0" fmla="*/ 2524756 w 2524756"/>
                <a:gd name="connsiteY0" fmla="*/ 0 h 257442"/>
                <a:gd name="connsiteX1" fmla="*/ 2208747 w 2524756"/>
                <a:gd name="connsiteY1" fmla="*/ 257442 h 257442"/>
                <a:gd name="connsiteX2" fmla="*/ 0 w 2524756"/>
                <a:gd name="connsiteY2" fmla="*/ 257442 h 257442"/>
                <a:gd name="connsiteX3" fmla="*/ 54720 w 2524756"/>
                <a:gd name="connsiteY3" fmla="*/ 0 h 257442"/>
                <a:gd name="connsiteX0" fmla="*/ 2524756 w 2524756"/>
                <a:gd name="connsiteY0" fmla="*/ 0 h 257442"/>
                <a:gd name="connsiteX1" fmla="*/ 2470035 w 2524756"/>
                <a:gd name="connsiteY1" fmla="*/ 257442 h 257442"/>
                <a:gd name="connsiteX2" fmla="*/ 0 w 2524756"/>
                <a:gd name="connsiteY2" fmla="*/ 257442 h 257442"/>
                <a:gd name="connsiteX3" fmla="*/ 54720 w 2524756"/>
                <a:gd name="connsiteY3" fmla="*/ 0 h 257442"/>
                <a:gd name="connsiteX0" fmla="*/ 2524757 w 2524757"/>
                <a:gd name="connsiteY0" fmla="*/ 0 h 257442"/>
                <a:gd name="connsiteX1" fmla="*/ 2470036 w 2524757"/>
                <a:gd name="connsiteY1" fmla="*/ 257442 h 257442"/>
                <a:gd name="connsiteX2" fmla="*/ 0 w 2524757"/>
                <a:gd name="connsiteY2" fmla="*/ 257442 h 257442"/>
                <a:gd name="connsiteX3" fmla="*/ 54721 w 2524757"/>
                <a:gd name="connsiteY3" fmla="*/ 0 h 257442"/>
                <a:gd name="connsiteX0" fmla="*/ 2524757 w 2524757"/>
                <a:gd name="connsiteY0" fmla="*/ 0 h 257442"/>
                <a:gd name="connsiteX1" fmla="*/ 2470036 w 2524757"/>
                <a:gd name="connsiteY1" fmla="*/ 257442 h 257442"/>
                <a:gd name="connsiteX2" fmla="*/ 0 w 2524757"/>
                <a:gd name="connsiteY2" fmla="*/ 257442 h 257442"/>
                <a:gd name="connsiteX3" fmla="*/ 54722 w 2524757"/>
                <a:gd name="connsiteY3" fmla="*/ 0 h 257442"/>
                <a:gd name="connsiteX0" fmla="*/ 2728340 w 2728340"/>
                <a:gd name="connsiteY0" fmla="*/ 0 h 257442"/>
                <a:gd name="connsiteX1" fmla="*/ 2470036 w 2728340"/>
                <a:gd name="connsiteY1" fmla="*/ 257442 h 257442"/>
                <a:gd name="connsiteX2" fmla="*/ 0 w 2728340"/>
                <a:gd name="connsiteY2" fmla="*/ 257442 h 257442"/>
                <a:gd name="connsiteX3" fmla="*/ 54722 w 2728340"/>
                <a:gd name="connsiteY3" fmla="*/ 0 h 257442"/>
                <a:gd name="connsiteX0" fmla="*/ 2728340 w 2728340"/>
                <a:gd name="connsiteY0" fmla="*/ 0 h 257442"/>
                <a:gd name="connsiteX1" fmla="*/ 2673618 w 2728340"/>
                <a:gd name="connsiteY1" fmla="*/ 257442 h 257442"/>
                <a:gd name="connsiteX2" fmla="*/ 0 w 2728340"/>
                <a:gd name="connsiteY2" fmla="*/ 257442 h 257442"/>
                <a:gd name="connsiteX3" fmla="*/ 54722 w 2728340"/>
                <a:gd name="connsiteY3" fmla="*/ 0 h 257442"/>
                <a:gd name="connsiteX0" fmla="*/ 2728340 w 2728340"/>
                <a:gd name="connsiteY0" fmla="*/ 0 h 257442"/>
                <a:gd name="connsiteX1" fmla="*/ 2673618 w 2728340"/>
                <a:gd name="connsiteY1" fmla="*/ 257442 h 257442"/>
                <a:gd name="connsiteX2" fmla="*/ 0 w 2728340"/>
                <a:gd name="connsiteY2" fmla="*/ 257442 h 257442"/>
                <a:gd name="connsiteX3" fmla="*/ 54722 w 2728340"/>
                <a:gd name="connsiteY3" fmla="*/ 0 h 257442"/>
                <a:gd name="connsiteX0" fmla="*/ 2728340 w 2728340"/>
                <a:gd name="connsiteY0" fmla="*/ 0 h 257442"/>
                <a:gd name="connsiteX1" fmla="*/ 2673618 w 2728340"/>
                <a:gd name="connsiteY1" fmla="*/ 257442 h 257442"/>
                <a:gd name="connsiteX2" fmla="*/ 0 w 2728340"/>
                <a:gd name="connsiteY2" fmla="*/ 257442 h 257442"/>
                <a:gd name="connsiteX3" fmla="*/ 54721 w 2728340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28340" h="257442">
                  <a:moveTo>
                    <a:pt x="2728340" y="0"/>
                  </a:moveTo>
                  <a:lnTo>
                    <a:pt x="2673618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btfpRunningAgenda2LevelTextRight895607">
              <a:extLst>
                <a:ext uri="{FF2B5EF4-FFF2-40B4-BE49-F238E27FC236}">
                  <a16:creationId xmlns:a16="http://schemas.microsoft.com/office/drawing/2014/main" id="{93510B09-3455-4F7F-B102-54DC45DE8705}"/>
                </a:ext>
              </a:extLst>
            </p:cNvPr>
            <p:cNvSpPr txBox="1"/>
            <p:nvPr/>
          </p:nvSpPr>
          <p:spPr bwMode="gray">
            <a:xfrm>
              <a:off x="1144574" y="876300"/>
              <a:ext cx="2673618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tailed view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86631122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btfpColumnIndicatorGroup2">
            <a:extLst>
              <a:ext uri="{FF2B5EF4-FFF2-40B4-BE49-F238E27FC236}">
                <a16:creationId xmlns:a16="http://schemas.microsoft.com/office/drawing/2014/main" id="{52B81D67-3EDC-452E-84CE-F6A64013F5D3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2" name="btfpColumnGapBlocker742866">
              <a:extLst>
                <a:ext uri="{FF2B5EF4-FFF2-40B4-BE49-F238E27FC236}">
                  <a16:creationId xmlns:a16="http://schemas.microsoft.com/office/drawing/2014/main" id="{07E9BECC-365A-413E-9486-9ADA61E09FD9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0" name="btfpColumnGapBlocker413962">
              <a:extLst>
                <a:ext uri="{FF2B5EF4-FFF2-40B4-BE49-F238E27FC236}">
                  <a16:creationId xmlns:a16="http://schemas.microsoft.com/office/drawing/2014/main" id="{41F1CF0F-1F15-4EC8-8E11-6627164B7D54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8" name="btfpColumnIndicator380753">
              <a:extLst>
                <a:ext uri="{FF2B5EF4-FFF2-40B4-BE49-F238E27FC236}">
                  <a16:creationId xmlns:a16="http://schemas.microsoft.com/office/drawing/2014/main" id="{EAF2644A-E71C-4F7F-92F7-9452C6745D98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btfpColumnIndicator805329">
              <a:extLst>
                <a:ext uri="{FF2B5EF4-FFF2-40B4-BE49-F238E27FC236}">
                  <a16:creationId xmlns:a16="http://schemas.microsoft.com/office/drawing/2014/main" id="{C1295C31-CE76-4F82-A85F-F025B1A7FDC3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btfpColumnIndicatorGroup1">
            <a:extLst>
              <a:ext uri="{FF2B5EF4-FFF2-40B4-BE49-F238E27FC236}">
                <a16:creationId xmlns:a16="http://schemas.microsoft.com/office/drawing/2014/main" id="{6905EBB9-40E5-4789-8BA0-2EBF3606D2ED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1" name="btfpColumnGapBlocker200614">
              <a:extLst>
                <a:ext uri="{FF2B5EF4-FFF2-40B4-BE49-F238E27FC236}">
                  <a16:creationId xmlns:a16="http://schemas.microsoft.com/office/drawing/2014/main" id="{50C9D07E-C6AF-4F24-99E5-A8556EA008B2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9" name="btfpColumnGapBlocker633396">
              <a:extLst>
                <a:ext uri="{FF2B5EF4-FFF2-40B4-BE49-F238E27FC236}">
                  <a16:creationId xmlns:a16="http://schemas.microsoft.com/office/drawing/2014/main" id="{BE31900E-6B3D-4259-86C1-2566C3CAD9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7" name="btfpColumnIndicator220258">
              <a:extLst>
                <a:ext uri="{FF2B5EF4-FFF2-40B4-BE49-F238E27FC236}">
                  <a16:creationId xmlns:a16="http://schemas.microsoft.com/office/drawing/2014/main" id="{43FCDE0D-96D5-4D74-89FF-484D81EAB4ED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35960">
              <a:extLst>
                <a:ext uri="{FF2B5EF4-FFF2-40B4-BE49-F238E27FC236}">
                  <a16:creationId xmlns:a16="http://schemas.microsoft.com/office/drawing/2014/main" id="{BB27DD5E-1069-4917-9042-F7688FB1DB97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5" name="btfpNotesBox200237">
            <a:extLst>
              <a:ext uri="{FF2B5EF4-FFF2-40B4-BE49-F238E27FC236}">
                <a16:creationId xmlns:a16="http://schemas.microsoft.com/office/drawing/2014/main" id="{39529393-69BE-497B-A9AB-1747A0CD619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330200" y="6200539"/>
            <a:ext cx="115316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</a:t>
            </a:r>
          </a:p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</a:t>
            </a:r>
          </a:p>
        </p:txBody>
      </p: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864587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verall_0_131935319208700938 columns_2_131938737935157758 6_1_131934894031714628 7_1_131934894032868146 8_0_131935319189993999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10796"/>
            <a:ext cx="11590336" cy="876687"/>
          </a:xfrm>
        </p:spPr>
        <p:txBody>
          <a:bodyPr/>
          <a:lstStyle/>
          <a:p>
            <a:r>
              <a:rPr lang="pl-PL" b="1"/>
              <a:t>KPC:</a:t>
            </a:r>
            <a:r>
              <a:rPr lang="en-GB" b="1"/>
              <a:t> </a:t>
            </a:r>
            <a:r>
              <a:rPr lang="en-GB"/>
              <a:t>KPC performance per competitor</a:t>
            </a:r>
            <a:r>
              <a:rPr lang="pl-PL" b="1"/>
              <a:t> </a:t>
            </a:r>
            <a:endParaRPr lang="en-AU" b="1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4ACC727B-C3EA-476E-B07B-3792CDAEA47D}"/>
              </a:ext>
            </a:extLst>
          </p:cNvPr>
          <p:cNvSpPr/>
          <p:nvPr/>
        </p:nvSpPr>
        <p:spPr bwMode="gray">
          <a:xfrm>
            <a:off x="334963" y="1266416"/>
            <a:ext cx="11522075" cy="256077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1" indent="0" algn="ctr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 </a:t>
            </a:r>
            <a:r>
              <a:rPr kumimoji="0" lang="en-AU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ow would you </a:t>
            </a:r>
            <a:r>
              <a:rPr kumimoji="0" lang="en-AU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ate &lt;brand&gt; </a:t>
            </a:r>
            <a:r>
              <a:rPr kumimoji="0" lang="en-AU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 the following criteria?</a:t>
            </a:r>
          </a:p>
        </p:txBody>
      </p:sp>
      <p:sp>
        <p:nvSpPr>
          <p:cNvPr id="86" name="Isosceles Triangle 85">
            <a:extLst>
              <a:ext uri="{FF2B5EF4-FFF2-40B4-BE49-F238E27FC236}">
                <a16:creationId xmlns:a16="http://schemas.microsoft.com/office/drawing/2014/main" id="{AF6AF951-CE64-40C1-B43F-A73AC77D5D87}"/>
              </a:ext>
            </a:extLst>
          </p:cNvPr>
          <p:cNvSpPr/>
          <p:nvPr/>
        </p:nvSpPr>
        <p:spPr bwMode="gray">
          <a:xfrm rot="5400000" flipH="1">
            <a:off x="-1463943" y="3731516"/>
            <a:ext cx="3809759" cy="211950"/>
          </a:xfrm>
          <a:prstGeom prst="triangle">
            <a:avLst>
              <a:gd name="adj" fmla="val 100000"/>
            </a:avLst>
          </a:prstGeom>
          <a:solidFill>
            <a:srgbClr val="B4B4B4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29EE8CBE-CC42-4F7C-AC6E-FE5E1F721D08}"/>
              </a:ext>
            </a:extLst>
          </p:cNvPr>
          <p:cNvSpPr txBox="1"/>
          <p:nvPr/>
        </p:nvSpPr>
        <p:spPr bwMode="gray">
          <a:xfrm rot="16200000">
            <a:off x="-745336" y="3480784"/>
            <a:ext cx="188142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1" u="none" strike="noStrike" kern="1200" cap="none" spc="0" normalizeH="0" baseline="0" noProof="0">
                <a:ln>
                  <a:noFill/>
                </a:ln>
                <a:solidFill>
                  <a:srgbClr val="85858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vel of importance</a:t>
            </a:r>
          </a:p>
        </p:txBody>
      </p:sp>
      <p:sp>
        <p:nvSpPr>
          <p:cNvPr id="88" name="btfpNumberBubble694582">
            <a:extLst>
              <a:ext uri="{FF2B5EF4-FFF2-40B4-BE49-F238E27FC236}">
                <a16:creationId xmlns:a16="http://schemas.microsoft.com/office/drawing/2014/main" id="{B46ECF38-05D2-4C8E-924B-0932D973945D}"/>
              </a:ext>
            </a:extLst>
          </p:cNvPr>
          <p:cNvSpPr/>
          <p:nvPr/>
        </p:nvSpPr>
        <p:spPr bwMode="gray">
          <a:xfrm rot="10800000">
            <a:off x="315571" y="1837122"/>
            <a:ext cx="262396" cy="262396"/>
          </a:xfrm>
          <a:prstGeom prst="ellipse">
            <a:avLst/>
          </a:prstGeom>
          <a:solidFill>
            <a:srgbClr val="B4B4B4"/>
          </a:solidFill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</a:t>
            </a:r>
          </a:p>
        </p:txBody>
      </p:sp>
      <p:sp>
        <p:nvSpPr>
          <p:cNvPr id="89" name="btfpNumberBubble694582">
            <a:extLst>
              <a:ext uri="{FF2B5EF4-FFF2-40B4-BE49-F238E27FC236}">
                <a16:creationId xmlns:a16="http://schemas.microsoft.com/office/drawing/2014/main" id="{A68914BE-1D99-449D-834C-C38540C2837B}"/>
              </a:ext>
            </a:extLst>
          </p:cNvPr>
          <p:cNvSpPr/>
          <p:nvPr/>
        </p:nvSpPr>
        <p:spPr bwMode="gray">
          <a:xfrm rot="10800000">
            <a:off x="315572" y="5416988"/>
            <a:ext cx="262396" cy="262396"/>
          </a:xfrm>
          <a:prstGeom prst="ellipse">
            <a:avLst/>
          </a:prstGeom>
          <a:solidFill>
            <a:srgbClr val="B4B4B4"/>
          </a:solidFill>
          <a:ln w="1905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</a:t>
            </a:r>
          </a:p>
        </p:txBody>
      </p:sp>
      <p:grpSp>
        <p:nvGrpSpPr>
          <p:cNvPr id="90" name="btfpRunningAgenda2Level403778">
            <a:extLst>
              <a:ext uri="{FF2B5EF4-FFF2-40B4-BE49-F238E27FC236}">
                <a16:creationId xmlns:a16="http://schemas.microsoft.com/office/drawing/2014/main" id="{01F06255-17EC-4AB9-9F9B-113CE7AF5DFA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-1" y="944429"/>
            <a:ext cx="3689210" cy="257442"/>
            <a:chOff x="-1" y="876300"/>
            <a:chExt cx="3689210" cy="257442"/>
          </a:xfrm>
        </p:grpSpPr>
        <p:sp>
          <p:nvSpPr>
            <p:cNvPr id="91" name="btfpRunningAgenda2LevelBarLeft403778">
              <a:extLst>
                <a:ext uri="{FF2B5EF4-FFF2-40B4-BE49-F238E27FC236}">
                  <a16:creationId xmlns:a16="http://schemas.microsoft.com/office/drawing/2014/main" id="{FB308611-AAC6-40E4-856C-81C487A74AF5}"/>
                </a:ext>
              </a:extLst>
            </p:cNvPr>
            <p:cNvSpPr/>
            <p:nvPr/>
          </p:nvSpPr>
          <p:spPr bwMode="gray">
            <a:xfrm>
              <a:off x="-1" y="876300"/>
              <a:ext cx="1279417" cy="257442"/>
            </a:xfrm>
            <a:custGeom>
              <a:avLst/>
              <a:gdLst>
                <a:gd name="connsiteX0" fmla="*/ 950801 w 2462432"/>
                <a:gd name="connsiteY0" fmla="*/ 0 h 257442"/>
                <a:gd name="connsiteX1" fmla="*/ 2462432 w 2462432"/>
                <a:gd name="connsiteY1" fmla="*/ 0 h 257442"/>
                <a:gd name="connsiteX2" fmla="*/ 2407711 w 2462432"/>
                <a:gd name="connsiteY2" fmla="*/ 257442 h 257442"/>
                <a:gd name="connsiteX3" fmla="*/ 0 w 2462432"/>
                <a:gd name="connsiteY3" fmla="*/ 257442 h 257442"/>
                <a:gd name="connsiteX0" fmla="*/ 950801 w 2407711"/>
                <a:gd name="connsiteY0" fmla="*/ 0 h 257442"/>
                <a:gd name="connsiteX1" fmla="*/ 896080 w 2407711"/>
                <a:gd name="connsiteY1" fmla="*/ 257442 h 257442"/>
                <a:gd name="connsiteX2" fmla="*/ 2407711 w 2407711"/>
                <a:gd name="connsiteY2" fmla="*/ 257442 h 257442"/>
                <a:gd name="connsiteX3" fmla="*/ 0 w 2407711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111100 w 1111100"/>
                <a:gd name="connsiteY0" fmla="*/ 0 h 257442"/>
                <a:gd name="connsiteX1" fmla="*/ 896079 w 1111100"/>
                <a:gd name="connsiteY1" fmla="*/ 257442 h 257442"/>
                <a:gd name="connsiteX2" fmla="*/ 0 w 1111100"/>
                <a:gd name="connsiteY2" fmla="*/ 257442 h 257442"/>
                <a:gd name="connsiteX3" fmla="*/ 0 w 1111100"/>
                <a:gd name="connsiteY3" fmla="*/ 0 h 257442"/>
                <a:gd name="connsiteX0" fmla="*/ 1111100 w 1111100"/>
                <a:gd name="connsiteY0" fmla="*/ 0 h 257442"/>
                <a:gd name="connsiteX1" fmla="*/ 1056379 w 1111100"/>
                <a:gd name="connsiteY1" fmla="*/ 257442 h 257442"/>
                <a:gd name="connsiteX2" fmla="*/ 0 w 1111100"/>
                <a:gd name="connsiteY2" fmla="*/ 257442 h 257442"/>
                <a:gd name="connsiteX3" fmla="*/ 0 w 1111100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271403 w 1271403"/>
                <a:gd name="connsiteY0" fmla="*/ 0 h 257442"/>
                <a:gd name="connsiteX1" fmla="*/ 1056380 w 1271403"/>
                <a:gd name="connsiteY1" fmla="*/ 257442 h 257442"/>
                <a:gd name="connsiteX2" fmla="*/ 0 w 1271403"/>
                <a:gd name="connsiteY2" fmla="*/ 257442 h 257442"/>
                <a:gd name="connsiteX3" fmla="*/ 1 w 1271403"/>
                <a:gd name="connsiteY3" fmla="*/ 0 h 257442"/>
                <a:gd name="connsiteX0" fmla="*/ 1271403 w 1271403"/>
                <a:gd name="connsiteY0" fmla="*/ 0 h 257442"/>
                <a:gd name="connsiteX1" fmla="*/ 1216682 w 1271403"/>
                <a:gd name="connsiteY1" fmla="*/ 257442 h 257442"/>
                <a:gd name="connsiteX2" fmla="*/ 0 w 1271403"/>
                <a:gd name="connsiteY2" fmla="*/ 257442 h 257442"/>
                <a:gd name="connsiteX3" fmla="*/ 1 w 1271403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3 w 1271403"/>
                <a:gd name="connsiteY0" fmla="*/ 0 h 257442"/>
                <a:gd name="connsiteX1" fmla="*/ 1216682 w 1271403"/>
                <a:gd name="connsiteY1" fmla="*/ 257442 h 257442"/>
                <a:gd name="connsiteX2" fmla="*/ 1 w 1271403"/>
                <a:gd name="connsiteY2" fmla="*/ 257442 h 257442"/>
                <a:gd name="connsiteX3" fmla="*/ 0 w 1271403"/>
                <a:gd name="connsiteY3" fmla="*/ 0 h 257442"/>
                <a:gd name="connsiteX0" fmla="*/ 950802 w 1216682"/>
                <a:gd name="connsiteY0" fmla="*/ 0 h 257442"/>
                <a:gd name="connsiteX1" fmla="*/ 1216682 w 1216682"/>
                <a:gd name="connsiteY1" fmla="*/ 257442 h 257442"/>
                <a:gd name="connsiteX2" fmla="*/ 1 w 1216682"/>
                <a:gd name="connsiteY2" fmla="*/ 257442 h 257442"/>
                <a:gd name="connsiteX3" fmla="*/ 0 w 1216682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1 w 950802"/>
                <a:gd name="connsiteY2" fmla="*/ 257442 h 257442"/>
                <a:gd name="connsiteX3" fmla="*/ 0 w 950802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1 w 950802"/>
                <a:gd name="connsiteY2" fmla="*/ 257442 h 257442"/>
                <a:gd name="connsiteX3" fmla="*/ 0 w 95080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97050 w 1297050"/>
                <a:gd name="connsiteY0" fmla="*/ 0 h 257442"/>
                <a:gd name="connsiteX1" fmla="*/ 1056380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8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1 w 1297051"/>
                <a:gd name="connsiteY0" fmla="*/ 0 h 257442"/>
                <a:gd name="connsiteX1" fmla="*/ 1242329 w 1297051"/>
                <a:gd name="connsiteY1" fmla="*/ 257442 h 257442"/>
                <a:gd name="connsiteX2" fmla="*/ 0 w 1297051"/>
                <a:gd name="connsiteY2" fmla="*/ 257442 h 257442"/>
                <a:gd name="connsiteX3" fmla="*/ 1 w 1297051"/>
                <a:gd name="connsiteY3" fmla="*/ 0 h 257442"/>
                <a:gd name="connsiteX0" fmla="*/ 1297051 w 1297051"/>
                <a:gd name="connsiteY0" fmla="*/ 0 h 257442"/>
                <a:gd name="connsiteX1" fmla="*/ 1242329 w 1297051"/>
                <a:gd name="connsiteY1" fmla="*/ 257442 h 257442"/>
                <a:gd name="connsiteX2" fmla="*/ 0 w 1297051"/>
                <a:gd name="connsiteY2" fmla="*/ 257442 h 257442"/>
                <a:gd name="connsiteX3" fmla="*/ 1 w 1297051"/>
                <a:gd name="connsiteY3" fmla="*/ 0 h 257442"/>
                <a:gd name="connsiteX0" fmla="*/ 1474984 w 1474984"/>
                <a:gd name="connsiteY0" fmla="*/ 0 h 257442"/>
                <a:gd name="connsiteX1" fmla="*/ 1242329 w 1474984"/>
                <a:gd name="connsiteY1" fmla="*/ 257442 h 257442"/>
                <a:gd name="connsiteX2" fmla="*/ 0 w 1474984"/>
                <a:gd name="connsiteY2" fmla="*/ 257442 h 257442"/>
                <a:gd name="connsiteX3" fmla="*/ 1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1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1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652916 w 1652916"/>
                <a:gd name="connsiteY0" fmla="*/ 0 h 257442"/>
                <a:gd name="connsiteX1" fmla="*/ 1420262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821231 w 1821231"/>
                <a:gd name="connsiteY0" fmla="*/ 0 h 257442"/>
                <a:gd name="connsiteX1" fmla="*/ 1598195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989547 w 1989547"/>
                <a:gd name="connsiteY0" fmla="*/ 0 h 257442"/>
                <a:gd name="connsiteX1" fmla="*/ 1766510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1989547 w 1989547"/>
                <a:gd name="connsiteY0" fmla="*/ 0 h 257442"/>
                <a:gd name="connsiteX1" fmla="*/ 1934826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1989547 w 1989547"/>
                <a:gd name="connsiteY0" fmla="*/ 0 h 257442"/>
                <a:gd name="connsiteX1" fmla="*/ 1934826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1989547 w 1989547"/>
                <a:gd name="connsiteY0" fmla="*/ 0 h 257442"/>
                <a:gd name="connsiteX1" fmla="*/ 1934826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2149847 w 2149847"/>
                <a:gd name="connsiteY0" fmla="*/ 0 h 257442"/>
                <a:gd name="connsiteX1" fmla="*/ 1934826 w 2149847"/>
                <a:gd name="connsiteY1" fmla="*/ 257442 h 257442"/>
                <a:gd name="connsiteX2" fmla="*/ 0 w 2149847"/>
                <a:gd name="connsiteY2" fmla="*/ 257442 h 257442"/>
                <a:gd name="connsiteX3" fmla="*/ 0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0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0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0 w 2149847"/>
                <a:gd name="connsiteY3" fmla="*/ 0 h 257442"/>
                <a:gd name="connsiteX0" fmla="*/ 2318162 w 2318162"/>
                <a:gd name="connsiteY0" fmla="*/ 0 h 257442"/>
                <a:gd name="connsiteX1" fmla="*/ 2095126 w 2318162"/>
                <a:gd name="connsiteY1" fmla="*/ 257442 h 257442"/>
                <a:gd name="connsiteX2" fmla="*/ 0 w 2318162"/>
                <a:gd name="connsiteY2" fmla="*/ 257442 h 257442"/>
                <a:gd name="connsiteX3" fmla="*/ 0 w 2318162"/>
                <a:gd name="connsiteY3" fmla="*/ 0 h 257442"/>
                <a:gd name="connsiteX0" fmla="*/ 2318162 w 2318162"/>
                <a:gd name="connsiteY0" fmla="*/ 0 h 257442"/>
                <a:gd name="connsiteX1" fmla="*/ 2263440 w 2318162"/>
                <a:gd name="connsiteY1" fmla="*/ 257442 h 257442"/>
                <a:gd name="connsiteX2" fmla="*/ 0 w 2318162"/>
                <a:gd name="connsiteY2" fmla="*/ 257442 h 257442"/>
                <a:gd name="connsiteX3" fmla="*/ 0 w 2318162"/>
                <a:gd name="connsiteY3" fmla="*/ 0 h 257442"/>
                <a:gd name="connsiteX0" fmla="*/ 2318163 w 2318163"/>
                <a:gd name="connsiteY0" fmla="*/ 0 h 257442"/>
                <a:gd name="connsiteX1" fmla="*/ 2263441 w 2318163"/>
                <a:gd name="connsiteY1" fmla="*/ 257442 h 257442"/>
                <a:gd name="connsiteX2" fmla="*/ 0 w 2318163"/>
                <a:gd name="connsiteY2" fmla="*/ 257442 h 257442"/>
                <a:gd name="connsiteX3" fmla="*/ 1 w 2318163"/>
                <a:gd name="connsiteY3" fmla="*/ 0 h 257442"/>
                <a:gd name="connsiteX0" fmla="*/ 2318163 w 2318163"/>
                <a:gd name="connsiteY0" fmla="*/ 0 h 257442"/>
                <a:gd name="connsiteX1" fmla="*/ 2263441 w 2318163"/>
                <a:gd name="connsiteY1" fmla="*/ 257442 h 257442"/>
                <a:gd name="connsiteX2" fmla="*/ 0 w 2318163"/>
                <a:gd name="connsiteY2" fmla="*/ 257442 h 257442"/>
                <a:gd name="connsiteX3" fmla="*/ 1 w 2318163"/>
                <a:gd name="connsiteY3" fmla="*/ 0 h 257442"/>
                <a:gd name="connsiteX0" fmla="*/ 2419153 w 2419153"/>
                <a:gd name="connsiteY0" fmla="*/ 0 h 257442"/>
                <a:gd name="connsiteX1" fmla="*/ 2263441 w 2419153"/>
                <a:gd name="connsiteY1" fmla="*/ 257442 h 257442"/>
                <a:gd name="connsiteX2" fmla="*/ 0 w 2419153"/>
                <a:gd name="connsiteY2" fmla="*/ 257442 h 257442"/>
                <a:gd name="connsiteX3" fmla="*/ 1 w 2419153"/>
                <a:gd name="connsiteY3" fmla="*/ 0 h 257442"/>
                <a:gd name="connsiteX0" fmla="*/ 2419153 w 2419153"/>
                <a:gd name="connsiteY0" fmla="*/ 0 h 257442"/>
                <a:gd name="connsiteX1" fmla="*/ 2364432 w 2419153"/>
                <a:gd name="connsiteY1" fmla="*/ 257442 h 257442"/>
                <a:gd name="connsiteX2" fmla="*/ 0 w 2419153"/>
                <a:gd name="connsiteY2" fmla="*/ 257442 h 257442"/>
                <a:gd name="connsiteX3" fmla="*/ 1 w 2419153"/>
                <a:gd name="connsiteY3" fmla="*/ 0 h 257442"/>
                <a:gd name="connsiteX0" fmla="*/ 2419152 w 2419152"/>
                <a:gd name="connsiteY0" fmla="*/ 0 h 257442"/>
                <a:gd name="connsiteX1" fmla="*/ 2364431 w 2419152"/>
                <a:gd name="connsiteY1" fmla="*/ 257442 h 257442"/>
                <a:gd name="connsiteX2" fmla="*/ 0 w 2419152"/>
                <a:gd name="connsiteY2" fmla="*/ 257442 h 257442"/>
                <a:gd name="connsiteX3" fmla="*/ 0 w 2419152"/>
                <a:gd name="connsiteY3" fmla="*/ 0 h 257442"/>
                <a:gd name="connsiteX0" fmla="*/ 2419153 w 2419153"/>
                <a:gd name="connsiteY0" fmla="*/ 0 h 257442"/>
                <a:gd name="connsiteX1" fmla="*/ 2364432 w 2419153"/>
                <a:gd name="connsiteY1" fmla="*/ 257442 h 257442"/>
                <a:gd name="connsiteX2" fmla="*/ 1 w 2419153"/>
                <a:gd name="connsiteY2" fmla="*/ 257442 h 257442"/>
                <a:gd name="connsiteX3" fmla="*/ 0 w 2419153"/>
                <a:gd name="connsiteY3" fmla="*/ 0 h 257442"/>
                <a:gd name="connsiteX0" fmla="*/ 2587468 w 2587468"/>
                <a:gd name="connsiteY0" fmla="*/ 0 h 257442"/>
                <a:gd name="connsiteX1" fmla="*/ 2364432 w 2587468"/>
                <a:gd name="connsiteY1" fmla="*/ 257442 h 257442"/>
                <a:gd name="connsiteX2" fmla="*/ 1 w 2587468"/>
                <a:gd name="connsiteY2" fmla="*/ 257442 h 257442"/>
                <a:gd name="connsiteX3" fmla="*/ 0 w 2587468"/>
                <a:gd name="connsiteY3" fmla="*/ 0 h 257442"/>
                <a:gd name="connsiteX0" fmla="*/ 2587468 w 2587468"/>
                <a:gd name="connsiteY0" fmla="*/ 0 h 257442"/>
                <a:gd name="connsiteX1" fmla="*/ 2532746 w 2587468"/>
                <a:gd name="connsiteY1" fmla="*/ 257442 h 257442"/>
                <a:gd name="connsiteX2" fmla="*/ 1 w 2587468"/>
                <a:gd name="connsiteY2" fmla="*/ 257442 h 257442"/>
                <a:gd name="connsiteX3" fmla="*/ 0 w 2587468"/>
                <a:gd name="connsiteY3" fmla="*/ 0 h 257442"/>
                <a:gd name="connsiteX0" fmla="*/ 2587468 w 2587468"/>
                <a:gd name="connsiteY0" fmla="*/ 0 h 257442"/>
                <a:gd name="connsiteX1" fmla="*/ 2532746 w 2587468"/>
                <a:gd name="connsiteY1" fmla="*/ 257442 h 257442"/>
                <a:gd name="connsiteX2" fmla="*/ 0 w 2587468"/>
                <a:gd name="connsiteY2" fmla="*/ 257442 h 257442"/>
                <a:gd name="connsiteX3" fmla="*/ 0 w 2587468"/>
                <a:gd name="connsiteY3" fmla="*/ 0 h 257442"/>
                <a:gd name="connsiteX0" fmla="*/ 2587468 w 2587468"/>
                <a:gd name="connsiteY0" fmla="*/ 0 h 257442"/>
                <a:gd name="connsiteX1" fmla="*/ 2532746 w 2587468"/>
                <a:gd name="connsiteY1" fmla="*/ 257442 h 257442"/>
                <a:gd name="connsiteX2" fmla="*/ 0 w 2587468"/>
                <a:gd name="connsiteY2" fmla="*/ 257442 h 257442"/>
                <a:gd name="connsiteX3" fmla="*/ 0 w 2587468"/>
                <a:gd name="connsiteY3" fmla="*/ 0 h 257442"/>
                <a:gd name="connsiteX0" fmla="*/ 2747767 w 2747767"/>
                <a:gd name="connsiteY0" fmla="*/ 0 h 257442"/>
                <a:gd name="connsiteX1" fmla="*/ 2532746 w 2747767"/>
                <a:gd name="connsiteY1" fmla="*/ 257442 h 257442"/>
                <a:gd name="connsiteX2" fmla="*/ 0 w 2747767"/>
                <a:gd name="connsiteY2" fmla="*/ 257442 h 257442"/>
                <a:gd name="connsiteX3" fmla="*/ 0 w 2747767"/>
                <a:gd name="connsiteY3" fmla="*/ 0 h 257442"/>
                <a:gd name="connsiteX0" fmla="*/ 2747767 w 2747767"/>
                <a:gd name="connsiteY0" fmla="*/ 0 h 257442"/>
                <a:gd name="connsiteX1" fmla="*/ 2693046 w 2747767"/>
                <a:gd name="connsiteY1" fmla="*/ 257442 h 257442"/>
                <a:gd name="connsiteX2" fmla="*/ 0 w 2747767"/>
                <a:gd name="connsiteY2" fmla="*/ 257442 h 257442"/>
                <a:gd name="connsiteX3" fmla="*/ 0 w 2747767"/>
                <a:gd name="connsiteY3" fmla="*/ 0 h 257442"/>
                <a:gd name="connsiteX0" fmla="*/ 2747767 w 2747767"/>
                <a:gd name="connsiteY0" fmla="*/ 0 h 257442"/>
                <a:gd name="connsiteX1" fmla="*/ 2693046 w 2747767"/>
                <a:gd name="connsiteY1" fmla="*/ 257442 h 257442"/>
                <a:gd name="connsiteX2" fmla="*/ 0 w 2747767"/>
                <a:gd name="connsiteY2" fmla="*/ 257442 h 257442"/>
                <a:gd name="connsiteX3" fmla="*/ 0 w 2747767"/>
                <a:gd name="connsiteY3" fmla="*/ 0 h 257442"/>
                <a:gd name="connsiteX0" fmla="*/ 2747767 w 2747767"/>
                <a:gd name="connsiteY0" fmla="*/ 0 h 257442"/>
                <a:gd name="connsiteX1" fmla="*/ 2693046 w 2747767"/>
                <a:gd name="connsiteY1" fmla="*/ 257442 h 257442"/>
                <a:gd name="connsiteX2" fmla="*/ 0 w 2747767"/>
                <a:gd name="connsiteY2" fmla="*/ 257442 h 257442"/>
                <a:gd name="connsiteX3" fmla="*/ 0 w 2747767"/>
                <a:gd name="connsiteY3" fmla="*/ 0 h 257442"/>
                <a:gd name="connsiteX0" fmla="*/ 950801 w 2693046"/>
                <a:gd name="connsiteY0" fmla="*/ 0 h 257442"/>
                <a:gd name="connsiteX1" fmla="*/ 2693046 w 2693046"/>
                <a:gd name="connsiteY1" fmla="*/ 257442 h 257442"/>
                <a:gd name="connsiteX2" fmla="*/ 0 w 2693046"/>
                <a:gd name="connsiteY2" fmla="*/ 257442 h 257442"/>
                <a:gd name="connsiteX3" fmla="*/ 0 w 2693046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782549 w 896079"/>
                <a:gd name="connsiteY0" fmla="*/ 0 h 257442"/>
                <a:gd name="connsiteX1" fmla="*/ 896079 w 896079"/>
                <a:gd name="connsiteY1" fmla="*/ 257442 h 257442"/>
                <a:gd name="connsiteX2" fmla="*/ 0 w 896079"/>
                <a:gd name="connsiteY2" fmla="*/ 257442 h 257442"/>
                <a:gd name="connsiteX3" fmla="*/ 0 w 896079"/>
                <a:gd name="connsiteY3" fmla="*/ 0 h 257442"/>
                <a:gd name="connsiteX0" fmla="*/ 782549 w 782549"/>
                <a:gd name="connsiteY0" fmla="*/ 0 h 257442"/>
                <a:gd name="connsiteX1" fmla="*/ 727829 w 782549"/>
                <a:gd name="connsiteY1" fmla="*/ 257442 h 257442"/>
                <a:gd name="connsiteX2" fmla="*/ 0 w 782549"/>
                <a:gd name="connsiteY2" fmla="*/ 257442 h 257442"/>
                <a:gd name="connsiteX3" fmla="*/ 0 w 782549"/>
                <a:gd name="connsiteY3" fmla="*/ 0 h 257442"/>
                <a:gd name="connsiteX0" fmla="*/ 782549 w 782549"/>
                <a:gd name="connsiteY0" fmla="*/ 0 h 257442"/>
                <a:gd name="connsiteX1" fmla="*/ 727829 w 782549"/>
                <a:gd name="connsiteY1" fmla="*/ 257442 h 257442"/>
                <a:gd name="connsiteX2" fmla="*/ 0 w 782549"/>
                <a:gd name="connsiteY2" fmla="*/ 257442 h 257442"/>
                <a:gd name="connsiteX3" fmla="*/ 0 w 782549"/>
                <a:gd name="connsiteY3" fmla="*/ 0 h 257442"/>
                <a:gd name="connsiteX0" fmla="*/ 782549 w 782549"/>
                <a:gd name="connsiteY0" fmla="*/ 0 h 257442"/>
                <a:gd name="connsiteX1" fmla="*/ 727829 w 782549"/>
                <a:gd name="connsiteY1" fmla="*/ 257442 h 257442"/>
                <a:gd name="connsiteX2" fmla="*/ 0 w 782549"/>
                <a:gd name="connsiteY2" fmla="*/ 257442 h 257442"/>
                <a:gd name="connsiteX3" fmla="*/ 0 w 782549"/>
                <a:gd name="connsiteY3" fmla="*/ 0 h 257442"/>
                <a:gd name="connsiteX0" fmla="*/ 950801 w 950801"/>
                <a:gd name="connsiteY0" fmla="*/ 0 h 257442"/>
                <a:gd name="connsiteX1" fmla="*/ 727829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71402 w 1271402"/>
                <a:gd name="connsiteY0" fmla="*/ 0 h 257442"/>
                <a:gd name="connsiteX1" fmla="*/ 1056380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2 w 1271402"/>
                <a:gd name="connsiteY0" fmla="*/ 0 h 257442"/>
                <a:gd name="connsiteX1" fmla="*/ 1216680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3 w 1271403"/>
                <a:gd name="connsiteY0" fmla="*/ 0 h 257442"/>
                <a:gd name="connsiteX1" fmla="*/ 1216681 w 1271403"/>
                <a:gd name="connsiteY1" fmla="*/ 257442 h 257442"/>
                <a:gd name="connsiteX2" fmla="*/ 0 w 1271403"/>
                <a:gd name="connsiteY2" fmla="*/ 257442 h 257442"/>
                <a:gd name="connsiteX3" fmla="*/ 1 w 1271403"/>
                <a:gd name="connsiteY3" fmla="*/ 0 h 257442"/>
                <a:gd name="connsiteX0" fmla="*/ 1271403 w 1271403"/>
                <a:gd name="connsiteY0" fmla="*/ 0 h 257442"/>
                <a:gd name="connsiteX1" fmla="*/ 1216681 w 1271403"/>
                <a:gd name="connsiteY1" fmla="*/ 257442 h 257442"/>
                <a:gd name="connsiteX2" fmla="*/ 0 w 1271403"/>
                <a:gd name="connsiteY2" fmla="*/ 257442 h 257442"/>
                <a:gd name="connsiteX3" fmla="*/ 1 w 1271403"/>
                <a:gd name="connsiteY3" fmla="*/ 0 h 257442"/>
                <a:gd name="connsiteX0" fmla="*/ 1423688 w 1423688"/>
                <a:gd name="connsiteY0" fmla="*/ 0 h 257442"/>
                <a:gd name="connsiteX1" fmla="*/ 1216681 w 1423688"/>
                <a:gd name="connsiteY1" fmla="*/ 257442 h 257442"/>
                <a:gd name="connsiteX2" fmla="*/ 0 w 1423688"/>
                <a:gd name="connsiteY2" fmla="*/ 257442 h 257442"/>
                <a:gd name="connsiteX3" fmla="*/ 1 w 1423688"/>
                <a:gd name="connsiteY3" fmla="*/ 0 h 257442"/>
                <a:gd name="connsiteX0" fmla="*/ 1423688 w 1423688"/>
                <a:gd name="connsiteY0" fmla="*/ 0 h 257442"/>
                <a:gd name="connsiteX1" fmla="*/ 1368966 w 1423688"/>
                <a:gd name="connsiteY1" fmla="*/ 257442 h 257442"/>
                <a:gd name="connsiteX2" fmla="*/ 0 w 1423688"/>
                <a:gd name="connsiteY2" fmla="*/ 257442 h 257442"/>
                <a:gd name="connsiteX3" fmla="*/ 1 w 1423688"/>
                <a:gd name="connsiteY3" fmla="*/ 0 h 257442"/>
                <a:gd name="connsiteX0" fmla="*/ 1423688 w 1423688"/>
                <a:gd name="connsiteY0" fmla="*/ 0 h 257442"/>
                <a:gd name="connsiteX1" fmla="*/ 1368966 w 1423688"/>
                <a:gd name="connsiteY1" fmla="*/ 257442 h 257442"/>
                <a:gd name="connsiteX2" fmla="*/ 0 w 1423688"/>
                <a:gd name="connsiteY2" fmla="*/ 257442 h 257442"/>
                <a:gd name="connsiteX3" fmla="*/ 1 w 1423688"/>
                <a:gd name="connsiteY3" fmla="*/ 0 h 257442"/>
                <a:gd name="connsiteX0" fmla="*/ 1423688 w 1423688"/>
                <a:gd name="connsiteY0" fmla="*/ 0 h 257442"/>
                <a:gd name="connsiteX1" fmla="*/ 1368966 w 1423688"/>
                <a:gd name="connsiteY1" fmla="*/ 257442 h 257442"/>
                <a:gd name="connsiteX2" fmla="*/ 0 w 1423688"/>
                <a:gd name="connsiteY2" fmla="*/ 257442 h 257442"/>
                <a:gd name="connsiteX3" fmla="*/ 0 w 1423688"/>
                <a:gd name="connsiteY3" fmla="*/ 0 h 257442"/>
                <a:gd name="connsiteX0" fmla="*/ 1592002 w 1592002"/>
                <a:gd name="connsiteY0" fmla="*/ 0 h 257442"/>
                <a:gd name="connsiteX1" fmla="*/ 1368966 w 1592002"/>
                <a:gd name="connsiteY1" fmla="*/ 257442 h 257442"/>
                <a:gd name="connsiteX2" fmla="*/ 0 w 1592002"/>
                <a:gd name="connsiteY2" fmla="*/ 257442 h 257442"/>
                <a:gd name="connsiteX3" fmla="*/ 0 w 1592002"/>
                <a:gd name="connsiteY3" fmla="*/ 0 h 257442"/>
                <a:gd name="connsiteX0" fmla="*/ 1592002 w 1592002"/>
                <a:gd name="connsiteY0" fmla="*/ 0 h 257442"/>
                <a:gd name="connsiteX1" fmla="*/ 1537281 w 1592002"/>
                <a:gd name="connsiteY1" fmla="*/ 257442 h 257442"/>
                <a:gd name="connsiteX2" fmla="*/ 0 w 1592002"/>
                <a:gd name="connsiteY2" fmla="*/ 257442 h 257442"/>
                <a:gd name="connsiteX3" fmla="*/ 0 w 1592002"/>
                <a:gd name="connsiteY3" fmla="*/ 0 h 257442"/>
                <a:gd name="connsiteX0" fmla="*/ 1592002 w 1592002"/>
                <a:gd name="connsiteY0" fmla="*/ 0 h 257442"/>
                <a:gd name="connsiteX1" fmla="*/ 1537281 w 1592002"/>
                <a:gd name="connsiteY1" fmla="*/ 257442 h 257442"/>
                <a:gd name="connsiteX2" fmla="*/ 0 w 1592002"/>
                <a:gd name="connsiteY2" fmla="*/ 257442 h 257442"/>
                <a:gd name="connsiteX3" fmla="*/ 0 w 1592002"/>
                <a:gd name="connsiteY3" fmla="*/ 0 h 257442"/>
                <a:gd name="connsiteX0" fmla="*/ 1592002 w 1592002"/>
                <a:gd name="connsiteY0" fmla="*/ 0 h 257442"/>
                <a:gd name="connsiteX1" fmla="*/ 1537281 w 1592002"/>
                <a:gd name="connsiteY1" fmla="*/ 257442 h 257442"/>
                <a:gd name="connsiteX2" fmla="*/ 0 w 1592002"/>
                <a:gd name="connsiteY2" fmla="*/ 257442 h 257442"/>
                <a:gd name="connsiteX3" fmla="*/ 0 w 1592002"/>
                <a:gd name="connsiteY3" fmla="*/ 0 h 257442"/>
                <a:gd name="connsiteX0" fmla="*/ 1752303 w 1752303"/>
                <a:gd name="connsiteY0" fmla="*/ 0 h 257442"/>
                <a:gd name="connsiteX1" fmla="*/ 1537281 w 1752303"/>
                <a:gd name="connsiteY1" fmla="*/ 257442 h 257442"/>
                <a:gd name="connsiteX2" fmla="*/ 0 w 1752303"/>
                <a:gd name="connsiteY2" fmla="*/ 257442 h 257442"/>
                <a:gd name="connsiteX3" fmla="*/ 0 w 1752303"/>
                <a:gd name="connsiteY3" fmla="*/ 0 h 257442"/>
                <a:gd name="connsiteX0" fmla="*/ 1752303 w 1752303"/>
                <a:gd name="connsiteY0" fmla="*/ 0 h 257442"/>
                <a:gd name="connsiteX1" fmla="*/ 1697582 w 1752303"/>
                <a:gd name="connsiteY1" fmla="*/ 257442 h 257442"/>
                <a:gd name="connsiteX2" fmla="*/ 0 w 1752303"/>
                <a:gd name="connsiteY2" fmla="*/ 257442 h 257442"/>
                <a:gd name="connsiteX3" fmla="*/ 0 w 1752303"/>
                <a:gd name="connsiteY3" fmla="*/ 0 h 257442"/>
                <a:gd name="connsiteX0" fmla="*/ 1752303 w 1752303"/>
                <a:gd name="connsiteY0" fmla="*/ 0 h 257442"/>
                <a:gd name="connsiteX1" fmla="*/ 1697582 w 1752303"/>
                <a:gd name="connsiteY1" fmla="*/ 257442 h 257442"/>
                <a:gd name="connsiteX2" fmla="*/ 0 w 1752303"/>
                <a:gd name="connsiteY2" fmla="*/ 257442 h 257442"/>
                <a:gd name="connsiteX3" fmla="*/ 0 w 1752303"/>
                <a:gd name="connsiteY3" fmla="*/ 0 h 257442"/>
                <a:gd name="connsiteX0" fmla="*/ 1752303 w 1752303"/>
                <a:gd name="connsiteY0" fmla="*/ 0 h 257442"/>
                <a:gd name="connsiteX1" fmla="*/ 1697582 w 1752303"/>
                <a:gd name="connsiteY1" fmla="*/ 257442 h 257442"/>
                <a:gd name="connsiteX2" fmla="*/ 0 w 1752303"/>
                <a:gd name="connsiteY2" fmla="*/ 257442 h 257442"/>
                <a:gd name="connsiteX3" fmla="*/ 0 w 1752303"/>
                <a:gd name="connsiteY3" fmla="*/ 0 h 257442"/>
                <a:gd name="connsiteX0" fmla="*/ 1904587 w 1904587"/>
                <a:gd name="connsiteY0" fmla="*/ 0 h 257442"/>
                <a:gd name="connsiteX1" fmla="*/ 1697582 w 1904587"/>
                <a:gd name="connsiteY1" fmla="*/ 257442 h 257442"/>
                <a:gd name="connsiteX2" fmla="*/ 0 w 1904587"/>
                <a:gd name="connsiteY2" fmla="*/ 257442 h 257442"/>
                <a:gd name="connsiteX3" fmla="*/ 0 w 1904587"/>
                <a:gd name="connsiteY3" fmla="*/ 0 h 257442"/>
                <a:gd name="connsiteX0" fmla="*/ 1904587 w 1904587"/>
                <a:gd name="connsiteY0" fmla="*/ 0 h 257442"/>
                <a:gd name="connsiteX1" fmla="*/ 1849866 w 1904587"/>
                <a:gd name="connsiteY1" fmla="*/ 257442 h 257442"/>
                <a:gd name="connsiteX2" fmla="*/ 0 w 1904587"/>
                <a:gd name="connsiteY2" fmla="*/ 257442 h 257442"/>
                <a:gd name="connsiteX3" fmla="*/ 0 w 1904587"/>
                <a:gd name="connsiteY3" fmla="*/ 0 h 257442"/>
                <a:gd name="connsiteX0" fmla="*/ 1904587 w 1904587"/>
                <a:gd name="connsiteY0" fmla="*/ 0 h 257442"/>
                <a:gd name="connsiteX1" fmla="*/ 1849866 w 1904587"/>
                <a:gd name="connsiteY1" fmla="*/ 257442 h 257442"/>
                <a:gd name="connsiteX2" fmla="*/ 0 w 1904587"/>
                <a:gd name="connsiteY2" fmla="*/ 257442 h 257442"/>
                <a:gd name="connsiteX3" fmla="*/ 0 w 1904587"/>
                <a:gd name="connsiteY3" fmla="*/ 0 h 257442"/>
                <a:gd name="connsiteX0" fmla="*/ 1904587 w 1904587"/>
                <a:gd name="connsiteY0" fmla="*/ 0 h 257442"/>
                <a:gd name="connsiteX1" fmla="*/ 1849866 w 1904587"/>
                <a:gd name="connsiteY1" fmla="*/ 257442 h 257442"/>
                <a:gd name="connsiteX2" fmla="*/ 0 w 1904587"/>
                <a:gd name="connsiteY2" fmla="*/ 257442 h 257442"/>
                <a:gd name="connsiteX3" fmla="*/ 0 w 1904587"/>
                <a:gd name="connsiteY3" fmla="*/ 0 h 257442"/>
                <a:gd name="connsiteX0" fmla="*/ 2005577 w 2005577"/>
                <a:gd name="connsiteY0" fmla="*/ 0 h 257442"/>
                <a:gd name="connsiteX1" fmla="*/ 1849866 w 2005577"/>
                <a:gd name="connsiteY1" fmla="*/ 257442 h 257442"/>
                <a:gd name="connsiteX2" fmla="*/ 0 w 2005577"/>
                <a:gd name="connsiteY2" fmla="*/ 257442 h 257442"/>
                <a:gd name="connsiteX3" fmla="*/ 0 w 2005577"/>
                <a:gd name="connsiteY3" fmla="*/ 0 h 257442"/>
                <a:gd name="connsiteX0" fmla="*/ 2005577 w 2005577"/>
                <a:gd name="connsiteY0" fmla="*/ 0 h 257442"/>
                <a:gd name="connsiteX1" fmla="*/ 1950856 w 2005577"/>
                <a:gd name="connsiteY1" fmla="*/ 257442 h 257442"/>
                <a:gd name="connsiteX2" fmla="*/ 0 w 2005577"/>
                <a:gd name="connsiteY2" fmla="*/ 257442 h 257442"/>
                <a:gd name="connsiteX3" fmla="*/ 0 w 2005577"/>
                <a:gd name="connsiteY3" fmla="*/ 0 h 257442"/>
                <a:gd name="connsiteX0" fmla="*/ 2005577 w 2005577"/>
                <a:gd name="connsiteY0" fmla="*/ 0 h 257442"/>
                <a:gd name="connsiteX1" fmla="*/ 1950856 w 2005577"/>
                <a:gd name="connsiteY1" fmla="*/ 257442 h 257442"/>
                <a:gd name="connsiteX2" fmla="*/ 0 w 2005577"/>
                <a:gd name="connsiteY2" fmla="*/ 257442 h 257442"/>
                <a:gd name="connsiteX3" fmla="*/ 0 w 2005577"/>
                <a:gd name="connsiteY3" fmla="*/ 0 h 257442"/>
                <a:gd name="connsiteX0" fmla="*/ 2005577 w 2005577"/>
                <a:gd name="connsiteY0" fmla="*/ 0 h 257442"/>
                <a:gd name="connsiteX1" fmla="*/ 1950856 w 2005577"/>
                <a:gd name="connsiteY1" fmla="*/ 257442 h 257442"/>
                <a:gd name="connsiteX2" fmla="*/ 0 w 2005577"/>
                <a:gd name="connsiteY2" fmla="*/ 257442 h 257442"/>
                <a:gd name="connsiteX3" fmla="*/ 0 w 2005577"/>
                <a:gd name="connsiteY3" fmla="*/ 0 h 257442"/>
                <a:gd name="connsiteX0" fmla="*/ 2173892 w 2173892"/>
                <a:gd name="connsiteY0" fmla="*/ 0 h 257442"/>
                <a:gd name="connsiteX1" fmla="*/ 1950856 w 2173892"/>
                <a:gd name="connsiteY1" fmla="*/ 257442 h 257442"/>
                <a:gd name="connsiteX2" fmla="*/ 0 w 2173892"/>
                <a:gd name="connsiteY2" fmla="*/ 257442 h 257442"/>
                <a:gd name="connsiteX3" fmla="*/ 0 w 2173892"/>
                <a:gd name="connsiteY3" fmla="*/ 0 h 257442"/>
                <a:gd name="connsiteX0" fmla="*/ 2173892 w 2173892"/>
                <a:gd name="connsiteY0" fmla="*/ 0 h 257442"/>
                <a:gd name="connsiteX1" fmla="*/ 2119170 w 2173892"/>
                <a:gd name="connsiteY1" fmla="*/ 257442 h 257442"/>
                <a:gd name="connsiteX2" fmla="*/ 0 w 2173892"/>
                <a:gd name="connsiteY2" fmla="*/ 257442 h 257442"/>
                <a:gd name="connsiteX3" fmla="*/ 0 w 2173892"/>
                <a:gd name="connsiteY3" fmla="*/ 0 h 257442"/>
                <a:gd name="connsiteX0" fmla="*/ 2173893 w 2173893"/>
                <a:gd name="connsiteY0" fmla="*/ 0 h 257442"/>
                <a:gd name="connsiteX1" fmla="*/ 2119171 w 2173893"/>
                <a:gd name="connsiteY1" fmla="*/ 257442 h 257442"/>
                <a:gd name="connsiteX2" fmla="*/ 0 w 2173893"/>
                <a:gd name="connsiteY2" fmla="*/ 257442 h 257442"/>
                <a:gd name="connsiteX3" fmla="*/ 1 w 2173893"/>
                <a:gd name="connsiteY3" fmla="*/ 0 h 257442"/>
                <a:gd name="connsiteX0" fmla="*/ 2173893 w 2173893"/>
                <a:gd name="connsiteY0" fmla="*/ 0 h 257442"/>
                <a:gd name="connsiteX1" fmla="*/ 2119171 w 2173893"/>
                <a:gd name="connsiteY1" fmla="*/ 257442 h 257442"/>
                <a:gd name="connsiteX2" fmla="*/ 0 w 2173893"/>
                <a:gd name="connsiteY2" fmla="*/ 257442 h 257442"/>
                <a:gd name="connsiteX3" fmla="*/ 1 w 2173893"/>
                <a:gd name="connsiteY3" fmla="*/ 0 h 257442"/>
                <a:gd name="connsiteX0" fmla="*/ 2274883 w 2274883"/>
                <a:gd name="connsiteY0" fmla="*/ 0 h 257442"/>
                <a:gd name="connsiteX1" fmla="*/ 2119171 w 2274883"/>
                <a:gd name="connsiteY1" fmla="*/ 257442 h 257442"/>
                <a:gd name="connsiteX2" fmla="*/ 0 w 2274883"/>
                <a:gd name="connsiteY2" fmla="*/ 257442 h 257442"/>
                <a:gd name="connsiteX3" fmla="*/ 1 w 2274883"/>
                <a:gd name="connsiteY3" fmla="*/ 0 h 257442"/>
                <a:gd name="connsiteX0" fmla="*/ 2274883 w 2274883"/>
                <a:gd name="connsiteY0" fmla="*/ 0 h 257442"/>
                <a:gd name="connsiteX1" fmla="*/ 2220162 w 2274883"/>
                <a:gd name="connsiteY1" fmla="*/ 257442 h 257442"/>
                <a:gd name="connsiteX2" fmla="*/ 0 w 2274883"/>
                <a:gd name="connsiteY2" fmla="*/ 257442 h 257442"/>
                <a:gd name="connsiteX3" fmla="*/ 1 w 2274883"/>
                <a:gd name="connsiteY3" fmla="*/ 0 h 257442"/>
                <a:gd name="connsiteX0" fmla="*/ 2274882 w 2274882"/>
                <a:gd name="connsiteY0" fmla="*/ 0 h 257442"/>
                <a:gd name="connsiteX1" fmla="*/ 2220161 w 2274882"/>
                <a:gd name="connsiteY1" fmla="*/ 257442 h 257442"/>
                <a:gd name="connsiteX2" fmla="*/ 0 w 2274882"/>
                <a:gd name="connsiteY2" fmla="*/ 257442 h 257442"/>
                <a:gd name="connsiteX3" fmla="*/ 0 w 2274882"/>
                <a:gd name="connsiteY3" fmla="*/ 0 h 257442"/>
                <a:gd name="connsiteX0" fmla="*/ 2274883 w 2274883"/>
                <a:gd name="connsiteY0" fmla="*/ 0 h 257442"/>
                <a:gd name="connsiteX1" fmla="*/ 2220162 w 2274883"/>
                <a:gd name="connsiteY1" fmla="*/ 257442 h 257442"/>
                <a:gd name="connsiteX2" fmla="*/ 1 w 2274883"/>
                <a:gd name="connsiteY2" fmla="*/ 257442 h 257442"/>
                <a:gd name="connsiteX3" fmla="*/ 0 w 2274883"/>
                <a:gd name="connsiteY3" fmla="*/ 0 h 257442"/>
                <a:gd name="connsiteX0" fmla="*/ 2435183 w 2435183"/>
                <a:gd name="connsiteY0" fmla="*/ 0 h 257442"/>
                <a:gd name="connsiteX1" fmla="*/ 2220162 w 2435183"/>
                <a:gd name="connsiteY1" fmla="*/ 257442 h 257442"/>
                <a:gd name="connsiteX2" fmla="*/ 1 w 2435183"/>
                <a:gd name="connsiteY2" fmla="*/ 257442 h 257442"/>
                <a:gd name="connsiteX3" fmla="*/ 0 w 2435183"/>
                <a:gd name="connsiteY3" fmla="*/ 0 h 257442"/>
                <a:gd name="connsiteX0" fmla="*/ 2435183 w 2435183"/>
                <a:gd name="connsiteY0" fmla="*/ 0 h 257442"/>
                <a:gd name="connsiteX1" fmla="*/ 2380462 w 2435183"/>
                <a:gd name="connsiteY1" fmla="*/ 257442 h 257442"/>
                <a:gd name="connsiteX2" fmla="*/ 1 w 2435183"/>
                <a:gd name="connsiteY2" fmla="*/ 257442 h 257442"/>
                <a:gd name="connsiteX3" fmla="*/ 0 w 2435183"/>
                <a:gd name="connsiteY3" fmla="*/ 0 h 257442"/>
                <a:gd name="connsiteX0" fmla="*/ 2435183 w 2435183"/>
                <a:gd name="connsiteY0" fmla="*/ 0 h 257442"/>
                <a:gd name="connsiteX1" fmla="*/ 2380462 w 2435183"/>
                <a:gd name="connsiteY1" fmla="*/ 257442 h 257442"/>
                <a:gd name="connsiteX2" fmla="*/ 1 w 2435183"/>
                <a:gd name="connsiteY2" fmla="*/ 257442 h 257442"/>
                <a:gd name="connsiteX3" fmla="*/ 0 w 2435183"/>
                <a:gd name="connsiteY3" fmla="*/ 0 h 257442"/>
                <a:gd name="connsiteX0" fmla="*/ 2435182 w 2435182"/>
                <a:gd name="connsiteY0" fmla="*/ 0 h 257442"/>
                <a:gd name="connsiteX1" fmla="*/ 2380461 w 2435182"/>
                <a:gd name="connsiteY1" fmla="*/ 257442 h 257442"/>
                <a:gd name="connsiteX2" fmla="*/ 0 w 2435182"/>
                <a:gd name="connsiteY2" fmla="*/ 257442 h 257442"/>
                <a:gd name="connsiteX3" fmla="*/ 0 w 2435182"/>
                <a:gd name="connsiteY3" fmla="*/ 0 h 257442"/>
                <a:gd name="connsiteX0" fmla="*/ 2603496 w 2603496"/>
                <a:gd name="connsiteY0" fmla="*/ 0 h 257442"/>
                <a:gd name="connsiteX1" fmla="*/ 2380461 w 2603496"/>
                <a:gd name="connsiteY1" fmla="*/ 257442 h 257442"/>
                <a:gd name="connsiteX2" fmla="*/ 0 w 2603496"/>
                <a:gd name="connsiteY2" fmla="*/ 257442 h 257442"/>
                <a:gd name="connsiteX3" fmla="*/ 0 w 2603496"/>
                <a:gd name="connsiteY3" fmla="*/ 0 h 257442"/>
                <a:gd name="connsiteX0" fmla="*/ 2603496 w 2603496"/>
                <a:gd name="connsiteY0" fmla="*/ 0 h 257442"/>
                <a:gd name="connsiteX1" fmla="*/ 2548775 w 2603496"/>
                <a:gd name="connsiteY1" fmla="*/ 257442 h 257442"/>
                <a:gd name="connsiteX2" fmla="*/ 0 w 2603496"/>
                <a:gd name="connsiteY2" fmla="*/ 257442 h 257442"/>
                <a:gd name="connsiteX3" fmla="*/ 0 w 2603496"/>
                <a:gd name="connsiteY3" fmla="*/ 0 h 257442"/>
                <a:gd name="connsiteX0" fmla="*/ 2603497 w 2603497"/>
                <a:gd name="connsiteY0" fmla="*/ 0 h 257442"/>
                <a:gd name="connsiteX1" fmla="*/ 2548776 w 2603497"/>
                <a:gd name="connsiteY1" fmla="*/ 257442 h 257442"/>
                <a:gd name="connsiteX2" fmla="*/ 0 w 2603497"/>
                <a:gd name="connsiteY2" fmla="*/ 257442 h 257442"/>
                <a:gd name="connsiteX3" fmla="*/ 1 w 2603497"/>
                <a:gd name="connsiteY3" fmla="*/ 0 h 257442"/>
                <a:gd name="connsiteX0" fmla="*/ 2603497 w 2603497"/>
                <a:gd name="connsiteY0" fmla="*/ 0 h 257442"/>
                <a:gd name="connsiteX1" fmla="*/ 2548776 w 2603497"/>
                <a:gd name="connsiteY1" fmla="*/ 257442 h 257442"/>
                <a:gd name="connsiteX2" fmla="*/ 0 w 2603497"/>
                <a:gd name="connsiteY2" fmla="*/ 257442 h 257442"/>
                <a:gd name="connsiteX3" fmla="*/ 1 w 2603497"/>
                <a:gd name="connsiteY3" fmla="*/ 0 h 257442"/>
                <a:gd name="connsiteX0" fmla="*/ 2771813 w 2771813"/>
                <a:gd name="connsiteY0" fmla="*/ 0 h 257442"/>
                <a:gd name="connsiteX1" fmla="*/ 2548776 w 2771813"/>
                <a:gd name="connsiteY1" fmla="*/ 257442 h 257442"/>
                <a:gd name="connsiteX2" fmla="*/ 0 w 2771813"/>
                <a:gd name="connsiteY2" fmla="*/ 257442 h 257442"/>
                <a:gd name="connsiteX3" fmla="*/ 1 w 2771813"/>
                <a:gd name="connsiteY3" fmla="*/ 0 h 257442"/>
                <a:gd name="connsiteX0" fmla="*/ 2771813 w 2771813"/>
                <a:gd name="connsiteY0" fmla="*/ 0 h 257442"/>
                <a:gd name="connsiteX1" fmla="*/ 2717092 w 2771813"/>
                <a:gd name="connsiteY1" fmla="*/ 257442 h 257442"/>
                <a:gd name="connsiteX2" fmla="*/ 0 w 2771813"/>
                <a:gd name="connsiteY2" fmla="*/ 257442 h 257442"/>
                <a:gd name="connsiteX3" fmla="*/ 1 w 2771813"/>
                <a:gd name="connsiteY3" fmla="*/ 0 h 257442"/>
                <a:gd name="connsiteX0" fmla="*/ 2771812 w 2771812"/>
                <a:gd name="connsiteY0" fmla="*/ 0 h 257442"/>
                <a:gd name="connsiteX1" fmla="*/ 2717091 w 2771812"/>
                <a:gd name="connsiteY1" fmla="*/ 257442 h 257442"/>
                <a:gd name="connsiteX2" fmla="*/ 0 w 2771812"/>
                <a:gd name="connsiteY2" fmla="*/ 257442 h 257442"/>
                <a:gd name="connsiteX3" fmla="*/ 0 w 2771812"/>
                <a:gd name="connsiteY3" fmla="*/ 0 h 257442"/>
                <a:gd name="connsiteX0" fmla="*/ 2771813 w 2771813"/>
                <a:gd name="connsiteY0" fmla="*/ 0 h 257442"/>
                <a:gd name="connsiteX1" fmla="*/ 2717092 w 2771813"/>
                <a:gd name="connsiteY1" fmla="*/ 257442 h 257442"/>
                <a:gd name="connsiteX2" fmla="*/ 1 w 2771813"/>
                <a:gd name="connsiteY2" fmla="*/ 257442 h 257442"/>
                <a:gd name="connsiteX3" fmla="*/ 0 w 2771813"/>
                <a:gd name="connsiteY3" fmla="*/ 0 h 257442"/>
                <a:gd name="connsiteX0" fmla="*/ 2949746 w 2949746"/>
                <a:gd name="connsiteY0" fmla="*/ 0 h 257442"/>
                <a:gd name="connsiteX1" fmla="*/ 2717092 w 2949746"/>
                <a:gd name="connsiteY1" fmla="*/ 257442 h 257442"/>
                <a:gd name="connsiteX2" fmla="*/ 1 w 2949746"/>
                <a:gd name="connsiteY2" fmla="*/ 257442 h 257442"/>
                <a:gd name="connsiteX3" fmla="*/ 0 w 2949746"/>
                <a:gd name="connsiteY3" fmla="*/ 0 h 257442"/>
                <a:gd name="connsiteX0" fmla="*/ 2949746 w 2949746"/>
                <a:gd name="connsiteY0" fmla="*/ 0 h 257442"/>
                <a:gd name="connsiteX1" fmla="*/ 2895024 w 2949746"/>
                <a:gd name="connsiteY1" fmla="*/ 257442 h 257442"/>
                <a:gd name="connsiteX2" fmla="*/ 1 w 2949746"/>
                <a:gd name="connsiteY2" fmla="*/ 257442 h 257442"/>
                <a:gd name="connsiteX3" fmla="*/ 0 w 2949746"/>
                <a:gd name="connsiteY3" fmla="*/ 0 h 257442"/>
                <a:gd name="connsiteX0" fmla="*/ 2949746 w 2949746"/>
                <a:gd name="connsiteY0" fmla="*/ 0 h 257442"/>
                <a:gd name="connsiteX1" fmla="*/ 2895024 w 2949746"/>
                <a:gd name="connsiteY1" fmla="*/ 257442 h 257442"/>
                <a:gd name="connsiteX2" fmla="*/ 0 w 2949746"/>
                <a:gd name="connsiteY2" fmla="*/ 257442 h 257442"/>
                <a:gd name="connsiteX3" fmla="*/ 0 w 2949746"/>
                <a:gd name="connsiteY3" fmla="*/ 0 h 257442"/>
                <a:gd name="connsiteX0" fmla="*/ 2949746 w 2949746"/>
                <a:gd name="connsiteY0" fmla="*/ 0 h 257442"/>
                <a:gd name="connsiteX1" fmla="*/ 2895024 w 2949746"/>
                <a:gd name="connsiteY1" fmla="*/ 257442 h 257442"/>
                <a:gd name="connsiteX2" fmla="*/ 0 w 2949746"/>
                <a:gd name="connsiteY2" fmla="*/ 257442 h 257442"/>
                <a:gd name="connsiteX3" fmla="*/ 0 w 2949746"/>
                <a:gd name="connsiteY3" fmla="*/ 0 h 257442"/>
                <a:gd name="connsiteX0" fmla="*/ 3110046 w 3110046"/>
                <a:gd name="connsiteY0" fmla="*/ 0 h 257442"/>
                <a:gd name="connsiteX1" fmla="*/ 2895024 w 3110046"/>
                <a:gd name="connsiteY1" fmla="*/ 257442 h 257442"/>
                <a:gd name="connsiteX2" fmla="*/ 0 w 3110046"/>
                <a:gd name="connsiteY2" fmla="*/ 257442 h 257442"/>
                <a:gd name="connsiteX3" fmla="*/ 0 w 3110046"/>
                <a:gd name="connsiteY3" fmla="*/ 0 h 257442"/>
                <a:gd name="connsiteX0" fmla="*/ 3110046 w 3110046"/>
                <a:gd name="connsiteY0" fmla="*/ 0 h 257442"/>
                <a:gd name="connsiteX1" fmla="*/ 3055325 w 3110046"/>
                <a:gd name="connsiteY1" fmla="*/ 257442 h 257442"/>
                <a:gd name="connsiteX2" fmla="*/ 0 w 3110046"/>
                <a:gd name="connsiteY2" fmla="*/ 257442 h 257442"/>
                <a:gd name="connsiteX3" fmla="*/ 0 w 3110046"/>
                <a:gd name="connsiteY3" fmla="*/ 0 h 257442"/>
                <a:gd name="connsiteX0" fmla="*/ 3110046 w 3110046"/>
                <a:gd name="connsiteY0" fmla="*/ 0 h 257442"/>
                <a:gd name="connsiteX1" fmla="*/ 3055325 w 3110046"/>
                <a:gd name="connsiteY1" fmla="*/ 257442 h 257442"/>
                <a:gd name="connsiteX2" fmla="*/ 0 w 3110046"/>
                <a:gd name="connsiteY2" fmla="*/ 257442 h 257442"/>
                <a:gd name="connsiteX3" fmla="*/ 0 w 3110046"/>
                <a:gd name="connsiteY3" fmla="*/ 0 h 257442"/>
                <a:gd name="connsiteX0" fmla="*/ 3110046 w 3110046"/>
                <a:gd name="connsiteY0" fmla="*/ 0 h 257442"/>
                <a:gd name="connsiteX1" fmla="*/ 3055325 w 3110046"/>
                <a:gd name="connsiteY1" fmla="*/ 257442 h 257442"/>
                <a:gd name="connsiteX2" fmla="*/ 0 w 3110046"/>
                <a:gd name="connsiteY2" fmla="*/ 257442 h 257442"/>
                <a:gd name="connsiteX3" fmla="*/ 0 w 3110046"/>
                <a:gd name="connsiteY3" fmla="*/ 0 h 257442"/>
                <a:gd name="connsiteX0" fmla="*/ 3278361 w 3278361"/>
                <a:gd name="connsiteY0" fmla="*/ 0 h 257442"/>
                <a:gd name="connsiteX1" fmla="*/ 3055325 w 3278361"/>
                <a:gd name="connsiteY1" fmla="*/ 257442 h 257442"/>
                <a:gd name="connsiteX2" fmla="*/ 0 w 3278361"/>
                <a:gd name="connsiteY2" fmla="*/ 257442 h 257442"/>
                <a:gd name="connsiteX3" fmla="*/ 0 w 3278361"/>
                <a:gd name="connsiteY3" fmla="*/ 0 h 257442"/>
                <a:gd name="connsiteX0" fmla="*/ 3278361 w 3278361"/>
                <a:gd name="connsiteY0" fmla="*/ 0 h 257442"/>
                <a:gd name="connsiteX1" fmla="*/ 3223640 w 3278361"/>
                <a:gd name="connsiteY1" fmla="*/ 257442 h 257442"/>
                <a:gd name="connsiteX2" fmla="*/ 0 w 3278361"/>
                <a:gd name="connsiteY2" fmla="*/ 257442 h 257442"/>
                <a:gd name="connsiteX3" fmla="*/ 0 w 3278361"/>
                <a:gd name="connsiteY3" fmla="*/ 0 h 257442"/>
                <a:gd name="connsiteX0" fmla="*/ 3278361 w 3278361"/>
                <a:gd name="connsiteY0" fmla="*/ 0 h 257442"/>
                <a:gd name="connsiteX1" fmla="*/ 3223640 w 3278361"/>
                <a:gd name="connsiteY1" fmla="*/ 257442 h 257442"/>
                <a:gd name="connsiteX2" fmla="*/ 0 w 3278361"/>
                <a:gd name="connsiteY2" fmla="*/ 257442 h 257442"/>
                <a:gd name="connsiteX3" fmla="*/ 0 w 3278361"/>
                <a:gd name="connsiteY3" fmla="*/ 0 h 257442"/>
                <a:gd name="connsiteX0" fmla="*/ 3278361 w 3278361"/>
                <a:gd name="connsiteY0" fmla="*/ 0 h 257442"/>
                <a:gd name="connsiteX1" fmla="*/ 3223640 w 3278361"/>
                <a:gd name="connsiteY1" fmla="*/ 257442 h 257442"/>
                <a:gd name="connsiteX2" fmla="*/ 0 w 3278361"/>
                <a:gd name="connsiteY2" fmla="*/ 257442 h 257442"/>
                <a:gd name="connsiteX3" fmla="*/ 0 w 3278361"/>
                <a:gd name="connsiteY3" fmla="*/ 0 h 257442"/>
                <a:gd name="connsiteX0" fmla="*/ 3432955 w 3432955"/>
                <a:gd name="connsiteY0" fmla="*/ 0 h 257442"/>
                <a:gd name="connsiteX1" fmla="*/ 3223640 w 3432955"/>
                <a:gd name="connsiteY1" fmla="*/ 257442 h 257442"/>
                <a:gd name="connsiteX2" fmla="*/ 0 w 3432955"/>
                <a:gd name="connsiteY2" fmla="*/ 257442 h 257442"/>
                <a:gd name="connsiteX3" fmla="*/ 0 w 3432955"/>
                <a:gd name="connsiteY3" fmla="*/ 0 h 257442"/>
                <a:gd name="connsiteX0" fmla="*/ 3432955 w 3432955"/>
                <a:gd name="connsiteY0" fmla="*/ 0 h 257442"/>
                <a:gd name="connsiteX1" fmla="*/ 3378234 w 3432955"/>
                <a:gd name="connsiteY1" fmla="*/ 257442 h 257442"/>
                <a:gd name="connsiteX2" fmla="*/ 0 w 3432955"/>
                <a:gd name="connsiteY2" fmla="*/ 257442 h 257442"/>
                <a:gd name="connsiteX3" fmla="*/ 0 w 3432955"/>
                <a:gd name="connsiteY3" fmla="*/ 0 h 257442"/>
                <a:gd name="connsiteX0" fmla="*/ 3432955 w 3432955"/>
                <a:gd name="connsiteY0" fmla="*/ 0 h 257442"/>
                <a:gd name="connsiteX1" fmla="*/ 3378234 w 3432955"/>
                <a:gd name="connsiteY1" fmla="*/ 257442 h 257442"/>
                <a:gd name="connsiteX2" fmla="*/ 0 w 3432955"/>
                <a:gd name="connsiteY2" fmla="*/ 257442 h 257442"/>
                <a:gd name="connsiteX3" fmla="*/ 0 w 3432955"/>
                <a:gd name="connsiteY3" fmla="*/ 0 h 257442"/>
                <a:gd name="connsiteX0" fmla="*/ 3432955 w 3432955"/>
                <a:gd name="connsiteY0" fmla="*/ 0 h 257442"/>
                <a:gd name="connsiteX1" fmla="*/ 3378234 w 3432955"/>
                <a:gd name="connsiteY1" fmla="*/ 257442 h 257442"/>
                <a:gd name="connsiteX2" fmla="*/ 0 w 3432955"/>
                <a:gd name="connsiteY2" fmla="*/ 257442 h 257442"/>
                <a:gd name="connsiteX3" fmla="*/ 0 w 3432955"/>
                <a:gd name="connsiteY3" fmla="*/ 0 h 257442"/>
                <a:gd name="connsiteX0" fmla="*/ 3488354 w 3488354"/>
                <a:gd name="connsiteY0" fmla="*/ 0 h 257442"/>
                <a:gd name="connsiteX1" fmla="*/ 3378234 w 3488354"/>
                <a:gd name="connsiteY1" fmla="*/ 257442 h 257442"/>
                <a:gd name="connsiteX2" fmla="*/ 0 w 3488354"/>
                <a:gd name="connsiteY2" fmla="*/ 257442 h 257442"/>
                <a:gd name="connsiteX3" fmla="*/ 0 w 3488354"/>
                <a:gd name="connsiteY3" fmla="*/ 0 h 257442"/>
                <a:gd name="connsiteX0" fmla="*/ 3488354 w 3488354"/>
                <a:gd name="connsiteY0" fmla="*/ 0 h 257442"/>
                <a:gd name="connsiteX1" fmla="*/ 3433632 w 3488354"/>
                <a:gd name="connsiteY1" fmla="*/ 257442 h 257442"/>
                <a:gd name="connsiteX2" fmla="*/ 0 w 3488354"/>
                <a:gd name="connsiteY2" fmla="*/ 257442 h 257442"/>
                <a:gd name="connsiteX3" fmla="*/ 0 w 3488354"/>
                <a:gd name="connsiteY3" fmla="*/ 0 h 257442"/>
                <a:gd name="connsiteX0" fmla="*/ 3488355 w 3488355"/>
                <a:gd name="connsiteY0" fmla="*/ 0 h 257442"/>
                <a:gd name="connsiteX1" fmla="*/ 3433633 w 3488355"/>
                <a:gd name="connsiteY1" fmla="*/ 257442 h 257442"/>
                <a:gd name="connsiteX2" fmla="*/ 0 w 3488355"/>
                <a:gd name="connsiteY2" fmla="*/ 257442 h 257442"/>
                <a:gd name="connsiteX3" fmla="*/ 1 w 3488355"/>
                <a:gd name="connsiteY3" fmla="*/ 0 h 257442"/>
                <a:gd name="connsiteX0" fmla="*/ 3488355 w 3488355"/>
                <a:gd name="connsiteY0" fmla="*/ 0 h 257442"/>
                <a:gd name="connsiteX1" fmla="*/ 3433633 w 3488355"/>
                <a:gd name="connsiteY1" fmla="*/ 257442 h 257442"/>
                <a:gd name="connsiteX2" fmla="*/ 0 w 3488355"/>
                <a:gd name="connsiteY2" fmla="*/ 257442 h 257442"/>
                <a:gd name="connsiteX3" fmla="*/ 1 w 3488355"/>
                <a:gd name="connsiteY3" fmla="*/ 0 h 257442"/>
                <a:gd name="connsiteX0" fmla="*/ 934772 w 3433633"/>
                <a:gd name="connsiteY0" fmla="*/ 0 h 257442"/>
                <a:gd name="connsiteX1" fmla="*/ 3433633 w 3433633"/>
                <a:gd name="connsiteY1" fmla="*/ 257442 h 257442"/>
                <a:gd name="connsiteX2" fmla="*/ 0 w 3433633"/>
                <a:gd name="connsiteY2" fmla="*/ 257442 h 257442"/>
                <a:gd name="connsiteX3" fmla="*/ 1 w 3433633"/>
                <a:gd name="connsiteY3" fmla="*/ 0 h 257442"/>
                <a:gd name="connsiteX0" fmla="*/ 934772 w 934772"/>
                <a:gd name="connsiteY0" fmla="*/ 0 h 257442"/>
                <a:gd name="connsiteX1" fmla="*/ 880051 w 934772"/>
                <a:gd name="connsiteY1" fmla="*/ 257442 h 257442"/>
                <a:gd name="connsiteX2" fmla="*/ 0 w 934772"/>
                <a:gd name="connsiteY2" fmla="*/ 257442 h 257442"/>
                <a:gd name="connsiteX3" fmla="*/ 1 w 934772"/>
                <a:gd name="connsiteY3" fmla="*/ 0 h 257442"/>
                <a:gd name="connsiteX0" fmla="*/ 934771 w 934771"/>
                <a:gd name="connsiteY0" fmla="*/ 0 h 257442"/>
                <a:gd name="connsiteX1" fmla="*/ 880050 w 934771"/>
                <a:gd name="connsiteY1" fmla="*/ 257442 h 257442"/>
                <a:gd name="connsiteX2" fmla="*/ 0 w 934771"/>
                <a:gd name="connsiteY2" fmla="*/ 257442 h 257442"/>
                <a:gd name="connsiteX3" fmla="*/ 0 w 934771"/>
                <a:gd name="connsiteY3" fmla="*/ 0 h 257442"/>
                <a:gd name="connsiteX0" fmla="*/ 934771 w 934771"/>
                <a:gd name="connsiteY0" fmla="*/ 0 h 257442"/>
                <a:gd name="connsiteX1" fmla="*/ 880050 w 934771"/>
                <a:gd name="connsiteY1" fmla="*/ 257442 h 257442"/>
                <a:gd name="connsiteX2" fmla="*/ 0 w 934771"/>
                <a:gd name="connsiteY2" fmla="*/ 257442 h 257442"/>
                <a:gd name="connsiteX3" fmla="*/ 0 w 934771"/>
                <a:gd name="connsiteY3" fmla="*/ 0 h 257442"/>
                <a:gd name="connsiteX0" fmla="*/ 1091673 w 1091673"/>
                <a:gd name="connsiteY0" fmla="*/ 0 h 257442"/>
                <a:gd name="connsiteX1" fmla="*/ 880050 w 1091673"/>
                <a:gd name="connsiteY1" fmla="*/ 257442 h 257442"/>
                <a:gd name="connsiteX2" fmla="*/ 0 w 1091673"/>
                <a:gd name="connsiteY2" fmla="*/ 257442 h 257442"/>
                <a:gd name="connsiteX3" fmla="*/ 0 w 1091673"/>
                <a:gd name="connsiteY3" fmla="*/ 0 h 257442"/>
                <a:gd name="connsiteX0" fmla="*/ 1091673 w 1091673"/>
                <a:gd name="connsiteY0" fmla="*/ 0 h 257442"/>
                <a:gd name="connsiteX1" fmla="*/ 1036952 w 1091673"/>
                <a:gd name="connsiteY1" fmla="*/ 257442 h 257442"/>
                <a:gd name="connsiteX2" fmla="*/ 0 w 1091673"/>
                <a:gd name="connsiteY2" fmla="*/ 257442 h 257442"/>
                <a:gd name="connsiteX3" fmla="*/ 0 w 1091673"/>
                <a:gd name="connsiteY3" fmla="*/ 0 h 257442"/>
                <a:gd name="connsiteX0" fmla="*/ 1091673 w 1091673"/>
                <a:gd name="connsiteY0" fmla="*/ 0 h 257442"/>
                <a:gd name="connsiteX1" fmla="*/ 1036952 w 1091673"/>
                <a:gd name="connsiteY1" fmla="*/ 257442 h 257442"/>
                <a:gd name="connsiteX2" fmla="*/ 0 w 1091673"/>
                <a:gd name="connsiteY2" fmla="*/ 257442 h 257442"/>
                <a:gd name="connsiteX3" fmla="*/ 0 w 1091673"/>
                <a:gd name="connsiteY3" fmla="*/ 0 h 257442"/>
                <a:gd name="connsiteX0" fmla="*/ 1091673 w 1091673"/>
                <a:gd name="connsiteY0" fmla="*/ 0 h 257442"/>
                <a:gd name="connsiteX1" fmla="*/ 1036952 w 1091673"/>
                <a:gd name="connsiteY1" fmla="*/ 257442 h 257442"/>
                <a:gd name="connsiteX2" fmla="*/ 0 w 1091673"/>
                <a:gd name="connsiteY2" fmla="*/ 257442 h 257442"/>
                <a:gd name="connsiteX3" fmla="*/ 0 w 1091673"/>
                <a:gd name="connsiteY3" fmla="*/ 0 h 257442"/>
                <a:gd name="connsiteX0" fmla="*/ 1269606 w 1269606"/>
                <a:gd name="connsiteY0" fmla="*/ 0 h 257442"/>
                <a:gd name="connsiteX1" fmla="*/ 1036952 w 1269606"/>
                <a:gd name="connsiteY1" fmla="*/ 257442 h 257442"/>
                <a:gd name="connsiteX2" fmla="*/ 0 w 1269606"/>
                <a:gd name="connsiteY2" fmla="*/ 257442 h 257442"/>
                <a:gd name="connsiteX3" fmla="*/ 0 w 1269606"/>
                <a:gd name="connsiteY3" fmla="*/ 0 h 257442"/>
                <a:gd name="connsiteX0" fmla="*/ 1269606 w 1269606"/>
                <a:gd name="connsiteY0" fmla="*/ 0 h 257442"/>
                <a:gd name="connsiteX1" fmla="*/ 1214884 w 1269606"/>
                <a:gd name="connsiteY1" fmla="*/ 257442 h 257442"/>
                <a:gd name="connsiteX2" fmla="*/ 0 w 1269606"/>
                <a:gd name="connsiteY2" fmla="*/ 257442 h 257442"/>
                <a:gd name="connsiteX3" fmla="*/ 0 w 1269606"/>
                <a:gd name="connsiteY3" fmla="*/ 0 h 257442"/>
                <a:gd name="connsiteX0" fmla="*/ 1269607 w 1269607"/>
                <a:gd name="connsiteY0" fmla="*/ 0 h 257442"/>
                <a:gd name="connsiteX1" fmla="*/ 1214885 w 1269607"/>
                <a:gd name="connsiteY1" fmla="*/ 257442 h 257442"/>
                <a:gd name="connsiteX2" fmla="*/ 0 w 1269607"/>
                <a:gd name="connsiteY2" fmla="*/ 257442 h 257442"/>
                <a:gd name="connsiteX3" fmla="*/ 1 w 1269607"/>
                <a:gd name="connsiteY3" fmla="*/ 0 h 257442"/>
                <a:gd name="connsiteX0" fmla="*/ 1269607 w 1269607"/>
                <a:gd name="connsiteY0" fmla="*/ 0 h 257442"/>
                <a:gd name="connsiteX1" fmla="*/ 1214885 w 1269607"/>
                <a:gd name="connsiteY1" fmla="*/ 257442 h 257442"/>
                <a:gd name="connsiteX2" fmla="*/ 0 w 1269607"/>
                <a:gd name="connsiteY2" fmla="*/ 257442 h 257442"/>
                <a:gd name="connsiteX3" fmla="*/ 1 w 1269607"/>
                <a:gd name="connsiteY3" fmla="*/ 0 h 257442"/>
                <a:gd name="connsiteX0" fmla="*/ 1429908 w 1429908"/>
                <a:gd name="connsiteY0" fmla="*/ 0 h 257442"/>
                <a:gd name="connsiteX1" fmla="*/ 1214885 w 1429908"/>
                <a:gd name="connsiteY1" fmla="*/ 257442 h 257442"/>
                <a:gd name="connsiteX2" fmla="*/ 0 w 1429908"/>
                <a:gd name="connsiteY2" fmla="*/ 257442 h 257442"/>
                <a:gd name="connsiteX3" fmla="*/ 1 w 1429908"/>
                <a:gd name="connsiteY3" fmla="*/ 0 h 257442"/>
                <a:gd name="connsiteX0" fmla="*/ 1429908 w 1429908"/>
                <a:gd name="connsiteY0" fmla="*/ 0 h 257442"/>
                <a:gd name="connsiteX1" fmla="*/ 1375186 w 1429908"/>
                <a:gd name="connsiteY1" fmla="*/ 257442 h 257442"/>
                <a:gd name="connsiteX2" fmla="*/ 0 w 1429908"/>
                <a:gd name="connsiteY2" fmla="*/ 257442 h 257442"/>
                <a:gd name="connsiteX3" fmla="*/ 1 w 1429908"/>
                <a:gd name="connsiteY3" fmla="*/ 0 h 257442"/>
                <a:gd name="connsiteX0" fmla="*/ 1429908 w 1429908"/>
                <a:gd name="connsiteY0" fmla="*/ 0 h 257442"/>
                <a:gd name="connsiteX1" fmla="*/ 1375186 w 1429908"/>
                <a:gd name="connsiteY1" fmla="*/ 257442 h 257442"/>
                <a:gd name="connsiteX2" fmla="*/ 0 w 1429908"/>
                <a:gd name="connsiteY2" fmla="*/ 257442 h 257442"/>
                <a:gd name="connsiteX3" fmla="*/ 1 w 1429908"/>
                <a:gd name="connsiteY3" fmla="*/ 0 h 257442"/>
                <a:gd name="connsiteX0" fmla="*/ 1429908 w 1429908"/>
                <a:gd name="connsiteY0" fmla="*/ 0 h 257442"/>
                <a:gd name="connsiteX1" fmla="*/ 1375186 w 1429908"/>
                <a:gd name="connsiteY1" fmla="*/ 257442 h 257442"/>
                <a:gd name="connsiteX2" fmla="*/ 0 w 1429908"/>
                <a:gd name="connsiteY2" fmla="*/ 257442 h 257442"/>
                <a:gd name="connsiteX3" fmla="*/ 0 w 1429908"/>
                <a:gd name="connsiteY3" fmla="*/ 0 h 257442"/>
                <a:gd name="connsiteX0" fmla="*/ 1582191 w 1582191"/>
                <a:gd name="connsiteY0" fmla="*/ 0 h 257442"/>
                <a:gd name="connsiteX1" fmla="*/ 1375186 w 1582191"/>
                <a:gd name="connsiteY1" fmla="*/ 257442 h 257442"/>
                <a:gd name="connsiteX2" fmla="*/ 0 w 1582191"/>
                <a:gd name="connsiteY2" fmla="*/ 257442 h 257442"/>
                <a:gd name="connsiteX3" fmla="*/ 0 w 1582191"/>
                <a:gd name="connsiteY3" fmla="*/ 0 h 257442"/>
                <a:gd name="connsiteX0" fmla="*/ 1582191 w 1582191"/>
                <a:gd name="connsiteY0" fmla="*/ 0 h 257442"/>
                <a:gd name="connsiteX1" fmla="*/ 1527470 w 1582191"/>
                <a:gd name="connsiteY1" fmla="*/ 257442 h 257442"/>
                <a:gd name="connsiteX2" fmla="*/ 0 w 1582191"/>
                <a:gd name="connsiteY2" fmla="*/ 257442 h 257442"/>
                <a:gd name="connsiteX3" fmla="*/ 0 w 1582191"/>
                <a:gd name="connsiteY3" fmla="*/ 0 h 257442"/>
                <a:gd name="connsiteX0" fmla="*/ 1582191 w 1582191"/>
                <a:gd name="connsiteY0" fmla="*/ 0 h 257442"/>
                <a:gd name="connsiteX1" fmla="*/ 1527470 w 1582191"/>
                <a:gd name="connsiteY1" fmla="*/ 257442 h 257442"/>
                <a:gd name="connsiteX2" fmla="*/ 0 w 1582191"/>
                <a:gd name="connsiteY2" fmla="*/ 257442 h 257442"/>
                <a:gd name="connsiteX3" fmla="*/ 0 w 1582191"/>
                <a:gd name="connsiteY3" fmla="*/ 0 h 257442"/>
                <a:gd name="connsiteX0" fmla="*/ 1582191 w 1582191"/>
                <a:gd name="connsiteY0" fmla="*/ 0 h 257442"/>
                <a:gd name="connsiteX1" fmla="*/ 1527470 w 1582191"/>
                <a:gd name="connsiteY1" fmla="*/ 257442 h 257442"/>
                <a:gd name="connsiteX2" fmla="*/ 0 w 1582191"/>
                <a:gd name="connsiteY2" fmla="*/ 257442 h 257442"/>
                <a:gd name="connsiteX3" fmla="*/ 0 w 1582191"/>
                <a:gd name="connsiteY3" fmla="*/ 0 h 257442"/>
                <a:gd name="connsiteX0" fmla="*/ 1429907 w 1527470"/>
                <a:gd name="connsiteY0" fmla="*/ 0 h 257442"/>
                <a:gd name="connsiteX1" fmla="*/ 1527470 w 1527470"/>
                <a:gd name="connsiteY1" fmla="*/ 257442 h 257442"/>
                <a:gd name="connsiteX2" fmla="*/ 0 w 1527470"/>
                <a:gd name="connsiteY2" fmla="*/ 257442 h 257442"/>
                <a:gd name="connsiteX3" fmla="*/ 0 w 1527470"/>
                <a:gd name="connsiteY3" fmla="*/ 0 h 257442"/>
                <a:gd name="connsiteX0" fmla="*/ 1429907 w 1429907"/>
                <a:gd name="connsiteY0" fmla="*/ 0 h 257442"/>
                <a:gd name="connsiteX1" fmla="*/ 1375186 w 1429907"/>
                <a:gd name="connsiteY1" fmla="*/ 257442 h 257442"/>
                <a:gd name="connsiteX2" fmla="*/ 0 w 1429907"/>
                <a:gd name="connsiteY2" fmla="*/ 257442 h 257442"/>
                <a:gd name="connsiteX3" fmla="*/ 0 w 1429907"/>
                <a:gd name="connsiteY3" fmla="*/ 0 h 257442"/>
                <a:gd name="connsiteX0" fmla="*/ 1429907 w 1429907"/>
                <a:gd name="connsiteY0" fmla="*/ 0 h 257442"/>
                <a:gd name="connsiteX1" fmla="*/ 1375186 w 1429907"/>
                <a:gd name="connsiteY1" fmla="*/ 257442 h 257442"/>
                <a:gd name="connsiteX2" fmla="*/ 1 w 1429907"/>
                <a:gd name="connsiteY2" fmla="*/ 257442 h 257442"/>
                <a:gd name="connsiteX3" fmla="*/ 0 w 1429907"/>
                <a:gd name="connsiteY3" fmla="*/ 0 h 257442"/>
                <a:gd name="connsiteX0" fmla="*/ 1429906 w 1429906"/>
                <a:gd name="connsiteY0" fmla="*/ 0 h 257442"/>
                <a:gd name="connsiteX1" fmla="*/ 1375185 w 1429906"/>
                <a:gd name="connsiteY1" fmla="*/ 257442 h 257442"/>
                <a:gd name="connsiteX2" fmla="*/ 0 w 1429906"/>
                <a:gd name="connsiteY2" fmla="*/ 257442 h 257442"/>
                <a:gd name="connsiteX3" fmla="*/ 0 w 1429906"/>
                <a:gd name="connsiteY3" fmla="*/ 0 h 257442"/>
                <a:gd name="connsiteX0" fmla="*/ 1269605 w 1375185"/>
                <a:gd name="connsiteY0" fmla="*/ 0 h 257442"/>
                <a:gd name="connsiteX1" fmla="*/ 1375185 w 1375185"/>
                <a:gd name="connsiteY1" fmla="*/ 257442 h 257442"/>
                <a:gd name="connsiteX2" fmla="*/ 0 w 1375185"/>
                <a:gd name="connsiteY2" fmla="*/ 257442 h 257442"/>
                <a:gd name="connsiteX3" fmla="*/ 0 w 1375185"/>
                <a:gd name="connsiteY3" fmla="*/ 0 h 257442"/>
                <a:gd name="connsiteX0" fmla="*/ 1269605 w 1269605"/>
                <a:gd name="connsiteY0" fmla="*/ 0 h 257442"/>
                <a:gd name="connsiteX1" fmla="*/ 1214885 w 1269605"/>
                <a:gd name="connsiteY1" fmla="*/ 257442 h 257442"/>
                <a:gd name="connsiteX2" fmla="*/ 0 w 1269605"/>
                <a:gd name="connsiteY2" fmla="*/ 257442 h 257442"/>
                <a:gd name="connsiteX3" fmla="*/ 0 w 1269605"/>
                <a:gd name="connsiteY3" fmla="*/ 0 h 257442"/>
                <a:gd name="connsiteX0" fmla="*/ 1269605 w 1269605"/>
                <a:gd name="connsiteY0" fmla="*/ 0 h 257442"/>
                <a:gd name="connsiteX1" fmla="*/ 1214885 w 1269605"/>
                <a:gd name="connsiteY1" fmla="*/ 257442 h 257442"/>
                <a:gd name="connsiteX2" fmla="*/ 0 w 1269605"/>
                <a:gd name="connsiteY2" fmla="*/ 257442 h 257442"/>
                <a:gd name="connsiteX3" fmla="*/ 0 w 1269605"/>
                <a:gd name="connsiteY3" fmla="*/ 0 h 257442"/>
                <a:gd name="connsiteX0" fmla="*/ 1269605 w 1269605"/>
                <a:gd name="connsiteY0" fmla="*/ 0 h 257442"/>
                <a:gd name="connsiteX1" fmla="*/ 1214885 w 1269605"/>
                <a:gd name="connsiteY1" fmla="*/ 257442 h 257442"/>
                <a:gd name="connsiteX2" fmla="*/ 0 w 1269605"/>
                <a:gd name="connsiteY2" fmla="*/ 257442 h 257442"/>
                <a:gd name="connsiteX3" fmla="*/ 0 w 1269605"/>
                <a:gd name="connsiteY3" fmla="*/ 0 h 257442"/>
                <a:gd name="connsiteX0" fmla="*/ 1091673 w 1214885"/>
                <a:gd name="connsiteY0" fmla="*/ 0 h 257442"/>
                <a:gd name="connsiteX1" fmla="*/ 1214885 w 1214885"/>
                <a:gd name="connsiteY1" fmla="*/ 257442 h 257442"/>
                <a:gd name="connsiteX2" fmla="*/ 0 w 1214885"/>
                <a:gd name="connsiteY2" fmla="*/ 257442 h 257442"/>
                <a:gd name="connsiteX3" fmla="*/ 0 w 1214885"/>
                <a:gd name="connsiteY3" fmla="*/ 0 h 257442"/>
                <a:gd name="connsiteX0" fmla="*/ 1091673 w 1091673"/>
                <a:gd name="connsiteY0" fmla="*/ 0 h 257442"/>
                <a:gd name="connsiteX1" fmla="*/ 1036952 w 1091673"/>
                <a:gd name="connsiteY1" fmla="*/ 257442 h 257442"/>
                <a:gd name="connsiteX2" fmla="*/ 0 w 1091673"/>
                <a:gd name="connsiteY2" fmla="*/ 257442 h 257442"/>
                <a:gd name="connsiteX3" fmla="*/ 0 w 1091673"/>
                <a:gd name="connsiteY3" fmla="*/ 0 h 257442"/>
                <a:gd name="connsiteX0" fmla="*/ 1091673 w 1091673"/>
                <a:gd name="connsiteY0" fmla="*/ 0 h 257442"/>
                <a:gd name="connsiteX1" fmla="*/ 1036952 w 1091673"/>
                <a:gd name="connsiteY1" fmla="*/ 257442 h 257442"/>
                <a:gd name="connsiteX2" fmla="*/ 0 w 1091673"/>
                <a:gd name="connsiteY2" fmla="*/ 257442 h 257442"/>
                <a:gd name="connsiteX3" fmla="*/ 0 w 1091673"/>
                <a:gd name="connsiteY3" fmla="*/ 0 h 257442"/>
                <a:gd name="connsiteX0" fmla="*/ 1091673 w 1091673"/>
                <a:gd name="connsiteY0" fmla="*/ 0 h 257442"/>
                <a:gd name="connsiteX1" fmla="*/ 1036952 w 1091673"/>
                <a:gd name="connsiteY1" fmla="*/ 257442 h 257442"/>
                <a:gd name="connsiteX2" fmla="*/ 0 w 1091673"/>
                <a:gd name="connsiteY2" fmla="*/ 257442 h 257442"/>
                <a:gd name="connsiteX3" fmla="*/ 0 w 1091673"/>
                <a:gd name="connsiteY3" fmla="*/ 0 h 257442"/>
                <a:gd name="connsiteX0" fmla="*/ 1259988 w 1259988"/>
                <a:gd name="connsiteY0" fmla="*/ 0 h 257442"/>
                <a:gd name="connsiteX1" fmla="*/ 1036952 w 1259988"/>
                <a:gd name="connsiteY1" fmla="*/ 257442 h 257442"/>
                <a:gd name="connsiteX2" fmla="*/ 0 w 1259988"/>
                <a:gd name="connsiteY2" fmla="*/ 257442 h 257442"/>
                <a:gd name="connsiteX3" fmla="*/ 0 w 1259988"/>
                <a:gd name="connsiteY3" fmla="*/ 0 h 257442"/>
                <a:gd name="connsiteX0" fmla="*/ 1259988 w 1259988"/>
                <a:gd name="connsiteY0" fmla="*/ 0 h 257442"/>
                <a:gd name="connsiteX1" fmla="*/ 1205266 w 1259988"/>
                <a:gd name="connsiteY1" fmla="*/ 257442 h 257442"/>
                <a:gd name="connsiteX2" fmla="*/ 0 w 1259988"/>
                <a:gd name="connsiteY2" fmla="*/ 257442 h 257442"/>
                <a:gd name="connsiteX3" fmla="*/ 0 w 1259988"/>
                <a:gd name="connsiteY3" fmla="*/ 0 h 257442"/>
                <a:gd name="connsiteX0" fmla="*/ 1259989 w 1259989"/>
                <a:gd name="connsiteY0" fmla="*/ 0 h 257442"/>
                <a:gd name="connsiteX1" fmla="*/ 1205267 w 1259989"/>
                <a:gd name="connsiteY1" fmla="*/ 257442 h 257442"/>
                <a:gd name="connsiteX2" fmla="*/ 0 w 1259989"/>
                <a:gd name="connsiteY2" fmla="*/ 257442 h 257442"/>
                <a:gd name="connsiteX3" fmla="*/ 1 w 1259989"/>
                <a:gd name="connsiteY3" fmla="*/ 0 h 257442"/>
                <a:gd name="connsiteX0" fmla="*/ 1259989 w 1259989"/>
                <a:gd name="connsiteY0" fmla="*/ 0 h 257442"/>
                <a:gd name="connsiteX1" fmla="*/ 1205267 w 1259989"/>
                <a:gd name="connsiteY1" fmla="*/ 257442 h 257442"/>
                <a:gd name="connsiteX2" fmla="*/ 0 w 1259989"/>
                <a:gd name="connsiteY2" fmla="*/ 257442 h 257442"/>
                <a:gd name="connsiteX3" fmla="*/ 1 w 1259989"/>
                <a:gd name="connsiteY3" fmla="*/ 0 h 257442"/>
                <a:gd name="connsiteX0" fmla="*/ 1437922 w 1437922"/>
                <a:gd name="connsiteY0" fmla="*/ 0 h 257442"/>
                <a:gd name="connsiteX1" fmla="*/ 1205267 w 1437922"/>
                <a:gd name="connsiteY1" fmla="*/ 257442 h 257442"/>
                <a:gd name="connsiteX2" fmla="*/ 0 w 1437922"/>
                <a:gd name="connsiteY2" fmla="*/ 257442 h 257442"/>
                <a:gd name="connsiteX3" fmla="*/ 1 w 1437922"/>
                <a:gd name="connsiteY3" fmla="*/ 0 h 257442"/>
                <a:gd name="connsiteX0" fmla="*/ 1437922 w 1437922"/>
                <a:gd name="connsiteY0" fmla="*/ 0 h 257442"/>
                <a:gd name="connsiteX1" fmla="*/ 1383200 w 1437922"/>
                <a:gd name="connsiteY1" fmla="*/ 257442 h 257442"/>
                <a:gd name="connsiteX2" fmla="*/ 0 w 1437922"/>
                <a:gd name="connsiteY2" fmla="*/ 257442 h 257442"/>
                <a:gd name="connsiteX3" fmla="*/ 1 w 1437922"/>
                <a:gd name="connsiteY3" fmla="*/ 0 h 257442"/>
                <a:gd name="connsiteX0" fmla="*/ 1437922 w 1437922"/>
                <a:gd name="connsiteY0" fmla="*/ 0 h 257442"/>
                <a:gd name="connsiteX1" fmla="*/ 1383200 w 1437922"/>
                <a:gd name="connsiteY1" fmla="*/ 257442 h 257442"/>
                <a:gd name="connsiteX2" fmla="*/ 0 w 1437922"/>
                <a:gd name="connsiteY2" fmla="*/ 257442 h 257442"/>
                <a:gd name="connsiteX3" fmla="*/ 1 w 1437922"/>
                <a:gd name="connsiteY3" fmla="*/ 0 h 257442"/>
                <a:gd name="connsiteX0" fmla="*/ 1437922 w 1437922"/>
                <a:gd name="connsiteY0" fmla="*/ 0 h 257442"/>
                <a:gd name="connsiteX1" fmla="*/ 1383200 w 1437922"/>
                <a:gd name="connsiteY1" fmla="*/ 257442 h 257442"/>
                <a:gd name="connsiteX2" fmla="*/ 0 w 1437922"/>
                <a:gd name="connsiteY2" fmla="*/ 257442 h 257442"/>
                <a:gd name="connsiteX3" fmla="*/ 0 w 1437922"/>
                <a:gd name="connsiteY3" fmla="*/ 0 h 257442"/>
                <a:gd name="connsiteX0" fmla="*/ 1598221 w 1598221"/>
                <a:gd name="connsiteY0" fmla="*/ 0 h 257442"/>
                <a:gd name="connsiteX1" fmla="*/ 1383200 w 1598221"/>
                <a:gd name="connsiteY1" fmla="*/ 257442 h 257442"/>
                <a:gd name="connsiteX2" fmla="*/ 0 w 1598221"/>
                <a:gd name="connsiteY2" fmla="*/ 257442 h 257442"/>
                <a:gd name="connsiteX3" fmla="*/ 0 w 1598221"/>
                <a:gd name="connsiteY3" fmla="*/ 0 h 257442"/>
                <a:gd name="connsiteX0" fmla="*/ 1598221 w 1598221"/>
                <a:gd name="connsiteY0" fmla="*/ 0 h 257442"/>
                <a:gd name="connsiteX1" fmla="*/ 1543500 w 1598221"/>
                <a:gd name="connsiteY1" fmla="*/ 257442 h 257442"/>
                <a:gd name="connsiteX2" fmla="*/ 0 w 1598221"/>
                <a:gd name="connsiteY2" fmla="*/ 257442 h 257442"/>
                <a:gd name="connsiteX3" fmla="*/ 0 w 1598221"/>
                <a:gd name="connsiteY3" fmla="*/ 0 h 257442"/>
                <a:gd name="connsiteX0" fmla="*/ 1598221 w 1598221"/>
                <a:gd name="connsiteY0" fmla="*/ 0 h 257442"/>
                <a:gd name="connsiteX1" fmla="*/ 1543500 w 1598221"/>
                <a:gd name="connsiteY1" fmla="*/ 257442 h 257442"/>
                <a:gd name="connsiteX2" fmla="*/ 0 w 1598221"/>
                <a:gd name="connsiteY2" fmla="*/ 257442 h 257442"/>
                <a:gd name="connsiteX3" fmla="*/ 0 w 1598221"/>
                <a:gd name="connsiteY3" fmla="*/ 0 h 257442"/>
                <a:gd name="connsiteX0" fmla="*/ 1598221 w 1598221"/>
                <a:gd name="connsiteY0" fmla="*/ 0 h 257442"/>
                <a:gd name="connsiteX1" fmla="*/ 1543500 w 1598221"/>
                <a:gd name="connsiteY1" fmla="*/ 257442 h 257442"/>
                <a:gd name="connsiteX2" fmla="*/ 0 w 1598221"/>
                <a:gd name="connsiteY2" fmla="*/ 257442 h 257442"/>
                <a:gd name="connsiteX3" fmla="*/ 0 w 1598221"/>
                <a:gd name="connsiteY3" fmla="*/ 0 h 257442"/>
                <a:gd name="connsiteX0" fmla="*/ 1750507 w 1750507"/>
                <a:gd name="connsiteY0" fmla="*/ 0 h 257442"/>
                <a:gd name="connsiteX1" fmla="*/ 1543500 w 1750507"/>
                <a:gd name="connsiteY1" fmla="*/ 257442 h 257442"/>
                <a:gd name="connsiteX2" fmla="*/ 0 w 1750507"/>
                <a:gd name="connsiteY2" fmla="*/ 257442 h 257442"/>
                <a:gd name="connsiteX3" fmla="*/ 0 w 1750507"/>
                <a:gd name="connsiteY3" fmla="*/ 0 h 257442"/>
                <a:gd name="connsiteX0" fmla="*/ 1750507 w 1750507"/>
                <a:gd name="connsiteY0" fmla="*/ 0 h 257442"/>
                <a:gd name="connsiteX1" fmla="*/ 1695786 w 1750507"/>
                <a:gd name="connsiteY1" fmla="*/ 257442 h 257442"/>
                <a:gd name="connsiteX2" fmla="*/ 0 w 1750507"/>
                <a:gd name="connsiteY2" fmla="*/ 257442 h 257442"/>
                <a:gd name="connsiteX3" fmla="*/ 0 w 1750507"/>
                <a:gd name="connsiteY3" fmla="*/ 0 h 257442"/>
                <a:gd name="connsiteX0" fmla="*/ 1750507 w 1750507"/>
                <a:gd name="connsiteY0" fmla="*/ 0 h 257442"/>
                <a:gd name="connsiteX1" fmla="*/ 1695786 w 1750507"/>
                <a:gd name="connsiteY1" fmla="*/ 257442 h 257442"/>
                <a:gd name="connsiteX2" fmla="*/ 0 w 1750507"/>
                <a:gd name="connsiteY2" fmla="*/ 257442 h 257442"/>
                <a:gd name="connsiteX3" fmla="*/ 0 w 1750507"/>
                <a:gd name="connsiteY3" fmla="*/ 0 h 257442"/>
                <a:gd name="connsiteX0" fmla="*/ 1750507 w 1750507"/>
                <a:gd name="connsiteY0" fmla="*/ 0 h 257442"/>
                <a:gd name="connsiteX1" fmla="*/ 1695786 w 1750507"/>
                <a:gd name="connsiteY1" fmla="*/ 257442 h 257442"/>
                <a:gd name="connsiteX2" fmla="*/ 0 w 1750507"/>
                <a:gd name="connsiteY2" fmla="*/ 257442 h 257442"/>
                <a:gd name="connsiteX3" fmla="*/ 0 w 1750507"/>
                <a:gd name="connsiteY3" fmla="*/ 0 h 257442"/>
                <a:gd name="connsiteX0" fmla="*/ 1851496 w 1851496"/>
                <a:gd name="connsiteY0" fmla="*/ 0 h 257442"/>
                <a:gd name="connsiteX1" fmla="*/ 1695786 w 1851496"/>
                <a:gd name="connsiteY1" fmla="*/ 257442 h 257442"/>
                <a:gd name="connsiteX2" fmla="*/ 0 w 1851496"/>
                <a:gd name="connsiteY2" fmla="*/ 257442 h 257442"/>
                <a:gd name="connsiteX3" fmla="*/ 0 w 1851496"/>
                <a:gd name="connsiteY3" fmla="*/ 0 h 257442"/>
                <a:gd name="connsiteX0" fmla="*/ 1851496 w 1851496"/>
                <a:gd name="connsiteY0" fmla="*/ 0 h 257442"/>
                <a:gd name="connsiteX1" fmla="*/ 1796774 w 1851496"/>
                <a:gd name="connsiteY1" fmla="*/ 257442 h 257442"/>
                <a:gd name="connsiteX2" fmla="*/ 0 w 1851496"/>
                <a:gd name="connsiteY2" fmla="*/ 257442 h 257442"/>
                <a:gd name="connsiteX3" fmla="*/ 0 w 1851496"/>
                <a:gd name="connsiteY3" fmla="*/ 0 h 257442"/>
                <a:gd name="connsiteX0" fmla="*/ 1851497 w 1851497"/>
                <a:gd name="connsiteY0" fmla="*/ 0 h 257442"/>
                <a:gd name="connsiteX1" fmla="*/ 1796775 w 1851497"/>
                <a:gd name="connsiteY1" fmla="*/ 257442 h 257442"/>
                <a:gd name="connsiteX2" fmla="*/ 0 w 1851497"/>
                <a:gd name="connsiteY2" fmla="*/ 257442 h 257442"/>
                <a:gd name="connsiteX3" fmla="*/ 1 w 1851497"/>
                <a:gd name="connsiteY3" fmla="*/ 0 h 257442"/>
                <a:gd name="connsiteX0" fmla="*/ 1851497 w 1851497"/>
                <a:gd name="connsiteY0" fmla="*/ 0 h 257442"/>
                <a:gd name="connsiteX1" fmla="*/ 1796775 w 1851497"/>
                <a:gd name="connsiteY1" fmla="*/ 257442 h 257442"/>
                <a:gd name="connsiteX2" fmla="*/ 0 w 1851497"/>
                <a:gd name="connsiteY2" fmla="*/ 257442 h 257442"/>
                <a:gd name="connsiteX3" fmla="*/ 1 w 1851497"/>
                <a:gd name="connsiteY3" fmla="*/ 0 h 257442"/>
                <a:gd name="connsiteX0" fmla="*/ 2011797 w 2011797"/>
                <a:gd name="connsiteY0" fmla="*/ 0 h 257442"/>
                <a:gd name="connsiteX1" fmla="*/ 1796775 w 2011797"/>
                <a:gd name="connsiteY1" fmla="*/ 257442 h 257442"/>
                <a:gd name="connsiteX2" fmla="*/ 0 w 2011797"/>
                <a:gd name="connsiteY2" fmla="*/ 257442 h 257442"/>
                <a:gd name="connsiteX3" fmla="*/ 1 w 2011797"/>
                <a:gd name="connsiteY3" fmla="*/ 0 h 257442"/>
                <a:gd name="connsiteX0" fmla="*/ 2011797 w 2011797"/>
                <a:gd name="connsiteY0" fmla="*/ 0 h 257442"/>
                <a:gd name="connsiteX1" fmla="*/ 1957076 w 2011797"/>
                <a:gd name="connsiteY1" fmla="*/ 257442 h 257442"/>
                <a:gd name="connsiteX2" fmla="*/ 0 w 2011797"/>
                <a:gd name="connsiteY2" fmla="*/ 257442 h 257442"/>
                <a:gd name="connsiteX3" fmla="*/ 1 w 2011797"/>
                <a:gd name="connsiteY3" fmla="*/ 0 h 257442"/>
                <a:gd name="connsiteX0" fmla="*/ 2011796 w 2011796"/>
                <a:gd name="connsiteY0" fmla="*/ 0 h 257442"/>
                <a:gd name="connsiteX1" fmla="*/ 1957075 w 2011796"/>
                <a:gd name="connsiteY1" fmla="*/ 257442 h 257442"/>
                <a:gd name="connsiteX2" fmla="*/ 0 w 2011796"/>
                <a:gd name="connsiteY2" fmla="*/ 257442 h 257442"/>
                <a:gd name="connsiteX3" fmla="*/ 0 w 2011796"/>
                <a:gd name="connsiteY3" fmla="*/ 0 h 257442"/>
                <a:gd name="connsiteX0" fmla="*/ 2011797 w 2011797"/>
                <a:gd name="connsiteY0" fmla="*/ 0 h 257442"/>
                <a:gd name="connsiteX1" fmla="*/ 1957076 w 2011797"/>
                <a:gd name="connsiteY1" fmla="*/ 257442 h 257442"/>
                <a:gd name="connsiteX2" fmla="*/ 1 w 2011797"/>
                <a:gd name="connsiteY2" fmla="*/ 257442 h 257442"/>
                <a:gd name="connsiteX3" fmla="*/ 0 w 2011797"/>
                <a:gd name="connsiteY3" fmla="*/ 0 h 257442"/>
                <a:gd name="connsiteX0" fmla="*/ 2172098 w 2172098"/>
                <a:gd name="connsiteY0" fmla="*/ 0 h 257442"/>
                <a:gd name="connsiteX1" fmla="*/ 1957076 w 2172098"/>
                <a:gd name="connsiteY1" fmla="*/ 257442 h 257442"/>
                <a:gd name="connsiteX2" fmla="*/ 1 w 2172098"/>
                <a:gd name="connsiteY2" fmla="*/ 257442 h 257442"/>
                <a:gd name="connsiteX3" fmla="*/ 0 w 2172098"/>
                <a:gd name="connsiteY3" fmla="*/ 0 h 257442"/>
                <a:gd name="connsiteX0" fmla="*/ 2172098 w 2172098"/>
                <a:gd name="connsiteY0" fmla="*/ 0 h 257442"/>
                <a:gd name="connsiteX1" fmla="*/ 2117376 w 2172098"/>
                <a:gd name="connsiteY1" fmla="*/ 257442 h 257442"/>
                <a:gd name="connsiteX2" fmla="*/ 1 w 2172098"/>
                <a:gd name="connsiteY2" fmla="*/ 257442 h 257442"/>
                <a:gd name="connsiteX3" fmla="*/ 0 w 2172098"/>
                <a:gd name="connsiteY3" fmla="*/ 0 h 257442"/>
                <a:gd name="connsiteX0" fmla="*/ 2172098 w 2172098"/>
                <a:gd name="connsiteY0" fmla="*/ 0 h 257442"/>
                <a:gd name="connsiteX1" fmla="*/ 2117376 w 2172098"/>
                <a:gd name="connsiteY1" fmla="*/ 257442 h 257442"/>
                <a:gd name="connsiteX2" fmla="*/ 0 w 2172098"/>
                <a:gd name="connsiteY2" fmla="*/ 257442 h 257442"/>
                <a:gd name="connsiteX3" fmla="*/ 0 w 2172098"/>
                <a:gd name="connsiteY3" fmla="*/ 0 h 257442"/>
                <a:gd name="connsiteX0" fmla="*/ 2172098 w 2172098"/>
                <a:gd name="connsiteY0" fmla="*/ 0 h 257442"/>
                <a:gd name="connsiteX1" fmla="*/ 2117376 w 2172098"/>
                <a:gd name="connsiteY1" fmla="*/ 257442 h 257442"/>
                <a:gd name="connsiteX2" fmla="*/ 0 w 2172098"/>
                <a:gd name="connsiteY2" fmla="*/ 257442 h 257442"/>
                <a:gd name="connsiteX3" fmla="*/ 0 w 2172098"/>
                <a:gd name="connsiteY3" fmla="*/ 0 h 257442"/>
                <a:gd name="connsiteX0" fmla="*/ 2273086 w 2273086"/>
                <a:gd name="connsiteY0" fmla="*/ 0 h 257442"/>
                <a:gd name="connsiteX1" fmla="*/ 2117376 w 2273086"/>
                <a:gd name="connsiteY1" fmla="*/ 257442 h 257442"/>
                <a:gd name="connsiteX2" fmla="*/ 0 w 2273086"/>
                <a:gd name="connsiteY2" fmla="*/ 257442 h 257442"/>
                <a:gd name="connsiteX3" fmla="*/ 0 w 2273086"/>
                <a:gd name="connsiteY3" fmla="*/ 0 h 257442"/>
                <a:gd name="connsiteX0" fmla="*/ 2273086 w 2273086"/>
                <a:gd name="connsiteY0" fmla="*/ 0 h 257442"/>
                <a:gd name="connsiteX1" fmla="*/ 2218365 w 2273086"/>
                <a:gd name="connsiteY1" fmla="*/ 257442 h 257442"/>
                <a:gd name="connsiteX2" fmla="*/ 0 w 2273086"/>
                <a:gd name="connsiteY2" fmla="*/ 257442 h 257442"/>
                <a:gd name="connsiteX3" fmla="*/ 0 w 2273086"/>
                <a:gd name="connsiteY3" fmla="*/ 0 h 257442"/>
                <a:gd name="connsiteX0" fmla="*/ 2273086 w 2273086"/>
                <a:gd name="connsiteY0" fmla="*/ 0 h 257442"/>
                <a:gd name="connsiteX1" fmla="*/ 2218365 w 2273086"/>
                <a:gd name="connsiteY1" fmla="*/ 257442 h 257442"/>
                <a:gd name="connsiteX2" fmla="*/ 0 w 2273086"/>
                <a:gd name="connsiteY2" fmla="*/ 257442 h 257442"/>
                <a:gd name="connsiteX3" fmla="*/ 0 w 2273086"/>
                <a:gd name="connsiteY3" fmla="*/ 0 h 257442"/>
                <a:gd name="connsiteX0" fmla="*/ 2273086 w 2273086"/>
                <a:gd name="connsiteY0" fmla="*/ 0 h 257442"/>
                <a:gd name="connsiteX1" fmla="*/ 2218365 w 2273086"/>
                <a:gd name="connsiteY1" fmla="*/ 257442 h 257442"/>
                <a:gd name="connsiteX2" fmla="*/ 0 w 2273086"/>
                <a:gd name="connsiteY2" fmla="*/ 257442 h 257442"/>
                <a:gd name="connsiteX3" fmla="*/ 0 w 2273086"/>
                <a:gd name="connsiteY3" fmla="*/ 0 h 257442"/>
                <a:gd name="connsiteX0" fmla="*/ 2441401 w 2441401"/>
                <a:gd name="connsiteY0" fmla="*/ 0 h 257442"/>
                <a:gd name="connsiteX1" fmla="*/ 2218365 w 2441401"/>
                <a:gd name="connsiteY1" fmla="*/ 257442 h 257442"/>
                <a:gd name="connsiteX2" fmla="*/ 0 w 2441401"/>
                <a:gd name="connsiteY2" fmla="*/ 257442 h 257442"/>
                <a:gd name="connsiteX3" fmla="*/ 0 w 2441401"/>
                <a:gd name="connsiteY3" fmla="*/ 0 h 257442"/>
                <a:gd name="connsiteX0" fmla="*/ 2441401 w 2441401"/>
                <a:gd name="connsiteY0" fmla="*/ 0 h 257442"/>
                <a:gd name="connsiteX1" fmla="*/ 2386680 w 2441401"/>
                <a:gd name="connsiteY1" fmla="*/ 257442 h 257442"/>
                <a:gd name="connsiteX2" fmla="*/ 0 w 2441401"/>
                <a:gd name="connsiteY2" fmla="*/ 257442 h 257442"/>
                <a:gd name="connsiteX3" fmla="*/ 0 w 2441401"/>
                <a:gd name="connsiteY3" fmla="*/ 0 h 257442"/>
                <a:gd name="connsiteX0" fmla="*/ 2441401 w 2441401"/>
                <a:gd name="connsiteY0" fmla="*/ 0 h 257442"/>
                <a:gd name="connsiteX1" fmla="*/ 2386680 w 2441401"/>
                <a:gd name="connsiteY1" fmla="*/ 257442 h 257442"/>
                <a:gd name="connsiteX2" fmla="*/ 0 w 2441401"/>
                <a:gd name="connsiteY2" fmla="*/ 257442 h 257442"/>
                <a:gd name="connsiteX3" fmla="*/ 0 w 2441401"/>
                <a:gd name="connsiteY3" fmla="*/ 0 h 257442"/>
                <a:gd name="connsiteX0" fmla="*/ 2441401 w 2441401"/>
                <a:gd name="connsiteY0" fmla="*/ 0 h 257442"/>
                <a:gd name="connsiteX1" fmla="*/ 2386680 w 2441401"/>
                <a:gd name="connsiteY1" fmla="*/ 257442 h 257442"/>
                <a:gd name="connsiteX2" fmla="*/ 0 w 2441401"/>
                <a:gd name="connsiteY2" fmla="*/ 257442 h 257442"/>
                <a:gd name="connsiteX3" fmla="*/ 0 w 2441401"/>
                <a:gd name="connsiteY3" fmla="*/ 0 h 257442"/>
                <a:gd name="connsiteX0" fmla="*/ 2619335 w 2619335"/>
                <a:gd name="connsiteY0" fmla="*/ 0 h 257442"/>
                <a:gd name="connsiteX1" fmla="*/ 2386680 w 2619335"/>
                <a:gd name="connsiteY1" fmla="*/ 257442 h 257442"/>
                <a:gd name="connsiteX2" fmla="*/ 0 w 2619335"/>
                <a:gd name="connsiteY2" fmla="*/ 257442 h 257442"/>
                <a:gd name="connsiteX3" fmla="*/ 0 w 2619335"/>
                <a:gd name="connsiteY3" fmla="*/ 0 h 257442"/>
                <a:gd name="connsiteX0" fmla="*/ 2619335 w 2619335"/>
                <a:gd name="connsiteY0" fmla="*/ 0 h 257442"/>
                <a:gd name="connsiteX1" fmla="*/ 2564614 w 2619335"/>
                <a:gd name="connsiteY1" fmla="*/ 257442 h 257442"/>
                <a:gd name="connsiteX2" fmla="*/ 0 w 2619335"/>
                <a:gd name="connsiteY2" fmla="*/ 257442 h 257442"/>
                <a:gd name="connsiteX3" fmla="*/ 0 w 2619335"/>
                <a:gd name="connsiteY3" fmla="*/ 0 h 257442"/>
                <a:gd name="connsiteX0" fmla="*/ 2619335 w 2619335"/>
                <a:gd name="connsiteY0" fmla="*/ 0 h 257442"/>
                <a:gd name="connsiteX1" fmla="*/ 2564614 w 2619335"/>
                <a:gd name="connsiteY1" fmla="*/ 257442 h 257442"/>
                <a:gd name="connsiteX2" fmla="*/ 0 w 2619335"/>
                <a:gd name="connsiteY2" fmla="*/ 257442 h 257442"/>
                <a:gd name="connsiteX3" fmla="*/ 0 w 2619335"/>
                <a:gd name="connsiteY3" fmla="*/ 0 h 257442"/>
                <a:gd name="connsiteX0" fmla="*/ 2619335 w 2619335"/>
                <a:gd name="connsiteY0" fmla="*/ 0 h 257442"/>
                <a:gd name="connsiteX1" fmla="*/ 2564614 w 2619335"/>
                <a:gd name="connsiteY1" fmla="*/ 257442 h 257442"/>
                <a:gd name="connsiteX2" fmla="*/ 0 w 2619335"/>
                <a:gd name="connsiteY2" fmla="*/ 257442 h 257442"/>
                <a:gd name="connsiteX3" fmla="*/ 0 w 2619335"/>
                <a:gd name="connsiteY3" fmla="*/ 0 h 257442"/>
                <a:gd name="connsiteX0" fmla="*/ 2805283 w 2805283"/>
                <a:gd name="connsiteY0" fmla="*/ 0 h 257442"/>
                <a:gd name="connsiteX1" fmla="*/ 2564614 w 2805283"/>
                <a:gd name="connsiteY1" fmla="*/ 257442 h 257442"/>
                <a:gd name="connsiteX2" fmla="*/ 0 w 2805283"/>
                <a:gd name="connsiteY2" fmla="*/ 257442 h 257442"/>
                <a:gd name="connsiteX3" fmla="*/ 0 w 2805283"/>
                <a:gd name="connsiteY3" fmla="*/ 0 h 257442"/>
                <a:gd name="connsiteX0" fmla="*/ 2805283 w 2805283"/>
                <a:gd name="connsiteY0" fmla="*/ 0 h 257442"/>
                <a:gd name="connsiteX1" fmla="*/ 2750562 w 2805283"/>
                <a:gd name="connsiteY1" fmla="*/ 257442 h 257442"/>
                <a:gd name="connsiteX2" fmla="*/ 0 w 2805283"/>
                <a:gd name="connsiteY2" fmla="*/ 257442 h 257442"/>
                <a:gd name="connsiteX3" fmla="*/ 0 w 2805283"/>
                <a:gd name="connsiteY3" fmla="*/ 0 h 257442"/>
                <a:gd name="connsiteX0" fmla="*/ 2805283 w 2805283"/>
                <a:gd name="connsiteY0" fmla="*/ 0 h 257442"/>
                <a:gd name="connsiteX1" fmla="*/ 2750562 w 2805283"/>
                <a:gd name="connsiteY1" fmla="*/ 257442 h 257442"/>
                <a:gd name="connsiteX2" fmla="*/ 0 w 2805283"/>
                <a:gd name="connsiteY2" fmla="*/ 257442 h 257442"/>
                <a:gd name="connsiteX3" fmla="*/ 0 w 2805283"/>
                <a:gd name="connsiteY3" fmla="*/ 0 h 257442"/>
                <a:gd name="connsiteX0" fmla="*/ 2805283 w 2805283"/>
                <a:gd name="connsiteY0" fmla="*/ 0 h 257442"/>
                <a:gd name="connsiteX1" fmla="*/ 2750562 w 2805283"/>
                <a:gd name="connsiteY1" fmla="*/ 257442 h 257442"/>
                <a:gd name="connsiteX2" fmla="*/ 0 w 2805283"/>
                <a:gd name="connsiteY2" fmla="*/ 257442 h 257442"/>
                <a:gd name="connsiteX3" fmla="*/ 0 w 2805283"/>
                <a:gd name="connsiteY3" fmla="*/ 0 h 257442"/>
                <a:gd name="connsiteX0" fmla="*/ 2965583 w 2965583"/>
                <a:gd name="connsiteY0" fmla="*/ 0 h 257442"/>
                <a:gd name="connsiteX1" fmla="*/ 2750562 w 2965583"/>
                <a:gd name="connsiteY1" fmla="*/ 257442 h 257442"/>
                <a:gd name="connsiteX2" fmla="*/ 0 w 2965583"/>
                <a:gd name="connsiteY2" fmla="*/ 257442 h 257442"/>
                <a:gd name="connsiteX3" fmla="*/ 0 w 2965583"/>
                <a:gd name="connsiteY3" fmla="*/ 0 h 257442"/>
                <a:gd name="connsiteX0" fmla="*/ 2965583 w 2965583"/>
                <a:gd name="connsiteY0" fmla="*/ 0 h 257442"/>
                <a:gd name="connsiteX1" fmla="*/ 2910862 w 2965583"/>
                <a:gd name="connsiteY1" fmla="*/ 257442 h 257442"/>
                <a:gd name="connsiteX2" fmla="*/ 0 w 2965583"/>
                <a:gd name="connsiteY2" fmla="*/ 257442 h 257442"/>
                <a:gd name="connsiteX3" fmla="*/ 0 w 2965583"/>
                <a:gd name="connsiteY3" fmla="*/ 0 h 257442"/>
                <a:gd name="connsiteX0" fmla="*/ 2965583 w 2965583"/>
                <a:gd name="connsiteY0" fmla="*/ 0 h 257442"/>
                <a:gd name="connsiteX1" fmla="*/ 2910862 w 2965583"/>
                <a:gd name="connsiteY1" fmla="*/ 257442 h 257442"/>
                <a:gd name="connsiteX2" fmla="*/ 0 w 2965583"/>
                <a:gd name="connsiteY2" fmla="*/ 257442 h 257442"/>
                <a:gd name="connsiteX3" fmla="*/ 0 w 2965583"/>
                <a:gd name="connsiteY3" fmla="*/ 0 h 257442"/>
                <a:gd name="connsiteX0" fmla="*/ 2965583 w 2965583"/>
                <a:gd name="connsiteY0" fmla="*/ 0 h 257442"/>
                <a:gd name="connsiteX1" fmla="*/ 2910862 w 2965583"/>
                <a:gd name="connsiteY1" fmla="*/ 257442 h 257442"/>
                <a:gd name="connsiteX2" fmla="*/ 0 w 2965583"/>
                <a:gd name="connsiteY2" fmla="*/ 257442 h 257442"/>
                <a:gd name="connsiteX3" fmla="*/ 0 w 2965583"/>
                <a:gd name="connsiteY3" fmla="*/ 0 h 257442"/>
                <a:gd name="connsiteX0" fmla="*/ 3125884 w 3125884"/>
                <a:gd name="connsiteY0" fmla="*/ 0 h 257442"/>
                <a:gd name="connsiteX1" fmla="*/ 2910862 w 3125884"/>
                <a:gd name="connsiteY1" fmla="*/ 257442 h 257442"/>
                <a:gd name="connsiteX2" fmla="*/ 0 w 3125884"/>
                <a:gd name="connsiteY2" fmla="*/ 257442 h 257442"/>
                <a:gd name="connsiteX3" fmla="*/ 0 w 3125884"/>
                <a:gd name="connsiteY3" fmla="*/ 0 h 257442"/>
                <a:gd name="connsiteX0" fmla="*/ 3125884 w 3125884"/>
                <a:gd name="connsiteY0" fmla="*/ 0 h 257442"/>
                <a:gd name="connsiteX1" fmla="*/ 3071162 w 3125884"/>
                <a:gd name="connsiteY1" fmla="*/ 257442 h 257442"/>
                <a:gd name="connsiteX2" fmla="*/ 0 w 3125884"/>
                <a:gd name="connsiteY2" fmla="*/ 257442 h 257442"/>
                <a:gd name="connsiteX3" fmla="*/ 0 w 3125884"/>
                <a:gd name="connsiteY3" fmla="*/ 0 h 257442"/>
                <a:gd name="connsiteX0" fmla="*/ 3125885 w 3125885"/>
                <a:gd name="connsiteY0" fmla="*/ 0 h 257442"/>
                <a:gd name="connsiteX1" fmla="*/ 3071163 w 3125885"/>
                <a:gd name="connsiteY1" fmla="*/ 257442 h 257442"/>
                <a:gd name="connsiteX2" fmla="*/ 0 w 3125885"/>
                <a:gd name="connsiteY2" fmla="*/ 257442 h 257442"/>
                <a:gd name="connsiteX3" fmla="*/ 1 w 3125885"/>
                <a:gd name="connsiteY3" fmla="*/ 0 h 257442"/>
                <a:gd name="connsiteX0" fmla="*/ 3125885 w 3125885"/>
                <a:gd name="connsiteY0" fmla="*/ 0 h 257442"/>
                <a:gd name="connsiteX1" fmla="*/ 3071163 w 3125885"/>
                <a:gd name="connsiteY1" fmla="*/ 257442 h 257442"/>
                <a:gd name="connsiteX2" fmla="*/ 0 w 3125885"/>
                <a:gd name="connsiteY2" fmla="*/ 257442 h 257442"/>
                <a:gd name="connsiteX3" fmla="*/ 1 w 3125885"/>
                <a:gd name="connsiteY3" fmla="*/ 0 h 257442"/>
                <a:gd name="connsiteX0" fmla="*/ 2965584 w 3071163"/>
                <a:gd name="connsiteY0" fmla="*/ 0 h 257442"/>
                <a:gd name="connsiteX1" fmla="*/ 3071163 w 3071163"/>
                <a:gd name="connsiteY1" fmla="*/ 257442 h 257442"/>
                <a:gd name="connsiteX2" fmla="*/ 0 w 3071163"/>
                <a:gd name="connsiteY2" fmla="*/ 257442 h 257442"/>
                <a:gd name="connsiteX3" fmla="*/ 1 w 3071163"/>
                <a:gd name="connsiteY3" fmla="*/ 0 h 257442"/>
                <a:gd name="connsiteX0" fmla="*/ 2965584 w 2965584"/>
                <a:gd name="connsiteY0" fmla="*/ 0 h 257442"/>
                <a:gd name="connsiteX1" fmla="*/ 2910863 w 2965584"/>
                <a:gd name="connsiteY1" fmla="*/ 257442 h 257442"/>
                <a:gd name="connsiteX2" fmla="*/ 0 w 2965584"/>
                <a:gd name="connsiteY2" fmla="*/ 257442 h 257442"/>
                <a:gd name="connsiteX3" fmla="*/ 1 w 2965584"/>
                <a:gd name="connsiteY3" fmla="*/ 0 h 257442"/>
                <a:gd name="connsiteX0" fmla="*/ 2965583 w 2965583"/>
                <a:gd name="connsiteY0" fmla="*/ 0 h 257442"/>
                <a:gd name="connsiteX1" fmla="*/ 2910862 w 2965583"/>
                <a:gd name="connsiteY1" fmla="*/ 257442 h 257442"/>
                <a:gd name="connsiteX2" fmla="*/ 0 w 2965583"/>
                <a:gd name="connsiteY2" fmla="*/ 257442 h 257442"/>
                <a:gd name="connsiteX3" fmla="*/ 0 w 2965583"/>
                <a:gd name="connsiteY3" fmla="*/ 0 h 257442"/>
                <a:gd name="connsiteX0" fmla="*/ 2965583 w 2965583"/>
                <a:gd name="connsiteY0" fmla="*/ 0 h 257442"/>
                <a:gd name="connsiteX1" fmla="*/ 2910862 w 2965583"/>
                <a:gd name="connsiteY1" fmla="*/ 257442 h 257442"/>
                <a:gd name="connsiteX2" fmla="*/ 0 w 2965583"/>
                <a:gd name="connsiteY2" fmla="*/ 257442 h 257442"/>
                <a:gd name="connsiteX3" fmla="*/ 0 w 2965583"/>
                <a:gd name="connsiteY3" fmla="*/ 0 h 257442"/>
                <a:gd name="connsiteX0" fmla="*/ 2805283 w 2910862"/>
                <a:gd name="connsiteY0" fmla="*/ 0 h 257442"/>
                <a:gd name="connsiteX1" fmla="*/ 2910862 w 2910862"/>
                <a:gd name="connsiteY1" fmla="*/ 257442 h 257442"/>
                <a:gd name="connsiteX2" fmla="*/ 0 w 2910862"/>
                <a:gd name="connsiteY2" fmla="*/ 257442 h 257442"/>
                <a:gd name="connsiteX3" fmla="*/ 0 w 2910862"/>
                <a:gd name="connsiteY3" fmla="*/ 0 h 257442"/>
                <a:gd name="connsiteX0" fmla="*/ 2805283 w 2805283"/>
                <a:gd name="connsiteY0" fmla="*/ 0 h 257442"/>
                <a:gd name="connsiteX1" fmla="*/ 2750562 w 2805283"/>
                <a:gd name="connsiteY1" fmla="*/ 257442 h 257442"/>
                <a:gd name="connsiteX2" fmla="*/ 0 w 2805283"/>
                <a:gd name="connsiteY2" fmla="*/ 257442 h 257442"/>
                <a:gd name="connsiteX3" fmla="*/ 0 w 2805283"/>
                <a:gd name="connsiteY3" fmla="*/ 0 h 257442"/>
                <a:gd name="connsiteX0" fmla="*/ 2805283 w 2805283"/>
                <a:gd name="connsiteY0" fmla="*/ 0 h 257442"/>
                <a:gd name="connsiteX1" fmla="*/ 2750562 w 2805283"/>
                <a:gd name="connsiteY1" fmla="*/ 257442 h 257442"/>
                <a:gd name="connsiteX2" fmla="*/ 1 w 2805283"/>
                <a:gd name="connsiteY2" fmla="*/ 257442 h 257442"/>
                <a:gd name="connsiteX3" fmla="*/ 0 w 2805283"/>
                <a:gd name="connsiteY3" fmla="*/ 0 h 257442"/>
                <a:gd name="connsiteX0" fmla="*/ 2805282 w 2805282"/>
                <a:gd name="connsiteY0" fmla="*/ 0 h 257442"/>
                <a:gd name="connsiteX1" fmla="*/ 2750561 w 2805282"/>
                <a:gd name="connsiteY1" fmla="*/ 257442 h 257442"/>
                <a:gd name="connsiteX2" fmla="*/ 0 w 2805282"/>
                <a:gd name="connsiteY2" fmla="*/ 257442 h 257442"/>
                <a:gd name="connsiteX3" fmla="*/ 0 w 2805282"/>
                <a:gd name="connsiteY3" fmla="*/ 0 h 257442"/>
                <a:gd name="connsiteX0" fmla="*/ 2619334 w 2750561"/>
                <a:gd name="connsiteY0" fmla="*/ 0 h 257442"/>
                <a:gd name="connsiteX1" fmla="*/ 2750561 w 2750561"/>
                <a:gd name="connsiteY1" fmla="*/ 257442 h 257442"/>
                <a:gd name="connsiteX2" fmla="*/ 0 w 2750561"/>
                <a:gd name="connsiteY2" fmla="*/ 257442 h 257442"/>
                <a:gd name="connsiteX3" fmla="*/ 0 w 2750561"/>
                <a:gd name="connsiteY3" fmla="*/ 0 h 257442"/>
                <a:gd name="connsiteX0" fmla="*/ 2619334 w 2619334"/>
                <a:gd name="connsiteY0" fmla="*/ 0 h 257442"/>
                <a:gd name="connsiteX1" fmla="*/ 2564614 w 2619334"/>
                <a:gd name="connsiteY1" fmla="*/ 257442 h 257442"/>
                <a:gd name="connsiteX2" fmla="*/ 0 w 2619334"/>
                <a:gd name="connsiteY2" fmla="*/ 257442 h 257442"/>
                <a:gd name="connsiteX3" fmla="*/ 0 w 2619334"/>
                <a:gd name="connsiteY3" fmla="*/ 0 h 257442"/>
                <a:gd name="connsiteX0" fmla="*/ 2619334 w 2619334"/>
                <a:gd name="connsiteY0" fmla="*/ 0 h 257442"/>
                <a:gd name="connsiteX1" fmla="*/ 2564614 w 2619334"/>
                <a:gd name="connsiteY1" fmla="*/ 257442 h 257442"/>
                <a:gd name="connsiteX2" fmla="*/ 0 w 2619334"/>
                <a:gd name="connsiteY2" fmla="*/ 257442 h 257442"/>
                <a:gd name="connsiteX3" fmla="*/ 0 w 2619334"/>
                <a:gd name="connsiteY3" fmla="*/ 0 h 257442"/>
                <a:gd name="connsiteX0" fmla="*/ 2619334 w 2619334"/>
                <a:gd name="connsiteY0" fmla="*/ 0 h 257442"/>
                <a:gd name="connsiteX1" fmla="*/ 2564614 w 2619334"/>
                <a:gd name="connsiteY1" fmla="*/ 257442 h 257442"/>
                <a:gd name="connsiteX2" fmla="*/ 0 w 2619334"/>
                <a:gd name="connsiteY2" fmla="*/ 257442 h 257442"/>
                <a:gd name="connsiteX3" fmla="*/ 0 w 2619334"/>
                <a:gd name="connsiteY3" fmla="*/ 0 h 257442"/>
                <a:gd name="connsiteX0" fmla="*/ 2441401 w 2564614"/>
                <a:gd name="connsiteY0" fmla="*/ 0 h 257442"/>
                <a:gd name="connsiteX1" fmla="*/ 2564614 w 2564614"/>
                <a:gd name="connsiteY1" fmla="*/ 257442 h 257442"/>
                <a:gd name="connsiteX2" fmla="*/ 0 w 2564614"/>
                <a:gd name="connsiteY2" fmla="*/ 257442 h 257442"/>
                <a:gd name="connsiteX3" fmla="*/ 0 w 2564614"/>
                <a:gd name="connsiteY3" fmla="*/ 0 h 257442"/>
                <a:gd name="connsiteX0" fmla="*/ 2441401 w 2441401"/>
                <a:gd name="connsiteY0" fmla="*/ 0 h 257442"/>
                <a:gd name="connsiteX1" fmla="*/ 2386680 w 2441401"/>
                <a:gd name="connsiteY1" fmla="*/ 257442 h 257442"/>
                <a:gd name="connsiteX2" fmla="*/ 0 w 2441401"/>
                <a:gd name="connsiteY2" fmla="*/ 257442 h 257442"/>
                <a:gd name="connsiteX3" fmla="*/ 0 w 2441401"/>
                <a:gd name="connsiteY3" fmla="*/ 0 h 257442"/>
                <a:gd name="connsiteX0" fmla="*/ 2441401 w 2441401"/>
                <a:gd name="connsiteY0" fmla="*/ 0 h 257442"/>
                <a:gd name="connsiteX1" fmla="*/ 2386680 w 2441401"/>
                <a:gd name="connsiteY1" fmla="*/ 257442 h 257442"/>
                <a:gd name="connsiteX2" fmla="*/ 1 w 2441401"/>
                <a:gd name="connsiteY2" fmla="*/ 257442 h 257442"/>
                <a:gd name="connsiteX3" fmla="*/ 0 w 2441401"/>
                <a:gd name="connsiteY3" fmla="*/ 0 h 257442"/>
                <a:gd name="connsiteX0" fmla="*/ 2441400 w 2441400"/>
                <a:gd name="connsiteY0" fmla="*/ 0 h 257442"/>
                <a:gd name="connsiteX1" fmla="*/ 2386679 w 2441400"/>
                <a:gd name="connsiteY1" fmla="*/ 257442 h 257442"/>
                <a:gd name="connsiteX2" fmla="*/ 0 w 2441400"/>
                <a:gd name="connsiteY2" fmla="*/ 257442 h 257442"/>
                <a:gd name="connsiteX3" fmla="*/ 0 w 2441400"/>
                <a:gd name="connsiteY3" fmla="*/ 0 h 257442"/>
                <a:gd name="connsiteX0" fmla="*/ 2273085 w 2386679"/>
                <a:gd name="connsiteY0" fmla="*/ 0 h 257442"/>
                <a:gd name="connsiteX1" fmla="*/ 2386679 w 2386679"/>
                <a:gd name="connsiteY1" fmla="*/ 257442 h 257442"/>
                <a:gd name="connsiteX2" fmla="*/ 0 w 2386679"/>
                <a:gd name="connsiteY2" fmla="*/ 257442 h 257442"/>
                <a:gd name="connsiteX3" fmla="*/ 0 w 2386679"/>
                <a:gd name="connsiteY3" fmla="*/ 0 h 257442"/>
                <a:gd name="connsiteX0" fmla="*/ 2273085 w 2273085"/>
                <a:gd name="connsiteY0" fmla="*/ 0 h 257442"/>
                <a:gd name="connsiteX1" fmla="*/ 2218365 w 2273085"/>
                <a:gd name="connsiteY1" fmla="*/ 257442 h 257442"/>
                <a:gd name="connsiteX2" fmla="*/ 0 w 2273085"/>
                <a:gd name="connsiteY2" fmla="*/ 257442 h 257442"/>
                <a:gd name="connsiteX3" fmla="*/ 0 w 2273085"/>
                <a:gd name="connsiteY3" fmla="*/ 0 h 257442"/>
                <a:gd name="connsiteX0" fmla="*/ 2273085 w 2273085"/>
                <a:gd name="connsiteY0" fmla="*/ 0 h 257442"/>
                <a:gd name="connsiteX1" fmla="*/ 2218365 w 2273085"/>
                <a:gd name="connsiteY1" fmla="*/ 257442 h 257442"/>
                <a:gd name="connsiteX2" fmla="*/ 0 w 2273085"/>
                <a:gd name="connsiteY2" fmla="*/ 257442 h 257442"/>
                <a:gd name="connsiteX3" fmla="*/ 0 w 2273085"/>
                <a:gd name="connsiteY3" fmla="*/ 0 h 257442"/>
                <a:gd name="connsiteX0" fmla="*/ 2273085 w 2273085"/>
                <a:gd name="connsiteY0" fmla="*/ 0 h 257442"/>
                <a:gd name="connsiteX1" fmla="*/ 2218365 w 2273085"/>
                <a:gd name="connsiteY1" fmla="*/ 257442 h 257442"/>
                <a:gd name="connsiteX2" fmla="*/ 0 w 2273085"/>
                <a:gd name="connsiteY2" fmla="*/ 257442 h 257442"/>
                <a:gd name="connsiteX3" fmla="*/ 0 w 2273085"/>
                <a:gd name="connsiteY3" fmla="*/ 0 h 257442"/>
                <a:gd name="connsiteX0" fmla="*/ 2172097 w 2218365"/>
                <a:gd name="connsiteY0" fmla="*/ 0 h 257442"/>
                <a:gd name="connsiteX1" fmla="*/ 2218365 w 2218365"/>
                <a:gd name="connsiteY1" fmla="*/ 257442 h 257442"/>
                <a:gd name="connsiteX2" fmla="*/ 0 w 2218365"/>
                <a:gd name="connsiteY2" fmla="*/ 257442 h 257442"/>
                <a:gd name="connsiteX3" fmla="*/ 0 w 2218365"/>
                <a:gd name="connsiteY3" fmla="*/ 0 h 257442"/>
                <a:gd name="connsiteX0" fmla="*/ 2172097 w 2172097"/>
                <a:gd name="connsiteY0" fmla="*/ 0 h 257442"/>
                <a:gd name="connsiteX1" fmla="*/ 2117376 w 2172097"/>
                <a:gd name="connsiteY1" fmla="*/ 257442 h 257442"/>
                <a:gd name="connsiteX2" fmla="*/ 0 w 2172097"/>
                <a:gd name="connsiteY2" fmla="*/ 257442 h 257442"/>
                <a:gd name="connsiteX3" fmla="*/ 0 w 2172097"/>
                <a:gd name="connsiteY3" fmla="*/ 0 h 257442"/>
                <a:gd name="connsiteX0" fmla="*/ 2172097 w 2172097"/>
                <a:gd name="connsiteY0" fmla="*/ 0 h 257442"/>
                <a:gd name="connsiteX1" fmla="*/ 2117376 w 2172097"/>
                <a:gd name="connsiteY1" fmla="*/ 257442 h 257442"/>
                <a:gd name="connsiteX2" fmla="*/ 0 w 2172097"/>
                <a:gd name="connsiteY2" fmla="*/ 257442 h 257442"/>
                <a:gd name="connsiteX3" fmla="*/ 0 w 2172097"/>
                <a:gd name="connsiteY3" fmla="*/ 0 h 257442"/>
                <a:gd name="connsiteX0" fmla="*/ 2172097 w 2172097"/>
                <a:gd name="connsiteY0" fmla="*/ 0 h 257442"/>
                <a:gd name="connsiteX1" fmla="*/ 2117376 w 2172097"/>
                <a:gd name="connsiteY1" fmla="*/ 257442 h 257442"/>
                <a:gd name="connsiteX2" fmla="*/ 0 w 2172097"/>
                <a:gd name="connsiteY2" fmla="*/ 257442 h 257442"/>
                <a:gd name="connsiteX3" fmla="*/ 0 w 2172097"/>
                <a:gd name="connsiteY3" fmla="*/ 0 h 257442"/>
                <a:gd name="connsiteX0" fmla="*/ 2011796 w 2117376"/>
                <a:gd name="connsiteY0" fmla="*/ 0 h 257442"/>
                <a:gd name="connsiteX1" fmla="*/ 2117376 w 2117376"/>
                <a:gd name="connsiteY1" fmla="*/ 257442 h 257442"/>
                <a:gd name="connsiteX2" fmla="*/ 0 w 2117376"/>
                <a:gd name="connsiteY2" fmla="*/ 257442 h 257442"/>
                <a:gd name="connsiteX3" fmla="*/ 0 w 2117376"/>
                <a:gd name="connsiteY3" fmla="*/ 0 h 257442"/>
                <a:gd name="connsiteX0" fmla="*/ 2011796 w 2011796"/>
                <a:gd name="connsiteY0" fmla="*/ 0 h 257442"/>
                <a:gd name="connsiteX1" fmla="*/ 1957075 w 2011796"/>
                <a:gd name="connsiteY1" fmla="*/ 257442 h 257442"/>
                <a:gd name="connsiteX2" fmla="*/ 0 w 2011796"/>
                <a:gd name="connsiteY2" fmla="*/ 257442 h 257442"/>
                <a:gd name="connsiteX3" fmla="*/ 0 w 2011796"/>
                <a:gd name="connsiteY3" fmla="*/ 0 h 257442"/>
                <a:gd name="connsiteX0" fmla="*/ 2011796 w 2011796"/>
                <a:gd name="connsiteY0" fmla="*/ 0 h 257442"/>
                <a:gd name="connsiteX1" fmla="*/ 1957075 w 2011796"/>
                <a:gd name="connsiteY1" fmla="*/ 257442 h 257442"/>
                <a:gd name="connsiteX2" fmla="*/ 0 w 2011796"/>
                <a:gd name="connsiteY2" fmla="*/ 257442 h 257442"/>
                <a:gd name="connsiteX3" fmla="*/ 0 w 2011796"/>
                <a:gd name="connsiteY3" fmla="*/ 0 h 257442"/>
                <a:gd name="connsiteX0" fmla="*/ 2011796 w 2011796"/>
                <a:gd name="connsiteY0" fmla="*/ 0 h 257442"/>
                <a:gd name="connsiteX1" fmla="*/ 1957075 w 2011796"/>
                <a:gd name="connsiteY1" fmla="*/ 257442 h 257442"/>
                <a:gd name="connsiteX2" fmla="*/ 0 w 2011796"/>
                <a:gd name="connsiteY2" fmla="*/ 257442 h 257442"/>
                <a:gd name="connsiteX3" fmla="*/ 0 w 2011796"/>
                <a:gd name="connsiteY3" fmla="*/ 0 h 257442"/>
                <a:gd name="connsiteX0" fmla="*/ 1851496 w 1957075"/>
                <a:gd name="connsiteY0" fmla="*/ 0 h 257442"/>
                <a:gd name="connsiteX1" fmla="*/ 1957075 w 1957075"/>
                <a:gd name="connsiteY1" fmla="*/ 257442 h 257442"/>
                <a:gd name="connsiteX2" fmla="*/ 0 w 1957075"/>
                <a:gd name="connsiteY2" fmla="*/ 257442 h 257442"/>
                <a:gd name="connsiteX3" fmla="*/ 0 w 1957075"/>
                <a:gd name="connsiteY3" fmla="*/ 0 h 257442"/>
                <a:gd name="connsiteX0" fmla="*/ 1851496 w 1851496"/>
                <a:gd name="connsiteY0" fmla="*/ 0 h 257442"/>
                <a:gd name="connsiteX1" fmla="*/ 1796776 w 1851496"/>
                <a:gd name="connsiteY1" fmla="*/ 257442 h 257442"/>
                <a:gd name="connsiteX2" fmla="*/ 0 w 1851496"/>
                <a:gd name="connsiteY2" fmla="*/ 257442 h 257442"/>
                <a:gd name="connsiteX3" fmla="*/ 0 w 1851496"/>
                <a:gd name="connsiteY3" fmla="*/ 0 h 257442"/>
                <a:gd name="connsiteX0" fmla="*/ 1851496 w 1851496"/>
                <a:gd name="connsiteY0" fmla="*/ 0 h 257442"/>
                <a:gd name="connsiteX1" fmla="*/ 1796776 w 1851496"/>
                <a:gd name="connsiteY1" fmla="*/ 257442 h 257442"/>
                <a:gd name="connsiteX2" fmla="*/ 1 w 1851496"/>
                <a:gd name="connsiteY2" fmla="*/ 257442 h 257442"/>
                <a:gd name="connsiteX3" fmla="*/ 0 w 1851496"/>
                <a:gd name="connsiteY3" fmla="*/ 0 h 257442"/>
                <a:gd name="connsiteX0" fmla="*/ 1851495 w 1851495"/>
                <a:gd name="connsiteY0" fmla="*/ 0 h 257442"/>
                <a:gd name="connsiteX1" fmla="*/ 1796775 w 1851495"/>
                <a:gd name="connsiteY1" fmla="*/ 257442 h 257442"/>
                <a:gd name="connsiteX2" fmla="*/ 0 w 1851495"/>
                <a:gd name="connsiteY2" fmla="*/ 257442 h 257442"/>
                <a:gd name="connsiteX3" fmla="*/ 0 w 1851495"/>
                <a:gd name="connsiteY3" fmla="*/ 0 h 257442"/>
                <a:gd name="connsiteX0" fmla="*/ 1750507 w 1796775"/>
                <a:gd name="connsiteY0" fmla="*/ 0 h 257442"/>
                <a:gd name="connsiteX1" fmla="*/ 1796775 w 1796775"/>
                <a:gd name="connsiteY1" fmla="*/ 257442 h 257442"/>
                <a:gd name="connsiteX2" fmla="*/ 0 w 1796775"/>
                <a:gd name="connsiteY2" fmla="*/ 257442 h 257442"/>
                <a:gd name="connsiteX3" fmla="*/ 0 w 1796775"/>
                <a:gd name="connsiteY3" fmla="*/ 0 h 257442"/>
                <a:gd name="connsiteX0" fmla="*/ 1750507 w 1750507"/>
                <a:gd name="connsiteY0" fmla="*/ 0 h 257442"/>
                <a:gd name="connsiteX1" fmla="*/ 1695786 w 1750507"/>
                <a:gd name="connsiteY1" fmla="*/ 257442 h 257442"/>
                <a:gd name="connsiteX2" fmla="*/ 0 w 1750507"/>
                <a:gd name="connsiteY2" fmla="*/ 257442 h 257442"/>
                <a:gd name="connsiteX3" fmla="*/ 0 w 1750507"/>
                <a:gd name="connsiteY3" fmla="*/ 0 h 257442"/>
                <a:gd name="connsiteX0" fmla="*/ 1750507 w 1750507"/>
                <a:gd name="connsiteY0" fmla="*/ 0 h 257442"/>
                <a:gd name="connsiteX1" fmla="*/ 1695786 w 1750507"/>
                <a:gd name="connsiteY1" fmla="*/ 257442 h 257442"/>
                <a:gd name="connsiteX2" fmla="*/ 0 w 1750507"/>
                <a:gd name="connsiteY2" fmla="*/ 257442 h 257442"/>
                <a:gd name="connsiteX3" fmla="*/ 0 w 1750507"/>
                <a:gd name="connsiteY3" fmla="*/ 0 h 257442"/>
                <a:gd name="connsiteX0" fmla="*/ 1750507 w 1750507"/>
                <a:gd name="connsiteY0" fmla="*/ 0 h 257442"/>
                <a:gd name="connsiteX1" fmla="*/ 1695786 w 1750507"/>
                <a:gd name="connsiteY1" fmla="*/ 257442 h 257442"/>
                <a:gd name="connsiteX2" fmla="*/ 0 w 1750507"/>
                <a:gd name="connsiteY2" fmla="*/ 257442 h 257442"/>
                <a:gd name="connsiteX3" fmla="*/ 0 w 1750507"/>
                <a:gd name="connsiteY3" fmla="*/ 0 h 257442"/>
                <a:gd name="connsiteX0" fmla="*/ 1598221 w 1695786"/>
                <a:gd name="connsiteY0" fmla="*/ 0 h 257442"/>
                <a:gd name="connsiteX1" fmla="*/ 1695786 w 1695786"/>
                <a:gd name="connsiteY1" fmla="*/ 257442 h 257442"/>
                <a:gd name="connsiteX2" fmla="*/ 0 w 1695786"/>
                <a:gd name="connsiteY2" fmla="*/ 257442 h 257442"/>
                <a:gd name="connsiteX3" fmla="*/ 0 w 1695786"/>
                <a:gd name="connsiteY3" fmla="*/ 0 h 257442"/>
                <a:gd name="connsiteX0" fmla="*/ 1598221 w 1598221"/>
                <a:gd name="connsiteY0" fmla="*/ 0 h 257442"/>
                <a:gd name="connsiteX1" fmla="*/ 1543500 w 1598221"/>
                <a:gd name="connsiteY1" fmla="*/ 257442 h 257442"/>
                <a:gd name="connsiteX2" fmla="*/ 0 w 1598221"/>
                <a:gd name="connsiteY2" fmla="*/ 257442 h 257442"/>
                <a:gd name="connsiteX3" fmla="*/ 0 w 1598221"/>
                <a:gd name="connsiteY3" fmla="*/ 0 h 257442"/>
                <a:gd name="connsiteX0" fmla="*/ 1598221 w 1598221"/>
                <a:gd name="connsiteY0" fmla="*/ 0 h 257442"/>
                <a:gd name="connsiteX1" fmla="*/ 1543500 w 1598221"/>
                <a:gd name="connsiteY1" fmla="*/ 257442 h 257442"/>
                <a:gd name="connsiteX2" fmla="*/ 1 w 1598221"/>
                <a:gd name="connsiteY2" fmla="*/ 257442 h 257442"/>
                <a:gd name="connsiteX3" fmla="*/ 0 w 1598221"/>
                <a:gd name="connsiteY3" fmla="*/ 0 h 257442"/>
                <a:gd name="connsiteX0" fmla="*/ 1598220 w 1598220"/>
                <a:gd name="connsiteY0" fmla="*/ 0 h 257442"/>
                <a:gd name="connsiteX1" fmla="*/ 1543499 w 1598220"/>
                <a:gd name="connsiteY1" fmla="*/ 257442 h 257442"/>
                <a:gd name="connsiteX2" fmla="*/ 0 w 1598220"/>
                <a:gd name="connsiteY2" fmla="*/ 257442 h 257442"/>
                <a:gd name="connsiteX3" fmla="*/ 0 w 1598220"/>
                <a:gd name="connsiteY3" fmla="*/ 0 h 257442"/>
                <a:gd name="connsiteX0" fmla="*/ 1437920 w 1543499"/>
                <a:gd name="connsiteY0" fmla="*/ 0 h 257442"/>
                <a:gd name="connsiteX1" fmla="*/ 1543499 w 1543499"/>
                <a:gd name="connsiteY1" fmla="*/ 257442 h 257442"/>
                <a:gd name="connsiteX2" fmla="*/ 0 w 1543499"/>
                <a:gd name="connsiteY2" fmla="*/ 257442 h 257442"/>
                <a:gd name="connsiteX3" fmla="*/ 0 w 1543499"/>
                <a:gd name="connsiteY3" fmla="*/ 0 h 257442"/>
                <a:gd name="connsiteX0" fmla="*/ 1437920 w 1437920"/>
                <a:gd name="connsiteY0" fmla="*/ 0 h 257442"/>
                <a:gd name="connsiteX1" fmla="*/ 1383200 w 1437920"/>
                <a:gd name="connsiteY1" fmla="*/ 257442 h 257442"/>
                <a:gd name="connsiteX2" fmla="*/ 0 w 1437920"/>
                <a:gd name="connsiteY2" fmla="*/ 257442 h 257442"/>
                <a:gd name="connsiteX3" fmla="*/ 0 w 1437920"/>
                <a:gd name="connsiteY3" fmla="*/ 0 h 257442"/>
                <a:gd name="connsiteX0" fmla="*/ 1437920 w 1437920"/>
                <a:gd name="connsiteY0" fmla="*/ 0 h 257442"/>
                <a:gd name="connsiteX1" fmla="*/ 1383200 w 1437920"/>
                <a:gd name="connsiteY1" fmla="*/ 257442 h 257442"/>
                <a:gd name="connsiteX2" fmla="*/ 0 w 1437920"/>
                <a:gd name="connsiteY2" fmla="*/ 257442 h 257442"/>
                <a:gd name="connsiteX3" fmla="*/ 0 w 1437920"/>
                <a:gd name="connsiteY3" fmla="*/ 0 h 257442"/>
                <a:gd name="connsiteX0" fmla="*/ 1437920 w 1437920"/>
                <a:gd name="connsiteY0" fmla="*/ 0 h 257442"/>
                <a:gd name="connsiteX1" fmla="*/ 1383200 w 1437920"/>
                <a:gd name="connsiteY1" fmla="*/ 257442 h 257442"/>
                <a:gd name="connsiteX2" fmla="*/ 0 w 1437920"/>
                <a:gd name="connsiteY2" fmla="*/ 257442 h 257442"/>
                <a:gd name="connsiteX3" fmla="*/ 0 w 1437920"/>
                <a:gd name="connsiteY3" fmla="*/ 0 h 257442"/>
                <a:gd name="connsiteX0" fmla="*/ 1259988 w 1383200"/>
                <a:gd name="connsiteY0" fmla="*/ 0 h 257442"/>
                <a:gd name="connsiteX1" fmla="*/ 1383200 w 1383200"/>
                <a:gd name="connsiteY1" fmla="*/ 257442 h 257442"/>
                <a:gd name="connsiteX2" fmla="*/ 0 w 1383200"/>
                <a:gd name="connsiteY2" fmla="*/ 257442 h 257442"/>
                <a:gd name="connsiteX3" fmla="*/ 0 w 1383200"/>
                <a:gd name="connsiteY3" fmla="*/ 0 h 257442"/>
                <a:gd name="connsiteX0" fmla="*/ 1259988 w 1259988"/>
                <a:gd name="connsiteY0" fmla="*/ 0 h 257442"/>
                <a:gd name="connsiteX1" fmla="*/ 1205267 w 1259988"/>
                <a:gd name="connsiteY1" fmla="*/ 257442 h 257442"/>
                <a:gd name="connsiteX2" fmla="*/ 0 w 1259988"/>
                <a:gd name="connsiteY2" fmla="*/ 257442 h 257442"/>
                <a:gd name="connsiteX3" fmla="*/ 0 w 1259988"/>
                <a:gd name="connsiteY3" fmla="*/ 0 h 257442"/>
                <a:gd name="connsiteX0" fmla="*/ 1259988 w 1259988"/>
                <a:gd name="connsiteY0" fmla="*/ 0 h 257442"/>
                <a:gd name="connsiteX1" fmla="*/ 1205267 w 1259988"/>
                <a:gd name="connsiteY1" fmla="*/ 257442 h 257442"/>
                <a:gd name="connsiteX2" fmla="*/ 0 w 1259988"/>
                <a:gd name="connsiteY2" fmla="*/ 257442 h 257442"/>
                <a:gd name="connsiteX3" fmla="*/ 0 w 1259988"/>
                <a:gd name="connsiteY3" fmla="*/ 0 h 257442"/>
                <a:gd name="connsiteX0" fmla="*/ 1259988 w 1259988"/>
                <a:gd name="connsiteY0" fmla="*/ 0 h 257442"/>
                <a:gd name="connsiteX1" fmla="*/ 1205267 w 1259988"/>
                <a:gd name="connsiteY1" fmla="*/ 257442 h 257442"/>
                <a:gd name="connsiteX2" fmla="*/ 0 w 1259988"/>
                <a:gd name="connsiteY2" fmla="*/ 257442 h 257442"/>
                <a:gd name="connsiteX3" fmla="*/ 0 w 1259988"/>
                <a:gd name="connsiteY3" fmla="*/ 0 h 257442"/>
                <a:gd name="connsiteX0" fmla="*/ 1091673 w 1205267"/>
                <a:gd name="connsiteY0" fmla="*/ 0 h 257442"/>
                <a:gd name="connsiteX1" fmla="*/ 1205267 w 1205267"/>
                <a:gd name="connsiteY1" fmla="*/ 257442 h 257442"/>
                <a:gd name="connsiteX2" fmla="*/ 0 w 1205267"/>
                <a:gd name="connsiteY2" fmla="*/ 257442 h 257442"/>
                <a:gd name="connsiteX3" fmla="*/ 0 w 1205267"/>
                <a:gd name="connsiteY3" fmla="*/ 0 h 257442"/>
                <a:gd name="connsiteX0" fmla="*/ 1091673 w 1091673"/>
                <a:gd name="connsiteY0" fmla="*/ 0 h 257442"/>
                <a:gd name="connsiteX1" fmla="*/ 1036953 w 1091673"/>
                <a:gd name="connsiteY1" fmla="*/ 257442 h 257442"/>
                <a:gd name="connsiteX2" fmla="*/ 0 w 1091673"/>
                <a:gd name="connsiteY2" fmla="*/ 257442 h 257442"/>
                <a:gd name="connsiteX3" fmla="*/ 0 w 1091673"/>
                <a:gd name="connsiteY3" fmla="*/ 0 h 257442"/>
                <a:gd name="connsiteX0" fmla="*/ 1091673 w 1091673"/>
                <a:gd name="connsiteY0" fmla="*/ 0 h 257442"/>
                <a:gd name="connsiteX1" fmla="*/ 1036953 w 1091673"/>
                <a:gd name="connsiteY1" fmla="*/ 257442 h 257442"/>
                <a:gd name="connsiteX2" fmla="*/ 1 w 1091673"/>
                <a:gd name="connsiteY2" fmla="*/ 257442 h 257442"/>
                <a:gd name="connsiteX3" fmla="*/ 0 w 1091673"/>
                <a:gd name="connsiteY3" fmla="*/ 0 h 257442"/>
                <a:gd name="connsiteX0" fmla="*/ 1091672 w 1091672"/>
                <a:gd name="connsiteY0" fmla="*/ 0 h 257442"/>
                <a:gd name="connsiteX1" fmla="*/ 1036952 w 1091672"/>
                <a:gd name="connsiteY1" fmla="*/ 257442 h 257442"/>
                <a:gd name="connsiteX2" fmla="*/ 0 w 1091672"/>
                <a:gd name="connsiteY2" fmla="*/ 257442 h 257442"/>
                <a:gd name="connsiteX3" fmla="*/ 0 w 1091672"/>
                <a:gd name="connsiteY3" fmla="*/ 0 h 257442"/>
                <a:gd name="connsiteX0" fmla="*/ 934770 w 1036952"/>
                <a:gd name="connsiteY0" fmla="*/ 0 h 257442"/>
                <a:gd name="connsiteX1" fmla="*/ 1036952 w 1036952"/>
                <a:gd name="connsiteY1" fmla="*/ 257442 h 257442"/>
                <a:gd name="connsiteX2" fmla="*/ 0 w 1036952"/>
                <a:gd name="connsiteY2" fmla="*/ 257442 h 257442"/>
                <a:gd name="connsiteX3" fmla="*/ 0 w 1036952"/>
                <a:gd name="connsiteY3" fmla="*/ 0 h 257442"/>
                <a:gd name="connsiteX0" fmla="*/ 934770 w 934770"/>
                <a:gd name="connsiteY0" fmla="*/ 0 h 257442"/>
                <a:gd name="connsiteX1" fmla="*/ 880049 w 934770"/>
                <a:gd name="connsiteY1" fmla="*/ 257442 h 257442"/>
                <a:gd name="connsiteX2" fmla="*/ 0 w 934770"/>
                <a:gd name="connsiteY2" fmla="*/ 257442 h 257442"/>
                <a:gd name="connsiteX3" fmla="*/ 0 w 934770"/>
                <a:gd name="connsiteY3" fmla="*/ 0 h 257442"/>
                <a:gd name="connsiteX0" fmla="*/ 934771 w 934771"/>
                <a:gd name="connsiteY0" fmla="*/ 0 h 257442"/>
                <a:gd name="connsiteX1" fmla="*/ 880050 w 934771"/>
                <a:gd name="connsiteY1" fmla="*/ 257442 h 257442"/>
                <a:gd name="connsiteX2" fmla="*/ 0 w 934771"/>
                <a:gd name="connsiteY2" fmla="*/ 257442 h 257442"/>
                <a:gd name="connsiteX3" fmla="*/ 1 w 934771"/>
                <a:gd name="connsiteY3" fmla="*/ 0 h 257442"/>
                <a:gd name="connsiteX0" fmla="*/ 934771 w 934771"/>
                <a:gd name="connsiteY0" fmla="*/ 0 h 257442"/>
                <a:gd name="connsiteX1" fmla="*/ 880050 w 934771"/>
                <a:gd name="connsiteY1" fmla="*/ 257442 h 257442"/>
                <a:gd name="connsiteX2" fmla="*/ 0 w 934771"/>
                <a:gd name="connsiteY2" fmla="*/ 257442 h 257442"/>
                <a:gd name="connsiteX3" fmla="*/ 1 w 934771"/>
                <a:gd name="connsiteY3" fmla="*/ 0 h 257442"/>
                <a:gd name="connsiteX0" fmla="*/ 782551 w 880050"/>
                <a:gd name="connsiteY0" fmla="*/ 0 h 257442"/>
                <a:gd name="connsiteX1" fmla="*/ 880050 w 880050"/>
                <a:gd name="connsiteY1" fmla="*/ 257442 h 257442"/>
                <a:gd name="connsiteX2" fmla="*/ 0 w 880050"/>
                <a:gd name="connsiteY2" fmla="*/ 257442 h 257442"/>
                <a:gd name="connsiteX3" fmla="*/ 1 w 880050"/>
                <a:gd name="connsiteY3" fmla="*/ 0 h 257442"/>
                <a:gd name="connsiteX0" fmla="*/ 782551 w 782551"/>
                <a:gd name="connsiteY0" fmla="*/ 0 h 257442"/>
                <a:gd name="connsiteX1" fmla="*/ 727830 w 782551"/>
                <a:gd name="connsiteY1" fmla="*/ 257442 h 257442"/>
                <a:gd name="connsiteX2" fmla="*/ 0 w 782551"/>
                <a:gd name="connsiteY2" fmla="*/ 257442 h 257442"/>
                <a:gd name="connsiteX3" fmla="*/ 1 w 782551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1 w 782550"/>
                <a:gd name="connsiteY2" fmla="*/ 257442 h 257442"/>
                <a:gd name="connsiteX3" fmla="*/ 0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1 w 782550"/>
                <a:gd name="connsiteY2" fmla="*/ 257442 h 257442"/>
                <a:gd name="connsiteX3" fmla="*/ 0 w 782550"/>
                <a:gd name="connsiteY3" fmla="*/ 0 h 257442"/>
                <a:gd name="connsiteX0" fmla="*/ 950801 w 950801"/>
                <a:gd name="connsiteY0" fmla="*/ 0 h 257442"/>
                <a:gd name="connsiteX1" fmla="*/ 727829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1128734 w 1128734"/>
                <a:gd name="connsiteY0" fmla="*/ 0 h 257442"/>
                <a:gd name="connsiteX1" fmla="*/ 896080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2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314683 w 1314683"/>
                <a:gd name="connsiteY0" fmla="*/ 0 h 257442"/>
                <a:gd name="connsiteX1" fmla="*/ 1074013 w 1314683"/>
                <a:gd name="connsiteY1" fmla="*/ 257442 h 257442"/>
                <a:gd name="connsiteX2" fmla="*/ 0 w 1314683"/>
                <a:gd name="connsiteY2" fmla="*/ 257442 h 257442"/>
                <a:gd name="connsiteX3" fmla="*/ 1 w 1314683"/>
                <a:gd name="connsiteY3" fmla="*/ 0 h 257442"/>
                <a:gd name="connsiteX0" fmla="*/ 1314683 w 1314683"/>
                <a:gd name="connsiteY0" fmla="*/ 0 h 257442"/>
                <a:gd name="connsiteX1" fmla="*/ 1259962 w 1314683"/>
                <a:gd name="connsiteY1" fmla="*/ 257442 h 257442"/>
                <a:gd name="connsiteX2" fmla="*/ 0 w 1314683"/>
                <a:gd name="connsiteY2" fmla="*/ 257442 h 257442"/>
                <a:gd name="connsiteX3" fmla="*/ 1 w 1314683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3 w 1314683"/>
                <a:gd name="connsiteY0" fmla="*/ 0 h 257442"/>
                <a:gd name="connsiteX1" fmla="*/ 1259962 w 1314683"/>
                <a:gd name="connsiteY1" fmla="*/ 257442 h 257442"/>
                <a:gd name="connsiteX2" fmla="*/ 1 w 1314683"/>
                <a:gd name="connsiteY2" fmla="*/ 257442 h 257442"/>
                <a:gd name="connsiteX3" fmla="*/ 0 w 1314683"/>
                <a:gd name="connsiteY3" fmla="*/ 0 h 257442"/>
                <a:gd name="connsiteX0" fmla="*/ 1474984 w 1474984"/>
                <a:gd name="connsiteY0" fmla="*/ 0 h 257442"/>
                <a:gd name="connsiteX1" fmla="*/ 1259962 w 1474984"/>
                <a:gd name="connsiteY1" fmla="*/ 257442 h 257442"/>
                <a:gd name="connsiteX2" fmla="*/ 1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1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635283 w 1635283"/>
                <a:gd name="connsiteY0" fmla="*/ 0 h 257442"/>
                <a:gd name="connsiteX1" fmla="*/ 14202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787569 w 1787569"/>
                <a:gd name="connsiteY0" fmla="*/ 0 h 257442"/>
                <a:gd name="connsiteX1" fmla="*/ 1580562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787569 w 1787569"/>
                <a:gd name="connsiteY0" fmla="*/ 0 h 257442"/>
                <a:gd name="connsiteX1" fmla="*/ 1732848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787569 w 1787569"/>
                <a:gd name="connsiteY0" fmla="*/ 0 h 257442"/>
                <a:gd name="connsiteX1" fmla="*/ 1732848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787569 w 1787569"/>
                <a:gd name="connsiteY0" fmla="*/ 0 h 257442"/>
                <a:gd name="connsiteX1" fmla="*/ 1732848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888557 w 1888557"/>
                <a:gd name="connsiteY0" fmla="*/ 0 h 257442"/>
                <a:gd name="connsiteX1" fmla="*/ 1732848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2040843 w 2040843"/>
                <a:gd name="connsiteY0" fmla="*/ 0 h 257442"/>
                <a:gd name="connsiteX1" fmla="*/ 1833836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040843 w 2040843"/>
                <a:gd name="connsiteY0" fmla="*/ 0 h 257442"/>
                <a:gd name="connsiteX1" fmla="*/ 1986122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040843 w 2040843"/>
                <a:gd name="connsiteY0" fmla="*/ 0 h 257442"/>
                <a:gd name="connsiteX1" fmla="*/ 1986122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040843 w 2040843"/>
                <a:gd name="connsiteY0" fmla="*/ 0 h 257442"/>
                <a:gd name="connsiteX1" fmla="*/ 1986122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216019 w 2216019"/>
                <a:gd name="connsiteY0" fmla="*/ 0 h 257442"/>
                <a:gd name="connsiteX1" fmla="*/ 1986122 w 2216019"/>
                <a:gd name="connsiteY1" fmla="*/ 257442 h 257442"/>
                <a:gd name="connsiteX2" fmla="*/ 0 w 2216019"/>
                <a:gd name="connsiteY2" fmla="*/ 257442 h 257442"/>
                <a:gd name="connsiteX3" fmla="*/ 0 w 2216019"/>
                <a:gd name="connsiteY3" fmla="*/ 0 h 257442"/>
                <a:gd name="connsiteX0" fmla="*/ 2216019 w 2216019"/>
                <a:gd name="connsiteY0" fmla="*/ 0 h 257442"/>
                <a:gd name="connsiteX1" fmla="*/ 2161298 w 2216019"/>
                <a:gd name="connsiteY1" fmla="*/ 257442 h 257442"/>
                <a:gd name="connsiteX2" fmla="*/ 0 w 2216019"/>
                <a:gd name="connsiteY2" fmla="*/ 257442 h 257442"/>
                <a:gd name="connsiteX3" fmla="*/ 0 w 2216019"/>
                <a:gd name="connsiteY3" fmla="*/ 0 h 257442"/>
                <a:gd name="connsiteX0" fmla="*/ 2216019 w 2216019"/>
                <a:gd name="connsiteY0" fmla="*/ 0 h 257442"/>
                <a:gd name="connsiteX1" fmla="*/ 2161298 w 2216019"/>
                <a:gd name="connsiteY1" fmla="*/ 257442 h 257442"/>
                <a:gd name="connsiteX2" fmla="*/ 0 w 2216019"/>
                <a:gd name="connsiteY2" fmla="*/ 257442 h 257442"/>
                <a:gd name="connsiteX3" fmla="*/ 0 w 2216019"/>
                <a:gd name="connsiteY3" fmla="*/ 0 h 257442"/>
                <a:gd name="connsiteX0" fmla="*/ 2216019 w 2216019"/>
                <a:gd name="connsiteY0" fmla="*/ 0 h 257442"/>
                <a:gd name="connsiteX1" fmla="*/ 2161298 w 2216019"/>
                <a:gd name="connsiteY1" fmla="*/ 257442 h 257442"/>
                <a:gd name="connsiteX2" fmla="*/ 0 w 2216019"/>
                <a:gd name="connsiteY2" fmla="*/ 257442 h 257442"/>
                <a:gd name="connsiteX3" fmla="*/ 0 w 2216019"/>
                <a:gd name="connsiteY3" fmla="*/ 0 h 257442"/>
                <a:gd name="connsiteX0" fmla="*/ 2384334 w 2384334"/>
                <a:gd name="connsiteY0" fmla="*/ 0 h 257442"/>
                <a:gd name="connsiteX1" fmla="*/ 2161298 w 2384334"/>
                <a:gd name="connsiteY1" fmla="*/ 257442 h 257442"/>
                <a:gd name="connsiteX2" fmla="*/ 0 w 2384334"/>
                <a:gd name="connsiteY2" fmla="*/ 257442 h 257442"/>
                <a:gd name="connsiteX3" fmla="*/ 0 w 2384334"/>
                <a:gd name="connsiteY3" fmla="*/ 0 h 257442"/>
                <a:gd name="connsiteX0" fmla="*/ 2384334 w 2384334"/>
                <a:gd name="connsiteY0" fmla="*/ 0 h 257442"/>
                <a:gd name="connsiteX1" fmla="*/ 2329612 w 2384334"/>
                <a:gd name="connsiteY1" fmla="*/ 257442 h 257442"/>
                <a:gd name="connsiteX2" fmla="*/ 0 w 2384334"/>
                <a:gd name="connsiteY2" fmla="*/ 257442 h 257442"/>
                <a:gd name="connsiteX3" fmla="*/ 0 w 2384334"/>
                <a:gd name="connsiteY3" fmla="*/ 0 h 257442"/>
                <a:gd name="connsiteX0" fmla="*/ 2384335 w 2384335"/>
                <a:gd name="connsiteY0" fmla="*/ 0 h 257442"/>
                <a:gd name="connsiteX1" fmla="*/ 2329613 w 2384335"/>
                <a:gd name="connsiteY1" fmla="*/ 257442 h 257442"/>
                <a:gd name="connsiteX2" fmla="*/ 0 w 2384335"/>
                <a:gd name="connsiteY2" fmla="*/ 257442 h 257442"/>
                <a:gd name="connsiteX3" fmla="*/ 1 w 2384335"/>
                <a:gd name="connsiteY3" fmla="*/ 0 h 257442"/>
                <a:gd name="connsiteX0" fmla="*/ 2384335 w 2384335"/>
                <a:gd name="connsiteY0" fmla="*/ 0 h 257442"/>
                <a:gd name="connsiteX1" fmla="*/ 2329613 w 2384335"/>
                <a:gd name="connsiteY1" fmla="*/ 257442 h 257442"/>
                <a:gd name="connsiteX2" fmla="*/ 0 w 2384335"/>
                <a:gd name="connsiteY2" fmla="*/ 257442 h 257442"/>
                <a:gd name="connsiteX3" fmla="*/ 1 w 2384335"/>
                <a:gd name="connsiteY3" fmla="*/ 0 h 257442"/>
                <a:gd name="connsiteX0" fmla="*/ 2544635 w 2544635"/>
                <a:gd name="connsiteY0" fmla="*/ 0 h 257442"/>
                <a:gd name="connsiteX1" fmla="*/ 2329613 w 2544635"/>
                <a:gd name="connsiteY1" fmla="*/ 257442 h 257442"/>
                <a:gd name="connsiteX2" fmla="*/ 0 w 2544635"/>
                <a:gd name="connsiteY2" fmla="*/ 257442 h 257442"/>
                <a:gd name="connsiteX3" fmla="*/ 1 w 2544635"/>
                <a:gd name="connsiteY3" fmla="*/ 0 h 257442"/>
                <a:gd name="connsiteX0" fmla="*/ 2544635 w 2544635"/>
                <a:gd name="connsiteY0" fmla="*/ 0 h 257442"/>
                <a:gd name="connsiteX1" fmla="*/ 2489914 w 2544635"/>
                <a:gd name="connsiteY1" fmla="*/ 257442 h 257442"/>
                <a:gd name="connsiteX2" fmla="*/ 0 w 2544635"/>
                <a:gd name="connsiteY2" fmla="*/ 257442 h 257442"/>
                <a:gd name="connsiteX3" fmla="*/ 1 w 2544635"/>
                <a:gd name="connsiteY3" fmla="*/ 0 h 257442"/>
                <a:gd name="connsiteX0" fmla="*/ 2544634 w 2544634"/>
                <a:gd name="connsiteY0" fmla="*/ 0 h 257442"/>
                <a:gd name="connsiteX1" fmla="*/ 2489913 w 2544634"/>
                <a:gd name="connsiteY1" fmla="*/ 257442 h 257442"/>
                <a:gd name="connsiteX2" fmla="*/ 0 w 2544634"/>
                <a:gd name="connsiteY2" fmla="*/ 257442 h 257442"/>
                <a:gd name="connsiteX3" fmla="*/ 0 w 2544634"/>
                <a:gd name="connsiteY3" fmla="*/ 0 h 257442"/>
                <a:gd name="connsiteX0" fmla="*/ 2544635 w 2544635"/>
                <a:gd name="connsiteY0" fmla="*/ 0 h 257442"/>
                <a:gd name="connsiteX1" fmla="*/ 2489914 w 2544635"/>
                <a:gd name="connsiteY1" fmla="*/ 257442 h 257442"/>
                <a:gd name="connsiteX2" fmla="*/ 1 w 2544635"/>
                <a:gd name="connsiteY2" fmla="*/ 257442 h 257442"/>
                <a:gd name="connsiteX3" fmla="*/ 0 w 2544635"/>
                <a:gd name="connsiteY3" fmla="*/ 0 h 257442"/>
                <a:gd name="connsiteX0" fmla="*/ 950802 w 2489914"/>
                <a:gd name="connsiteY0" fmla="*/ 0 h 257442"/>
                <a:gd name="connsiteX1" fmla="*/ 2489914 w 2489914"/>
                <a:gd name="connsiteY1" fmla="*/ 257442 h 257442"/>
                <a:gd name="connsiteX2" fmla="*/ 1 w 2489914"/>
                <a:gd name="connsiteY2" fmla="*/ 257442 h 257442"/>
                <a:gd name="connsiteX3" fmla="*/ 0 w 2489914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1 w 950802"/>
                <a:gd name="connsiteY2" fmla="*/ 257442 h 257442"/>
                <a:gd name="connsiteX3" fmla="*/ 0 w 950802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1 w 950802"/>
                <a:gd name="connsiteY2" fmla="*/ 257442 h 257442"/>
                <a:gd name="connsiteX3" fmla="*/ 0 w 95080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1128734 w 1128734"/>
                <a:gd name="connsiteY0" fmla="*/ 0 h 257442"/>
                <a:gd name="connsiteX1" fmla="*/ 896080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2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314683 w 1314683"/>
                <a:gd name="connsiteY0" fmla="*/ 0 h 257442"/>
                <a:gd name="connsiteX1" fmla="*/ 1074013 w 1314683"/>
                <a:gd name="connsiteY1" fmla="*/ 257442 h 257442"/>
                <a:gd name="connsiteX2" fmla="*/ 0 w 1314683"/>
                <a:gd name="connsiteY2" fmla="*/ 257442 h 257442"/>
                <a:gd name="connsiteX3" fmla="*/ 1 w 1314683"/>
                <a:gd name="connsiteY3" fmla="*/ 0 h 257442"/>
                <a:gd name="connsiteX0" fmla="*/ 1314683 w 1314683"/>
                <a:gd name="connsiteY0" fmla="*/ 0 h 257442"/>
                <a:gd name="connsiteX1" fmla="*/ 1259962 w 1314683"/>
                <a:gd name="connsiteY1" fmla="*/ 257442 h 257442"/>
                <a:gd name="connsiteX2" fmla="*/ 0 w 1314683"/>
                <a:gd name="connsiteY2" fmla="*/ 257442 h 257442"/>
                <a:gd name="connsiteX3" fmla="*/ 1 w 1314683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3 w 1314683"/>
                <a:gd name="connsiteY0" fmla="*/ 0 h 257442"/>
                <a:gd name="connsiteX1" fmla="*/ 1259962 w 1314683"/>
                <a:gd name="connsiteY1" fmla="*/ 257442 h 257442"/>
                <a:gd name="connsiteX2" fmla="*/ 1 w 1314683"/>
                <a:gd name="connsiteY2" fmla="*/ 257442 h 257442"/>
                <a:gd name="connsiteX3" fmla="*/ 0 w 1314683"/>
                <a:gd name="connsiteY3" fmla="*/ 0 h 257442"/>
                <a:gd name="connsiteX0" fmla="*/ 1474984 w 1474984"/>
                <a:gd name="connsiteY0" fmla="*/ 0 h 257442"/>
                <a:gd name="connsiteX1" fmla="*/ 1259962 w 1474984"/>
                <a:gd name="connsiteY1" fmla="*/ 257442 h 257442"/>
                <a:gd name="connsiteX2" fmla="*/ 1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1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635283 w 1635283"/>
                <a:gd name="connsiteY0" fmla="*/ 0 h 257442"/>
                <a:gd name="connsiteX1" fmla="*/ 14202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787569 w 1787569"/>
                <a:gd name="connsiteY0" fmla="*/ 0 h 257442"/>
                <a:gd name="connsiteX1" fmla="*/ 1580562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787569 w 1787569"/>
                <a:gd name="connsiteY0" fmla="*/ 0 h 257442"/>
                <a:gd name="connsiteX1" fmla="*/ 1732848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787569 w 1787569"/>
                <a:gd name="connsiteY0" fmla="*/ 0 h 257442"/>
                <a:gd name="connsiteX1" fmla="*/ 1732848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787569 w 1787569"/>
                <a:gd name="connsiteY0" fmla="*/ 0 h 257442"/>
                <a:gd name="connsiteX1" fmla="*/ 1732848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888557 w 1888557"/>
                <a:gd name="connsiteY0" fmla="*/ 0 h 257442"/>
                <a:gd name="connsiteX1" fmla="*/ 1732848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2040843 w 2040843"/>
                <a:gd name="connsiteY0" fmla="*/ 0 h 257442"/>
                <a:gd name="connsiteX1" fmla="*/ 1833836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040843 w 2040843"/>
                <a:gd name="connsiteY0" fmla="*/ 0 h 257442"/>
                <a:gd name="connsiteX1" fmla="*/ 1986122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040843 w 2040843"/>
                <a:gd name="connsiteY0" fmla="*/ 0 h 257442"/>
                <a:gd name="connsiteX1" fmla="*/ 1986122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040843 w 2040843"/>
                <a:gd name="connsiteY0" fmla="*/ 0 h 257442"/>
                <a:gd name="connsiteX1" fmla="*/ 1986122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216019 w 2216019"/>
                <a:gd name="connsiteY0" fmla="*/ 0 h 257442"/>
                <a:gd name="connsiteX1" fmla="*/ 1986122 w 2216019"/>
                <a:gd name="connsiteY1" fmla="*/ 257442 h 257442"/>
                <a:gd name="connsiteX2" fmla="*/ 0 w 2216019"/>
                <a:gd name="connsiteY2" fmla="*/ 257442 h 257442"/>
                <a:gd name="connsiteX3" fmla="*/ 0 w 2216019"/>
                <a:gd name="connsiteY3" fmla="*/ 0 h 257442"/>
                <a:gd name="connsiteX0" fmla="*/ 2216019 w 2216019"/>
                <a:gd name="connsiteY0" fmla="*/ 0 h 257442"/>
                <a:gd name="connsiteX1" fmla="*/ 2161298 w 2216019"/>
                <a:gd name="connsiteY1" fmla="*/ 257442 h 257442"/>
                <a:gd name="connsiteX2" fmla="*/ 0 w 2216019"/>
                <a:gd name="connsiteY2" fmla="*/ 257442 h 257442"/>
                <a:gd name="connsiteX3" fmla="*/ 0 w 2216019"/>
                <a:gd name="connsiteY3" fmla="*/ 0 h 257442"/>
                <a:gd name="connsiteX0" fmla="*/ 2216019 w 2216019"/>
                <a:gd name="connsiteY0" fmla="*/ 0 h 257442"/>
                <a:gd name="connsiteX1" fmla="*/ 2161298 w 2216019"/>
                <a:gd name="connsiteY1" fmla="*/ 257442 h 257442"/>
                <a:gd name="connsiteX2" fmla="*/ 0 w 2216019"/>
                <a:gd name="connsiteY2" fmla="*/ 257442 h 257442"/>
                <a:gd name="connsiteX3" fmla="*/ 0 w 2216019"/>
                <a:gd name="connsiteY3" fmla="*/ 0 h 257442"/>
                <a:gd name="connsiteX0" fmla="*/ 2216019 w 2216019"/>
                <a:gd name="connsiteY0" fmla="*/ 0 h 257442"/>
                <a:gd name="connsiteX1" fmla="*/ 2161298 w 2216019"/>
                <a:gd name="connsiteY1" fmla="*/ 257442 h 257442"/>
                <a:gd name="connsiteX2" fmla="*/ 0 w 2216019"/>
                <a:gd name="connsiteY2" fmla="*/ 257442 h 257442"/>
                <a:gd name="connsiteX3" fmla="*/ 0 w 2216019"/>
                <a:gd name="connsiteY3" fmla="*/ 0 h 257442"/>
                <a:gd name="connsiteX0" fmla="*/ 2384334 w 2384334"/>
                <a:gd name="connsiteY0" fmla="*/ 0 h 257442"/>
                <a:gd name="connsiteX1" fmla="*/ 2161298 w 2384334"/>
                <a:gd name="connsiteY1" fmla="*/ 257442 h 257442"/>
                <a:gd name="connsiteX2" fmla="*/ 0 w 2384334"/>
                <a:gd name="connsiteY2" fmla="*/ 257442 h 257442"/>
                <a:gd name="connsiteX3" fmla="*/ 0 w 2384334"/>
                <a:gd name="connsiteY3" fmla="*/ 0 h 257442"/>
                <a:gd name="connsiteX0" fmla="*/ 2384334 w 2384334"/>
                <a:gd name="connsiteY0" fmla="*/ 0 h 257442"/>
                <a:gd name="connsiteX1" fmla="*/ 2329612 w 2384334"/>
                <a:gd name="connsiteY1" fmla="*/ 257442 h 257442"/>
                <a:gd name="connsiteX2" fmla="*/ 0 w 2384334"/>
                <a:gd name="connsiteY2" fmla="*/ 257442 h 257442"/>
                <a:gd name="connsiteX3" fmla="*/ 0 w 2384334"/>
                <a:gd name="connsiteY3" fmla="*/ 0 h 257442"/>
                <a:gd name="connsiteX0" fmla="*/ 2384335 w 2384335"/>
                <a:gd name="connsiteY0" fmla="*/ 0 h 257442"/>
                <a:gd name="connsiteX1" fmla="*/ 2329613 w 2384335"/>
                <a:gd name="connsiteY1" fmla="*/ 257442 h 257442"/>
                <a:gd name="connsiteX2" fmla="*/ 0 w 2384335"/>
                <a:gd name="connsiteY2" fmla="*/ 257442 h 257442"/>
                <a:gd name="connsiteX3" fmla="*/ 1 w 2384335"/>
                <a:gd name="connsiteY3" fmla="*/ 0 h 257442"/>
                <a:gd name="connsiteX0" fmla="*/ 2384335 w 2384335"/>
                <a:gd name="connsiteY0" fmla="*/ 0 h 257442"/>
                <a:gd name="connsiteX1" fmla="*/ 2329613 w 2384335"/>
                <a:gd name="connsiteY1" fmla="*/ 257442 h 257442"/>
                <a:gd name="connsiteX2" fmla="*/ 0 w 2384335"/>
                <a:gd name="connsiteY2" fmla="*/ 257442 h 257442"/>
                <a:gd name="connsiteX3" fmla="*/ 1 w 2384335"/>
                <a:gd name="connsiteY3" fmla="*/ 0 h 257442"/>
                <a:gd name="connsiteX0" fmla="*/ 2544635 w 2544635"/>
                <a:gd name="connsiteY0" fmla="*/ 0 h 257442"/>
                <a:gd name="connsiteX1" fmla="*/ 2329613 w 2544635"/>
                <a:gd name="connsiteY1" fmla="*/ 257442 h 257442"/>
                <a:gd name="connsiteX2" fmla="*/ 0 w 2544635"/>
                <a:gd name="connsiteY2" fmla="*/ 257442 h 257442"/>
                <a:gd name="connsiteX3" fmla="*/ 1 w 2544635"/>
                <a:gd name="connsiteY3" fmla="*/ 0 h 257442"/>
                <a:gd name="connsiteX0" fmla="*/ 2544635 w 2544635"/>
                <a:gd name="connsiteY0" fmla="*/ 0 h 257442"/>
                <a:gd name="connsiteX1" fmla="*/ 2489914 w 2544635"/>
                <a:gd name="connsiteY1" fmla="*/ 257442 h 257442"/>
                <a:gd name="connsiteX2" fmla="*/ 0 w 2544635"/>
                <a:gd name="connsiteY2" fmla="*/ 257442 h 257442"/>
                <a:gd name="connsiteX3" fmla="*/ 1 w 2544635"/>
                <a:gd name="connsiteY3" fmla="*/ 0 h 257442"/>
                <a:gd name="connsiteX0" fmla="*/ 2544634 w 2544634"/>
                <a:gd name="connsiteY0" fmla="*/ 0 h 257442"/>
                <a:gd name="connsiteX1" fmla="*/ 2489913 w 2544634"/>
                <a:gd name="connsiteY1" fmla="*/ 257442 h 257442"/>
                <a:gd name="connsiteX2" fmla="*/ 0 w 2544634"/>
                <a:gd name="connsiteY2" fmla="*/ 257442 h 257442"/>
                <a:gd name="connsiteX3" fmla="*/ 0 w 2544634"/>
                <a:gd name="connsiteY3" fmla="*/ 0 h 257442"/>
                <a:gd name="connsiteX0" fmla="*/ 2544635 w 2544635"/>
                <a:gd name="connsiteY0" fmla="*/ 0 h 257442"/>
                <a:gd name="connsiteX1" fmla="*/ 2489914 w 2544635"/>
                <a:gd name="connsiteY1" fmla="*/ 257442 h 257442"/>
                <a:gd name="connsiteX2" fmla="*/ 1 w 2544635"/>
                <a:gd name="connsiteY2" fmla="*/ 257442 h 257442"/>
                <a:gd name="connsiteX3" fmla="*/ 0 w 2544635"/>
                <a:gd name="connsiteY3" fmla="*/ 0 h 257442"/>
                <a:gd name="connsiteX0" fmla="*/ 950802 w 2489914"/>
                <a:gd name="connsiteY0" fmla="*/ 0 h 257442"/>
                <a:gd name="connsiteX1" fmla="*/ 2489914 w 2489914"/>
                <a:gd name="connsiteY1" fmla="*/ 257442 h 257442"/>
                <a:gd name="connsiteX2" fmla="*/ 1 w 2489914"/>
                <a:gd name="connsiteY2" fmla="*/ 257442 h 257442"/>
                <a:gd name="connsiteX3" fmla="*/ 0 w 2489914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1 w 950802"/>
                <a:gd name="connsiteY2" fmla="*/ 257442 h 257442"/>
                <a:gd name="connsiteX3" fmla="*/ 0 w 950802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1 w 950802"/>
                <a:gd name="connsiteY2" fmla="*/ 257442 h 257442"/>
                <a:gd name="connsiteX3" fmla="*/ 0 w 95080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79416 w 1279416"/>
                <a:gd name="connsiteY0" fmla="*/ 0 h 257442"/>
                <a:gd name="connsiteX1" fmla="*/ 1056380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4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9417" h="257442">
                  <a:moveTo>
                    <a:pt x="1279417" y="0"/>
                  </a:moveTo>
                  <a:lnTo>
                    <a:pt x="1224695" y="257442"/>
                  </a:lnTo>
                  <a:lnTo>
                    <a:pt x="0" y="257442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" name="btfpRunningAgenda2LevelTextLeft403778">
              <a:extLst>
                <a:ext uri="{FF2B5EF4-FFF2-40B4-BE49-F238E27FC236}">
                  <a16:creationId xmlns:a16="http://schemas.microsoft.com/office/drawing/2014/main" id="{270F6AA6-AF2A-426B-87CF-F1657D209B27}"/>
                </a:ext>
              </a:extLst>
            </p:cNvPr>
            <p:cNvSpPr txBox="1"/>
            <p:nvPr/>
          </p:nvSpPr>
          <p:spPr bwMode="gray">
            <a:xfrm>
              <a:off x="0" y="876300"/>
              <a:ext cx="1224695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KPC</a:t>
              </a:r>
              <a:endParaRPr kumimoji="0" lang="en-AU" sz="1200" b="1" i="0" u="none" strike="noStrike" kern="1200" cap="all" spc="4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" name="btfpRunningAgenda2LevelBarRight403778">
              <a:extLst>
                <a:ext uri="{FF2B5EF4-FFF2-40B4-BE49-F238E27FC236}">
                  <a16:creationId xmlns:a16="http://schemas.microsoft.com/office/drawing/2014/main" id="{2E510BDC-0557-476F-A448-002E0ADA96D1}"/>
                </a:ext>
              </a:extLst>
            </p:cNvPr>
            <p:cNvSpPr/>
            <p:nvPr/>
          </p:nvSpPr>
          <p:spPr bwMode="gray">
            <a:xfrm>
              <a:off x="1144575" y="876300"/>
              <a:ext cx="2544634" cy="257442"/>
            </a:xfrm>
            <a:custGeom>
              <a:avLst/>
              <a:gdLst>
                <a:gd name="connsiteX0" fmla="*/ 95080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50801 w 2313135"/>
                <a:gd name="connsiteY0" fmla="*/ 0 h 257442"/>
                <a:gd name="connsiteX1" fmla="*/ 89608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1 w 950800"/>
                <a:gd name="connsiteY3" fmla="*/ 0 h 257442"/>
                <a:gd name="connsiteX0" fmla="*/ 1111100 w 1111100"/>
                <a:gd name="connsiteY0" fmla="*/ 0 h 257442"/>
                <a:gd name="connsiteX1" fmla="*/ 896079 w 1111100"/>
                <a:gd name="connsiteY1" fmla="*/ 257442 h 257442"/>
                <a:gd name="connsiteX2" fmla="*/ 0 w 1111100"/>
                <a:gd name="connsiteY2" fmla="*/ 257442 h 257442"/>
                <a:gd name="connsiteX3" fmla="*/ 54721 w 1111100"/>
                <a:gd name="connsiteY3" fmla="*/ 0 h 257442"/>
                <a:gd name="connsiteX0" fmla="*/ 1111100 w 1111100"/>
                <a:gd name="connsiteY0" fmla="*/ 0 h 257442"/>
                <a:gd name="connsiteX1" fmla="*/ 1056379 w 1111100"/>
                <a:gd name="connsiteY1" fmla="*/ 257442 h 257442"/>
                <a:gd name="connsiteX2" fmla="*/ 0 w 1111100"/>
                <a:gd name="connsiteY2" fmla="*/ 257442 h 257442"/>
                <a:gd name="connsiteX3" fmla="*/ 54721 w 1111100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2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2 w 1111101"/>
                <a:gd name="connsiteY3" fmla="*/ 0 h 257442"/>
                <a:gd name="connsiteX0" fmla="*/ 1271403 w 1271403"/>
                <a:gd name="connsiteY0" fmla="*/ 0 h 257442"/>
                <a:gd name="connsiteX1" fmla="*/ 1056380 w 1271403"/>
                <a:gd name="connsiteY1" fmla="*/ 257442 h 257442"/>
                <a:gd name="connsiteX2" fmla="*/ 0 w 1271403"/>
                <a:gd name="connsiteY2" fmla="*/ 257442 h 257442"/>
                <a:gd name="connsiteX3" fmla="*/ 54722 w 1271403"/>
                <a:gd name="connsiteY3" fmla="*/ 0 h 257442"/>
                <a:gd name="connsiteX0" fmla="*/ 1271403 w 1271403"/>
                <a:gd name="connsiteY0" fmla="*/ 0 h 257442"/>
                <a:gd name="connsiteX1" fmla="*/ 1216682 w 1271403"/>
                <a:gd name="connsiteY1" fmla="*/ 257442 h 257442"/>
                <a:gd name="connsiteX2" fmla="*/ 0 w 1271403"/>
                <a:gd name="connsiteY2" fmla="*/ 257442 h 257442"/>
                <a:gd name="connsiteX3" fmla="*/ 54722 w 1271403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0 w 1271402"/>
                <a:gd name="connsiteY3" fmla="*/ 0 h 257442"/>
                <a:gd name="connsiteX0" fmla="*/ 1592001 w 1592001"/>
                <a:gd name="connsiteY0" fmla="*/ 0 h 257442"/>
                <a:gd name="connsiteX1" fmla="*/ 1216681 w 1592001"/>
                <a:gd name="connsiteY1" fmla="*/ 257442 h 257442"/>
                <a:gd name="connsiteX2" fmla="*/ 0 w 1592001"/>
                <a:gd name="connsiteY2" fmla="*/ 257442 h 257442"/>
                <a:gd name="connsiteX3" fmla="*/ 54720 w 1592001"/>
                <a:gd name="connsiteY3" fmla="*/ 0 h 257442"/>
                <a:gd name="connsiteX0" fmla="*/ 1592001 w 1592001"/>
                <a:gd name="connsiteY0" fmla="*/ 0 h 257442"/>
                <a:gd name="connsiteX1" fmla="*/ 1537280 w 1592001"/>
                <a:gd name="connsiteY1" fmla="*/ 257442 h 257442"/>
                <a:gd name="connsiteX2" fmla="*/ 0 w 1592001"/>
                <a:gd name="connsiteY2" fmla="*/ 257442 h 257442"/>
                <a:gd name="connsiteX3" fmla="*/ 54720 w 1592001"/>
                <a:gd name="connsiteY3" fmla="*/ 0 h 257442"/>
                <a:gd name="connsiteX0" fmla="*/ 1592002 w 1592002"/>
                <a:gd name="connsiteY0" fmla="*/ 0 h 257442"/>
                <a:gd name="connsiteX1" fmla="*/ 1537281 w 1592002"/>
                <a:gd name="connsiteY1" fmla="*/ 257442 h 257442"/>
                <a:gd name="connsiteX2" fmla="*/ 0 w 1592002"/>
                <a:gd name="connsiteY2" fmla="*/ 257442 h 257442"/>
                <a:gd name="connsiteX3" fmla="*/ 54721 w 1592002"/>
                <a:gd name="connsiteY3" fmla="*/ 0 h 257442"/>
                <a:gd name="connsiteX0" fmla="*/ 1592002 w 1592002"/>
                <a:gd name="connsiteY0" fmla="*/ 0 h 257442"/>
                <a:gd name="connsiteX1" fmla="*/ 1537281 w 1592002"/>
                <a:gd name="connsiteY1" fmla="*/ 257442 h 257442"/>
                <a:gd name="connsiteX2" fmla="*/ 0 w 1592002"/>
                <a:gd name="connsiteY2" fmla="*/ 257442 h 257442"/>
                <a:gd name="connsiteX3" fmla="*/ 54721 w 1592002"/>
                <a:gd name="connsiteY3" fmla="*/ 0 h 257442"/>
                <a:gd name="connsiteX0" fmla="*/ 1752303 w 1752303"/>
                <a:gd name="connsiteY0" fmla="*/ 0 h 257442"/>
                <a:gd name="connsiteX1" fmla="*/ 1537281 w 1752303"/>
                <a:gd name="connsiteY1" fmla="*/ 257442 h 257442"/>
                <a:gd name="connsiteX2" fmla="*/ 0 w 1752303"/>
                <a:gd name="connsiteY2" fmla="*/ 257442 h 257442"/>
                <a:gd name="connsiteX3" fmla="*/ 54721 w 1752303"/>
                <a:gd name="connsiteY3" fmla="*/ 0 h 257442"/>
                <a:gd name="connsiteX0" fmla="*/ 1752303 w 1752303"/>
                <a:gd name="connsiteY0" fmla="*/ 0 h 257442"/>
                <a:gd name="connsiteX1" fmla="*/ 1697582 w 1752303"/>
                <a:gd name="connsiteY1" fmla="*/ 257442 h 257442"/>
                <a:gd name="connsiteX2" fmla="*/ 0 w 1752303"/>
                <a:gd name="connsiteY2" fmla="*/ 257442 h 257442"/>
                <a:gd name="connsiteX3" fmla="*/ 54721 w 1752303"/>
                <a:gd name="connsiteY3" fmla="*/ 0 h 257442"/>
                <a:gd name="connsiteX0" fmla="*/ 1752303 w 1752303"/>
                <a:gd name="connsiteY0" fmla="*/ 0 h 257442"/>
                <a:gd name="connsiteX1" fmla="*/ 1697582 w 1752303"/>
                <a:gd name="connsiteY1" fmla="*/ 257442 h 257442"/>
                <a:gd name="connsiteX2" fmla="*/ 0 w 1752303"/>
                <a:gd name="connsiteY2" fmla="*/ 257442 h 257442"/>
                <a:gd name="connsiteX3" fmla="*/ 54721 w 1752303"/>
                <a:gd name="connsiteY3" fmla="*/ 0 h 257442"/>
                <a:gd name="connsiteX0" fmla="*/ 1752303 w 1752303"/>
                <a:gd name="connsiteY0" fmla="*/ 0 h 257442"/>
                <a:gd name="connsiteX1" fmla="*/ 1697582 w 1752303"/>
                <a:gd name="connsiteY1" fmla="*/ 257442 h 257442"/>
                <a:gd name="connsiteX2" fmla="*/ 0 w 1752303"/>
                <a:gd name="connsiteY2" fmla="*/ 257442 h 257442"/>
                <a:gd name="connsiteX3" fmla="*/ 54721 w 1752303"/>
                <a:gd name="connsiteY3" fmla="*/ 0 h 257442"/>
                <a:gd name="connsiteX0" fmla="*/ 2005577 w 2005577"/>
                <a:gd name="connsiteY0" fmla="*/ 0 h 257442"/>
                <a:gd name="connsiteX1" fmla="*/ 1697582 w 2005577"/>
                <a:gd name="connsiteY1" fmla="*/ 257442 h 257442"/>
                <a:gd name="connsiteX2" fmla="*/ 0 w 2005577"/>
                <a:gd name="connsiteY2" fmla="*/ 257442 h 257442"/>
                <a:gd name="connsiteX3" fmla="*/ 54721 w 2005577"/>
                <a:gd name="connsiteY3" fmla="*/ 0 h 257442"/>
                <a:gd name="connsiteX0" fmla="*/ 2005577 w 2005577"/>
                <a:gd name="connsiteY0" fmla="*/ 0 h 257442"/>
                <a:gd name="connsiteX1" fmla="*/ 1950856 w 2005577"/>
                <a:gd name="connsiteY1" fmla="*/ 257442 h 257442"/>
                <a:gd name="connsiteX2" fmla="*/ 0 w 2005577"/>
                <a:gd name="connsiteY2" fmla="*/ 257442 h 257442"/>
                <a:gd name="connsiteX3" fmla="*/ 54721 w 2005577"/>
                <a:gd name="connsiteY3" fmla="*/ 0 h 257442"/>
                <a:gd name="connsiteX0" fmla="*/ 2005577 w 2005577"/>
                <a:gd name="connsiteY0" fmla="*/ 0 h 257442"/>
                <a:gd name="connsiteX1" fmla="*/ 1950856 w 2005577"/>
                <a:gd name="connsiteY1" fmla="*/ 257442 h 257442"/>
                <a:gd name="connsiteX2" fmla="*/ 0 w 2005577"/>
                <a:gd name="connsiteY2" fmla="*/ 257442 h 257442"/>
                <a:gd name="connsiteX3" fmla="*/ 54721 w 2005577"/>
                <a:gd name="connsiteY3" fmla="*/ 0 h 257442"/>
                <a:gd name="connsiteX0" fmla="*/ 2005577 w 2005577"/>
                <a:gd name="connsiteY0" fmla="*/ 0 h 257442"/>
                <a:gd name="connsiteX1" fmla="*/ 1950856 w 2005577"/>
                <a:gd name="connsiteY1" fmla="*/ 257442 h 257442"/>
                <a:gd name="connsiteX2" fmla="*/ 0 w 2005577"/>
                <a:gd name="connsiteY2" fmla="*/ 257442 h 257442"/>
                <a:gd name="connsiteX3" fmla="*/ 54721 w 2005577"/>
                <a:gd name="connsiteY3" fmla="*/ 0 h 257442"/>
                <a:gd name="connsiteX0" fmla="*/ 2173892 w 2173892"/>
                <a:gd name="connsiteY0" fmla="*/ 0 h 257442"/>
                <a:gd name="connsiteX1" fmla="*/ 1950856 w 2173892"/>
                <a:gd name="connsiteY1" fmla="*/ 257442 h 257442"/>
                <a:gd name="connsiteX2" fmla="*/ 0 w 2173892"/>
                <a:gd name="connsiteY2" fmla="*/ 257442 h 257442"/>
                <a:gd name="connsiteX3" fmla="*/ 54721 w 2173892"/>
                <a:gd name="connsiteY3" fmla="*/ 0 h 257442"/>
                <a:gd name="connsiteX0" fmla="*/ 2173892 w 2173892"/>
                <a:gd name="connsiteY0" fmla="*/ 0 h 257442"/>
                <a:gd name="connsiteX1" fmla="*/ 2119170 w 2173892"/>
                <a:gd name="connsiteY1" fmla="*/ 257442 h 257442"/>
                <a:gd name="connsiteX2" fmla="*/ 0 w 2173892"/>
                <a:gd name="connsiteY2" fmla="*/ 257442 h 257442"/>
                <a:gd name="connsiteX3" fmla="*/ 54721 w 2173892"/>
                <a:gd name="connsiteY3" fmla="*/ 0 h 257442"/>
                <a:gd name="connsiteX0" fmla="*/ 2173893 w 2173893"/>
                <a:gd name="connsiteY0" fmla="*/ 0 h 257442"/>
                <a:gd name="connsiteX1" fmla="*/ 2119171 w 2173893"/>
                <a:gd name="connsiteY1" fmla="*/ 257442 h 257442"/>
                <a:gd name="connsiteX2" fmla="*/ 0 w 2173893"/>
                <a:gd name="connsiteY2" fmla="*/ 257442 h 257442"/>
                <a:gd name="connsiteX3" fmla="*/ 54722 w 2173893"/>
                <a:gd name="connsiteY3" fmla="*/ 0 h 257442"/>
                <a:gd name="connsiteX0" fmla="*/ 2173893 w 2173893"/>
                <a:gd name="connsiteY0" fmla="*/ 0 h 257442"/>
                <a:gd name="connsiteX1" fmla="*/ 2119171 w 2173893"/>
                <a:gd name="connsiteY1" fmla="*/ 257442 h 257442"/>
                <a:gd name="connsiteX2" fmla="*/ 0 w 2173893"/>
                <a:gd name="connsiteY2" fmla="*/ 257442 h 257442"/>
                <a:gd name="connsiteX3" fmla="*/ 54722 w 2173893"/>
                <a:gd name="connsiteY3" fmla="*/ 0 h 257442"/>
                <a:gd name="connsiteX0" fmla="*/ 2435183 w 2435183"/>
                <a:gd name="connsiteY0" fmla="*/ 0 h 257442"/>
                <a:gd name="connsiteX1" fmla="*/ 2119171 w 2435183"/>
                <a:gd name="connsiteY1" fmla="*/ 257442 h 257442"/>
                <a:gd name="connsiteX2" fmla="*/ 0 w 2435183"/>
                <a:gd name="connsiteY2" fmla="*/ 257442 h 257442"/>
                <a:gd name="connsiteX3" fmla="*/ 54722 w 2435183"/>
                <a:gd name="connsiteY3" fmla="*/ 0 h 257442"/>
                <a:gd name="connsiteX0" fmla="*/ 2435183 w 2435183"/>
                <a:gd name="connsiteY0" fmla="*/ 0 h 257442"/>
                <a:gd name="connsiteX1" fmla="*/ 2380462 w 2435183"/>
                <a:gd name="connsiteY1" fmla="*/ 257442 h 257442"/>
                <a:gd name="connsiteX2" fmla="*/ 0 w 2435183"/>
                <a:gd name="connsiteY2" fmla="*/ 257442 h 257442"/>
                <a:gd name="connsiteX3" fmla="*/ 54722 w 2435183"/>
                <a:gd name="connsiteY3" fmla="*/ 0 h 257442"/>
                <a:gd name="connsiteX0" fmla="*/ 2435182 w 2435182"/>
                <a:gd name="connsiteY0" fmla="*/ 0 h 257442"/>
                <a:gd name="connsiteX1" fmla="*/ 2380461 w 2435182"/>
                <a:gd name="connsiteY1" fmla="*/ 257442 h 257442"/>
                <a:gd name="connsiteX2" fmla="*/ 0 w 2435182"/>
                <a:gd name="connsiteY2" fmla="*/ 257442 h 257442"/>
                <a:gd name="connsiteX3" fmla="*/ 54721 w 2435182"/>
                <a:gd name="connsiteY3" fmla="*/ 0 h 257442"/>
                <a:gd name="connsiteX0" fmla="*/ 2435182 w 2435182"/>
                <a:gd name="connsiteY0" fmla="*/ 0 h 257442"/>
                <a:gd name="connsiteX1" fmla="*/ 2380461 w 2435182"/>
                <a:gd name="connsiteY1" fmla="*/ 257442 h 257442"/>
                <a:gd name="connsiteX2" fmla="*/ 0 w 2435182"/>
                <a:gd name="connsiteY2" fmla="*/ 257442 h 257442"/>
                <a:gd name="connsiteX3" fmla="*/ 54720 w 2435182"/>
                <a:gd name="connsiteY3" fmla="*/ 0 h 257442"/>
                <a:gd name="connsiteX0" fmla="*/ 2603496 w 2603496"/>
                <a:gd name="connsiteY0" fmla="*/ 0 h 257442"/>
                <a:gd name="connsiteX1" fmla="*/ 2380461 w 2603496"/>
                <a:gd name="connsiteY1" fmla="*/ 257442 h 257442"/>
                <a:gd name="connsiteX2" fmla="*/ 0 w 2603496"/>
                <a:gd name="connsiteY2" fmla="*/ 257442 h 257442"/>
                <a:gd name="connsiteX3" fmla="*/ 54720 w 2603496"/>
                <a:gd name="connsiteY3" fmla="*/ 0 h 257442"/>
                <a:gd name="connsiteX0" fmla="*/ 2603496 w 2603496"/>
                <a:gd name="connsiteY0" fmla="*/ 0 h 257442"/>
                <a:gd name="connsiteX1" fmla="*/ 2548775 w 2603496"/>
                <a:gd name="connsiteY1" fmla="*/ 257442 h 257442"/>
                <a:gd name="connsiteX2" fmla="*/ 0 w 2603496"/>
                <a:gd name="connsiteY2" fmla="*/ 257442 h 257442"/>
                <a:gd name="connsiteX3" fmla="*/ 54720 w 2603496"/>
                <a:gd name="connsiteY3" fmla="*/ 0 h 257442"/>
                <a:gd name="connsiteX0" fmla="*/ 2603497 w 2603497"/>
                <a:gd name="connsiteY0" fmla="*/ 0 h 257442"/>
                <a:gd name="connsiteX1" fmla="*/ 2548776 w 2603497"/>
                <a:gd name="connsiteY1" fmla="*/ 257442 h 257442"/>
                <a:gd name="connsiteX2" fmla="*/ 0 w 2603497"/>
                <a:gd name="connsiteY2" fmla="*/ 257442 h 257442"/>
                <a:gd name="connsiteX3" fmla="*/ 54721 w 2603497"/>
                <a:gd name="connsiteY3" fmla="*/ 0 h 257442"/>
                <a:gd name="connsiteX0" fmla="*/ 2603497 w 2603497"/>
                <a:gd name="connsiteY0" fmla="*/ 0 h 257442"/>
                <a:gd name="connsiteX1" fmla="*/ 2548776 w 2603497"/>
                <a:gd name="connsiteY1" fmla="*/ 257442 h 257442"/>
                <a:gd name="connsiteX2" fmla="*/ 0 w 2603497"/>
                <a:gd name="connsiteY2" fmla="*/ 257442 h 257442"/>
                <a:gd name="connsiteX3" fmla="*/ 54722 w 2603497"/>
                <a:gd name="connsiteY3" fmla="*/ 0 h 257442"/>
                <a:gd name="connsiteX0" fmla="*/ 2771813 w 2771813"/>
                <a:gd name="connsiteY0" fmla="*/ 0 h 257442"/>
                <a:gd name="connsiteX1" fmla="*/ 2548776 w 2771813"/>
                <a:gd name="connsiteY1" fmla="*/ 257442 h 257442"/>
                <a:gd name="connsiteX2" fmla="*/ 0 w 2771813"/>
                <a:gd name="connsiteY2" fmla="*/ 257442 h 257442"/>
                <a:gd name="connsiteX3" fmla="*/ 54722 w 2771813"/>
                <a:gd name="connsiteY3" fmla="*/ 0 h 257442"/>
                <a:gd name="connsiteX0" fmla="*/ 2771813 w 2771813"/>
                <a:gd name="connsiteY0" fmla="*/ 0 h 257442"/>
                <a:gd name="connsiteX1" fmla="*/ 2717092 w 2771813"/>
                <a:gd name="connsiteY1" fmla="*/ 257442 h 257442"/>
                <a:gd name="connsiteX2" fmla="*/ 0 w 2771813"/>
                <a:gd name="connsiteY2" fmla="*/ 257442 h 257442"/>
                <a:gd name="connsiteX3" fmla="*/ 54722 w 2771813"/>
                <a:gd name="connsiteY3" fmla="*/ 0 h 257442"/>
                <a:gd name="connsiteX0" fmla="*/ 2771812 w 2771812"/>
                <a:gd name="connsiteY0" fmla="*/ 0 h 257442"/>
                <a:gd name="connsiteX1" fmla="*/ 2717091 w 2771812"/>
                <a:gd name="connsiteY1" fmla="*/ 257442 h 257442"/>
                <a:gd name="connsiteX2" fmla="*/ 0 w 2771812"/>
                <a:gd name="connsiteY2" fmla="*/ 257442 h 257442"/>
                <a:gd name="connsiteX3" fmla="*/ 54721 w 2771812"/>
                <a:gd name="connsiteY3" fmla="*/ 0 h 257442"/>
                <a:gd name="connsiteX0" fmla="*/ 2771812 w 2771812"/>
                <a:gd name="connsiteY0" fmla="*/ 0 h 257442"/>
                <a:gd name="connsiteX1" fmla="*/ 2717091 w 2771812"/>
                <a:gd name="connsiteY1" fmla="*/ 257442 h 257442"/>
                <a:gd name="connsiteX2" fmla="*/ 0 w 2771812"/>
                <a:gd name="connsiteY2" fmla="*/ 257442 h 257442"/>
                <a:gd name="connsiteX3" fmla="*/ 54720 w 2771812"/>
                <a:gd name="connsiteY3" fmla="*/ 0 h 257442"/>
                <a:gd name="connsiteX0" fmla="*/ 2949744 w 2949744"/>
                <a:gd name="connsiteY0" fmla="*/ 0 h 257442"/>
                <a:gd name="connsiteX1" fmla="*/ 2717091 w 2949744"/>
                <a:gd name="connsiteY1" fmla="*/ 257442 h 257442"/>
                <a:gd name="connsiteX2" fmla="*/ 0 w 2949744"/>
                <a:gd name="connsiteY2" fmla="*/ 257442 h 257442"/>
                <a:gd name="connsiteX3" fmla="*/ 54720 w 2949744"/>
                <a:gd name="connsiteY3" fmla="*/ 0 h 257442"/>
                <a:gd name="connsiteX0" fmla="*/ 2949744 w 2949744"/>
                <a:gd name="connsiteY0" fmla="*/ 0 h 257442"/>
                <a:gd name="connsiteX1" fmla="*/ 2895023 w 2949744"/>
                <a:gd name="connsiteY1" fmla="*/ 257442 h 257442"/>
                <a:gd name="connsiteX2" fmla="*/ 0 w 2949744"/>
                <a:gd name="connsiteY2" fmla="*/ 257442 h 257442"/>
                <a:gd name="connsiteX3" fmla="*/ 54720 w 2949744"/>
                <a:gd name="connsiteY3" fmla="*/ 0 h 257442"/>
                <a:gd name="connsiteX0" fmla="*/ 2949745 w 2949745"/>
                <a:gd name="connsiteY0" fmla="*/ 0 h 257442"/>
                <a:gd name="connsiteX1" fmla="*/ 2895024 w 2949745"/>
                <a:gd name="connsiteY1" fmla="*/ 257442 h 257442"/>
                <a:gd name="connsiteX2" fmla="*/ 0 w 2949745"/>
                <a:gd name="connsiteY2" fmla="*/ 257442 h 257442"/>
                <a:gd name="connsiteX3" fmla="*/ 54721 w 2949745"/>
                <a:gd name="connsiteY3" fmla="*/ 0 h 257442"/>
                <a:gd name="connsiteX0" fmla="*/ 2949745 w 2949745"/>
                <a:gd name="connsiteY0" fmla="*/ 0 h 257442"/>
                <a:gd name="connsiteX1" fmla="*/ 2895024 w 2949745"/>
                <a:gd name="connsiteY1" fmla="*/ 257442 h 257442"/>
                <a:gd name="connsiteX2" fmla="*/ 0 w 2949745"/>
                <a:gd name="connsiteY2" fmla="*/ 257442 h 257442"/>
                <a:gd name="connsiteX3" fmla="*/ 54722 w 2949745"/>
                <a:gd name="connsiteY3" fmla="*/ 0 h 257442"/>
                <a:gd name="connsiteX0" fmla="*/ 3110047 w 3110047"/>
                <a:gd name="connsiteY0" fmla="*/ 0 h 257442"/>
                <a:gd name="connsiteX1" fmla="*/ 2895024 w 3110047"/>
                <a:gd name="connsiteY1" fmla="*/ 257442 h 257442"/>
                <a:gd name="connsiteX2" fmla="*/ 0 w 3110047"/>
                <a:gd name="connsiteY2" fmla="*/ 257442 h 257442"/>
                <a:gd name="connsiteX3" fmla="*/ 54722 w 3110047"/>
                <a:gd name="connsiteY3" fmla="*/ 0 h 257442"/>
                <a:gd name="connsiteX0" fmla="*/ 3110047 w 3110047"/>
                <a:gd name="connsiteY0" fmla="*/ 0 h 257442"/>
                <a:gd name="connsiteX1" fmla="*/ 3055326 w 3110047"/>
                <a:gd name="connsiteY1" fmla="*/ 257442 h 257442"/>
                <a:gd name="connsiteX2" fmla="*/ 0 w 3110047"/>
                <a:gd name="connsiteY2" fmla="*/ 257442 h 257442"/>
                <a:gd name="connsiteX3" fmla="*/ 54722 w 3110047"/>
                <a:gd name="connsiteY3" fmla="*/ 0 h 257442"/>
                <a:gd name="connsiteX0" fmla="*/ 3110046 w 3110046"/>
                <a:gd name="connsiteY0" fmla="*/ 0 h 257442"/>
                <a:gd name="connsiteX1" fmla="*/ 3055325 w 3110046"/>
                <a:gd name="connsiteY1" fmla="*/ 257442 h 257442"/>
                <a:gd name="connsiteX2" fmla="*/ 0 w 3110046"/>
                <a:gd name="connsiteY2" fmla="*/ 257442 h 257442"/>
                <a:gd name="connsiteX3" fmla="*/ 54721 w 3110046"/>
                <a:gd name="connsiteY3" fmla="*/ 0 h 257442"/>
                <a:gd name="connsiteX0" fmla="*/ 3110046 w 3110046"/>
                <a:gd name="connsiteY0" fmla="*/ 0 h 257442"/>
                <a:gd name="connsiteX1" fmla="*/ 3055325 w 3110046"/>
                <a:gd name="connsiteY1" fmla="*/ 257442 h 257442"/>
                <a:gd name="connsiteX2" fmla="*/ 0 w 3110046"/>
                <a:gd name="connsiteY2" fmla="*/ 257442 h 257442"/>
                <a:gd name="connsiteX3" fmla="*/ 54720 w 3110046"/>
                <a:gd name="connsiteY3" fmla="*/ 0 h 257442"/>
                <a:gd name="connsiteX0" fmla="*/ 3278360 w 3278360"/>
                <a:gd name="connsiteY0" fmla="*/ 0 h 257442"/>
                <a:gd name="connsiteX1" fmla="*/ 3055325 w 3278360"/>
                <a:gd name="connsiteY1" fmla="*/ 257442 h 257442"/>
                <a:gd name="connsiteX2" fmla="*/ 0 w 3278360"/>
                <a:gd name="connsiteY2" fmla="*/ 257442 h 257442"/>
                <a:gd name="connsiteX3" fmla="*/ 54720 w 3278360"/>
                <a:gd name="connsiteY3" fmla="*/ 0 h 257442"/>
                <a:gd name="connsiteX0" fmla="*/ 3278360 w 3278360"/>
                <a:gd name="connsiteY0" fmla="*/ 0 h 257442"/>
                <a:gd name="connsiteX1" fmla="*/ 3223639 w 3278360"/>
                <a:gd name="connsiteY1" fmla="*/ 257442 h 257442"/>
                <a:gd name="connsiteX2" fmla="*/ 0 w 3278360"/>
                <a:gd name="connsiteY2" fmla="*/ 257442 h 257442"/>
                <a:gd name="connsiteX3" fmla="*/ 54720 w 3278360"/>
                <a:gd name="connsiteY3" fmla="*/ 0 h 257442"/>
                <a:gd name="connsiteX0" fmla="*/ 3278361 w 3278361"/>
                <a:gd name="connsiteY0" fmla="*/ 0 h 257442"/>
                <a:gd name="connsiteX1" fmla="*/ 3223640 w 3278361"/>
                <a:gd name="connsiteY1" fmla="*/ 257442 h 257442"/>
                <a:gd name="connsiteX2" fmla="*/ 0 w 3278361"/>
                <a:gd name="connsiteY2" fmla="*/ 257442 h 257442"/>
                <a:gd name="connsiteX3" fmla="*/ 54721 w 3278361"/>
                <a:gd name="connsiteY3" fmla="*/ 0 h 257442"/>
                <a:gd name="connsiteX0" fmla="*/ 3278361 w 3278361"/>
                <a:gd name="connsiteY0" fmla="*/ 0 h 257442"/>
                <a:gd name="connsiteX1" fmla="*/ 3223640 w 3278361"/>
                <a:gd name="connsiteY1" fmla="*/ 257442 h 257442"/>
                <a:gd name="connsiteX2" fmla="*/ 0 w 3278361"/>
                <a:gd name="connsiteY2" fmla="*/ 257442 h 257442"/>
                <a:gd name="connsiteX3" fmla="*/ 54722 w 3278361"/>
                <a:gd name="connsiteY3" fmla="*/ 0 h 257442"/>
                <a:gd name="connsiteX0" fmla="*/ 2460831 w 3223640"/>
                <a:gd name="connsiteY0" fmla="*/ 0 h 257442"/>
                <a:gd name="connsiteX1" fmla="*/ 3223640 w 3223640"/>
                <a:gd name="connsiteY1" fmla="*/ 257442 h 257442"/>
                <a:gd name="connsiteX2" fmla="*/ 0 w 3223640"/>
                <a:gd name="connsiteY2" fmla="*/ 257442 h 257442"/>
                <a:gd name="connsiteX3" fmla="*/ 54722 w 3223640"/>
                <a:gd name="connsiteY3" fmla="*/ 0 h 257442"/>
                <a:gd name="connsiteX0" fmla="*/ 2460831 w 2460831"/>
                <a:gd name="connsiteY0" fmla="*/ 0 h 257442"/>
                <a:gd name="connsiteX1" fmla="*/ 2406110 w 2460831"/>
                <a:gd name="connsiteY1" fmla="*/ 257442 h 257442"/>
                <a:gd name="connsiteX2" fmla="*/ 0 w 2460831"/>
                <a:gd name="connsiteY2" fmla="*/ 257442 h 257442"/>
                <a:gd name="connsiteX3" fmla="*/ 54722 w 2460831"/>
                <a:gd name="connsiteY3" fmla="*/ 0 h 257442"/>
                <a:gd name="connsiteX0" fmla="*/ 2460829 w 2460829"/>
                <a:gd name="connsiteY0" fmla="*/ 0 h 257442"/>
                <a:gd name="connsiteX1" fmla="*/ 2406108 w 2460829"/>
                <a:gd name="connsiteY1" fmla="*/ 257442 h 257442"/>
                <a:gd name="connsiteX2" fmla="*/ 0 w 2460829"/>
                <a:gd name="connsiteY2" fmla="*/ 257442 h 257442"/>
                <a:gd name="connsiteX3" fmla="*/ 54720 w 2460829"/>
                <a:gd name="connsiteY3" fmla="*/ 0 h 257442"/>
                <a:gd name="connsiteX0" fmla="*/ 2460829 w 2460829"/>
                <a:gd name="connsiteY0" fmla="*/ 0 h 257442"/>
                <a:gd name="connsiteX1" fmla="*/ 2406108 w 2460829"/>
                <a:gd name="connsiteY1" fmla="*/ 257442 h 257442"/>
                <a:gd name="connsiteX2" fmla="*/ 0 w 2460829"/>
                <a:gd name="connsiteY2" fmla="*/ 257442 h 257442"/>
                <a:gd name="connsiteX3" fmla="*/ 54721 w 2460829"/>
                <a:gd name="connsiteY3" fmla="*/ 0 h 257442"/>
                <a:gd name="connsiteX0" fmla="*/ 2621130 w 2621130"/>
                <a:gd name="connsiteY0" fmla="*/ 0 h 257442"/>
                <a:gd name="connsiteX1" fmla="*/ 2406108 w 2621130"/>
                <a:gd name="connsiteY1" fmla="*/ 257442 h 257442"/>
                <a:gd name="connsiteX2" fmla="*/ 0 w 2621130"/>
                <a:gd name="connsiteY2" fmla="*/ 257442 h 257442"/>
                <a:gd name="connsiteX3" fmla="*/ 54721 w 2621130"/>
                <a:gd name="connsiteY3" fmla="*/ 0 h 257442"/>
                <a:gd name="connsiteX0" fmla="*/ 2621130 w 2621130"/>
                <a:gd name="connsiteY0" fmla="*/ 0 h 257442"/>
                <a:gd name="connsiteX1" fmla="*/ 2566408 w 2621130"/>
                <a:gd name="connsiteY1" fmla="*/ 257442 h 257442"/>
                <a:gd name="connsiteX2" fmla="*/ 0 w 2621130"/>
                <a:gd name="connsiteY2" fmla="*/ 257442 h 257442"/>
                <a:gd name="connsiteX3" fmla="*/ 54721 w 2621130"/>
                <a:gd name="connsiteY3" fmla="*/ 0 h 257442"/>
                <a:gd name="connsiteX0" fmla="*/ 2621131 w 2621131"/>
                <a:gd name="connsiteY0" fmla="*/ 0 h 257442"/>
                <a:gd name="connsiteX1" fmla="*/ 2566409 w 2621131"/>
                <a:gd name="connsiteY1" fmla="*/ 257442 h 257442"/>
                <a:gd name="connsiteX2" fmla="*/ 0 w 2621131"/>
                <a:gd name="connsiteY2" fmla="*/ 257442 h 257442"/>
                <a:gd name="connsiteX3" fmla="*/ 54722 w 2621131"/>
                <a:gd name="connsiteY3" fmla="*/ 0 h 257442"/>
                <a:gd name="connsiteX0" fmla="*/ 2621131 w 2621131"/>
                <a:gd name="connsiteY0" fmla="*/ 0 h 257442"/>
                <a:gd name="connsiteX1" fmla="*/ 2566409 w 2621131"/>
                <a:gd name="connsiteY1" fmla="*/ 257442 h 257442"/>
                <a:gd name="connsiteX2" fmla="*/ 0 w 2621131"/>
                <a:gd name="connsiteY2" fmla="*/ 257442 h 257442"/>
                <a:gd name="connsiteX3" fmla="*/ 54722 w 2621131"/>
                <a:gd name="connsiteY3" fmla="*/ 0 h 257442"/>
                <a:gd name="connsiteX0" fmla="*/ 2789446 w 2789446"/>
                <a:gd name="connsiteY0" fmla="*/ 0 h 257442"/>
                <a:gd name="connsiteX1" fmla="*/ 2566409 w 2789446"/>
                <a:gd name="connsiteY1" fmla="*/ 257442 h 257442"/>
                <a:gd name="connsiteX2" fmla="*/ 0 w 2789446"/>
                <a:gd name="connsiteY2" fmla="*/ 257442 h 257442"/>
                <a:gd name="connsiteX3" fmla="*/ 54722 w 2789446"/>
                <a:gd name="connsiteY3" fmla="*/ 0 h 257442"/>
                <a:gd name="connsiteX0" fmla="*/ 2789446 w 2789446"/>
                <a:gd name="connsiteY0" fmla="*/ 0 h 257442"/>
                <a:gd name="connsiteX1" fmla="*/ 2734724 w 2789446"/>
                <a:gd name="connsiteY1" fmla="*/ 257442 h 257442"/>
                <a:gd name="connsiteX2" fmla="*/ 0 w 2789446"/>
                <a:gd name="connsiteY2" fmla="*/ 257442 h 257442"/>
                <a:gd name="connsiteX3" fmla="*/ 54722 w 2789446"/>
                <a:gd name="connsiteY3" fmla="*/ 0 h 257442"/>
                <a:gd name="connsiteX0" fmla="*/ 2789446 w 2789446"/>
                <a:gd name="connsiteY0" fmla="*/ 0 h 257442"/>
                <a:gd name="connsiteX1" fmla="*/ 2734724 w 2789446"/>
                <a:gd name="connsiteY1" fmla="*/ 257442 h 257442"/>
                <a:gd name="connsiteX2" fmla="*/ 0 w 2789446"/>
                <a:gd name="connsiteY2" fmla="*/ 257442 h 257442"/>
                <a:gd name="connsiteX3" fmla="*/ 54722 w 2789446"/>
                <a:gd name="connsiteY3" fmla="*/ 0 h 257442"/>
                <a:gd name="connsiteX0" fmla="*/ 2789446 w 2789446"/>
                <a:gd name="connsiteY0" fmla="*/ 0 h 257442"/>
                <a:gd name="connsiteX1" fmla="*/ 2734724 w 2789446"/>
                <a:gd name="connsiteY1" fmla="*/ 257442 h 257442"/>
                <a:gd name="connsiteX2" fmla="*/ 0 w 2789446"/>
                <a:gd name="connsiteY2" fmla="*/ 257442 h 257442"/>
                <a:gd name="connsiteX3" fmla="*/ 54721 w 2789446"/>
                <a:gd name="connsiteY3" fmla="*/ 0 h 257442"/>
                <a:gd name="connsiteX0" fmla="*/ 3058750 w 3058750"/>
                <a:gd name="connsiteY0" fmla="*/ 0 h 257442"/>
                <a:gd name="connsiteX1" fmla="*/ 2734724 w 3058750"/>
                <a:gd name="connsiteY1" fmla="*/ 257442 h 257442"/>
                <a:gd name="connsiteX2" fmla="*/ 0 w 3058750"/>
                <a:gd name="connsiteY2" fmla="*/ 257442 h 257442"/>
                <a:gd name="connsiteX3" fmla="*/ 54721 w 3058750"/>
                <a:gd name="connsiteY3" fmla="*/ 0 h 257442"/>
                <a:gd name="connsiteX0" fmla="*/ 3058750 w 3058750"/>
                <a:gd name="connsiteY0" fmla="*/ 0 h 257442"/>
                <a:gd name="connsiteX1" fmla="*/ 3004029 w 3058750"/>
                <a:gd name="connsiteY1" fmla="*/ 257442 h 257442"/>
                <a:gd name="connsiteX2" fmla="*/ 0 w 3058750"/>
                <a:gd name="connsiteY2" fmla="*/ 257442 h 257442"/>
                <a:gd name="connsiteX3" fmla="*/ 54721 w 3058750"/>
                <a:gd name="connsiteY3" fmla="*/ 0 h 257442"/>
                <a:gd name="connsiteX0" fmla="*/ 3058750 w 3058750"/>
                <a:gd name="connsiteY0" fmla="*/ 0 h 257442"/>
                <a:gd name="connsiteX1" fmla="*/ 3004029 w 3058750"/>
                <a:gd name="connsiteY1" fmla="*/ 257442 h 257442"/>
                <a:gd name="connsiteX2" fmla="*/ 0 w 3058750"/>
                <a:gd name="connsiteY2" fmla="*/ 257442 h 257442"/>
                <a:gd name="connsiteX3" fmla="*/ 54721 w 3058750"/>
                <a:gd name="connsiteY3" fmla="*/ 0 h 257442"/>
                <a:gd name="connsiteX0" fmla="*/ 3058750 w 3058750"/>
                <a:gd name="connsiteY0" fmla="*/ 0 h 257442"/>
                <a:gd name="connsiteX1" fmla="*/ 3004029 w 3058750"/>
                <a:gd name="connsiteY1" fmla="*/ 257442 h 257442"/>
                <a:gd name="connsiteX2" fmla="*/ 0 w 3058750"/>
                <a:gd name="connsiteY2" fmla="*/ 257442 h 257442"/>
                <a:gd name="connsiteX3" fmla="*/ 54721 w 3058750"/>
                <a:gd name="connsiteY3" fmla="*/ 0 h 257442"/>
                <a:gd name="connsiteX0" fmla="*/ 3328054 w 3328054"/>
                <a:gd name="connsiteY0" fmla="*/ 0 h 257442"/>
                <a:gd name="connsiteX1" fmla="*/ 3004029 w 3328054"/>
                <a:gd name="connsiteY1" fmla="*/ 257442 h 257442"/>
                <a:gd name="connsiteX2" fmla="*/ 0 w 3328054"/>
                <a:gd name="connsiteY2" fmla="*/ 257442 h 257442"/>
                <a:gd name="connsiteX3" fmla="*/ 54721 w 3328054"/>
                <a:gd name="connsiteY3" fmla="*/ 0 h 257442"/>
                <a:gd name="connsiteX0" fmla="*/ 3328054 w 3328054"/>
                <a:gd name="connsiteY0" fmla="*/ 0 h 257442"/>
                <a:gd name="connsiteX1" fmla="*/ 3273333 w 3328054"/>
                <a:gd name="connsiteY1" fmla="*/ 257442 h 257442"/>
                <a:gd name="connsiteX2" fmla="*/ 0 w 3328054"/>
                <a:gd name="connsiteY2" fmla="*/ 257442 h 257442"/>
                <a:gd name="connsiteX3" fmla="*/ 54721 w 3328054"/>
                <a:gd name="connsiteY3" fmla="*/ 0 h 257442"/>
                <a:gd name="connsiteX0" fmla="*/ 3328054 w 3328054"/>
                <a:gd name="connsiteY0" fmla="*/ 0 h 257442"/>
                <a:gd name="connsiteX1" fmla="*/ 3273333 w 3328054"/>
                <a:gd name="connsiteY1" fmla="*/ 257442 h 257442"/>
                <a:gd name="connsiteX2" fmla="*/ 0 w 3328054"/>
                <a:gd name="connsiteY2" fmla="*/ 257442 h 257442"/>
                <a:gd name="connsiteX3" fmla="*/ 54721 w 3328054"/>
                <a:gd name="connsiteY3" fmla="*/ 0 h 257442"/>
                <a:gd name="connsiteX0" fmla="*/ 3328054 w 3328054"/>
                <a:gd name="connsiteY0" fmla="*/ 0 h 257442"/>
                <a:gd name="connsiteX1" fmla="*/ 3273333 w 3328054"/>
                <a:gd name="connsiteY1" fmla="*/ 257442 h 257442"/>
                <a:gd name="connsiteX2" fmla="*/ 0 w 3328054"/>
                <a:gd name="connsiteY2" fmla="*/ 257442 h 257442"/>
                <a:gd name="connsiteX3" fmla="*/ 54721 w 3328054"/>
                <a:gd name="connsiteY3" fmla="*/ 0 h 257442"/>
                <a:gd name="connsiteX0" fmla="*/ 3488354 w 3488354"/>
                <a:gd name="connsiteY0" fmla="*/ 0 h 257442"/>
                <a:gd name="connsiteX1" fmla="*/ 3273333 w 3488354"/>
                <a:gd name="connsiteY1" fmla="*/ 257442 h 257442"/>
                <a:gd name="connsiteX2" fmla="*/ 0 w 3488354"/>
                <a:gd name="connsiteY2" fmla="*/ 257442 h 257442"/>
                <a:gd name="connsiteX3" fmla="*/ 54721 w 3488354"/>
                <a:gd name="connsiteY3" fmla="*/ 0 h 257442"/>
                <a:gd name="connsiteX0" fmla="*/ 3488354 w 3488354"/>
                <a:gd name="connsiteY0" fmla="*/ 0 h 257442"/>
                <a:gd name="connsiteX1" fmla="*/ 3433633 w 3488354"/>
                <a:gd name="connsiteY1" fmla="*/ 257442 h 257442"/>
                <a:gd name="connsiteX2" fmla="*/ 0 w 3488354"/>
                <a:gd name="connsiteY2" fmla="*/ 257442 h 257442"/>
                <a:gd name="connsiteX3" fmla="*/ 54721 w 3488354"/>
                <a:gd name="connsiteY3" fmla="*/ 0 h 257442"/>
                <a:gd name="connsiteX0" fmla="*/ 3488354 w 3488354"/>
                <a:gd name="connsiteY0" fmla="*/ 0 h 257442"/>
                <a:gd name="connsiteX1" fmla="*/ 3433633 w 3488354"/>
                <a:gd name="connsiteY1" fmla="*/ 257442 h 257442"/>
                <a:gd name="connsiteX2" fmla="*/ 0 w 3488354"/>
                <a:gd name="connsiteY2" fmla="*/ 257442 h 257442"/>
                <a:gd name="connsiteX3" fmla="*/ 54721 w 3488354"/>
                <a:gd name="connsiteY3" fmla="*/ 0 h 257442"/>
                <a:gd name="connsiteX0" fmla="*/ 3488354 w 3488354"/>
                <a:gd name="connsiteY0" fmla="*/ 0 h 257442"/>
                <a:gd name="connsiteX1" fmla="*/ 3433633 w 3488354"/>
                <a:gd name="connsiteY1" fmla="*/ 257442 h 257442"/>
                <a:gd name="connsiteX2" fmla="*/ 0 w 3488354"/>
                <a:gd name="connsiteY2" fmla="*/ 257442 h 257442"/>
                <a:gd name="connsiteX3" fmla="*/ 54721 w 3488354"/>
                <a:gd name="connsiteY3" fmla="*/ 0 h 257442"/>
                <a:gd name="connsiteX0" fmla="*/ 2435182 w 3433633"/>
                <a:gd name="connsiteY0" fmla="*/ 0 h 257442"/>
                <a:gd name="connsiteX1" fmla="*/ 3433633 w 3433633"/>
                <a:gd name="connsiteY1" fmla="*/ 257442 h 257442"/>
                <a:gd name="connsiteX2" fmla="*/ 0 w 3433633"/>
                <a:gd name="connsiteY2" fmla="*/ 257442 h 257442"/>
                <a:gd name="connsiteX3" fmla="*/ 54721 w 3433633"/>
                <a:gd name="connsiteY3" fmla="*/ 0 h 257442"/>
                <a:gd name="connsiteX0" fmla="*/ 2435182 w 2435182"/>
                <a:gd name="connsiteY0" fmla="*/ 0 h 257442"/>
                <a:gd name="connsiteX1" fmla="*/ 2380462 w 2435182"/>
                <a:gd name="connsiteY1" fmla="*/ 257442 h 257442"/>
                <a:gd name="connsiteX2" fmla="*/ 0 w 2435182"/>
                <a:gd name="connsiteY2" fmla="*/ 257442 h 257442"/>
                <a:gd name="connsiteX3" fmla="*/ 54721 w 2435182"/>
                <a:gd name="connsiteY3" fmla="*/ 0 h 257442"/>
                <a:gd name="connsiteX0" fmla="*/ 2435181 w 2435181"/>
                <a:gd name="connsiteY0" fmla="*/ 0 h 257442"/>
                <a:gd name="connsiteX1" fmla="*/ 2380461 w 2435181"/>
                <a:gd name="connsiteY1" fmla="*/ 257442 h 257442"/>
                <a:gd name="connsiteX2" fmla="*/ 0 w 2435181"/>
                <a:gd name="connsiteY2" fmla="*/ 257442 h 257442"/>
                <a:gd name="connsiteX3" fmla="*/ 54720 w 2435181"/>
                <a:gd name="connsiteY3" fmla="*/ 0 h 257442"/>
                <a:gd name="connsiteX0" fmla="*/ 2435181 w 2435181"/>
                <a:gd name="connsiteY0" fmla="*/ 0 h 257442"/>
                <a:gd name="connsiteX1" fmla="*/ 2380461 w 2435181"/>
                <a:gd name="connsiteY1" fmla="*/ 257442 h 257442"/>
                <a:gd name="connsiteX2" fmla="*/ 0 w 2435181"/>
                <a:gd name="connsiteY2" fmla="*/ 257442 h 257442"/>
                <a:gd name="connsiteX3" fmla="*/ 54721 w 2435181"/>
                <a:gd name="connsiteY3" fmla="*/ 0 h 257442"/>
                <a:gd name="connsiteX0" fmla="*/ 2603497 w 2603497"/>
                <a:gd name="connsiteY0" fmla="*/ 0 h 257442"/>
                <a:gd name="connsiteX1" fmla="*/ 2380461 w 2603497"/>
                <a:gd name="connsiteY1" fmla="*/ 257442 h 257442"/>
                <a:gd name="connsiteX2" fmla="*/ 0 w 2603497"/>
                <a:gd name="connsiteY2" fmla="*/ 257442 h 257442"/>
                <a:gd name="connsiteX3" fmla="*/ 54721 w 2603497"/>
                <a:gd name="connsiteY3" fmla="*/ 0 h 257442"/>
                <a:gd name="connsiteX0" fmla="*/ 2603497 w 2603497"/>
                <a:gd name="connsiteY0" fmla="*/ 0 h 257442"/>
                <a:gd name="connsiteX1" fmla="*/ 2548776 w 2603497"/>
                <a:gd name="connsiteY1" fmla="*/ 257442 h 257442"/>
                <a:gd name="connsiteX2" fmla="*/ 0 w 2603497"/>
                <a:gd name="connsiteY2" fmla="*/ 257442 h 257442"/>
                <a:gd name="connsiteX3" fmla="*/ 54721 w 2603497"/>
                <a:gd name="connsiteY3" fmla="*/ 0 h 257442"/>
                <a:gd name="connsiteX0" fmla="*/ 2603497 w 2603497"/>
                <a:gd name="connsiteY0" fmla="*/ 0 h 257442"/>
                <a:gd name="connsiteX1" fmla="*/ 2548776 w 2603497"/>
                <a:gd name="connsiteY1" fmla="*/ 257442 h 257442"/>
                <a:gd name="connsiteX2" fmla="*/ 0 w 2603497"/>
                <a:gd name="connsiteY2" fmla="*/ 257442 h 257442"/>
                <a:gd name="connsiteX3" fmla="*/ 54721 w 2603497"/>
                <a:gd name="connsiteY3" fmla="*/ 0 h 257442"/>
                <a:gd name="connsiteX0" fmla="*/ 2603497 w 2603497"/>
                <a:gd name="connsiteY0" fmla="*/ 0 h 257442"/>
                <a:gd name="connsiteX1" fmla="*/ 2548776 w 2603497"/>
                <a:gd name="connsiteY1" fmla="*/ 257442 h 257442"/>
                <a:gd name="connsiteX2" fmla="*/ 0 w 2603497"/>
                <a:gd name="connsiteY2" fmla="*/ 257442 h 257442"/>
                <a:gd name="connsiteX3" fmla="*/ 54721 w 2603497"/>
                <a:gd name="connsiteY3" fmla="*/ 0 h 257442"/>
                <a:gd name="connsiteX0" fmla="*/ 2771812 w 2771812"/>
                <a:gd name="connsiteY0" fmla="*/ 0 h 257442"/>
                <a:gd name="connsiteX1" fmla="*/ 2548776 w 2771812"/>
                <a:gd name="connsiteY1" fmla="*/ 257442 h 257442"/>
                <a:gd name="connsiteX2" fmla="*/ 0 w 2771812"/>
                <a:gd name="connsiteY2" fmla="*/ 257442 h 257442"/>
                <a:gd name="connsiteX3" fmla="*/ 54721 w 2771812"/>
                <a:gd name="connsiteY3" fmla="*/ 0 h 257442"/>
                <a:gd name="connsiteX0" fmla="*/ 2771812 w 2771812"/>
                <a:gd name="connsiteY0" fmla="*/ 0 h 257442"/>
                <a:gd name="connsiteX1" fmla="*/ 2717090 w 2771812"/>
                <a:gd name="connsiteY1" fmla="*/ 257442 h 257442"/>
                <a:gd name="connsiteX2" fmla="*/ 0 w 2771812"/>
                <a:gd name="connsiteY2" fmla="*/ 257442 h 257442"/>
                <a:gd name="connsiteX3" fmla="*/ 54721 w 2771812"/>
                <a:gd name="connsiteY3" fmla="*/ 0 h 257442"/>
                <a:gd name="connsiteX0" fmla="*/ 2771813 w 2771813"/>
                <a:gd name="connsiteY0" fmla="*/ 0 h 257442"/>
                <a:gd name="connsiteX1" fmla="*/ 2717091 w 2771813"/>
                <a:gd name="connsiteY1" fmla="*/ 257442 h 257442"/>
                <a:gd name="connsiteX2" fmla="*/ 0 w 2771813"/>
                <a:gd name="connsiteY2" fmla="*/ 257442 h 257442"/>
                <a:gd name="connsiteX3" fmla="*/ 54722 w 2771813"/>
                <a:gd name="connsiteY3" fmla="*/ 0 h 257442"/>
                <a:gd name="connsiteX0" fmla="*/ 2771813 w 2771813"/>
                <a:gd name="connsiteY0" fmla="*/ 0 h 257442"/>
                <a:gd name="connsiteX1" fmla="*/ 2717091 w 2771813"/>
                <a:gd name="connsiteY1" fmla="*/ 257442 h 257442"/>
                <a:gd name="connsiteX2" fmla="*/ 0 w 2771813"/>
                <a:gd name="connsiteY2" fmla="*/ 257442 h 257442"/>
                <a:gd name="connsiteX3" fmla="*/ 54722 w 2771813"/>
                <a:gd name="connsiteY3" fmla="*/ 0 h 257442"/>
                <a:gd name="connsiteX0" fmla="*/ 2949746 w 2949746"/>
                <a:gd name="connsiteY0" fmla="*/ 0 h 257442"/>
                <a:gd name="connsiteX1" fmla="*/ 2717091 w 2949746"/>
                <a:gd name="connsiteY1" fmla="*/ 257442 h 257442"/>
                <a:gd name="connsiteX2" fmla="*/ 0 w 2949746"/>
                <a:gd name="connsiteY2" fmla="*/ 257442 h 257442"/>
                <a:gd name="connsiteX3" fmla="*/ 54722 w 2949746"/>
                <a:gd name="connsiteY3" fmla="*/ 0 h 257442"/>
                <a:gd name="connsiteX0" fmla="*/ 2949746 w 2949746"/>
                <a:gd name="connsiteY0" fmla="*/ 0 h 257442"/>
                <a:gd name="connsiteX1" fmla="*/ 2895024 w 2949746"/>
                <a:gd name="connsiteY1" fmla="*/ 257442 h 257442"/>
                <a:gd name="connsiteX2" fmla="*/ 0 w 2949746"/>
                <a:gd name="connsiteY2" fmla="*/ 257442 h 257442"/>
                <a:gd name="connsiteX3" fmla="*/ 54722 w 2949746"/>
                <a:gd name="connsiteY3" fmla="*/ 0 h 257442"/>
                <a:gd name="connsiteX0" fmla="*/ 2949746 w 2949746"/>
                <a:gd name="connsiteY0" fmla="*/ 0 h 257442"/>
                <a:gd name="connsiteX1" fmla="*/ 2895024 w 2949746"/>
                <a:gd name="connsiteY1" fmla="*/ 257442 h 257442"/>
                <a:gd name="connsiteX2" fmla="*/ 0 w 2949746"/>
                <a:gd name="connsiteY2" fmla="*/ 257442 h 257442"/>
                <a:gd name="connsiteX3" fmla="*/ 54722 w 2949746"/>
                <a:gd name="connsiteY3" fmla="*/ 0 h 257442"/>
                <a:gd name="connsiteX0" fmla="*/ 2949746 w 2949746"/>
                <a:gd name="connsiteY0" fmla="*/ 0 h 257442"/>
                <a:gd name="connsiteX1" fmla="*/ 2895024 w 2949746"/>
                <a:gd name="connsiteY1" fmla="*/ 257442 h 257442"/>
                <a:gd name="connsiteX2" fmla="*/ 0 w 2949746"/>
                <a:gd name="connsiteY2" fmla="*/ 257442 h 257442"/>
                <a:gd name="connsiteX3" fmla="*/ 54721 w 2949746"/>
                <a:gd name="connsiteY3" fmla="*/ 0 h 257442"/>
                <a:gd name="connsiteX0" fmla="*/ 3110046 w 3110046"/>
                <a:gd name="connsiteY0" fmla="*/ 0 h 257442"/>
                <a:gd name="connsiteX1" fmla="*/ 2895024 w 3110046"/>
                <a:gd name="connsiteY1" fmla="*/ 257442 h 257442"/>
                <a:gd name="connsiteX2" fmla="*/ 0 w 3110046"/>
                <a:gd name="connsiteY2" fmla="*/ 257442 h 257442"/>
                <a:gd name="connsiteX3" fmla="*/ 54721 w 3110046"/>
                <a:gd name="connsiteY3" fmla="*/ 0 h 257442"/>
                <a:gd name="connsiteX0" fmla="*/ 3110046 w 3110046"/>
                <a:gd name="connsiteY0" fmla="*/ 0 h 257442"/>
                <a:gd name="connsiteX1" fmla="*/ 3055325 w 3110046"/>
                <a:gd name="connsiteY1" fmla="*/ 257442 h 257442"/>
                <a:gd name="connsiteX2" fmla="*/ 0 w 3110046"/>
                <a:gd name="connsiteY2" fmla="*/ 257442 h 257442"/>
                <a:gd name="connsiteX3" fmla="*/ 54721 w 3110046"/>
                <a:gd name="connsiteY3" fmla="*/ 0 h 257442"/>
                <a:gd name="connsiteX0" fmla="*/ 3110046 w 3110046"/>
                <a:gd name="connsiteY0" fmla="*/ 0 h 257442"/>
                <a:gd name="connsiteX1" fmla="*/ 3055325 w 3110046"/>
                <a:gd name="connsiteY1" fmla="*/ 257442 h 257442"/>
                <a:gd name="connsiteX2" fmla="*/ 0 w 3110046"/>
                <a:gd name="connsiteY2" fmla="*/ 257442 h 257442"/>
                <a:gd name="connsiteX3" fmla="*/ 54721 w 3110046"/>
                <a:gd name="connsiteY3" fmla="*/ 0 h 257442"/>
                <a:gd name="connsiteX0" fmla="*/ 3110046 w 3110046"/>
                <a:gd name="connsiteY0" fmla="*/ 0 h 257442"/>
                <a:gd name="connsiteX1" fmla="*/ 3055325 w 3110046"/>
                <a:gd name="connsiteY1" fmla="*/ 257442 h 257442"/>
                <a:gd name="connsiteX2" fmla="*/ 0 w 3110046"/>
                <a:gd name="connsiteY2" fmla="*/ 257442 h 257442"/>
                <a:gd name="connsiteX3" fmla="*/ 54721 w 3110046"/>
                <a:gd name="connsiteY3" fmla="*/ 0 h 257442"/>
                <a:gd name="connsiteX0" fmla="*/ 3278361 w 3278361"/>
                <a:gd name="connsiteY0" fmla="*/ 0 h 257442"/>
                <a:gd name="connsiteX1" fmla="*/ 3055325 w 3278361"/>
                <a:gd name="connsiteY1" fmla="*/ 257442 h 257442"/>
                <a:gd name="connsiteX2" fmla="*/ 0 w 3278361"/>
                <a:gd name="connsiteY2" fmla="*/ 257442 h 257442"/>
                <a:gd name="connsiteX3" fmla="*/ 54721 w 3278361"/>
                <a:gd name="connsiteY3" fmla="*/ 0 h 257442"/>
                <a:gd name="connsiteX0" fmla="*/ 3278361 w 3278361"/>
                <a:gd name="connsiteY0" fmla="*/ 0 h 257442"/>
                <a:gd name="connsiteX1" fmla="*/ 3223640 w 3278361"/>
                <a:gd name="connsiteY1" fmla="*/ 257442 h 257442"/>
                <a:gd name="connsiteX2" fmla="*/ 0 w 3278361"/>
                <a:gd name="connsiteY2" fmla="*/ 257442 h 257442"/>
                <a:gd name="connsiteX3" fmla="*/ 54721 w 3278361"/>
                <a:gd name="connsiteY3" fmla="*/ 0 h 257442"/>
                <a:gd name="connsiteX0" fmla="*/ 3278361 w 3278361"/>
                <a:gd name="connsiteY0" fmla="*/ 0 h 257442"/>
                <a:gd name="connsiteX1" fmla="*/ 3223640 w 3278361"/>
                <a:gd name="connsiteY1" fmla="*/ 257442 h 257442"/>
                <a:gd name="connsiteX2" fmla="*/ 0 w 3278361"/>
                <a:gd name="connsiteY2" fmla="*/ 257442 h 257442"/>
                <a:gd name="connsiteX3" fmla="*/ 54721 w 3278361"/>
                <a:gd name="connsiteY3" fmla="*/ 0 h 257442"/>
                <a:gd name="connsiteX0" fmla="*/ 3278361 w 3278361"/>
                <a:gd name="connsiteY0" fmla="*/ 0 h 257442"/>
                <a:gd name="connsiteX1" fmla="*/ 3223640 w 3278361"/>
                <a:gd name="connsiteY1" fmla="*/ 257442 h 257442"/>
                <a:gd name="connsiteX2" fmla="*/ 0 w 3278361"/>
                <a:gd name="connsiteY2" fmla="*/ 257442 h 257442"/>
                <a:gd name="connsiteX3" fmla="*/ 54721 w 3278361"/>
                <a:gd name="connsiteY3" fmla="*/ 0 h 257442"/>
                <a:gd name="connsiteX0" fmla="*/ 950801 w 3223640"/>
                <a:gd name="connsiteY0" fmla="*/ 0 h 257442"/>
                <a:gd name="connsiteX1" fmla="*/ 3223640 w 3223640"/>
                <a:gd name="connsiteY1" fmla="*/ 257442 h 257442"/>
                <a:gd name="connsiteX2" fmla="*/ 0 w 3223640"/>
                <a:gd name="connsiteY2" fmla="*/ 257442 h 257442"/>
                <a:gd name="connsiteX3" fmla="*/ 54721 w 3223640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1111100 w 1111100"/>
                <a:gd name="connsiteY0" fmla="*/ 0 h 257442"/>
                <a:gd name="connsiteX1" fmla="*/ 896079 w 1111100"/>
                <a:gd name="connsiteY1" fmla="*/ 257442 h 257442"/>
                <a:gd name="connsiteX2" fmla="*/ 0 w 1111100"/>
                <a:gd name="connsiteY2" fmla="*/ 257442 h 257442"/>
                <a:gd name="connsiteX3" fmla="*/ 54720 w 1111100"/>
                <a:gd name="connsiteY3" fmla="*/ 0 h 257442"/>
                <a:gd name="connsiteX0" fmla="*/ 1111100 w 1111100"/>
                <a:gd name="connsiteY0" fmla="*/ 0 h 257442"/>
                <a:gd name="connsiteX1" fmla="*/ 1056379 w 1111100"/>
                <a:gd name="connsiteY1" fmla="*/ 257442 h 257442"/>
                <a:gd name="connsiteX2" fmla="*/ 0 w 1111100"/>
                <a:gd name="connsiteY2" fmla="*/ 257442 h 257442"/>
                <a:gd name="connsiteX3" fmla="*/ 54720 w 1111100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2 w 1111101"/>
                <a:gd name="connsiteY3" fmla="*/ 0 h 257442"/>
                <a:gd name="connsiteX0" fmla="*/ 1297051 w 1297051"/>
                <a:gd name="connsiteY0" fmla="*/ 0 h 257442"/>
                <a:gd name="connsiteX1" fmla="*/ 1056380 w 1297051"/>
                <a:gd name="connsiteY1" fmla="*/ 257442 h 257442"/>
                <a:gd name="connsiteX2" fmla="*/ 0 w 1297051"/>
                <a:gd name="connsiteY2" fmla="*/ 257442 h 257442"/>
                <a:gd name="connsiteX3" fmla="*/ 54722 w 1297051"/>
                <a:gd name="connsiteY3" fmla="*/ 0 h 257442"/>
                <a:gd name="connsiteX0" fmla="*/ 1297051 w 1297051"/>
                <a:gd name="connsiteY0" fmla="*/ 0 h 257442"/>
                <a:gd name="connsiteX1" fmla="*/ 1242330 w 1297051"/>
                <a:gd name="connsiteY1" fmla="*/ 257442 h 257442"/>
                <a:gd name="connsiteX2" fmla="*/ 0 w 1297051"/>
                <a:gd name="connsiteY2" fmla="*/ 257442 h 257442"/>
                <a:gd name="connsiteX3" fmla="*/ 54722 w 1297051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0 w 1297050"/>
                <a:gd name="connsiteY3" fmla="*/ 0 h 257442"/>
                <a:gd name="connsiteX0" fmla="*/ 1474982 w 1474982"/>
                <a:gd name="connsiteY0" fmla="*/ 0 h 257442"/>
                <a:gd name="connsiteX1" fmla="*/ 1242329 w 1474982"/>
                <a:gd name="connsiteY1" fmla="*/ 257442 h 257442"/>
                <a:gd name="connsiteX2" fmla="*/ 0 w 1474982"/>
                <a:gd name="connsiteY2" fmla="*/ 257442 h 257442"/>
                <a:gd name="connsiteX3" fmla="*/ 54720 w 1474982"/>
                <a:gd name="connsiteY3" fmla="*/ 0 h 257442"/>
                <a:gd name="connsiteX0" fmla="*/ 1474982 w 1474982"/>
                <a:gd name="connsiteY0" fmla="*/ 0 h 257442"/>
                <a:gd name="connsiteX1" fmla="*/ 1420261 w 1474982"/>
                <a:gd name="connsiteY1" fmla="*/ 257442 h 257442"/>
                <a:gd name="connsiteX2" fmla="*/ 0 w 1474982"/>
                <a:gd name="connsiteY2" fmla="*/ 257442 h 257442"/>
                <a:gd name="connsiteX3" fmla="*/ 54720 w 1474982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54721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54722 w 1474983"/>
                <a:gd name="connsiteY3" fmla="*/ 0 h 257442"/>
                <a:gd name="connsiteX0" fmla="*/ 1652917 w 1652917"/>
                <a:gd name="connsiteY0" fmla="*/ 0 h 257442"/>
                <a:gd name="connsiteX1" fmla="*/ 1420262 w 1652917"/>
                <a:gd name="connsiteY1" fmla="*/ 257442 h 257442"/>
                <a:gd name="connsiteX2" fmla="*/ 0 w 1652917"/>
                <a:gd name="connsiteY2" fmla="*/ 257442 h 257442"/>
                <a:gd name="connsiteX3" fmla="*/ 54722 w 1652917"/>
                <a:gd name="connsiteY3" fmla="*/ 0 h 257442"/>
                <a:gd name="connsiteX0" fmla="*/ 1652917 w 1652917"/>
                <a:gd name="connsiteY0" fmla="*/ 0 h 257442"/>
                <a:gd name="connsiteX1" fmla="*/ 1598196 w 1652917"/>
                <a:gd name="connsiteY1" fmla="*/ 257442 h 257442"/>
                <a:gd name="connsiteX2" fmla="*/ 0 w 1652917"/>
                <a:gd name="connsiteY2" fmla="*/ 257442 h 257442"/>
                <a:gd name="connsiteX3" fmla="*/ 54722 w 1652917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54721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54720 w 1652916"/>
                <a:gd name="connsiteY3" fmla="*/ 0 h 257442"/>
                <a:gd name="connsiteX0" fmla="*/ 1821230 w 1821230"/>
                <a:gd name="connsiteY0" fmla="*/ 0 h 257442"/>
                <a:gd name="connsiteX1" fmla="*/ 1598195 w 1821230"/>
                <a:gd name="connsiteY1" fmla="*/ 257442 h 257442"/>
                <a:gd name="connsiteX2" fmla="*/ 0 w 1821230"/>
                <a:gd name="connsiteY2" fmla="*/ 257442 h 257442"/>
                <a:gd name="connsiteX3" fmla="*/ 54720 w 1821230"/>
                <a:gd name="connsiteY3" fmla="*/ 0 h 257442"/>
                <a:gd name="connsiteX0" fmla="*/ 1821230 w 1821230"/>
                <a:gd name="connsiteY0" fmla="*/ 0 h 257442"/>
                <a:gd name="connsiteX1" fmla="*/ 1766509 w 1821230"/>
                <a:gd name="connsiteY1" fmla="*/ 257442 h 257442"/>
                <a:gd name="connsiteX2" fmla="*/ 0 w 1821230"/>
                <a:gd name="connsiteY2" fmla="*/ 257442 h 257442"/>
                <a:gd name="connsiteX3" fmla="*/ 54720 w 1821230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54721 w 1821231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54722 w 1821231"/>
                <a:gd name="connsiteY3" fmla="*/ 0 h 257442"/>
                <a:gd name="connsiteX0" fmla="*/ 1989548 w 1989548"/>
                <a:gd name="connsiteY0" fmla="*/ 0 h 257442"/>
                <a:gd name="connsiteX1" fmla="*/ 1766510 w 1989548"/>
                <a:gd name="connsiteY1" fmla="*/ 257442 h 257442"/>
                <a:gd name="connsiteX2" fmla="*/ 0 w 1989548"/>
                <a:gd name="connsiteY2" fmla="*/ 257442 h 257442"/>
                <a:gd name="connsiteX3" fmla="*/ 54722 w 1989548"/>
                <a:gd name="connsiteY3" fmla="*/ 0 h 257442"/>
                <a:gd name="connsiteX0" fmla="*/ 1989548 w 1989548"/>
                <a:gd name="connsiteY0" fmla="*/ 0 h 257442"/>
                <a:gd name="connsiteX1" fmla="*/ 1934826 w 1989548"/>
                <a:gd name="connsiteY1" fmla="*/ 257442 h 257442"/>
                <a:gd name="connsiteX2" fmla="*/ 0 w 1989548"/>
                <a:gd name="connsiteY2" fmla="*/ 257442 h 257442"/>
                <a:gd name="connsiteX3" fmla="*/ 54722 w 1989548"/>
                <a:gd name="connsiteY3" fmla="*/ 0 h 257442"/>
                <a:gd name="connsiteX0" fmla="*/ 1989548 w 1989548"/>
                <a:gd name="connsiteY0" fmla="*/ 0 h 257442"/>
                <a:gd name="connsiteX1" fmla="*/ 1934826 w 1989548"/>
                <a:gd name="connsiteY1" fmla="*/ 257442 h 257442"/>
                <a:gd name="connsiteX2" fmla="*/ 0 w 1989548"/>
                <a:gd name="connsiteY2" fmla="*/ 257442 h 257442"/>
                <a:gd name="connsiteX3" fmla="*/ 54722 w 1989548"/>
                <a:gd name="connsiteY3" fmla="*/ 0 h 257442"/>
                <a:gd name="connsiteX0" fmla="*/ 1989548 w 1989548"/>
                <a:gd name="connsiteY0" fmla="*/ 0 h 257442"/>
                <a:gd name="connsiteX1" fmla="*/ 1934826 w 1989548"/>
                <a:gd name="connsiteY1" fmla="*/ 257442 h 257442"/>
                <a:gd name="connsiteX2" fmla="*/ 0 w 1989548"/>
                <a:gd name="connsiteY2" fmla="*/ 257442 h 257442"/>
                <a:gd name="connsiteX3" fmla="*/ 54721 w 1989548"/>
                <a:gd name="connsiteY3" fmla="*/ 0 h 257442"/>
                <a:gd name="connsiteX0" fmla="*/ 2149847 w 2149847"/>
                <a:gd name="connsiteY0" fmla="*/ 0 h 257442"/>
                <a:gd name="connsiteX1" fmla="*/ 1934826 w 2149847"/>
                <a:gd name="connsiteY1" fmla="*/ 257442 h 257442"/>
                <a:gd name="connsiteX2" fmla="*/ 0 w 2149847"/>
                <a:gd name="connsiteY2" fmla="*/ 257442 h 257442"/>
                <a:gd name="connsiteX3" fmla="*/ 54721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54721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54721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54721 w 2149847"/>
                <a:gd name="connsiteY3" fmla="*/ 0 h 257442"/>
                <a:gd name="connsiteX0" fmla="*/ 2318162 w 2318162"/>
                <a:gd name="connsiteY0" fmla="*/ 0 h 257442"/>
                <a:gd name="connsiteX1" fmla="*/ 2095126 w 2318162"/>
                <a:gd name="connsiteY1" fmla="*/ 257442 h 257442"/>
                <a:gd name="connsiteX2" fmla="*/ 0 w 2318162"/>
                <a:gd name="connsiteY2" fmla="*/ 257442 h 257442"/>
                <a:gd name="connsiteX3" fmla="*/ 54721 w 2318162"/>
                <a:gd name="connsiteY3" fmla="*/ 0 h 257442"/>
                <a:gd name="connsiteX0" fmla="*/ 2318162 w 2318162"/>
                <a:gd name="connsiteY0" fmla="*/ 0 h 257442"/>
                <a:gd name="connsiteX1" fmla="*/ 2263440 w 2318162"/>
                <a:gd name="connsiteY1" fmla="*/ 257442 h 257442"/>
                <a:gd name="connsiteX2" fmla="*/ 0 w 2318162"/>
                <a:gd name="connsiteY2" fmla="*/ 257442 h 257442"/>
                <a:gd name="connsiteX3" fmla="*/ 54721 w 2318162"/>
                <a:gd name="connsiteY3" fmla="*/ 0 h 257442"/>
                <a:gd name="connsiteX0" fmla="*/ 2318163 w 2318163"/>
                <a:gd name="connsiteY0" fmla="*/ 0 h 257442"/>
                <a:gd name="connsiteX1" fmla="*/ 2263441 w 2318163"/>
                <a:gd name="connsiteY1" fmla="*/ 257442 h 257442"/>
                <a:gd name="connsiteX2" fmla="*/ 0 w 2318163"/>
                <a:gd name="connsiteY2" fmla="*/ 257442 h 257442"/>
                <a:gd name="connsiteX3" fmla="*/ 54722 w 2318163"/>
                <a:gd name="connsiteY3" fmla="*/ 0 h 257442"/>
                <a:gd name="connsiteX0" fmla="*/ 2318163 w 2318163"/>
                <a:gd name="connsiteY0" fmla="*/ 0 h 257442"/>
                <a:gd name="connsiteX1" fmla="*/ 2263441 w 2318163"/>
                <a:gd name="connsiteY1" fmla="*/ 257442 h 257442"/>
                <a:gd name="connsiteX2" fmla="*/ 0 w 2318163"/>
                <a:gd name="connsiteY2" fmla="*/ 257442 h 257442"/>
                <a:gd name="connsiteX3" fmla="*/ 54722 w 2318163"/>
                <a:gd name="connsiteY3" fmla="*/ 0 h 257442"/>
                <a:gd name="connsiteX0" fmla="*/ 2587468 w 2587468"/>
                <a:gd name="connsiteY0" fmla="*/ 0 h 257442"/>
                <a:gd name="connsiteX1" fmla="*/ 2263441 w 2587468"/>
                <a:gd name="connsiteY1" fmla="*/ 257442 h 257442"/>
                <a:gd name="connsiteX2" fmla="*/ 0 w 2587468"/>
                <a:gd name="connsiteY2" fmla="*/ 257442 h 257442"/>
                <a:gd name="connsiteX3" fmla="*/ 54722 w 2587468"/>
                <a:gd name="connsiteY3" fmla="*/ 0 h 257442"/>
                <a:gd name="connsiteX0" fmla="*/ 2587468 w 2587468"/>
                <a:gd name="connsiteY0" fmla="*/ 0 h 257442"/>
                <a:gd name="connsiteX1" fmla="*/ 2532746 w 2587468"/>
                <a:gd name="connsiteY1" fmla="*/ 257442 h 257442"/>
                <a:gd name="connsiteX2" fmla="*/ 0 w 2587468"/>
                <a:gd name="connsiteY2" fmla="*/ 257442 h 257442"/>
                <a:gd name="connsiteX3" fmla="*/ 54722 w 2587468"/>
                <a:gd name="connsiteY3" fmla="*/ 0 h 257442"/>
                <a:gd name="connsiteX0" fmla="*/ 2587468 w 2587468"/>
                <a:gd name="connsiteY0" fmla="*/ 0 h 257442"/>
                <a:gd name="connsiteX1" fmla="*/ 2532746 w 2587468"/>
                <a:gd name="connsiteY1" fmla="*/ 257442 h 257442"/>
                <a:gd name="connsiteX2" fmla="*/ 0 w 2587468"/>
                <a:gd name="connsiteY2" fmla="*/ 257442 h 257442"/>
                <a:gd name="connsiteX3" fmla="*/ 54722 w 2587468"/>
                <a:gd name="connsiteY3" fmla="*/ 0 h 257442"/>
                <a:gd name="connsiteX0" fmla="*/ 2587468 w 2587468"/>
                <a:gd name="connsiteY0" fmla="*/ 0 h 257442"/>
                <a:gd name="connsiteX1" fmla="*/ 2532746 w 2587468"/>
                <a:gd name="connsiteY1" fmla="*/ 257442 h 257442"/>
                <a:gd name="connsiteX2" fmla="*/ 0 w 2587468"/>
                <a:gd name="connsiteY2" fmla="*/ 257442 h 257442"/>
                <a:gd name="connsiteX3" fmla="*/ 54721 w 2587468"/>
                <a:gd name="connsiteY3" fmla="*/ 0 h 257442"/>
                <a:gd name="connsiteX0" fmla="*/ 2747767 w 2747767"/>
                <a:gd name="connsiteY0" fmla="*/ 0 h 257442"/>
                <a:gd name="connsiteX1" fmla="*/ 2532746 w 2747767"/>
                <a:gd name="connsiteY1" fmla="*/ 257442 h 257442"/>
                <a:gd name="connsiteX2" fmla="*/ 0 w 2747767"/>
                <a:gd name="connsiteY2" fmla="*/ 257442 h 257442"/>
                <a:gd name="connsiteX3" fmla="*/ 54721 w 2747767"/>
                <a:gd name="connsiteY3" fmla="*/ 0 h 257442"/>
                <a:gd name="connsiteX0" fmla="*/ 2747767 w 2747767"/>
                <a:gd name="connsiteY0" fmla="*/ 0 h 257442"/>
                <a:gd name="connsiteX1" fmla="*/ 2693046 w 2747767"/>
                <a:gd name="connsiteY1" fmla="*/ 257442 h 257442"/>
                <a:gd name="connsiteX2" fmla="*/ 0 w 2747767"/>
                <a:gd name="connsiteY2" fmla="*/ 257442 h 257442"/>
                <a:gd name="connsiteX3" fmla="*/ 54721 w 2747767"/>
                <a:gd name="connsiteY3" fmla="*/ 0 h 257442"/>
                <a:gd name="connsiteX0" fmla="*/ 2747767 w 2747767"/>
                <a:gd name="connsiteY0" fmla="*/ 0 h 257442"/>
                <a:gd name="connsiteX1" fmla="*/ 2693046 w 2747767"/>
                <a:gd name="connsiteY1" fmla="*/ 257442 h 257442"/>
                <a:gd name="connsiteX2" fmla="*/ 0 w 2747767"/>
                <a:gd name="connsiteY2" fmla="*/ 257442 h 257442"/>
                <a:gd name="connsiteX3" fmla="*/ 54721 w 2747767"/>
                <a:gd name="connsiteY3" fmla="*/ 0 h 257442"/>
                <a:gd name="connsiteX0" fmla="*/ 2747767 w 2747767"/>
                <a:gd name="connsiteY0" fmla="*/ 0 h 257442"/>
                <a:gd name="connsiteX1" fmla="*/ 2693046 w 2747767"/>
                <a:gd name="connsiteY1" fmla="*/ 257442 h 257442"/>
                <a:gd name="connsiteX2" fmla="*/ 0 w 2747767"/>
                <a:gd name="connsiteY2" fmla="*/ 257442 h 257442"/>
                <a:gd name="connsiteX3" fmla="*/ 54721 w 2747767"/>
                <a:gd name="connsiteY3" fmla="*/ 0 h 257442"/>
                <a:gd name="connsiteX0" fmla="*/ 950801 w 2693046"/>
                <a:gd name="connsiteY0" fmla="*/ 0 h 257442"/>
                <a:gd name="connsiteX1" fmla="*/ 2693046 w 2693046"/>
                <a:gd name="connsiteY1" fmla="*/ 257442 h 257442"/>
                <a:gd name="connsiteX2" fmla="*/ 0 w 2693046"/>
                <a:gd name="connsiteY2" fmla="*/ 257442 h 257442"/>
                <a:gd name="connsiteX3" fmla="*/ 54721 w 2693046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1111100 w 1111100"/>
                <a:gd name="connsiteY0" fmla="*/ 0 h 257442"/>
                <a:gd name="connsiteX1" fmla="*/ 896079 w 1111100"/>
                <a:gd name="connsiteY1" fmla="*/ 257442 h 257442"/>
                <a:gd name="connsiteX2" fmla="*/ 0 w 1111100"/>
                <a:gd name="connsiteY2" fmla="*/ 257442 h 257442"/>
                <a:gd name="connsiteX3" fmla="*/ 54720 w 1111100"/>
                <a:gd name="connsiteY3" fmla="*/ 0 h 257442"/>
                <a:gd name="connsiteX0" fmla="*/ 1111100 w 1111100"/>
                <a:gd name="connsiteY0" fmla="*/ 0 h 257442"/>
                <a:gd name="connsiteX1" fmla="*/ 1056379 w 1111100"/>
                <a:gd name="connsiteY1" fmla="*/ 257442 h 257442"/>
                <a:gd name="connsiteX2" fmla="*/ 0 w 1111100"/>
                <a:gd name="connsiteY2" fmla="*/ 257442 h 257442"/>
                <a:gd name="connsiteX3" fmla="*/ 54720 w 1111100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2 w 1111101"/>
                <a:gd name="connsiteY3" fmla="*/ 0 h 257442"/>
                <a:gd name="connsiteX0" fmla="*/ 1279417 w 1279417"/>
                <a:gd name="connsiteY0" fmla="*/ 0 h 257442"/>
                <a:gd name="connsiteX1" fmla="*/ 1056380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279417 w 1279417"/>
                <a:gd name="connsiteY0" fmla="*/ 0 h 257442"/>
                <a:gd name="connsiteX1" fmla="*/ 1224696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54720 w 1279416"/>
                <a:gd name="connsiteY3" fmla="*/ 0 h 257442"/>
                <a:gd name="connsiteX0" fmla="*/ 950801 w 1224695"/>
                <a:gd name="connsiteY0" fmla="*/ 0 h 257442"/>
                <a:gd name="connsiteX1" fmla="*/ 1224695 w 1224695"/>
                <a:gd name="connsiteY1" fmla="*/ 257442 h 257442"/>
                <a:gd name="connsiteX2" fmla="*/ 0 w 1224695"/>
                <a:gd name="connsiteY2" fmla="*/ 257442 h 257442"/>
                <a:gd name="connsiteX3" fmla="*/ 54720 w 1224695"/>
                <a:gd name="connsiteY3" fmla="*/ 0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0 w 950801"/>
                <a:gd name="connsiteY2" fmla="*/ 257442 h 257442"/>
                <a:gd name="connsiteX3" fmla="*/ 54720 w 950801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54719 w 950800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1128733 w 1128733"/>
                <a:gd name="connsiteY0" fmla="*/ 0 h 257442"/>
                <a:gd name="connsiteX1" fmla="*/ 896080 w 1128733"/>
                <a:gd name="connsiteY1" fmla="*/ 257442 h 257442"/>
                <a:gd name="connsiteX2" fmla="*/ 0 w 1128733"/>
                <a:gd name="connsiteY2" fmla="*/ 257442 h 257442"/>
                <a:gd name="connsiteX3" fmla="*/ 54720 w 1128733"/>
                <a:gd name="connsiteY3" fmla="*/ 0 h 257442"/>
                <a:gd name="connsiteX0" fmla="*/ 1128733 w 1128733"/>
                <a:gd name="connsiteY0" fmla="*/ 0 h 257442"/>
                <a:gd name="connsiteX1" fmla="*/ 1074012 w 1128733"/>
                <a:gd name="connsiteY1" fmla="*/ 257442 h 257442"/>
                <a:gd name="connsiteX2" fmla="*/ 0 w 1128733"/>
                <a:gd name="connsiteY2" fmla="*/ 257442 h 257442"/>
                <a:gd name="connsiteX3" fmla="*/ 54720 w 1128733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314682 w 1314682"/>
                <a:gd name="connsiteY0" fmla="*/ 0 h 257442"/>
                <a:gd name="connsiteX1" fmla="*/ 1074013 w 1314682"/>
                <a:gd name="connsiteY1" fmla="*/ 257442 h 257442"/>
                <a:gd name="connsiteX2" fmla="*/ 0 w 1314682"/>
                <a:gd name="connsiteY2" fmla="*/ 257442 h 257442"/>
                <a:gd name="connsiteX3" fmla="*/ 54721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54721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54721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54721 w 1314682"/>
                <a:gd name="connsiteY3" fmla="*/ 0 h 257442"/>
                <a:gd name="connsiteX0" fmla="*/ 1474983 w 1474983"/>
                <a:gd name="connsiteY0" fmla="*/ 0 h 257442"/>
                <a:gd name="connsiteX1" fmla="*/ 1259961 w 1474983"/>
                <a:gd name="connsiteY1" fmla="*/ 257442 h 257442"/>
                <a:gd name="connsiteX2" fmla="*/ 0 w 1474983"/>
                <a:gd name="connsiteY2" fmla="*/ 257442 h 257442"/>
                <a:gd name="connsiteX3" fmla="*/ 54721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54721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54721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54721 w 1474983"/>
                <a:gd name="connsiteY3" fmla="*/ 0 h 257442"/>
                <a:gd name="connsiteX0" fmla="*/ 1635283 w 1635283"/>
                <a:gd name="connsiteY0" fmla="*/ 0 h 257442"/>
                <a:gd name="connsiteX1" fmla="*/ 1420262 w 1635283"/>
                <a:gd name="connsiteY1" fmla="*/ 257442 h 257442"/>
                <a:gd name="connsiteX2" fmla="*/ 0 w 1635283"/>
                <a:gd name="connsiteY2" fmla="*/ 257442 h 257442"/>
                <a:gd name="connsiteX3" fmla="*/ 54721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54721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54721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54721 w 1635283"/>
                <a:gd name="connsiteY3" fmla="*/ 0 h 257442"/>
                <a:gd name="connsiteX0" fmla="*/ 1888557 w 1888557"/>
                <a:gd name="connsiteY0" fmla="*/ 0 h 257442"/>
                <a:gd name="connsiteX1" fmla="*/ 1580562 w 1888557"/>
                <a:gd name="connsiteY1" fmla="*/ 257442 h 257442"/>
                <a:gd name="connsiteX2" fmla="*/ 0 w 1888557"/>
                <a:gd name="connsiteY2" fmla="*/ 257442 h 257442"/>
                <a:gd name="connsiteX3" fmla="*/ 54721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54721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54721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54721 w 1888557"/>
                <a:gd name="connsiteY3" fmla="*/ 0 h 257442"/>
                <a:gd name="connsiteX0" fmla="*/ 2216019 w 2216019"/>
                <a:gd name="connsiteY0" fmla="*/ 0 h 257442"/>
                <a:gd name="connsiteX1" fmla="*/ 1833836 w 2216019"/>
                <a:gd name="connsiteY1" fmla="*/ 257442 h 257442"/>
                <a:gd name="connsiteX2" fmla="*/ 0 w 2216019"/>
                <a:gd name="connsiteY2" fmla="*/ 257442 h 257442"/>
                <a:gd name="connsiteX3" fmla="*/ 54721 w 2216019"/>
                <a:gd name="connsiteY3" fmla="*/ 0 h 257442"/>
                <a:gd name="connsiteX0" fmla="*/ 2216019 w 2216019"/>
                <a:gd name="connsiteY0" fmla="*/ 0 h 257442"/>
                <a:gd name="connsiteX1" fmla="*/ 2161298 w 2216019"/>
                <a:gd name="connsiteY1" fmla="*/ 257442 h 257442"/>
                <a:gd name="connsiteX2" fmla="*/ 0 w 2216019"/>
                <a:gd name="connsiteY2" fmla="*/ 257442 h 257442"/>
                <a:gd name="connsiteX3" fmla="*/ 54721 w 2216019"/>
                <a:gd name="connsiteY3" fmla="*/ 0 h 257442"/>
                <a:gd name="connsiteX0" fmla="*/ 2216019 w 2216019"/>
                <a:gd name="connsiteY0" fmla="*/ 0 h 257442"/>
                <a:gd name="connsiteX1" fmla="*/ 2161298 w 2216019"/>
                <a:gd name="connsiteY1" fmla="*/ 257442 h 257442"/>
                <a:gd name="connsiteX2" fmla="*/ 0 w 2216019"/>
                <a:gd name="connsiteY2" fmla="*/ 257442 h 257442"/>
                <a:gd name="connsiteX3" fmla="*/ 54721 w 2216019"/>
                <a:gd name="connsiteY3" fmla="*/ 0 h 257442"/>
                <a:gd name="connsiteX0" fmla="*/ 2216019 w 2216019"/>
                <a:gd name="connsiteY0" fmla="*/ 0 h 257442"/>
                <a:gd name="connsiteX1" fmla="*/ 2161298 w 2216019"/>
                <a:gd name="connsiteY1" fmla="*/ 257442 h 257442"/>
                <a:gd name="connsiteX2" fmla="*/ 0 w 2216019"/>
                <a:gd name="connsiteY2" fmla="*/ 257442 h 257442"/>
                <a:gd name="connsiteX3" fmla="*/ 54721 w 2216019"/>
                <a:gd name="connsiteY3" fmla="*/ 0 h 257442"/>
                <a:gd name="connsiteX0" fmla="*/ 2384334 w 2384334"/>
                <a:gd name="connsiteY0" fmla="*/ 0 h 257442"/>
                <a:gd name="connsiteX1" fmla="*/ 2161298 w 2384334"/>
                <a:gd name="connsiteY1" fmla="*/ 257442 h 257442"/>
                <a:gd name="connsiteX2" fmla="*/ 0 w 2384334"/>
                <a:gd name="connsiteY2" fmla="*/ 257442 h 257442"/>
                <a:gd name="connsiteX3" fmla="*/ 54721 w 2384334"/>
                <a:gd name="connsiteY3" fmla="*/ 0 h 257442"/>
                <a:gd name="connsiteX0" fmla="*/ 2384334 w 2384334"/>
                <a:gd name="connsiteY0" fmla="*/ 0 h 257442"/>
                <a:gd name="connsiteX1" fmla="*/ 2329612 w 2384334"/>
                <a:gd name="connsiteY1" fmla="*/ 257442 h 257442"/>
                <a:gd name="connsiteX2" fmla="*/ 0 w 2384334"/>
                <a:gd name="connsiteY2" fmla="*/ 257442 h 257442"/>
                <a:gd name="connsiteX3" fmla="*/ 54721 w 2384334"/>
                <a:gd name="connsiteY3" fmla="*/ 0 h 257442"/>
                <a:gd name="connsiteX0" fmla="*/ 2384335 w 2384335"/>
                <a:gd name="connsiteY0" fmla="*/ 0 h 257442"/>
                <a:gd name="connsiteX1" fmla="*/ 2329613 w 2384335"/>
                <a:gd name="connsiteY1" fmla="*/ 257442 h 257442"/>
                <a:gd name="connsiteX2" fmla="*/ 0 w 2384335"/>
                <a:gd name="connsiteY2" fmla="*/ 257442 h 257442"/>
                <a:gd name="connsiteX3" fmla="*/ 54722 w 2384335"/>
                <a:gd name="connsiteY3" fmla="*/ 0 h 257442"/>
                <a:gd name="connsiteX0" fmla="*/ 2384335 w 2384335"/>
                <a:gd name="connsiteY0" fmla="*/ 0 h 257442"/>
                <a:gd name="connsiteX1" fmla="*/ 2329613 w 2384335"/>
                <a:gd name="connsiteY1" fmla="*/ 257442 h 257442"/>
                <a:gd name="connsiteX2" fmla="*/ 0 w 2384335"/>
                <a:gd name="connsiteY2" fmla="*/ 257442 h 257442"/>
                <a:gd name="connsiteX3" fmla="*/ 54722 w 2384335"/>
                <a:gd name="connsiteY3" fmla="*/ 0 h 257442"/>
                <a:gd name="connsiteX0" fmla="*/ 2544635 w 2544635"/>
                <a:gd name="connsiteY0" fmla="*/ 0 h 257442"/>
                <a:gd name="connsiteX1" fmla="*/ 2329613 w 2544635"/>
                <a:gd name="connsiteY1" fmla="*/ 257442 h 257442"/>
                <a:gd name="connsiteX2" fmla="*/ 0 w 2544635"/>
                <a:gd name="connsiteY2" fmla="*/ 257442 h 257442"/>
                <a:gd name="connsiteX3" fmla="*/ 54722 w 2544635"/>
                <a:gd name="connsiteY3" fmla="*/ 0 h 257442"/>
                <a:gd name="connsiteX0" fmla="*/ 2544635 w 2544635"/>
                <a:gd name="connsiteY0" fmla="*/ 0 h 257442"/>
                <a:gd name="connsiteX1" fmla="*/ 2489914 w 2544635"/>
                <a:gd name="connsiteY1" fmla="*/ 257442 h 257442"/>
                <a:gd name="connsiteX2" fmla="*/ 0 w 2544635"/>
                <a:gd name="connsiteY2" fmla="*/ 257442 h 257442"/>
                <a:gd name="connsiteX3" fmla="*/ 54722 w 2544635"/>
                <a:gd name="connsiteY3" fmla="*/ 0 h 257442"/>
                <a:gd name="connsiteX0" fmla="*/ 2544634 w 2544634"/>
                <a:gd name="connsiteY0" fmla="*/ 0 h 257442"/>
                <a:gd name="connsiteX1" fmla="*/ 2489913 w 2544634"/>
                <a:gd name="connsiteY1" fmla="*/ 257442 h 257442"/>
                <a:gd name="connsiteX2" fmla="*/ 0 w 2544634"/>
                <a:gd name="connsiteY2" fmla="*/ 257442 h 257442"/>
                <a:gd name="connsiteX3" fmla="*/ 54721 w 2544634"/>
                <a:gd name="connsiteY3" fmla="*/ 0 h 257442"/>
                <a:gd name="connsiteX0" fmla="*/ 2544634 w 2544634"/>
                <a:gd name="connsiteY0" fmla="*/ 0 h 257442"/>
                <a:gd name="connsiteX1" fmla="*/ 2489913 w 2544634"/>
                <a:gd name="connsiteY1" fmla="*/ 257442 h 257442"/>
                <a:gd name="connsiteX2" fmla="*/ 0 w 2544634"/>
                <a:gd name="connsiteY2" fmla="*/ 257442 h 257442"/>
                <a:gd name="connsiteX3" fmla="*/ 54720 w 2544634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44634" h="257442">
                  <a:moveTo>
                    <a:pt x="2544634" y="0"/>
                  </a:moveTo>
                  <a:lnTo>
                    <a:pt x="2489913" y="257442"/>
                  </a:lnTo>
                  <a:lnTo>
                    <a:pt x="0" y="257442"/>
                  </a:lnTo>
                  <a:lnTo>
                    <a:pt x="54720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" name="btfpRunningAgenda2LevelTextRight403778">
              <a:extLst>
                <a:ext uri="{FF2B5EF4-FFF2-40B4-BE49-F238E27FC236}">
                  <a16:creationId xmlns:a16="http://schemas.microsoft.com/office/drawing/2014/main" id="{588255C0-0C35-4FF2-8882-3B8572C7AF5A}"/>
                </a:ext>
              </a:extLst>
            </p:cNvPr>
            <p:cNvSpPr txBox="1"/>
            <p:nvPr/>
          </p:nvSpPr>
          <p:spPr bwMode="gray">
            <a:xfrm>
              <a:off x="1144574" y="876300"/>
              <a:ext cx="2489913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mpetitors</a:t>
              </a:r>
            </a:p>
          </p:txBody>
        </p:sp>
      </p:grp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BC20679E-BA36-4846-B41A-A5F9AB91C018}"/>
              </a:ext>
            </a:extLst>
          </p:cNvPr>
          <p:cNvGraphicFramePr>
            <a:graphicFrameLocks noGrp="1"/>
          </p:cNvGraphicFramePr>
          <p:nvPr/>
        </p:nvGraphicFramePr>
        <p:xfrm>
          <a:off x="680786" y="1587364"/>
          <a:ext cx="11176253" cy="4647730"/>
        </p:xfrm>
        <a:graphic>
          <a:graphicData uri="http://schemas.openxmlformats.org/drawingml/2006/table">
            <a:tbl>
              <a:tblPr/>
              <a:tblGrid>
                <a:gridCol w="1129151">
                  <a:extLst>
                    <a:ext uri="{9D8B030D-6E8A-4147-A177-3AD203B41FA5}">
                      <a16:colId xmlns:a16="http://schemas.microsoft.com/office/drawing/2014/main" val="1429266792"/>
                    </a:ext>
                  </a:extLst>
                </a:gridCol>
                <a:gridCol w="834350">
                  <a:extLst>
                    <a:ext uri="{9D8B030D-6E8A-4147-A177-3AD203B41FA5}">
                      <a16:colId xmlns:a16="http://schemas.microsoft.com/office/drawing/2014/main" val="19753988"/>
                    </a:ext>
                  </a:extLst>
                </a:gridCol>
                <a:gridCol w="85961">
                  <a:extLst>
                    <a:ext uri="{9D8B030D-6E8A-4147-A177-3AD203B41FA5}">
                      <a16:colId xmlns:a16="http://schemas.microsoft.com/office/drawing/2014/main" val="1528729863"/>
                    </a:ext>
                  </a:extLst>
                </a:gridCol>
                <a:gridCol w="734874">
                  <a:extLst>
                    <a:ext uri="{9D8B030D-6E8A-4147-A177-3AD203B41FA5}">
                      <a16:colId xmlns:a16="http://schemas.microsoft.com/office/drawing/2014/main" val="364408796"/>
                    </a:ext>
                  </a:extLst>
                </a:gridCol>
                <a:gridCol w="734874">
                  <a:extLst>
                    <a:ext uri="{9D8B030D-6E8A-4147-A177-3AD203B41FA5}">
                      <a16:colId xmlns:a16="http://schemas.microsoft.com/office/drawing/2014/main" val="3383137747"/>
                    </a:ext>
                  </a:extLst>
                </a:gridCol>
                <a:gridCol w="734874">
                  <a:extLst>
                    <a:ext uri="{9D8B030D-6E8A-4147-A177-3AD203B41FA5}">
                      <a16:colId xmlns:a16="http://schemas.microsoft.com/office/drawing/2014/main" val="4040706367"/>
                    </a:ext>
                  </a:extLst>
                </a:gridCol>
                <a:gridCol w="734874">
                  <a:extLst>
                    <a:ext uri="{9D8B030D-6E8A-4147-A177-3AD203B41FA5}">
                      <a16:colId xmlns:a16="http://schemas.microsoft.com/office/drawing/2014/main" val="2810288204"/>
                    </a:ext>
                  </a:extLst>
                </a:gridCol>
                <a:gridCol w="734874">
                  <a:extLst>
                    <a:ext uri="{9D8B030D-6E8A-4147-A177-3AD203B41FA5}">
                      <a16:colId xmlns:a16="http://schemas.microsoft.com/office/drawing/2014/main" val="3353116133"/>
                    </a:ext>
                  </a:extLst>
                </a:gridCol>
                <a:gridCol w="734874">
                  <a:extLst>
                    <a:ext uri="{9D8B030D-6E8A-4147-A177-3AD203B41FA5}">
                      <a16:colId xmlns:a16="http://schemas.microsoft.com/office/drawing/2014/main" val="3635118231"/>
                    </a:ext>
                  </a:extLst>
                </a:gridCol>
                <a:gridCol w="734874">
                  <a:extLst>
                    <a:ext uri="{9D8B030D-6E8A-4147-A177-3AD203B41FA5}">
                      <a16:colId xmlns:a16="http://schemas.microsoft.com/office/drawing/2014/main" val="1658859829"/>
                    </a:ext>
                  </a:extLst>
                </a:gridCol>
                <a:gridCol w="3982673">
                  <a:extLst>
                    <a:ext uri="{9D8B030D-6E8A-4147-A177-3AD203B41FA5}">
                      <a16:colId xmlns:a16="http://schemas.microsoft.com/office/drawing/2014/main" val="527895884"/>
                    </a:ext>
                  </a:extLst>
                </a:gridCol>
              </a:tblGrid>
              <a:tr h="373278"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AU" sz="900" b="1" i="0" u="none" strike="noStrike">
                          <a:solidFill>
                            <a:srgbClr val="CC0000"/>
                          </a:solidFill>
                          <a:effectLst/>
                          <a:latin typeface="Arial" panose="020B0604020202020204" pitchFamily="34" charset="0"/>
                        </a:rPr>
                        <a:t>KPC</a:t>
                      </a:r>
                      <a:endParaRPr lang="en-AU" sz="1000" b="1" i="0" u="none" strike="noStrike">
                        <a:solidFill>
                          <a:srgbClr val="CC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130" marR="8130" marT="81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900" b="1" i="0" u="none" strike="noStrike">
                          <a:solidFill>
                            <a:srgbClr val="CC0000"/>
                          </a:solidFill>
                          <a:effectLst/>
                          <a:latin typeface="Arial" panose="020B0604020202020204" pitchFamily="34" charset="0"/>
                        </a:rPr>
                        <a:t>Importanc</a:t>
                      </a:r>
                      <a:r>
                        <a:rPr lang="pl-PL" sz="900" b="1" i="0" u="none" strike="noStrike">
                          <a:solidFill>
                            <a:srgbClr val="CC0000"/>
                          </a:solidFill>
                          <a:effectLst/>
                          <a:latin typeface="Arial" panose="020B0604020202020204" pitchFamily="34" charset="0"/>
                        </a:rPr>
                        <a:t>e</a:t>
                      </a:r>
                      <a:br>
                        <a:rPr lang="pl-PL" sz="900" b="1" i="0" u="none" strike="noStrike">
                          <a:solidFill>
                            <a:srgbClr val="CC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en-AU" sz="900" b="1" i="0" u="none" strike="noStrike">
                          <a:solidFill>
                            <a:srgbClr val="CC0000"/>
                          </a:solidFill>
                          <a:effectLst/>
                          <a:latin typeface="Arial" panose="020B0604020202020204" pitchFamily="34" charset="0"/>
                        </a:rPr>
                        <a:t>(% of resp)</a:t>
                      </a:r>
                    </a:p>
                  </a:txBody>
                  <a:tcPr marL="8130" marR="8130" marT="81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endParaRPr lang="en-AU" sz="1000" b="1" i="0" u="none" strike="noStrike">
                        <a:solidFill>
                          <a:srgbClr val="CC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130" marR="8130" marT="81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b">
                        <a:buNone/>
                      </a:pPr>
                      <a:r>
                        <a:rPr lang="pl-PL" sz="9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Target</a:t>
                      </a:r>
                      <a:endParaRPr lang="en-A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130" marR="8130" marT="81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b">
                        <a:buNone/>
                      </a:pPr>
                      <a:r>
                        <a:rPr lang="pl-PL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ompetitor 1</a:t>
                      </a:r>
                      <a:endParaRPr lang="en-AU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130" marR="8130" marT="81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b">
                        <a:buNone/>
                      </a:pPr>
                      <a:r>
                        <a:rPr lang="pl-PL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ompetitor 2</a:t>
                      </a:r>
                      <a:endParaRPr lang="en-AU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130" marR="8130" marT="81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b">
                        <a:buNone/>
                      </a:pPr>
                      <a:r>
                        <a:rPr lang="pl-PL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ompetitor 3</a:t>
                      </a:r>
                      <a:endParaRPr lang="en-AU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130" marR="8130" marT="81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b">
                        <a:buNone/>
                      </a:pPr>
                      <a:r>
                        <a:rPr lang="pl-PL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ompetitor 4</a:t>
                      </a:r>
                      <a:endParaRPr lang="en-AU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130" marR="8130" marT="81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b">
                        <a:buNone/>
                      </a:pPr>
                      <a:r>
                        <a:rPr lang="pl-PL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ompetitor 5</a:t>
                      </a:r>
                      <a:endParaRPr lang="en-AU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130" marR="8130" marT="81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b">
                        <a:buNone/>
                      </a:pPr>
                      <a:r>
                        <a:rPr lang="pl-PL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ompetitor 6</a:t>
                      </a:r>
                      <a:endParaRPr lang="en-AU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130" marR="8130" marT="81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b">
                        <a:buNone/>
                      </a:pPr>
                      <a:r>
                        <a:rPr lang="en-AU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ommentary</a:t>
                      </a:r>
                      <a:endParaRPr lang="en-AU" sz="7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130" marR="8130" marT="813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139325"/>
                  </a:ext>
                </a:extLst>
              </a:tr>
              <a:tr h="305318"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pl-PL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riteria 1</a:t>
                      </a:r>
                    </a:p>
                  </a:txBody>
                  <a:tcPr marL="8130" marR="8130" marT="813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AU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%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endParaRPr lang="en-A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1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4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3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2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1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8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6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A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479506"/>
                  </a:ext>
                </a:extLst>
              </a:tr>
              <a:tr h="305318"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pl-PL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riteria 2</a:t>
                      </a:r>
                      <a:endParaRPr lang="en-A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130" marR="8130" marT="813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b">
                        <a:buNone/>
                      </a:pPr>
                      <a:r>
                        <a:rPr lang="en-AU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%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endParaRPr lang="en-A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0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4.8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86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0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9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1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9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9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A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0194025"/>
                  </a:ext>
                </a:extLst>
              </a:tr>
              <a:tr h="305318"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pl-PL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riteria 3</a:t>
                      </a:r>
                      <a:endParaRPr lang="en-A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130" marR="8130" marT="813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b">
                        <a:buNone/>
                      </a:pPr>
                      <a:r>
                        <a:rPr lang="en-AU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%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endParaRPr lang="en-A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5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9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9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1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3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6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8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A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9459213"/>
                  </a:ext>
                </a:extLst>
              </a:tr>
              <a:tr h="305318"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pl-PL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riteria 4</a:t>
                      </a:r>
                      <a:endParaRPr lang="en-A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130" marR="8130" marT="813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b">
                        <a:buNone/>
                      </a:pPr>
                      <a:r>
                        <a:rPr lang="en-AU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%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endParaRPr lang="en-A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0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3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3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8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1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0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3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A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952137"/>
                  </a:ext>
                </a:extLst>
              </a:tr>
              <a:tr h="305318"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pl-PL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riteria 5</a:t>
                      </a:r>
                    </a:p>
                  </a:txBody>
                  <a:tcPr marL="8130" marR="8130" marT="813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b">
                        <a:buNone/>
                      </a:pPr>
                      <a:r>
                        <a:rPr lang="en-AU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%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endParaRPr lang="en-A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1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4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3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8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4.5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86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7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5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A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2758556"/>
                  </a:ext>
                </a:extLst>
              </a:tr>
              <a:tr h="305318"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pl-PL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riteria 6</a:t>
                      </a:r>
                      <a:endParaRPr lang="en-A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130" marR="8130" marT="813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b">
                        <a:buNone/>
                      </a:pPr>
                      <a:r>
                        <a:rPr lang="en-AU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%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endParaRPr lang="en-A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1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3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5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1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2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3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7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A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5837583"/>
                  </a:ext>
                </a:extLst>
              </a:tr>
              <a:tr h="305318"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pl-PL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riteria 7</a:t>
                      </a:r>
                      <a:endParaRPr lang="en-A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130" marR="8130" marT="813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b">
                        <a:buNone/>
                      </a:pPr>
                      <a:r>
                        <a:rPr lang="en-AU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%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endParaRPr lang="en-A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2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0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4.5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86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3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5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4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2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AU" sz="9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52111045"/>
                  </a:ext>
                </a:extLst>
              </a:tr>
              <a:tr h="305318"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pl-PL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riteria 8</a:t>
                      </a:r>
                      <a:endParaRPr lang="en-A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130" marR="8130" marT="813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b">
                        <a:buNone/>
                      </a:pPr>
                      <a:r>
                        <a:rPr lang="en-AU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%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endParaRPr lang="en-A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2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4.5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86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2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0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4.7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86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1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3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A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367586"/>
                  </a:ext>
                </a:extLst>
              </a:tr>
              <a:tr h="305318"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pl-PL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riteria 9</a:t>
                      </a:r>
                      <a:endParaRPr lang="en-A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130" marR="8130" marT="813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b">
                        <a:buNone/>
                      </a:pPr>
                      <a:r>
                        <a:rPr lang="en-AU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%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endParaRPr lang="en-A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1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0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5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0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1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3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6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A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0311704"/>
                  </a:ext>
                </a:extLst>
              </a:tr>
              <a:tr h="305318"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pl-PL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riteria 10</a:t>
                      </a:r>
                      <a:endParaRPr lang="en-A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130" marR="8130" marT="813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b">
                        <a:buNone/>
                      </a:pPr>
                      <a:r>
                        <a:rPr lang="en-AU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%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endParaRPr lang="en-A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3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5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0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5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8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0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5.0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86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A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2671890"/>
                  </a:ext>
                </a:extLst>
              </a:tr>
              <a:tr h="305318"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pl-PL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riteria 11</a:t>
                      </a:r>
                      <a:endParaRPr lang="en-A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130" marR="8130" marT="813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b">
                        <a:buNone/>
                      </a:pPr>
                      <a:r>
                        <a:rPr lang="en-AU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%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endParaRPr lang="en-A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9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8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5.0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86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4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5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3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0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AU" sz="9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8469211"/>
                  </a:ext>
                </a:extLst>
              </a:tr>
              <a:tr h="305318"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pl-PL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riteria 12</a:t>
                      </a:r>
                      <a:endParaRPr lang="en-A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130" marR="8130" marT="813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b">
                        <a:buNone/>
                      </a:pPr>
                      <a:r>
                        <a:rPr lang="en-AU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%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endParaRPr lang="en-A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7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0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0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8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7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4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AU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67689219"/>
                  </a:ext>
                </a:extLst>
              </a:tr>
              <a:tr h="305318">
                <a:tc gridSpan="2"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AU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verage score</a:t>
                      </a:r>
                    </a:p>
                  </a:txBody>
                  <a:tcPr marL="8130" marR="8130" marT="813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endParaRPr lang="en-AU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endParaRPr lang="en-AU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0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3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1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0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9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8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AU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8</a:t>
                      </a: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AU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30" marR="8130" marT="81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1399481"/>
                  </a:ext>
                </a:extLst>
              </a:tr>
              <a:tr h="305318">
                <a:tc gridSpan="2"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AU" sz="9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umber of respondents</a:t>
                      </a:r>
                    </a:p>
                  </a:txBody>
                  <a:tcPr marL="8130" marR="8130" marT="813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endParaRPr lang="en-AU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130" marR="8130" marT="813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endParaRPr lang="en-AU" sz="9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130" marR="8130" marT="813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AU" sz="9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</a:t>
                      </a:r>
                    </a:p>
                  </a:txBody>
                  <a:tcPr marL="8130" marR="8130" marT="813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AU" sz="9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</a:p>
                  </a:txBody>
                  <a:tcPr marL="8130" marR="8130" marT="813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0</a:t>
                      </a:r>
                    </a:p>
                  </a:txBody>
                  <a:tcPr marL="8130" marR="8130" marT="813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0</a:t>
                      </a:r>
                    </a:p>
                  </a:txBody>
                  <a:tcPr marL="8130" marR="8130" marT="813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0</a:t>
                      </a:r>
                    </a:p>
                  </a:txBody>
                  <a:tcPr marL="8130" marR="8130" marT="813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0</a:t>
                      </a:r>
                    </a:p>
                  </a:txBody>
                  <a:tcPr marL="8130" marR="8130" marT="813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0</a:t>
                      </a:r>
                    </a:p>
                  </a:txBody>
                  <a:tcPr marL="8130" marR="8130" marT="813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endParaRPr lang="en-AU" sz="9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130" marR="8130" marT="813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87437510"/>
                  </a:ext>
                </a:extLst>
              </a:tr>
            </a:tbl>
          </a:graphicData>
        </a:graphic>
      </p:graphicFrame>
      <p:grpSp>
        <p:nvGrpSpPr>
          <p:cNvPr id="49" name="Group 48">
            <a:extLst>
              <a:ext uri="{FF2B5EF4-FFF2-40B4-BE49-F238E27FC236}">
                <a16:creationId xmlns:a16="http://schemas.microsoft.com/office/drawing/2014/main" id="{E324E52B-9724-4FDD-AF54-02B8C71EC526}"/>
              </a:ext>
            </a:extLst>
          </p:cNvPr>
          <p:cNvGrpSpPr/>
          <p:nvPr/>
        </p:nvGrpSpPr>
        <p:grpSpPr>
          <a:xfrm>
            <a:off x="6788007" y="6203035"/>
            <a:ext cx="4995538" cy="358103"/>
            <a:chOff x="3800166" y="6202215"/>
            <a:chExt cx="6085994" cy="358103"/>
          </a:xfrm>
        </p:grpSpPr>
        <p:grpSp>
          <p:nvGrpSpPr>
            <p:cNvPr id="52" name="Group 11">
              <a:extLst>
                <a:ext uri="{FF2B5EF4-FFF2-40B4-BE49-F238E27FC236}">
                  <a16:creationId xmlns:a16="http://schemas.microsoft.com/office/drawing/2014/main" id="{D3B4B9E7-1B1E-4872-9C09-AD4301FBD313}"/>
                </a:ext>
              </a:extLst>
            </p:cNvPr>
            <p:cNvGrpSpPr/>
            <p:nvPr/>
          </p:nvGrpSpPr>
          <p:grpSpPr>
            <a:xfrm>
              <a:off x="3800166" y="6210616"/>
              <a:ext cx="1472212" cy="349702"/>
              <a:chOff x="10979711" y="5951397"/>
              <a:chExt cx="1000907" cy="274727"/>
            </a:xfrm>
          </p:grpSpPr>
          <p:sp>
            <p:nvSpPr>
              <p:cNvPr id="64" name="Rectangle 24">
                <a:extLst>
                  <a:ext uri="{FF2B5EF4-FFF2-40B4-BE49-F238E27FC236}">
                    <a16:creationId xmlns:a16="http://schemas.microsoft.com/office/drawing/2014/main" id="{71B96942-3F86-4D74-A41E-200FE6763F5D}"/>
                  </a:ext>
                </a:extLst>
              </p:cNvPr>
              <p:cNvSpPr/>
              <p:nvPr/>
            </p:nvSpPr>
            <p:spPr>
              <a:xfrm>
                <a:off x="10979711" y="6019842"/>
                <a:ext cx="167708" cy="167708"/>
              </a:xfrm>
              <a:prstGeom prst="rect">
                <a:avLst/>
              </a:prstGeom>
              <a:solidFill>
                <a:srgbClr val="507867"/>
              </a:solidFill>
              <a:ln w="9525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rgbClr val="104C3E"/>
                    </a:solidFill>
                    <a:prstDash val="solid"/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/>
              <a:lstStyle/>
              <a:p>
                <a:pPr marL="177800" marR="0" lvl="0" indent="-177800" algn="ctr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en-AU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6" name="Rectangle 25">
                <a:extLst>
                  <a:ext uri="{FF2B5EF4-FFF2-40B4-BE49-F238E27FC236}">
                    <a16:creationId xmlns:a16="http://schemas.microsoft.com/office/drawing/2014/main" id="{40F11CF0-DF49-4C48-84A7-A88796C21A42}"/>
                  </a:ext>
                </a:extLst>
              </p:cNvPr>
              <p:cNvSpPr/>
              <p:nvPr/>
            </p:nvSpPr>
            <p:spPr>
              <a:xfrm>
                <a:off x="11155852" y="5951397"/>
                <a:ext cx="824766" cy="274727"/>
              </a:xfrm>
              <a:prstGeom prst="rect">
                <a:avLst/>
              </a:prstGeom>
              <a:noFill/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>
                <a:spAutoFit/>
              </a:bodyPr>
              <a:lstStyle/>
              <a:p>
                <a:pPr marL="0" marR="0" lvl="0" indent="0" algn="l" defTabSz="7112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AU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xtremely well (4.5-5)</a:t>
                </a:r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823F4C4F-BAA0-4D0D-A3D4-9F39E3AAF44F}"/>
                </a:ext>
              </a:extLst>
            </p:cNvPr>
            <p:cNvGrpSpPr/>
            <p:nvPr/>
          </p:nvGrpSpPr>
          <p:grpSpPr>
            <a:xfrm>
              <a:off x="8257417" y="6288374"/>
              <a:ext cx="1628743" cy="212340"/>
              <a:chOff x="8478402" y="6338651"/>
              <a:chExt cx="1628743" cy="212340"/>
            </a:xfrm>
          </p:grpSpPr>
          <p:sp>
            <p:nvSpPr>
              <p:cNvPr id="61" name="Rectangle 22">
                <a:extLst>
                  <a:ext uri="{FF2B5EF4-FFF2-40B4-BE49-F238E27FC236}">
                    <a16:creationId xmlns:a16="http://schemas.microsoft.com/office/drawing/2014/main" id="{B3F9BABF-81CE-4BD3-A01A-7A8426671383}"/>
                  </a:ext>
                </a:extLst>
              </p:cNvPr>
              <p:cNvSpPr/>
              <p:nvPr/>
            </p:nvSpPr>
            <p:spPr>
              <a:xfrm>
                <a:off x="8478402" y="6338651"/>
                <a:ext cx="241994" cy="212340"/>
              </a:xfrm>
              <a:prstGeom prst="rect">
                <a:avLst/>
              </a:prstGeom>
              <a:solidFill>
                <a:srgbClr val="FF8585"/>
              </a:solidFill>
              <a:ln w="9525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/>
              <a:lstStyle/>
              <a:p>
                <a:pPr marL="177800" marR="0" lvl="0" indent="-177800" algn="ctr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en-AU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2" name="Rectangle 23">
                <a:extLst>
                  <a:ext uri="{FF2B5EF4-FFF2-40B4-BE49-F238E27FC236}">
                    <a16:creationId xmlns:a16="http://schemas.microsoft.com/office/drawing/2014/main" id="{502CC88A-6559-4C64-A608-2DA11641FDC5}"/>
                  </a:ext>
                </a:extLst>
              </p:cNvPr>
              <p:cNvSpPr/>
              <p:nvPr/>
            </p:nvSpPr>
            <p:spPr>
              <a:xfrm>
                <a:off x="8723102" y="6339788"/>
                <a:ext cx="1384043" cy="211203"/>
              </a:xfrm>
              <a:prstGeom prst="rect">
                <a:avLst/>
              </a:prstGeom>
              <a:noFill/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>
                <a:spAutoFit/>
              </a:bodyPr>
              <a:lstStyle/>
              <a:p>
                <a:pPr marL="0" marR="0" lvl="0" indent="0" algn="l" defTabSz="7112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AU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oor (&lt;=3)</a:t>
                </a:r>
              </a:p>
            </p:txBody>
          </p: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32DA3F41-06A6-4CA8-A1B7-754F8D00B3D5}"/>
                </a:ext>
              </a:extLst>
            </p:cNvPr>
            <p:cNvGrpSpPr/>
            <p:nvPr/>
          </p:nvGrpSpPr>
          <p:grpSpPr>
            <a:xfrm>
              <a:off x="5305511" y="6281137"/>
              <a:ext cx="1636067" cy="217559"/>
              <a:chOff x="4777745" y="6339074"/>
              <a:chExt cx="1636067" cy="217559"/>
            </a:xfrm>
          </p:grpSpPr>
          <p:sp>
            <p:nvSpPr>
              <p:cNvPr id="59" name="Rectangle 20">
                <a:extLst>
                  <a:ext uri="{FF2B5EF4-FFF2-40B4-BE49-F238E27FC236}">
                    <a16:creationId xmlns:a16="http://schemas.microsoft.com/office/drawing/2014/main" id="{3AB105F8-6DC1-4AFC-94BF-4CE70984FF3F}"/>
                  </a:ext>
                </a:extLst>
              </p:cNvPr>
              <p:cNvSpPr/>
              <p:nvPr/>
            </p:nvSpPr>
            <p:spPr>
              <a:xfrm>
                <a:off x="4777745" y="6339074"/>
                <a:ext cx="218858" cy="209925"/>
              </a:xfrm>
              <a:prstGeom prst="rect">
                <a:avLst/>
              </a:prstGeom>
              <a:solidFill>
                <a:srgbClr val="83AC9A"/>
              </a:solidFill>
              <a:ln w="9525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rgbClr val="BBCABA"/>
                    </a:solidFill>
                    <a:prstDash val="solid"/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/>
              <a:lstStyle/>
              <a:p>
                <a:pPr marL="177800" marR="0" lvl="0" indent="-177800" algn="ctr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en-AU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0" name="Rectangle 21">
                <a:extLst>
                  <a:ext uri="{FF2B5EF4-FFF2-40B4-BE49-F238E27FC236}">
                    <a16:creationId xmlns:a16="http://schemas.microsoft.com/office/drawing/2014/main" id="{04F3CCE2-46B7-4E80-BCAB-8BC7CBEEBB17}"/>
                  </a:ext>
                </a:extLst>
              </p:cNvPr>
              <p:cNvSpPr/>
              <p:nvPr/>
            </p:nvSpPr>
            <p:spPr>
              <a:xfrm>
                <a:off x="4976803" y="6345430"/>
                <a:ext cx="1437009" cy="211203"/>
              </a:xfrm>
              <a:prstGeom prst="rect">
                <a:avLst/>
              </a:prstGeom>
              <a:noFill/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>
                <a:spAutoFit/>
              </a:bodyPr>
              <a:lstStyle/>
              <a:p>
                <a:pPr marL="0" marR="0" lvl="0" indent="0" algn="l" defTabSz="7112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AU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ell (4.0-4.4)</a:t>
                </a:r>
              </a:p>
            </p:txBody>
          </p: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D62E6BA7-9CF2-425A-BC48-11F8D4D5C67F}"/>
                </a:ext>
              </a:extLst>
            </p:cNvPr>
            <p:cNvGrpSpPr/>
            <p:nvPr/>
          </p:nvGrpSpPr>
          <p:grpSpPr>
            <a:xfrm>
              <a:off x="6694623" y="6202215"/>
              <a:ext cx="1763229" cy="349702"/>
              <a:chOff x="6434841" y="6252492"/>
              <a:chExt cx="1763229" cy="349702"/>
            </a:xfrm>
          </p:grpSpPr>
          <p:sp>
            <p:nvSpPr>
              <p:cNvPr id="57" name="Rectangle 18">
                <a:extLst>
                  <a:ext uri="{FF2B5EF4-FFF2-40B4-BE49-F238E27FC236}">
                    <a16:creationId xmlns:a16="http://schemas.microsoft.com/office/drawing/2014/main" id="{E57A7B54-3884-489A-9839-B6E58922FA5A}"/>
                  </a:ext>
                </a:extLst>
              </p:cNvPr>
              <p:cNvSpPr/>
              <p:nvPr/>
            </p:nvSpPr>
            <p:spPr>
              <a:xfrm>
                <a:off x="6434841" y="6320605"/>
                <a:ext cx="227152" cy="212340"/>
              </a:xfrm>
              <a:prstGeom prst="rect">
                <a:avLst/>
              </a:prstGeom>
              <a:solidFill>
                <a:srgbClr val="D6D6D6"/>
              </a:solidFill>
              <a:ln w="9525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rgbClr val="947C5C"/>
                    </a:solidFill>
                    <a:prstDash val="solid"/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/>
              <a:lstStyle/>
              <a:p>
                <a:pPr marL="177800" marR="0" lvl="0" indent="-177800" algn="ctr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en-AU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8" name="Rectangle 19">
                <a:extLst>
                  <a:ext uri="{FF2B5EF4-FFF2-40B4-BE49-F238E27FC236}">
                    <a16:creationId xmlns:a16="http://schemas.microsoft.com/office/drawing/2014/main" id="{64D98D6B-639C-4AA6-B39E-A7FF5ECF190C}"/>
                  </a:ext>
                </a:extLst>
              </p:cNvPr>
              <p:cNvSpPr/>
              <p:nvPr/>
            </p:nvSpPr>
            <p:spPr>
              <a:xfrm>
                <a:off x="6661995" y="6252492"/>
                <a:ext cx="1536075" cy="349702"/>
              </a:xfrm>
              <a:prstGeom prst="rect">
                <a:avLst/>
              </a:prstGeom>
              <a:noFill/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>
                <a:spAutoFit/>
              </a:bodyPr>
              <a:lstStyle/>
              <a:p>
                <a:pPr marL="0" marR="0" lvl="0" indent="0" algn="l" defTabSz="7112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AU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Neutral</a:t>
                </a:r>
              </a:p>
              <a:p>
                <a:pPr marL="0" marR="0" lvl="0" indent="0" algn="l" defTabSz="7112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AU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(3.0-3.9)</a:t>
                </a:r>
              </a:p>
            </p:txBody>
          </p:sp>
        </p:grpSp>
      </p:grpSp>
      <p:sp>
        <p:nvSpPr>
          <p:cNvPr id="42" name="Rectangle 41">
            <a:extLst>
              <a:ext uri="{FF2B5EF4-FFF2-40B4-BE49-F238E27FC236}">
                <a16:creationId xmlns:a16="http://schemas.microsoft.com/office/drawing/2014/main" id="{A7DF90D1-4F80-4118-A50C-1E9E3DCA048D}"/>
              </a:ext>
            </a:extLst>
          </p:cNvPr>
          <p:cNvSpPr/>
          <p:nvPr/>
        </p:nvSpPr>
        <p:spPr bwMode="gray">
          <a:xfrm>
            <a:off x="7909088" y="1516527"/>
            <a:ext cx="3947949" cy="4648046"/>
          </a:xfrm>
          <a:prstGeom prst="rect">
            <a:avLst/>
          </a:prstGeom>
          <a:solidFill>
            <a:schemeClr val="bg1">
              <a:alpha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ank – not updated</a:t>
            </a:r>
          </a:p>
        </p:txBody>
      </p:sp>
      <p:grpSp>
        <p:nvGrpSpPr>
          <p:cNvPr id="43" name="btfpStatusSticker370515">
            <a:extLst>
              <a:ext uri="{FF2B5EF4-FFF2-40B4-BE49-F238E27FC236}">
                <a16:creationId xmlns:a16="http://schemas.microsoft.com/office/drawing/2014/main" id="{93A26410-B553-478A-85B2-5BB0345ACBAD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100356" y="955344"/>
            <a:ext cx="1761444" cy="235611"/>
            <a:chOff x="-8908980" y="876300"/>
            <a:chExt cx="1761444" cy="235611"/>
          </a:xfrm>
        </p:grpSpPr>
        <p:sp>
          <p:nvSpPr>
            <p:cNvPr id="44" name="btfpStatusStickerText370515">
              <a:extLst>
                <a:ext uri="{FF2B5EF4-FFF2-40B4-BE49-F238E27FC236}">
                  <a16:creationId xmlns:a16="http://schemas.microsoft.com/office/drawing/2014/main" id="{DA5C90EF-80CD-4942-8672-B38F69F0BEDA}"/>
                </a:ext>
              </a:extLst>
            </p:cNvPr>
            <p:cNvSpPr txBox="1"/>
            <p:nvPr/>
          </p:nvSpPr>
          <p:spPr bwMode="gray">
            <a:xfrm>
              <a:off x="-8908980" y="876300"/>
              <a:ext cx="17614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liminary</a:t>
              </a:r>
            </a:p>
          </p:txBody>
        </p:sp>
        <p:cxnSp>
          <p:nvCxnSpPr>
            <p:cNvPr id="45" name="btfpStatusStickerLine370515">
              <a:extLst>
                <a:ext uri="{FF2B5EF4-FFF2-40B4-BE49-F238E27FC236}">
                  <a16:creationId xmlns:a16="http://schemas.microsoft.com/office/drawing/2014/main" id="{293ADC91-EAA2-4513-A894-FDFBBC304FE1}"/>
                </a:ext>
              </a:extLst>
            </p:cNvPr>
            <p:cNvCxnSpPr/>
            <p:nvPr/>
          </p:nvCxnSpPr>
          <p:spPr bwMode="gray">
            <a:xfrm rot="720000" flipH="1">
              <a:off x="-8908980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6" name="btfpStatusSticker835539">
            <a:extLst>
              <a:ext uri="{FF2B5EF4-FFF2-40B4-BE49-F238E27FC236}">
                <a16:creationId xmlns:a16="http://schemas.microsoft.com/office/drawing/2014/main" id="{9D3361BD-D656-49EE-AA94-D42A3870FBA8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8214219" y="955344"/>
            <a:ext cx="1759136" cy="235611"/>
            <a:chOff x="-2269853" y="876300"/>
            <a:chExt cx="1759136" cy="235611"/>
          </a:xfrm>
        </p:grpSpPr>
        <p:sp>
          <p:nvSpPr>
            <p:cNvPr id="47" name="btfpStatusStickerText835539">
              <a:extLst>
                <a:ext uri="{FF2B5EF4-FFF2-40B4-BE49-F238E27FC236}">
                  <a16:creationId xmlns:a16="http://schemas.microsoft.com/office/drawing/2014/main" id="{D25874E7-A61A-404A-A718-A528C7A6AF25}"/>
                </a:ext>
              </a:extLst>
            </p:cNvPr>
            <p:cNvSpPr txBox="1"/>
            <p:nvPr/>
          </p:nvSpPr>
          <p:spPr bwMode="gray">
            <a:xfrm>
              <a:off x="-2269853" y="876300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irectional</a:t>
              </a:r>
            </a:p>
          </p:txBody>
        </p:sp>
        <p:cxnSp>
          <p:nvCxnSpPr>
            <p:cNvPr id="48" name="btfpStatusStickerLine835539">
              <a:extLst>
                <a:ext uri="{FF2B5EF4-FFF2-40B4-BE49-F238E27FC236}">
                  <a16:creationId xmlns:a16="http://schemas.microsoft.com/office/drawing/2014/main" id="{A546F3DC-2F7E-4B71-A8C5-CDC44E315375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69853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160025214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btfpColumnIndicatorGroup2">
            <a:extLst>
              <a:ext uri="{FF2B5EF4-FFF2-40B4-BE49-F238E27FC236}">
                <a16:creationId xmlns:a16="http://schemas.microsoft.com/office/drawing/2014/main" id="{31097730-A486-4421-8381-69421444D85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0" name="btfpColumnGapBlocker434073">
              <a:extLst>
                <a:ext uri="{FF2B5EF4-FFF2-40B4-BE49-F238E27FC236}">
                  <a16:creationId xmlns:a16="http://schemas.microsoft.com/office/drawing/2014/main" id="{B788807B-9497-4421-A8F8-8B7BA79ECA94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8" name="btfpColumnGapBlocker769377">
              <a:extLst>
                <a:ext uri="{FF2B5EF4-FFF2-40B4-BE49-F238E27FC236}">
                  <a16:creationId xmlns:a16="http://schemas.microsoft.com/office/drawing/2014/main" id="{5104DF50-570D-4E29-BB6A-4FAFC4AB2340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" name="btfpColumnIndicator855110">
              <a:extLst>
                <a:ext uri="{FF2B5EF4-FFF2-40B4-BE49-F238E27FC236}">
                  <a16:creationId xmlns:a16="http://schemas.microsoft.com/office/drawing/2014/main" id="{1B09170F-7AF2-4A9F-9FB1-6AFC38BE8AFF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485081">
              <a:extLst>
                <a:ext uri="{FF2B5EF4-FFF2-40B4-BE49-F238E27FC236}">
                  <a16:creationId xmlns:a16="http://schemas.microsoft.com/office/drawing/2014/main" id="{FBCF8F20-6AFA-4686-8263-7E796F448E1A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btfpColumnIndicatorGroup1">
            <a:extLst>
              <a:ext uri="{FF2B5EF4-FFF2-40B4-BE49-F238E27FC236}">
                <a16:creationId xmlns:a16="http://schemas.microsoft.com/office/drawing/2014/main" id="{6DDA43C6-002D-4D48-90B0-875F3432EC59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9" name="btfpColumnGapBlocker415338">
              <a:extLst>
                <a:ext uri="{FF2B5EF4-FFF2-40B4-BE49-F238E27FC236}">
                  <a16:creationId xmlns:a16="http://schemas.microsoft.com/office/drawing/2014/main" id="{5205571A-6CED-420E-BA85-44611F2385D8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7" name="btfpColumnGapBlocker480876">
              <a:extLst>
                <a:ext uri="{FF2B5EF4-FFF2-40B4-BE49-F238E27FC236}">
                  <a16:creationId xmlns:a16="http://schemas.microsoft.com/office/drawing/2014/main" id="{337F190C-9734-4B44-834D-A30E05ABB883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203388">
              <a:extLst>
                <a:ext uri="{FF2B5EF4-FFF2-40B4-BE49-F238E27FC236}">
                  <a16:creationId xmlns:a16="http://schemas.microsoft.com/office/drawing/2014/main" id="{1B9216DB-47EA-4593-8E9F-BD930FF943F8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" name="btfpColumnIndicator432949">
              <a:extLst>
                <a:ext uri="{FF2B5EF4-FFF2-40B4-BE49-F238E27FC236}">
                  <a16:creationId xmlns:a16="http://schemas.microsoft.com/office/drawing/2014/main" id="{6A1A1C1E-3500-4C08-976C-9DE8A29C507F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" name="AgendaLine">
            <a:extLst>
              <a:ext uri="{FF2B5EF4-FFF2-40B4-BE49-F238E27FC236}">
                <a16:creationId xmlns:a16="http://schemas.microsoft.com/office/drawing/2014/main" id="{4908DE91-7177-4E64-A83B-38A0084A7148}"/>
              </a:ext>
            </a:extLst>
          </p:cNvPr>
          <p:cNvCxnSpPr/>
          <p:nvPr/>
        </p:nvCxnSpPr>
        <p:spPr bwMode="gray">
          <a:xfrm>
            <a:off x="1616981" y="876300"/>
            <a:ext cx="0" cy="5689600"/>
          </a:xfrm>
          <a:prstGeom prst="line">
            <a:avLst/>
          </a:prstGeom>
          <a:ln w="19050" cap="flat" cmpd="sng">
            <a:solidFill>
              <a:srgbClr val="CC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AgendaTitle">
            <a:extLst>
              <a:ext uri="{FF2B5EF4-FFF2-40B4-BE49-F238E27FC236}">
                <a16:creationId xmlns:a16="http://schemas.microsoft.com/office/drawing/2014/main" id="{4F97FFF2-09A6-4E92-9602-A835FED6B6C5}"/>
              </a:ext>
            </a:extLst>
          </p:cNvPr>
          <p:cNvSpPr txBox="1"/>
          <p:nvPr/>
        </p:nvSpPr>
        <p:spPr bwMode="gray">
          <a:xfrm>
            <a:off x="330200" y="952500"/>
            <a:ext cx="1102585" cy="235611"/>
          </a:xfrm>
          <a:prstGeom prst="rect">
            <a:avLst/>
          </a:prstGeom>
          <a:noFill/>
        </p:spPr>
        <p:txBody>
          <a:bodyPr vert="horz" wrap="none" lIns="18136" tIns="25226" rIns="72073" bIns="25226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all" spc="45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genda</a:t>
            </a:r>
            <a:endParaRPr kumimoji="0" lang="en-GB" sz="1200" b="1" i="0" u="none" strike="noStrike" kern="1200" cap="all" spc="45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8" name="AgendaEmphasisBar">
            <a:extLst>
              <a:ext uri="{FF2B5EF4-FFF2-40B4-BE49-F238E27FC236}">
                <a16:creationId xmlns:a16="http://schemas.microsoft.com/office/drawing/2014/main" id="{C8273B6E-800F-4F09-AA09-EFB51FC23E73}"/>
              </a:ext>
            </a:extLst>
          </p:cNvPr>
          <p:cNvSpPr/>
          <p:nvPr/>
        </p:nvSpPr>
        <p:spPr bwMode="gray">
          <a:xfrm>
            <a:off x="1616981" y="3363401"/>
            <a:ext cx="127000" cy="743179"/>
          </a:xfrm>
          <a:prstGeom prst="rect">
            <a:avLst/>
          </a:prstGeom>
          <a:solidFill>
            <a:srgbClr val="CC0000"/>
          </a:solidFill>
          <a:ln w="19050">
            <a:solidFill>
              <a:srgbClr val="CC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19" name="Agenda">
            <a:extLst>
              <a:ext uri="{FF2B5EF4-FFF2-40B4-BE49-F238E27FC236}">
                <a16:creationId xmlns:a16="http://schemas.microsoft.com/office/drawing/2014/main" id="{2C28DC98-131E-478A-BE34-C8BA59F0B6D7}"/>
              </a:ext>
            </a:extLst>
          </p:cNvPr>
          <p:cNvGrpSpPr/>
          <p:nvPr/>
        </p:nvGrpSpPr>
        <p:grpSpPr>
          <a:xfrm>
            <a:off x="1970752" y="1270000"/>
            <a:ext cx="9891047" cy="5295900"/>
            <a:chOff x="1970752" y="1270000"/>
            <a:chExt cx="9891047" cy="5295900"/>
          </a:xfrm>
        </p:grpSpPr>
        <p:sp>
          <p:nvSpPr>
            <p:cNvPr id="120" name="AgendaTextBox">
              <a:extLst>
                <a:ext uri="{FF2B5EF4-FFF2-40B4-BE49-F238E27FC236}">
                  <a16:creationId xmlns:a16="http://schemas.microsoft.com/office/drawing/2014/main" id="{62406EB5-7F19-44ED-AE62-5DA0C09F3B9D}"/>
                </a:ext>
              </a:extLst>
            </p:cNvPr>
            <p:cNvSpPr txBox="1"/>
            <p:nvPr/>
          </p:nvSpPr>
          <p:spPr bwMode="gray">
            <a:xfrm>
              <a:off x="2034252" y="1270000"/>
              <a:ext cx="9827547" cy="5295900"/>
            </a:xfrm>
            <a:prstGeom prst="rect">
              <a:avLst/>
            </a:prstGeom>
            <a:noFill/>
          </p:spPr>
          <p:txBody>
            <a:bodyPr vert="horz" wrap="square" lIns="36000" tIns="36000" rIns="36000" bIns="36000" rtlCol="0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3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mographics</a:t>
              </a:r>
            </a:p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3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PS</a:t>
              </a:r>
            </a:p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3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KPC</a:t>
              </a:r>
            </a:p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3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CC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wareness and usage</a:t>
              </a:r>
            </a:p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3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witching</a:t>
              </a:r>
            </a:p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3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ice, Spend and SOW</a:t>
              </a:r>
              <a:endParaRPr kumimoji="0" lang="en-GB" sz="2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21" name="AgendaSeparator1">
              <a:extLst>
                <a:ext uri="{FF2B5EF4-FFF2-40B4-BE49-F238E27FC236}">
                  <a16:creationId xmlns:a16="http://schemas.microsoft.com/office/drawing/2014/main" id="{59F67939-379A-48B9-9EA2-F05097EF2D1D}"/>
                </a:ext>
              </a:extLst>
            </p:cNvPr>
            <p:cNvCxnSpPr/>
            <p:nvPr/>
          </p:nvCxnSpPr>
          <p:spPr bwMode="gray">
            <a:xfrm>
              <a:off x="1970752" y="1839400"/>
              <a:ext cx="2800414" cy="0"/>
            </a:xfrm>
            <a:prstGeom prst="line">
              <a:avLst/>
            </a:prstGeom>
            <a:ln w="9525" cap="flat">
              <a:solidFill>
                <a:srgbClr val="D6D6D6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AgendaSeparator2">
              <a:extLst>
                <a:ext uri="{FF2B5EF4-FFF2-40B4-BE49-F238E27FC236}">
                  <a16:creationId xmlns:a16="http://schemas.microsoft.com/office/drawing/2014/main" id="{4D5FFB5A-62EF-4D53-BBF1-9FDCA030060F}"/>
                </a:ext>
              </a:extLst>
            </p:cNvPr>
            <p:cNvCxnSpPr/>
            <p:nvPr/>
          </p:nvCxnSpPr>
          <p:spPr bwMode="gray">
            <a:xfrm>
              <a:off x="1970752" y="2601400"/>
              <a:ext cx="2800414" cy="0"/>
            </a:xfrm>
            <a:prstGeom prst="line">
              <a:avLst/>
            </a:prstGeom>
            <a:ln w="9525" cap="flat">
              <a:solidFill>
                <a:srgbClr val="D6D6D6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AgendaSeparator3">
              <a:extLst>
                <a:ext uri="{FF2B5EF4-FFF2-40B4-BE49-F238E27FC236}">
                  <a16:creationId xmlns:a16="http://schemas.microsoft.com/office/drawing/2014/main" id="{902831F1-15AC-4370-9E03-4B1754A7D187}"/>
                </a:ext>
              </a:extLst>
            </p:cNvPr>
            <p:cNvCxnSpPr/>
            <p:nvPr/>
          </p:nvCxnSpPr>
          <p:spPr bwMode="gray">
            <a:xfrm>
              <a:off x="1970752" y="3363400"/>
              <a:ext cx="2800414" cy="0"/>
            </a:xfrm>
            <a:prstGeom prst="line">
              <a:avLst/>
            </a:prstGeom>
            <a:ln w="9525" cap="flat">
              <a:solidFill>
                <a:srgbClr val="D6D6D6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AgendaSeparator4">
              <a:extLst>
                <a:ext uri="{FF2B5EF4-FFF2-40B4-BE49-F238E27FC236}">
                  <a16:creationId xmlns:a16="http://schemas.microsoft.com/office/drawing/2014/main" id="{643C80B9-062C-4AE8-9253-85DDA48677E7}"/>
                </a:ext>
              </a:extLst>
            </p:cNvPr>
            <p:cNvCxnSpPr/>
            <p:nvPr/>
          </p:nvCxnSpPr>
          <p:spPr bwMode="gray">
            <a:xfrm>
              <a:off x="1970752" y="4125400"/>
              <a:ext cx="2800414" cy="0"/>
            </a:xfrm>
            <a:prstGeom prst="line">
              <a:avLst/>
            </a:prstGeom>
            <a:ln w="9525" cap="flat">
              <a:solidFill>
                <a:srgbClr val="D6D6D6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AgendaSeparator5">
              <a:extLst>
                <a:ext uri="{FF2B5EF4-FFF2-40B4-BE49-F238E27FC236}">
                  <a16:creationId xmlns:a16="http://schemas.microsoft.com/office/drawing/2014/main" id="{F6642A31-C3AF-4416-88C0-BF7894C96421}"/>
                </a:ext>
              </a:extLst>
            </p:cNvPr>
            <p:cNvCxnSpPr/>
            <p:nvPr/>
          </p:nvCxnSpPr>
          <p:spPr bwMode="gray">
            <a:xfrm>
              <a:off x="1970752" y="4887400"/>
              <a:ext cx="2800414" cy="0"/>
            </a:xfrm>
            <a:prstGeom prst="line">
              <a:avLst/>
            </a:prstGeom>
            <a:ln w="9525" cap="flat">
              <a:solidFill>
                <a:srgbClr val="D6D6D6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128511049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btfpColumnIndicatorGroup2">
            <a:extLst>
              <a:ext uri="{FF2B5EF4-FFF2-40B4-BE49-F238E27FC236}">
                <a16:creationId xmlns:a16="http://schemas.microsoft.com/office/drawing/2014/main" id="{E83FEE21-CB18-473F-9271-39CE31291BA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6" name="btfpColumnGapBlocker286520">
              <a:extLst>
                <a:ext uri="{FF2B5EF4-FFF2-40B4-BE49-F238E27FC236}">
                  <a16:creationId xmlns:a16="http://schemas.microsoft.com/office/drawing/2014/main" id="{1A4ECB2C-6F6E-4F69-A365-CAFCA8A1543C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4" name="btfpColumnGapBlocker177361">
              <a:extLst>
                <a:ext uri="{FF2B5EF4-FFF2-40B4-BE49-F238E27FC236}">
                  <a16:creationId xmlns:a16="http://schemas.microsoft.com/office/drawing/2014/main" id="{40356630-6705-4B4B-ABFF-6870A0A6835E}"/>
                </a:ext>
              </a:extLst>
            </p:cNvPr>
            <p:cNvSpPr/>
            <p:nvPr/>
          </p:nvSpPr>
          <p:spPr bwMode="gray">
            <a:xfrm>
              <a:off x="5825728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2" name="btfpColumnIndicator183272">
              <a:extLst>
                <a:ext uri="{FF2B5EF4-FFF2-40B4-BE49-F238E27FC236}">
                  <a16:creationId xmlns:a16="http://schemas.microsoft.com/office/drawing/2014/main" id="{627BD45E-F85A-43B5-8F67-983A4BC4ECAF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btfpColumnIndicator685294">
              <a:extLst>
                <a:ext uri="{FF2B5EF4-FFF2-40B4-BE49-F238E27FC236}">
                  <a16:creationId xmlns:a16="http://schemas.microsoft.com/office/drawing/2014/main" id="{664C6BD2-F247-4F2F-BA29-988DDDB4B4FF}"/>
                </a:ext>
              </a:extLst>
            </p:cNvPr>
            <p:cNvCxnSpPr/>
            <p:nvPr/>
          </p:nvCxnSpPr>
          <p:spPr bwMode="gray">
            <a:xfrm flipV="1">
              <a:off x="636627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btfpColumnGapBlocker796304">
              <a:extLst>
                <a:ext uri="{FF2B5EF4-FFF2-40B4-BE49-F238E27FC236}">
                  <a16:creationId xmlns:a16="http://schemas.microsoft.com/office/drawing/2014/main" id="{C5A847AA-2AE0-4992-878C-6CE3B198F5EF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" name="btfpColumnIndicator504791">
              <a:extLst>
                <a:ext uri="{FF2B5EF4-FFF2-40B4-BE49-F238E27FC236}">
                  <a16:creationId xmlns:a16="http://schemas.microsoft.com/office/drawing/2014/main" id="{212D6787-57A1-4A61-920B-2C3D7CEE1918}"/>
                </a:ext>
              </a:extLst>
            </p:cNvPr>
            <p:cNvCxnSpPr/>
            <p:nvPr/>
          </p:nvCxnSpPr>
          <p:spPr bwMode="gray">
            <a:xfrm flipV="1">
              <a:off x="582572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133984">
              <a:extLst>
                <a:ext uri="{FF2B5EF4-FFF2-40B4-BE49-F238E27FC236}">
                  <a16:creationId xmlns:a16="http://schemas.microsoft.com/office/drawing/2014/main" id="{64377C34-8477-4158-AEE4-5D185BF6ED1A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btfpColumnIndicatorGroup1">
            <a:extLst>
              <a:ext uri="{FF2B5EF4-FFF2-40B4-BE49-F238E27FC236}">
                <a16:creationId xmlns:a16="http://schemas.microsoft.com/office/drawing/2014/main" id="{69986F51-5BAB-4800-87D8-A5D937E02A9A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5" name="btfpColumnGapBlocker135767">
              <a:extLst>
                <a:ext uri="{FF2B5EF4-FFF2-40B4-BE49-F238E27FC236}">
                  <a16:creationId xmlns:a16="http://schemas.microsoft.com/office/drawing/2014/main" id="{CF35EAF9-27D7-4C51-8C64-4262EE8F2DEB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3" name="btfpColumnGapBlocker858371">
              <a:extLst>
                <a:ext uri="{FF2B5EF4-FFF2-40B4-BE49-F238E27FC236}">
                  <a16:creationId xmlns:a16="http://schemas.microsoft.com/office/drawing/2014/main" id="{43EAEFF8-70E1-4DEA-909C-6D8475B3353C}"/>
                </a:ext>
              </a:extLst>
            </p:cNvPr>
            <p:cNvSpPr/>
            <p:nvPr/>
          </p:nvSpPr>
          <p:spPr bwMode="gray">
            <a:xfrm>
              <a:off x="5825728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1" name="btfpColumnIndicator507691">
              <a:extLst>
                <a:ext uri="{FF2B5EF4-FFF2-40B4-BE49-F238E27FC236}">
                  <a16:creationId xmlns:a16="http://schemas.microsoft.com/office/drawing/2014/main" id="{EE2A5D85-E7AD-41F6-A189-7DA584097EF9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btfpColumnIndicator600275">
              <a:extLst>
                <a:ext uri="{FF2B5EF4-FFF2-40B4-BE49-F238E27FC236}">
                  <a16:creationId xmlns:a16="http://schemas.microsoft.com/office/drawing/2014/main" id="{43CD507C-D77A-41AC-85D2-50EE4A6BB12E}"/>
                </a:ext>
              </a:extLst>
            </p:cNvPr>
            <p:cNvCxnSpPr/>
            <p:nvPr/>
          </p:nvCxnSpPr>
          <p:spPr bwMode="gray">
            <a:xfrm flipV="1">
              <a:off x="636627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btfpColumnGapBlocker619959">
              <a:extLst>
                <a:ext uri="{FF2B5EF4-FFF2-40B4-BE49-F238E27FC236}">
                  <a16:creationId xmlns:a16="http://schemas.microsoft.com/office/drawing/2014/main" id="{5C4C4E9E-329B-4CAE-9974-FFAA2F27480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396079">
              <a:extLst>
                <a:ext uri="{FF2B5EF4-FFF2-40B4-BE49-F238E27FC236}">
                  <a16:creationId xmlns:a16="http://schemas.microsoft.com/office/drawing/2014/main" id="{90910987-F84A-404A-B5EB-EBA4719F5CA0}"/>
                </a:ext>
              </a:extLst>
            </p:cNvPr>
            <p:cNvCxnSpPr/>
            <p:nvPr/>
          </p:nvCxnSpPr>
          <p:spPr bwMode="gray">
            <a:xfrm flipV="1">
              <a:off x="582572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624114">
              <a:extLst>
                <a:ext uri="{FF2B5EF4-FFF2-40B4-BE49-F238E27FC236}">
                  <a16:creationId xmlns:a16="http://schemas.microsoft.com/office/drawing/2014/main" id="{100C871B-6CF4-49C0-8B06-F5F1D1135709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8" name="btfpNotesBox117783">
            <a:extLst>
              <a:ext uri="{FF2B5EF4-FFF2-40B4-BE49-F238E27FC236}">
                <a16:creationId xmlns:a16="http://schemas.microsoft.com/office/drawing/2014/main" id="{28A6A88C-3916-4DF5-8619-077592814D42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</a:t>
            </a:r>
            <a:r>
              <a:rPr kumimoji="0" lang="pl-PL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</a:t>
            </a:r>
          </a:p>
        </p:txBody>
      </p:sp>
      <p:grpSp>
        <p:nvGrpSpPr>
          <p:cNvPr id="60" name="btfpStatusSticker352718">
            <a:extLst>
              <a:ext uri="{FF2B5EF4-FFF2-40B4-BE49-F238E27FC236}">
                <a16:creationId xmlns:a16="http://schemas.microsoft.com/office/drawing/2014/main" id="{35024028-E7F8-4696-A625-0681A1A64CB5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100356" y="955344"/>
            <a:ext cx="1761444" cy="235611"/>
            <a:chOff x="-2280176" y="876300"/>
            <a:chExt cx="1761444" cy="235611"/>
          </a:xfrm>
        </p:grpSpPr>
        <p:sp>
          <p:nvSpPr>
            <p:cNvPr id="61" name="btfpStatusStickerText352718">
              <a:extLst>
                <a:ext uri="{FF2B5EF4-FFF2-40B4-BE49-F238E27FC236}">
                  <a16:creationId xmlns:a16="http://schemas.microsoft.com/office/drawing/2014/main" id="{057C7052-EEDB-451A-AB88-B48C1F5991ED}"/>
                </a:ext>
              </a:extLst>
            </p:cNvPr>
            <p:cNvSpPr txBox="1"/>
            <p:nvPr/>
          </p:nvSpPr>
          <p:spPr bwMode="gray">
            <a:xfrm>
              <a:off x="-2280176" y="876300"/>
              <a:ext cx="17614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liminary</a:t>
              </a:r>
            </a:p>
          </p:txBody>
        </p:sp>
        <p:cxnSp>
          <p:nvCxnSpPr>
            <p:cNvPr id="62" name="btfpStatusStickerLine352718">
              <a:extLst>
                <a:ext uri="{FF2B5EF4-FFF2-40B4-BE49-F238E27FC236}">
                  <a16:creationId xmlns:a16="http://schemas.microsoft.com/office/drawing/2014/main" id="{2B639899-CBF4-488C-906F-D5DEEBA18624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80176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4" name="Rectangle 73">
            <a:extLst>
              <a:ext uri="{FF2B5EF4-FFF2-40B4-BE49-F238E27FC236}">
                <a16:creationId xmlns:a16="http://schemas.microsoft.com/office/drawing/2014/main" id="{006B1A30-BE69-40C3-BD1B-8181A0286A0B}"/>
              </a:ext>
            </a:extLst>
          </p:cNvPr>
          <p:cNvSpPr/>
          <p:nvPr/>
        </p:nvSpPr>
        <p:spPr bwMode="gray">
          <a:xfrm>
            <a:off x="339726" y="1281780"/>
            <a:ext cx="11512548" cy="446012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1" indent="0" algn="ctr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 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ease indicate your </a:t>
            </a: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miliarity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with each of the following </a:t>
            </a: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endors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</a:p>
        </p:txBody>
      </p:sp>
      <p:sp>
        <p:nvSpPr>
          <p:cNvPr id="40" name="Rectangle 39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aYhHdubK/b9WYMbiqTQFZNRdTaHJ1Coz+gznC5J29/l+uni9WCTqRMIgVGBy5FSCqTCP+Vdrf4pg20L7fH6DBDvORBzvx0+OMkVV9yNDfCA1+tlndkYCuU8XrO25KTzpuVBu/akh+LsAbp/xoAoNi8w4YLWw3MfQpXtDpLhUBdTJrJxbXEnrHVeQ8A8sG4lrwsYINE107k3RpDlerWThxxHpdU4Ek519MW9pJd6CzC6eaWHH7p7wPRniK+WYCu1x+/gc9Bjtomrl8f65XGm1DuswJdQwpINE8IkqWF+iAAZCNCtQbZfVYFGW029Cht7+XXKj5jSydwpz+wxoAfzJYulnhQWQ1xQjz0YJyjCDxxgSKIDgd6oLVGA85emuo16AmtwmMLp3Omet2eLpr0bHAq/zj6/ZChbDda8/0b3l8wwMOSZhCcEmsCaGVJKqLU+THLjH1Q48JCZsZJxMOPnnTkHdGuPtjRxeCwLAUxi19x0KLA1n2YH32cnX8VSTRj6Q53iQtJ0LbPlzDpGOmhTQXr564hcqekVGdCu5VlnOhaBEX8b2ZoOCLWeHYudjtAzulvCy2dedV5e2CDl6+VLbBjt/uaRsGajMEWoJKo9606XGUOg99WdHaUYvY/LgpCZjf222o3NENL1RFgeSQAB3w+8BvcZoUVmzs6K3wr5801wyZ1dMP2wT2W5HmGEWjoB9KCbJQ8gXDQd9U5I/+KIfyo4l6DaOw7v7/LHSoXCoalpsiH6/SWT+CvZ48IWqXjPm6cLunD3OmLvEAyRCaVYrd6zFYGcPrnpaU0wH8LuM7ishRpgjBqf5++eMJk5MmezBt90KMDPth9vSZFA20L64sQqkInPgwEM3mgTrdpRHayhwBZneCfZLAGOaG3LpZTLIEADuUwphAd9jl2ncAr6fO9tVDfp2UQlfWvAJk1FMSjCbo8XmI1VkQQft/ODmJ9aP75SFwtyCe8rg0s5eye8TuiXMR12RSS6JoMimuq6fUN8QSIByx2VgX24GCbU93lPj2xMoawH1ffvDN0+i6HbuwSzK5laEtSz4PcCXCnz30+1ew248G3dZ/dEANFnIWsTH1W3WfJFIhWFSdV5IqFhDIuFcX7SKprMrtAZq6+z/M+KJkpa7My8kl815j1EYLorKYvDU65Syot8fQtjCHWUHWVjHa+gfxJS/sTor76pGxYyCbODTVJovkUWhBAw9STLwMCHW3gUhm8X6KFoMQlNxrD87LSToSWb2jiL0iQUKwXIr/yv06TrePivx+B+s6NhPbEjmObVeG6Z+eqz87lN3+0j3WwXwEmVRbnJCeZie8qWcoiTZI0zb1bsyAA2Phc7p+JOCv4FMrQcB8/6PiVRoWelghC7X0ETXCbxEH+F/r2I1AXDjXJ95oGOJBzJ/ITUBQ0F6H6S8d1Xa5A/RgI/6gsBlqFVcorNu14OnRdo3yB2ZewTXPsGGSKqH/FTigREdalRZo5VYkAv9qPPuqJdJY3SNQYF1hw5tR0DKsvy4FRdhy+gFosUQ91PbL78/FK9A0oHdodCTUnBVr7704PhPAkQtgf+TjMTcaBWKx4lZs3EVHk2r9/IIMccpvDa2XdC2Ki+CnrwP59vuco0YU8jULVTbttkndo5VHqFGnYlI4w17+j6ddk+tWeN3D7HOL0tIWZk+AVccaqKUW6edLFlV9kepqv2cXMpzZKT7KDrAloMRey5Ij24uyf5uvTCnjHFDJ+4xpcKfBRotkHOtbL4qW59pzcjN1rM12BMET06ZLz3VLv7P60QH7pjsa3/3uZyKSNHB5Ju9TFZynovr9h5qNRv2wBDiWScKiTQECfKF3nI3Wt+bnR2kKwjwMdNVqN168QY3FIMTxOZRJR3aJN8dbtzRN3BkWAal6Y1yAMY2fC1PQNvSMsxnVHOKjg8ptWSBPRT4YnuDHjowx+XuIzYrcIepX+29UPjNzR5j+KeLeWUt2k7baBjQFjJ83ORCxJM98jjSr2lCrTJ0fI6kFjyBwI0i3CTSo4UUAzYlCbTSi+/ALWoi3Xwn8qLwhkJaO8OVCSdKze7KoPS4pQ79g14E/lrMTqDnAqImXWbD/hkjT9hhXYtryu5G0da87mCL3ttgFqdQWwoEBNO635nEGhYSDdilD+R2p7m5K/y4QfYAjmWIlYwal2eoOyQttmaHfDEJAh7fYQuZp6YX2LbezYXm9bQ247/CNihYuTZVprv/MxWLunbXbaraZHcJWJLSfUZwgx7U18NAKYoNGox2phpKaqU0ndo0aJQa6KasRJnVCXxm7ocpJUCmfLf77IqOTmRQqjxo/VvcpuDVUFlU0ZXCzdzXnUtJ2dSVtQCu+4M/ATV7WAK8AB1Wff9UAsWS4WESOn+OBHNZF3lRK4jDRaQjYMx16frqd/PZu6/x4K70BZwDnbtyEzbyqdw81Hu81XknJ3A4DzceAT0Mb8GZACuM7ReFfW0nlpR/8taEfYi0mqXkAM/X13yuNbgVJhhz7R3qtYwgdpcpLhr0SaQEEhcFImDHLKLYdNDar32CJj5XVIbeWLsDZ5c1D0isq6l4BdyvKLZi0vNfMaXXJN8Ao7g4ztZCDCTZUGncJDyNjlqZvmOQl5vte403LTEn7FXxwedTmCkHgBa88qClFVa+Wr8q77TU3Xvxk/5o/FsADOHJHpo0Snd2qiFemiEXa4gyVNBUWF/neOVzozKzP/JhN0QHLtZZ3Ty03zbeEBbCaXuyNo5x0+esRC6ileQD+eLU1bHluHiUeUQIrPUttV5vcbHZg3DQnWGOcSroegMiodplOViQz/FTOyHMhqNqStPR4rZ7CnEK7/7yLLEnN5xTyoTvF45U4xIPpPGTnM9uR7o3dTqLt1Jt4BX6qB76N3kX4rCOmQ3YMCzs40WbnMK2ZD52fzHRF5SwnIcZrDZ6Q3SOWThKtWALjEGxk9UZNt+VzTMwW2WCUWFOMdC26K6BbVTUKDQLcj/aFPHHd9WGrxZx93D/OJ1hSyKXtCsqQFgYW20YFtKB/UX6sbHuxVhcydTc0lTZCA6juMiZbzFdhVrxFoE4kmrHdQgWBbVFobSdDGCCPY2CuZGrzyImaDIxL07COE1ecS3DlBTHUqKV4NG0GwSB2EIl1+nTD2R+6Ua+CGW4qwk9OSqtcFTJ+GnfXtdemZG27ESIRAPoefqgUDYeC8VZWuFQ/1CQYT72p0pohA/FnY5Lwl8nQWJwic/441iRhF70IHxMOdNE0hVp5Y5M4WObps+IAOE6Z/F0z7SFIs6cXjG28zUSHeE/8n6c1WMo3BcsaR3/ityEH/JYqRrFSwpmeKSwoDQDR6R+gevLTtvKFWb0P9xxUiW/phMJwIAFfKOhzWxaXuM88/TGVltN9qyj66RlMMcViYfbvfV1qOlgBYyFVDe9mt6Fqm8heSoHkzTEonDyZ9hi+b7JNOMZGKTSOn8pcL3KzLsRBO0kynCa8sQn3khSPSuZOzCwhUIfchzkh83DbBtqZvaIV+W/+bGFmfn8YpayljMRfq4EuizgS4VKM4PiLz7a/ShJNbZoLKRcFdfYYmr5upokf6J6biFxw/pNzQCzavLm5vUP/hw0FtcPNS4EEwiObskt8cZugUIJFDuelQLzfcq4rz7R2WTWCJRss0opd+wiFCC/Og75S7mLBDF8W/AXlEkH/PkVIqvtdN3W8GtqZNFUaVMc10cDii4yqHSTECof2/0shXbHUKEwrlxy9eKIFdldMdjy95Y5GKKpzocpgb08ECse4BvrpWWfk8bDTk+FiYzr19kOvqHW32JlQGbfXHYM5XWnIY3w6nYpcwaZe+WpdCBBR1yy6Uhp1lVmVaoGnjhoKmiGenOCYIIzYsdX47Eza1k9vPAhcz31SUaUTS/k357loXUHCRwWpSkuZrONePWOxLhpriXpgh/bBBw+j/5Hwn7fhrqrb8+wwSIFuXC0GnY3xiJEg3ULO5j7oGxnkkWUK1eF8woKQ4KAzG7gDeKIB/EV0hBt5fVPZClYMJCuh6kRm51ufdOo8E7l9fEkWFoyXCVJXr+RjeY9OnncGFEuHdZfmxo8e6xsiNYC/vxQTpHwSHXkoSuQI+eDhOZ9bwgf3RO63Frw4PmuB5pfQTCc5VguPhaASSJ3uSUKx9Yz9HKEcjRrCsidjdP4AyYFyi4+tdUT9KWdmY73bUMFnwwL7e+qN01Nb845yXG6uVyTjZuCHc8xuLTRkJ5uVO/KW5ak5lWTviUalVfFWbM5hjCaNGrzxJYPnkHKuKNDSqHW4RMLHcbH+r5cvGdg22jbfSjkhPd4B+LcjxCOjxhVnA9XbeNXMCdqj8+JT/X2YeF7WXiN9d759kmkz+dGNTK4dd4B77KtVv0G8dwBxaY9wLvQpnQ8ATLsWc59CcK9k6b/d1YhPLkyJaTMclSDcc2IBw1rptmRi92j5RNUKhcFfDThuxi5YwkGpTSSq1i1rkjT1PDmLYNIc9hww4u6Qz9sF4kh3ZQrJD7DOvxdGn5ueRRM7fwi+BZYJYmx0YgMRv+6aD8MJIGLOX02ywpBYJqUGO8xP4bCWh4ihhgHo5Qz85L4egRAJ1AjSfTXvO+M0IJHReZyrYMeRI9IioaDxyVSAV/8gGhNSXe48OiRkpiygqYf004f0p4OXDf8F6p0IfaN2bAm95+jFkTcOfg9naNi7B0rxrccq2PLowo+k4fzkcx0GfdAqR9PXSlrN9qtZereOMw61mHwCFHAQzSdzhU9RbhQIE7EtMDfPLU3YHGAjVaVQfGQcjIE6Ul+dSuJcR9JLx34WW4efEpRiLL4bJlhn7VC2i6GPWBE248twpzqcLuTYMuIsrLEoBluJJCzrm+NCwyVTRch3xdOtkNDOWlw8CAT5HitfxbyLEPxOc/zFEjyX8TYjqyUaUY2eV03jzim1+NWZcN3dNVWEbTbLDyRD3s14BnkgwPdFkmi1/BeRMKBOvGb0cBY4Mf9FcJvnD0u3i5hYpYUw16BNu5V/7TWd0VUrk31eQYOizK/qkGS/4WG2+QLZXqToO/5gw8Gbo6AjiblM4RzD22p6K8O2WVG0BRTasyKBG9ZTb33hjYjMOnPFn+84+VuLp6SKqAPHseeID/nrZqjxiuVV4Q3iLyk72ha6tZt0HzuNBXFnXZQm+yAIIuTXPpxG27u/Z1jam2z+50LiWYQLlV98FFWVhS4HeVnCBrRoYXkFLfPKHx/Lj6Id62WmW8a6suvCfdtIct8x7KfxghJJ9p4jKFmrTJdbZJuK7iVQ+XENwaSE918Tj4ZjyG7/LbRxHkNzBcXtxVBv8GGutiWWww/1ub532u4VxOaWu3GU9jfCQ9bWXph8oRE2PbUL+bXzsnfthk88e2qv4XyZGKIGUZU/qNaTSbLdnRQKelViEmYHKcbDad0mCHdRjhXCFjWAMA8De0hsLqixhwSB2RwS1OJRLnrljKWB8UAYQ2gNXDV/tjnUD9JBFvTCJDL3pg1RPVaHvBERXS0329oYyib55S22W5Rl8ezSke6UDNVhT3kSa/ICv2S25hnFUB8fck4MTs9yCkjTef/H7jehqJ2BpDuCRSpfc77X7PoWwuDal/l5hwE+Cw26KJ2Z+jdq3rr/MPkGD0hcAIHE8hIdIhqIzAsNG+m5H29rdWSBthxxgUWGTcw//uk5M96jpyFpLP9zMB09dsfJbmqg/4bCpKvW5MjDrG5hPF0u5lI9tj+RP7p8n1LegZX6i6awc2HbnLTAgEv0xndAP81W7elj+MB+2iy2LQitDG8GLpYemM/EMAQxs7I2iYXe8/8lqy0Ig43soE5u64023taB72h15KjVjVdpIGuaeBH2OsuFz+LnFV17GtRH4KqNSjB8kSfJXt2rOhVAePSWV3Ym2Z8qIcYUPfAyjQu7PV6c3Vv/27/dhdYU+0dEjB7BxlZyx4aIF7i41NFaq8AR4suGjdVUC4OJGGAU2Zo90HWSoM+y8wMXmbbgr5Qp9Izqhij/RmNqLwcWvmsP+T4oZ3TPFAO9EzvIRO/UM8hne66L7iPczfFDbBehB4gju33OmkrL4K3fN6LGFg0ywqnI747bDAQXAj6qyqagQUOq5Ge/O6kNvLDimqF7QAGjwt+VAwJ2SOh3LjZwIh1crWEA8jNNtA/6PNTsmp+BRrvViFVoiObr24V8wEUmq7Agvde/AiBAPYrBxiV3V+FUIPM90slAtx9xkiYuXM6gj8IXmLDdzksHwQ7pe9xoxq59aCI5M76ZgCz9ACQZN6jiaDOOABlubie1goJP1bCXvYaDITJcI71WXd6I2tsmXuCGlm0bEPkweAgDH/24cNbvrGbCx9T9h6XjTk2jLCz+rD8SK/U4pvjrBDzeYYYXTz4UwNVoJ/qCqQVuB/ZxT+9DSmOXr5PfzMlTy6Okvx+Ko3Mz5kHaEplih21a3AHfCabowJNm2P4HOz5zRGuLH1SYZ51Fc67+HLi3RUxfc439Gk27h+lub2+UTiSJJAbUo9Y2zRuXfw68Exz5EnzPQzErFcIc+Uvbw41r6goEDo5Sv6ZFW0PqnHvdFduurIPYW4iNKBb9kibaW730kAeN69nXEb2WQudsD2Khba9CMveFFELd5pKJrVXwEweYWZFbGeKOsWdhfJ8SHknTP3UYaT2ugd/pHZB16eS/IlzBwLS6IOZqiz7uuLeEkWicrNZ4Dktcdx0z9qXHJro0gOCx1KjBKb6/CcOtBt0XhDD1lIM7dw1thvqH25vl3MMUs+DHtZO7M+iED2xYbjqjjRvlw+8euEEuA2eH2H7GgNigZrpWM+VlbFkOSDIxsvT6I1VTC5AtwTfMTyfKlVScxMboxN7UaKFfNzQlMwIQO1A/5AMu0f7oXRP3Vff4tUDBJ9BlQQGl6tlXOLdv+p1nyk0wBgt8Jg0Ww1vM6X+rCffXX2U8Kg+bDa05WkXdHffEls6cv3BQbL3eBimsyyngRj7zzb78feibkVblou1NKVrhGxrT7exZ3YY+nVhqqlSrfDSDxTjG5gAatETBPQ/ig3vasMJZvu5X1udjJLJoQClx5QGJjSO+ePBgHyPPpKUruqXdeQdA/OcqgyOr1VVLr+BTUcCB+4jsDTuKYhzkF5fMdqTyux1YouAJsqlZlQJoDfUYGelYE8QOs1xm9YOblN5E8ti5tUgvbdFEEkfvUMJj0MwAlaY23ya23bki0ibDpMKPcj4dLnDCMK1ed7a+LgesvOeXSqba8zY4smmz9AkV87cfvqye5KTMRqAUNzTrHPttCVf/zXT2PKxbDroBNbFPM1O80yARHfQAL59piO35Thfv6+hzsMR4bJicEbAlEhqr7A+SL754f8jCI5Psc/wO/Yu/uxmxLTs91QBCIKF74eeoE0RdvAKMTEmNurD8TJUSFp7p3XZljvgWW+JthAJNxarVctcAJTtpibkBRngeJxKTcjmsuhOn93+C0aqf44iGih/2a+4+YiGwo7ZX//em/GZMf2GnywLxCoqJBwf3Kih/Yt00HZwE8R5Ne3DqPZXHNGBle5DKTY1vl+ImxNVhw4RpDVIvBo/5/W29DNA2Z3dFuod6tqSmeh16U823KeH6xIs/5AasLK9i87wKRLrK99w28lQS253dBdvDoEe1h//ptEdauLL61ophdaJhkqfr4vakx1hLTkvDR8cjVgfW1t8NE/qK258Btx9pqtav4D0hka0eh/xeoZ6VInYu8OZsCgmNiLPWeuFQi4pNX2dkPR51LRDoExp42JNEHQpWAPCf/PuRWupcwwTUMebgupFhvIBj5Mb5TCUyyjdh/9znJHr//AZ3cKUZqJX11XJKP65xshFC2KHyichOype/GC4tmA0ljI2JTgxAXl/gFGnNrzFVk6NfpGVNRGHu+sNxOISZn75ACQhYoY64Mp9fUloNg6Z1C0Aady+ZAcDTKBEW1VKgVyNMUHyaUH6t/hQpis0RcSVbLSa8cp4d8YFZQfFRd0moPvMynqcBA7/N5ZO4xblLCqLk1r3PgjaB7hoCHx1ElLohkh9PUpBLT4hH/Yy3NdqUOvy59NB0Pxq2dJ+v8iEHIrWY0KlwSGNalmrO5L2dNAvEt2e8FjpOvMk42rXWSqPuzNknDtMXzErYbRf0f5lmvgixePY10JkGRYDoI7jLnSZWt/T+9sql/1aotF+10nZZpFcxu1iysmQy2ofmtrG0hmGmRkEI20r3gaUVG3d098sjsVdCXhsUxHjwFx1hqMXkatho3PTiVBBhezQjXBzpULcQJL5qufAxodQaAmTrVivjx97Mgk8IlMh0UrTAdxeteGJWwp456OEa461J8RlOBiwPzOFL/7r6cTXAnHdw4n+7AmUFwyKKOif+YVXj/dKDeOYAw8lhrgsK19c9abXRHfAw/SKRY8yWweL0wftVzNIY3LQajVVdL4kGolfj5KHX9xSnaxDwVnwn0f9dXCe7pMszZbKwZSAIY/gmKGOVE5ybwR6gs5td0Ee57zqrWfieNeQnsfjH3IYKbx2YqnDWT2Xew08RoXXxdxwpA8lgHw6QzUAgl3xbiVM4lj2z+wZhI/DzhcpP4RhAiqBJg/vpGnwi1CizWCFgOAi+Cq6gHK2hQ2VnIM18QZ1eKAZ5rnVMfkXHlw7KUAFVfVMzJvj7iitzKXWbh4MPwsuGLkNj8m58g/yI4e1mfXoxQIhunCXn3pJ9whtwo4ZV7WR1sa9lsPEK0UdJnx+CSl8CZARdq+7BOMexiNm8FtTz45yp8Moskp8BWnhCZeD6cBF5gWjL6oIzev4qKoCQG7W6XU8W2q5KXpBUHGnt4GocIc2qoFeVC3jmB+7Bv/HCS28e8RW+kKHnS5EVcZxfn6wDD9Czzo6S7ilDEUmP3bzuRyA9HWZhyLINtjlLq6kI/gad4eYbYrFyUtdSk1uY7cpviNZ+t+kexUHnjEQHiE5vmJ/s38XwjS330fM3kW3X4niwgjFCdRg2lCi0YAJVlfAZHGx4DFvr5g0R1EXz1C8iA+nIXj1PmlWVa9rhBAGAo0ZIxw+vaen5am7bwRHEk+bp0C/nI5mKXuASPap/qag6DL2w4AvrzbPpM8ztSR92siI/Ew5kyoVSIrJQzpPhRlsQlX3Tiq3fmLb+9sPs4OJD14UzuN1MyRj1RSmPPGtYZM/S9wo+JHQiAaeMBMf14WWNdt70LovY/6VWUCg699iyMQSMfgOBha0wiRlIVYkAkj2TRXx2rgOuUYu26iZmuDD6CeShoIpbs53kLW+bX/mf2FIgW424oxFMyqpCol5t7fvUzryiNiM/FIevSi+k5sFPBup3AMInG0z6iBYYp4Ijd4NnHDEE2VAa9WkENKcjj6pMxC3S2L/2T4gpFRCvyMnHv//gKEe+qJHuB9ceJJlor8YHkjXT30KdsTFQPr/s9iRxFyDkQe9C2EAdIBfiJX6ntpO6+QWnoqN9GD6GfpcLPU45W7NByWG2z5BYlKKH2A7BU/X+GPTUs4CnhodVXrsoF55y3uwxQNbnqtPlcLwbR2RwXNa8myNSPCTnAd+VYVnLCrRmCr75ZlH2b8atX+e0Jkc9XQH+6bv9r5SH1gI8niWvGPj0dtgHQpia5Nmf5SyWzUfmIjN0xXxQ97yLeuehLBIrYwAwPLtC3PuiSEHgaK9bOH+erIFtZFx7NMmwpzwdWrDdRVKrT6CiA9FkgM6HtMub4mJau/ftfx4auUrBE/0JprgEB2oCVCpzjSnLLDuTqeMKEjJqXB0eCMjxY9hNBM0Bs+RKoNGDOogF3uiVir19lBQxZs+u7phY1L91ngRXH/XgYQZIYZgSaXAeYd2JTkF3mzYQn+luDcmVlzO2TlB2WvVcTlkEhpW27HWF0pY5o3Zya+/41oLtggH4CNWrZppJWlB17ob1QZvP+6UKEUM74ANDRTrxE/9YfiW13pAkcNUFhfgct82QjxtTgylpI1gpCFxLuQwjS1VSXqGwbSajnqV/bUI/XZbfcAG0GJN8OTy1oI9w/R1mT10EzS8AlEK7JvhuWWlS3OeiEwe3/69/0NZThYDZgn3Um1OHHYr6Wd3ZJEefi3oUXUHEcA/MZR4gpouU4TitYI3AJeB0RF7MzyB6rQzOd89Qnc4aOhmvSt8N43D2BhfGvn2yhAnEtn+3lAPGEvG+WjnkiH/btRetdFdkRo9ftab2k96+g35fGO3z0zYMhkJVGwc5FksfZsfQdPx/HvI+iawBac1CUaaNrXmFcIaYVjYuz8BampybGhbfYNqEYSatUHw3nAvg4hAffbCVwWg7dZQI5Xw16HMIRbbz1JprwkkpiYNSmpypZMHSiyCZ1pAu9dtCpCOvIK3Dr9HeyYCOSmpX9TT1mBhVy4HU8Q2I66sCHyBnpquycre6niQoDlqIJLTwCCLGHpSgkYjwpn9P8m5s9qL5VJo2vZHxl0fnEO8KLSgtdCU+G0QGmF+umBjw6DWDEo6XKYtOK3NLLrPHxe4tDfcVrTdIb9NS1X5LLPPkW3+i5gKlgJ13QQJa7OOgixbII1AqosifUMhsCIbodwcVFlveENtYkV8mORGsPFAKrZ9Rsmy5KXicVOakZn+hsVxfY86kadsmuFY4IgJ3kiOizHP6S6/gwGEdEL416cDta4ZJx7AJ/a8yqvHN1Za1gJUeQMvnBtT2WpnbwSS3O5fLL0ZNn8RbUIEbINEnQres1nbWWbNgpUll68vkfrPMWXH1smarGSgmA2c+VZ06E7kpPCLryuwDWr0mmazY4PC927HB1/eQ1HPJoGPzl4r+r0zlMe9aRMvYoFjJO8ty6Cgj/vLrJ7XtzwH9OrCP4vKVcO/45BTFWdWK8ks1xKWC6ROeqgKoLKt4DpUR/ze5hPxfS8rz2GV+slz01+jx/JwDcqKXz8d7UeT7VUf9DHrKYT78hdNYL9xPVLxm8p7uNuDEkKtZq1aDuFCJVrdU8A8tCcJEKXFqywy6gSB1ZCeVPtXy6TcrbuIeZvnWMKDNypswJYKLjhyw9H2GH2p4or5VYSA3ljZsxfeuuF+n1U+bqCVv7UqqVIA0gwwGjpHOKX8DRSVJTXj+f4sM71QWPpCNsG1QlNVddiOPcvSd5DCAXGD6Ugbm9uXtkC4bLSd/rmNRdpFgMviTuVW81VAIZdY/3HKsn87kWjdwD83/L/rZ6GGUI9UuP/6+ix6yz4/+OxJ8TRRCnrZOXx94ExmshaBvrfW9fU+Hhmmd71UMRH53JecdWQZrHYZEDntxyYzjOrEUPV29YBgXa6tvROik91IvTpxkPwk03ECByn/osh5x0iknDrZmjIgUn4bvX74lqsV5iUP0iv6WrNdXr/69+AjSyXbaAbkfCTgWp1OvIMEng/b/NqqqvegOR15dDPiTunNs7ymNrZ82r9x0t5uhHxVDYyXAKbuQ7OUnLqr2DvlaXfF/9LNPobhuBo9X1/jFUp2eXAg6xEBjPv0ePTcbfqTSLn6+P8c2T+52ENpLoWvUbryLFPqM33RTrdJWLD1mwMJ+VNf8caSz0AcsNnHD9n/bFyije5GKKTtRaRwz6XJxCXPtRo6DwdZk1lAIMdp2+YBp6wwE7SI75kgYQp/V0TL5T87fKhn/eaQCy8sCWNsNmIE99EljnYdEGIhSozHbq2AX39pMma5irQi6n+LgyPtY3SmLhVu9IIMOTxvbDsEcVCp01ZEwZu2Jtvpyoy9r1rLGBu1odaRR0O66TVC3mTX/vDxEO4+UUEBsKPhddJcrKy/5IeKQm7eQI2NkWwY8uYlFjlOU1WJzlxnIwh0e0LFMswSiN1AqiGV05FZH60uAovtHjH2L3Fm6sHU1/SPhAuXecKbLBf8sCIhr6iHn4aUz8vcO8cJpptk4gZzf2LhQexwVVFv6iBk4VxSOkqOAsNOqumgAz6BcpJjKYqXQSeS7H6l9siZ0KBoKT+hfICDsPcY5ZK51Yj5dQBIxWPzhF07rx4eAJ0AysJY6d7YMoScfda3VLSz9N/x4RomGu1/t8w3uA5mA+G7IeTYzoYiq/11KZ+XvbHbjxY1FYeqGSbhCIAO/bzx7NysnonFFWQOI8IvPexZhLrspuzzJaOCZN3/UX8q8zt+o62KGIcKhWgmmpGthHf+KgnWrY0lidNPxJB4PHoiT0JEhCgB99pQisVQWOeU/wSx9oSbKQv6a4zXk/rV98ELQbDvel9+mXVfmvvgQP9B6BOEagQxOrE2RpfvBhrl65ZhBePmEy6H1cOSKmaoDyuI/MdaFSGSIXTDzMXuMB80GE5I6mwb/gUPIH9zXobeGbW39K5pOdv0ayNEZse2c++ezHaFus6Tq77WEhhEslvL17S7cvfspTBB9e93P0bZPfT4BbfT9ZHmmqSRrifD7L96SlSrS2uchLX9UYL96fUFfoNYoNMrJ9siXnjGUz2sTZBXLDeNtVRz+g4B09bcLC0ElLaTNELkNHHvgXhEx37UZIGKm8DsqW6+l8BN1xa93K0QpRtOfTS19Lob5xtyRAbSIteKAp1+GQDqP/s2QCYG3hZQQRwEv05x35jymsK0f6mvadXb7WZ2ex8Y7l7Vwm6IzmcnjnYZWyBzBtR2FoxyRfKI2rS/huatxjHLPtpiKR45g52+KmpfFCBG7qWnrAeKSeT1N+/g3aFi11n/fSgph/Of25OQkxCJtVIHEzfxvDHkFu46S1S6RHZjbX3/xoNd1dcNgb4c2m2FqgayJhTQ6aTSpnPDGgEyhbUd6QGRf8+i55vyTUUxDMIvE2zaLwPzMg6uT6I3QfSt4rZxXQxLAk2FdUgFs1t36KkKqyDh7Q1NfFoRBS8dIvp4EQzMLrg36/zv/r9d3Ja900r0It2ZdYjKaKGuH63obYn+72X309M1zVFVfgwGwS65lZ/E8hAaO2z+vE06qTZ6F+8VKF8wn7rhHDxnA9Na4YAMB7Zf3/1D0fNWY5LyUTg/rd5WGYR7K8LISxaddxucCW2Wu0qC4XJpxV3N39MkkfkiJi4Vb7+TaWpvPZCBjTOepjWgmRwGBqo6BdepDFbjCGjdZD5I5rO77RfOFvZ1VlVfxMgv3O7+ttLQnVwx/q23Gw9gxs0YeXMkZP7uQMjvt28RDf5NOA3vkW5tpdaBIQ4Ug/N6cI6YKJBFek8m4zZtA3C0aZ6exwV8UPMJAPdkdNMX3X48OOsNwggI0oY16tQRwzIGQnpqQvSsfneMe/ENMrQ0BViXm9HE9BKFJfyVMQsFcVW/bcySJZYkgJKFxXTmeQSgkoxzBhFVVBzRfPUGPdvakhpiG96hJFokTImO3MrDjufipRWFdEaL1FYWqENGWpR3FRXwlpG0acaWxcxjNYTkFYWq3iGsv0Ay2M/OI9k19mLsEM4cvNltYWcXTIgmqMZK8HXC06qg5DlEnXK6957srXao25QKRgYgr1qc/Dn6zCSQ6okYjTajpibtCzZ0gxZ7Ch7CvRTnnzVdXBaSihEZwhZefhDFMOgIPMVY9L7IMSg1JsOulVc0Uk6zpjE/eykVbzV8Xhu4IHzcINd6zu84KfJlimZWn1VGa6B0lMY93RRqvkYoqwMqXAb/SyDg7DIOZztlXP5z6InzDr1YfzrFfb/O1SXD1uwAsyIUi8UB6BexHNFD1+UtTFCOAZIJJlB43VOyNxHTYfk2Da0CqTYSHqmPsZrc7I72ItO9mG5gH+TakOpCnfsQPmvSutIHIi4L6Sg++NJ05sxG/Wc1MZb3y8TCeueMopEiSFz2TDY+GkHfVyo6rBubWqr+FtKbWXC7vFKg+nSywMsPOp48+vQQHKUGyuwrXWJjajAEurlsFn1tXVeysbi4qzCvkyZ+Rz1115QQAdWZkM78jnhA9lseg04k9LRkoPJIuyx0eHTIPww4+ciCua83RNsimfbZP6wZa8djA0VtWljhJyx5XYJ37toA6U+qx3Vj2TAp0sEAjt5hnK0CZwmrYdbyRbYFPzJ6qDZhWa2A5CFMstYeIJzeKbVj5IowZWD+Qaf7jd6qI8HWboR0rXj8W9Ltm/I66vb6EUqb2kiTZwwOPh4kl8rZo3gCQIAfq/OsR/aDIofbMF6h7wZzhbVhzRnyjmrifEamF2LCNaC2nj9469J1EVe6JVUNadNgnkec0txVxHHMsA+90YcC7FdeN8+Z5voUNAr98c2vaEdvqpvkgGG8c6woi6p+FEKMTkJocn9DbqDRnKbbyMCi4W2dNr82Z/JwG8UF3SRv0iTGclOQ3m+SMXiA3k07MAsT7tc0WHdHyhpGxaq0TgAWmiv+r6WMW/JyxNsa+BJfE6Vhguo3ZNujK8mIDjq4A9ML4Lv/fO7V5sGRZRl01qO0yYVpKQtHvXZv+iBTIG4ALxlyzlJn+MGS70DVSzKBaQSlwb9y19AamF666U+D+QXWfxFMwZyue3mynE6LLi1tq6HX3HDg5yvEPldBj/FcUCsR/uLt5LUPB/NMc78Fd+VDY6wCdLHWWNZTHzgaR19Px3UzVHaAX+T9KWAeX/hXLlNEJAYcQJM/tUFnCOB2u10UTDlGX3pfvDDEEBEYTK8Lrs5ZbMVJYUcH4NsHsuNNwndCY8Pj+uM9x/QCyeQetLJNjZ2Txt6ZSp0lwGL9uF8E/YBLSeoWwdj+A211EWt3YJBCqsSThb15U8kmh3RtUvKKgaE+uPr0AbUrXasOxy8x9VQ6I8/qx9csZaBLNRmTDR/Z/3QcmKaIplCqg+e34VU6Qvi52R9XX4P2+6Vmy0Gdijwk4KMvovTiQ/nxbdX0fpfj8W1OIOb0euOx0lvfZszxrI3LZc5SrCiqVFW2CBR2ZooBNksHbnox7QNcNdHqZoTJ8CDLGs/8GK4ncF22cptEUoHjQwcx222rfsB7RB++oq3AD8pHajQDjrfE21HxJkHMqmNjISITBtuEdNZKRbMNfilcfXKdC0GN8TtJkKPKEtxKy5LUMbj4tIBQxS+4lnftPlEICsdhNgyOgDdRa7ucnKpB7qQngPfCZLdsSVfLzjmtOwTez+S4HYX745mvKOm8OdwalyibkRcjE8WFUx+o2F+ag0Dn9Bo7BJbsNG1koo+mSaNPq29hyY4USxh9TsybP43LEQQILLqX5JrLktavlOUp8Ax/GLFDvftQixGDVYx9YZcAsMyzz9GgEys//ZdPh0i7tDb9QrlCRIpmLmH7++Bx6tyGQpku6ckIXIP6cmlhYyrLmtS/fsiBusaRIPFprJZS/jGd6u+RLmT4hjYTKZEodd13hgVJTZWBnAlu3NABomQPNkE7vQYxnlSoGoEkh808xazD6ck31MLvMYik52/taaJolCQeraMZn0r97Q3AgKC9lgXKA9CEmlSD3KMhLywmFTl3a4MB2J/52BA0Gocbk5pMTbUrC7b2Fl6QG5aZSYIzF9T3+4uTzzw1j+HTRnjya2pOPdy4m2s3HCCtfAOgziWcBw8jMls9AYNC/KiZrsAMyx4x/wcLbIBZ4oJqSC4NUBpil+lpn7uG9yixBWIViVt7Zu0Nfwz9Bq1hecORMOjNq2x5Amh2qb5J3pnBLQ39bwdbY4583P8NAUr82Il6hqR3P+L+Ru58pFsbDZLj+pzlXJN/PI3A1NR2b+LBr/LgnYe/aHPQVs3ccXtber1l2qrEdEYTSJA23BvVU9ZXUCkzyfQ07+f85QsO5dnyUfkiVOsZW9dFwYm8QH5uD8PQBcp07t81++zhLMwH9LR+hI22YkV5lMZK61FCL0fhZu6sTp+mg6dCm0RNrtnD/D6x5JRYAV+m2iq5nuBvr//Vrfe12jldjxns8pY8s/LSfPY6dSlZyVV+wQgSN+2uvJVdGH6jCVUGFam/SY/HIsZzs00TMQNCjPpR3ofwdjgk1cfQJhD4tXxQ5GO6kzUoEhiA2oq+leMDS7E85OazlTnuxVg/rit+ZkUxwzGU25579xFkAvCjyi6Ie9nF1dO1ZG5q+FEt/lLF0NfXVbg9X1hOI/7v3QustCcY3mau1+tdsnO3Ts7n652w8xrc42K6b8CRwQiR1eRe3iOduDKsBvTLSNXo6AcE4jgRcY29ozTsLbcXqANFwGSPDrY+Uy11MlOGO7QPBqy4uq0WRJ+JW27cipVt0wLgmBls/egS54IJDVqwgh94AR4Dx4Qd/bxjvEloepydwfJyG1DFr0P2RlP7sF9Y8qIug5RejCIBmhU4Mim+e7jeYyzOBW84Ku+PUfJaoLN7NLy1WN7M5hNfOAVe5Rhzynpga4C70bdecGAqaEKHZCDH9fKipS3xPg04hoyfxULcqyNqWG6HhsZwZVIoSY3mu8fNzslzkmhSfdmzNq2DEA7wb8Y23ydwJFrxXO2MH/QDdt5kAky8bawGU6fWnk6y8/tt2ybSfBTPGwD+EAxtusOHs6WbtBjrK3MUr18uuRCnoqJ3SJB48LO8ITBNYX2NxSu6BGmxwBJ6exPJmNOFtUDZgDtg/F2nW3MaHkiYyouhd8YoWy/8Sd2WLzkGVkU3OOgo6fJxyt3JC+RSA70UrgtmQWfVbW9BEp8MMXCM3R6LX0DJipmYpTHqHfeJzrGlxFogxTjq77wuft6epYOuPnl66AecJAc4Vtjlu+eIrUNMOAbA6SyjO1j+gUqXyyZu5sRsiHel6bPnvJX1BpbCWpbFxKLPTrsKXStzgq2HFaozvuYaQ9Rlv2V127ol8vIvUFi+RWB17qV0kamwGAO0ariEhZuDdL9wENhNNCxLt0tWlvkCMIdExXFUk38Z+S93DGoZezFM51usCURLiMnSyfU4xt/EC+rQloezWEymonEDmIJqoEJndD8ojR3En0BN4u7oZNMeGlalyORPovmTcGLOKrZbgQdL/3LmA6o6v3+rSWDC+jtwf4x2Dd1aUGMVp3rBiZDnNflQCVvetKIZNCnLfsWsxDua3pFNGLY/CIAk0TtVdS/w7vcaI9SWOFofWhjoca9xvjqDLo7dl/SkpzRR0SN+4s+Sj7CRtjE8bW62zeI70CKW/sbCmrbw4pVWodbKm5HItpnVLcJls0l1f+Yfb+sj7Gs7S49MuF1RyA137a45a24kf611EtjHLmbpc82t6j4THvxLQ750dyBsZIDz6BA4zfKgwL0tmkKU5w1JJJwE2VIIuUygi2mnKyqAJ7Cl6Yk4hc6DfS8RxnWhCsj3Z+rs4nNmXTIaXjVfQKMriz22swi2UdQVD5rummcp2qSMMn7pvEPIgiZmeCbVSkfccnqDg6tPU9Sj6GzbRQjKoamfIphLkEAU4OQGSnFz5Gs8fq7PapW9vixDTvYDVhqdDlUZhiyZ2hmRkaukx2LETbcQj6im4nR+xifLqdE5Not25rrbxeu5pG71o7YcRAR8NjEwJ7VQjEq0D2Fn3bnZLUUyRZNHkzdxiLTt0p6f4UhM747DJbiPJ5Q6tWkBQAj4ap1/jsJvcIgKXdZtcEPklyr/NRChINDDqkPCY7mtd4unNl2p+L5sAaJiufKVuo1pIXde7BCqOX1l6iJV2pvsDd/07kGu3aPw2fOXt2B0Ne8AAG0YLyCaNO+hzYdgQYVUQSoy+YrWOLAByJVETHjkVV3wvnbcOhpfQJQPF9b9gZgbcKhfnW91bpvlp1CiS8xrDuzHYTyBHdEfsnfJ9NiMQnmdpY0MRz48ShCE/gp7PytXQGAeBUHKHfYazodRIiWKIWKN0DbbWYS+U19qivgANrHL5C9kqOh8U6APhl9SPVNIOV8LvmjJEonVgtsCcBshDHGnb3vj2dwmaB5x59QYTJC0+daDbKoyQyP7JvKypGsq/kDNmqHmWUivq2mVXGBkzu3+F6Y8qDzJpbZ7Kg3zy5nv7rg3xAqzPDI5p4P/aSeajtTCoaLlr63tqrGLtf3pbUOarofzeDT5B0OLN07EKmxxQFOdPGaA/8bJwxEsBay1/r+Zi8YTpRVaAYAn3waHErYM6SXAZoM5Pn8brQkEt9C3gdkD8PDzffAPJVLjFjhJ70yKK+FYQ5goLvcciB7Qf+EM6RI7MgfMqjNccIE9k+XPMwITJ6OplHdsBOAhfsIktQJrcN8ysoO0m3aQ7r1FPKywXTdoqVSzGO6RbtD1CvWtgwjzuTQoNeLbfmlRiPKC4wVjvIKAikV0SU7rLp2MlNZLTbVj1arUIstOoXCyT6r7OmxS3VMY3erl0dE/jllEFAxgWpd+osCS5Gy4/wqurn1P4Vu5tXk7r54x8LEh59v5ecCtoelWlPXSDMmeeER3NpRu5G65ULaLQYLMA0c379hCO1I2cEBDtJKrPcBEPgG8nvtgTWcfhHUmTlaF+INkW34M8bEPlEVeEYH45frXg1KEvciZe5iXITONRo48Y6CagyK38qaB07apf7buihpqFyzvSAQtfledFMeZ2y3p1Mz9JY+ridA2WRUYEWoZaLwFnDC7PBeYPm5uAmbwMRzkzPmvw0o778kqNqQrWW0tyyL1cn33MvvrbaydBk5CZwWziD63KQacnNrLYtgnGeEqfK6GGKAd1OQVjaUsdxU63CdHoTXq9iKawNmcl2ZDUosFZhTXXBc8rL92/rYbXJGuf2BQYQO7aTTgRFs7QFgisKpcPCeQkgVvVu1gzOjbCiEe8DMP0bHjpwDDcCKRYge3qNgr0cVnVrjF1TLNvQeaxPU7GQl/Li1f7icK9wrDBKFkj/IkkbNrdQA4wJYvI9i9qI1WOT+6GUYYh8TZ1MZIvBSg45aEnXcNxOsg3WnoZVDETalRhmXpjLfEobY9WuC2Oxi/F7hPCbwyYMYKBucOeQOz6So+VPxjyuU/awThg82mogHj24r+cK0SspzlLnjgGBEzdVGhWTJQ4DrFPp7II/9n9cJS1tzN7vtyqAk/iXv7tOjatikJQeRcMN6d1W8ojydKagk1iVoVWN/rc637wknSK3ahy3uUK1cSKQ/PstNyjZEBc85datE+MUi6tEk9e/TacT8QP34r0LVYWvrzE8wv63bUK4FAKN7UznZ3WQIJ/4cUz4Q6n47l/muVNSBWwyVZ//y5mpey2pfmQg573vRD9yr4yyed2hFxdHl5F64cSEitqXc+6MfHtbi7hg8kCrVC4pc+s9+fEFU1MlD5fd2kjB+udyBC/sdJUKqBwHlzXG1sGxeTaG7u6KHuhKI+hXni+4H/YDAI87uJS5WMdbdTqxYHsld+FuIZ5R3bHbrnsZd8vor1kcxbjE5x6BeSGvcd/oyzufXVgtvYWZoS8CC0mXIT7drBxAcHlMRQHKxidKKVel7l3cgp70RFkAsv+u/1e0yt9lszJCHiBJmVupNc5XQU/xPOkBaX58A5SbHQVEq8x3hFM9krYeIZ7Mcz9xa9uLGkShVIPxG2cjdjx/gef/ZRh1mguH2JSHZ24RVfUp0QQvNrYXCL2ad0A8obc21CWnZLs7A2ACJDgkFog7GWZvx2OxXfo/ZIOWr0hEUdeBFsUVVi+B1K82+xD4R6dS5Ahxv3abd4P3o+FnrY4hbUNIRnzMoxiHqS0pL85d1w/NZmrp8GzMRi9u9o79ozzcl6WJexLU/NvTOhi5TCKI2K8yXkJI28ej5n/B0sMmzIGMqiSVXBe/2h02/B+sufTr+XNei7jK2J9HZIPhV/uiK+Yqq4bRa6WeEy7aVh8WcSFukoEv910xfjqhxQnlqEdqXCnT7dkK6wurVb8X17dvGToBrms4v+3d/f+faaNPgym8YvxXsQaOtOuFQoEzDeqamTAFrcizukYjLW17yp1vYVtgDBZDsJQAmD2Mv3de4t+9xk3tEE3chyMiDmMWB4Jj1o01VxIwZHVfuwAxeFKGWFnh62QPy5cDNY6+Z6V2fWli7NZkR2DiCieRy4Q6dVcDwIpCHtkkSqFNSDIXeVkSVlvfTT5a2dvQi/6cuW7evg5434VNLZZQc7+PSC6g45Hac3lfnqfWTa4s4su+OVZqgTChxwSSdxyHb2E2jH4IXTIgsqGx89cQfGmIjUbRaDXp3lzu5vn5zP+2BZTQYU3V8pa3rgkEr+MQ7pZBkfXaxORMAdCJLjNUtQnd7gNGjZ+NdvfZc05HwY3ezHp8AcrXnSBMX6ik6RPUAk8lA2EmeRSrIQPMUomo9rrYubNgWN7BMGuAu5inrs7YaOwqj1dAHZ20ev9RyfD1x7qCsOsWp5HeK6o0sGJgZjzU5TzE1TV/ZehRp760jTsDbEfKysjrnW5UUH6oEw6Bm1UKCu+GZEzCDhFR0mVd1breTiUSKuNvNduzDOrvTpgY9IHIUNi308WEHtOEnwc/YFGEIcNYzCYpp6KnG2gQyEA3DzOSCnohBNNqJd0RE4c1VvJ2mBfEJGRqo+DiC6Xq5Lo40nXZiq6cAIvrAHSRyzB7syK2vd+9UqTcc74FbhWbhISsIw5YR7KoCyfIDKFesrAnHshqtKI1OSYRxoMX5UWR5DInqhTTNiCzo75nl9WOliK0kGBBuLPcUiFJtSQgXDEQiL0WBCnn734w8UKWI7e3sCFzwJKbi2GtiGOAkKw2AIipS68iIXWzZON0yNfqEuBjhpo7/x1THxjMnrdJ09NMDpKmFQItons/SgKug5i/EpRVvSFdHZ3/rbFn+14oOJfFXNZlP23DPkcOUb3tU6Jd89sirFVJJ8lOgNvl3mEtgACIc2iPJZgms8Xo3pOnVT3EsiMthCez7NI80gIax0t7MBnIzNWxTOxPjY5gFKZDWg6uCKtuj9qIxs9tfj7oLiSKCqCmPVVIpCFWB5PnhJKlatQIdNhJAJEt4CWyIz0n2C7sg06TbcKfXwzdtgogzEtITsgzDA/OWXLZrDlIDGCvYsh3Hf4cI73+08V/awhDuRYFApaAY/fHnd1eek1UnE87CNPNMQ/Pfbk1V4WKjgk8NCDhaapvXmGYkxCoCJLykNdoNKNxDtuVenIxr5vCJZzFaMuqvEoIdTj7D36nzoRQZV0vfE7x70XKA0dOBc1IFqdAvYLneyo/N7mYJirsj5EKBmPnrU31qXCUID41PaXpKcmyfMlwlk6GAlND+nSaL7k/6a6qbuGAeRc/0CPyAGwvCeP7USCXIS82A50GVqxho2fSDSZBvlfWhQOLnpB4ELpn4nuVvqH1Uz170RPxjbBtUoO3K0ywaIn+zpX8h7LSO27ouwQlQGk2CPIb4G29Rc3r9Qv/Zu1bHYOgu/UeiDr1EtAMXq4yrnnfLlN8v5VMitBmallIRwsvYtpAIDXepAWmZ1m5FN3voLV7UHxkNvxHjWskKEjtv6TIqW1Lhcn7k6Rr5UUAGhc2iixAvcWBDkTlh+6+92Wde7ENCeydBVfjTiZe6c4G7jtaH2SAfigUEKwMdSQYcSmnyze5gVrUv130sYIHri4rY7KbnI28slMx/ymIG6+2XGqmRx34SCURxGHktGz8Wze7ky8UIB+/jz+ctqPC+G2TG/n6T2wply9q7+8M7WXtUT6jIq92eW3vEPrQomh+5Lh8AKdBz0ZXTnrwrzlJuNKbV11MyDu1CDWGtFnsiwc4Wjb2n6aZQ8wpiZHO+oqsBkysNCW9EvgRtFrCGrgsPYK1eHWmxhB6qCWFTy9g3yrSxIbgB9FV5XlLy9EQFl5KJfwaabBXc+X6Bk+/ttdi7SlQxmdU6fmYEBgDcPxelqwYKUcmVw1cvQE9GNiz2lTnGpslfhuaWHyZiqLCJzvh/bM9+0w24Qe2Ml+3/TtIUhKejLxF2qMFFm49kMayjhVYFpzkr7oI2ey9LYHYlqVvz1kW2yaEm41X3bgDIV/vCKlQ1I97DmkJdTVUn3EenrKSLex7yjPTtvZUGAFL1dKOy3pt/iOV5yKu+hZxW+NAdxdWNmolMr+mtoM6CLMHKqcjSKXJ3ZK+SFPQbHk4J9pCq+QH6MUZpPhkXeNDPXSAbE+fb5C5ApOzqjAPEWjpQ7BgoXXhNqcHi2RkAG3c7gVkh2tWqdXu8UTo8MmGreCp1oARgOCd8K57vfXMM2AOKiagJxrJZtvydBNPLhMiGhOedGIhQnx1HbSwqhKGDe0l504MjbHM+yQAoj1/20z9GuYkX1XBnSMDYM7N+w8cTkNeFE4CCdD97aEzqvpCPdAM3Fa8oIIrymgJuhxf8SFFLDGka+oX7KlReqnlvrvdCYQnbxcPHXD5cytHdFwUm6jDtL3Q/nFAJI5BT/NXCKY5NnBWy5OtQ4zL+VDmSPI7X//WGrn4nvTQWq3T6n9S3+eGxGAb5idQAZCiImDe9m75QPgxGsgECyixNrkVt9Koh5+me4ZUjHrt26QjCV9WZTfAAYVUM1t8k7Xi9PQ/JKMgSibLkySCuKLzZOXpYS52+GJffmMYKFZZ2IYCo5xX0dJqPgvxu0gASk03/XPHzQ8t5gcQKYRQ2kSjwH6p9ayaJsgM4RroAMwz01YZa+XGV8oEeWNTX5rIWOOD9LP3/YOArUpuGAFeNKpXUqumExLsjeqXPiXZE9w2mD60fRSyVrMbCEkEsVxf5aIlK3W5IpT1qftxHXqlUKpl7aJ64pOw2ayHlb0NP29ivHMj/WvN96nKdmjLWV93Mc5zjZ4MoChqie8jni1uMoW8U4e3OEpB/O/HXlTgHf+qKNLcJ85Uo3lnEA76Fx0NsF4jMf9pF6M+pVI45Ntx2nqNmLEI4pI39aal6Xnf3Vom04II9mX+USuEQoMB87t1HbFHDMVlBJqXUUPd7T5zC0Xcvp0bxEJ4n0bKaaWdnXJrvhfG3h7EKVpGRNkUK4MioC/4KI8mXRAPSI5SvgfOTFw1GfE8YADbmBEN1AlpDCSXO4Smfx0nQygZ17/isBEQ/GhrFj8GzELTQE1mL3dzR57AbmzjJ4z9j/GhxdKJwhWxLNDY0lY1kYwi2VVbN4VeX/Nqq07c7hL1qFBRPhKHwTq69cvUX5Co/dOlXQ1j3DPjpRBpTQov2OYlU7kNhMSrYtFdiX1FYKSnt3AHv86R9TWTn2/Yeim/LxN2B4isA4zYS/0AjWmfWEwUajKJDYrCnsYsR85IZCww+gpaTpmjfqkd9vHixXP9/GjJgXgVQT15e1NAx+WFzrOEzKXuTmrvm/OLSLNjKwS8wj8omrM50YcC59vbKuh453UutEB1y9Yxq5NoV4F6DcBrdb6qg96d5ek7Jp9L+rIdBxvyu/tVs1VL/bEP0z3pUblWtV/XG5ABmnwOucF55KJ3RRgOiv5jeX+4jH0RmAOwnGrIKqXarJxoq8IW2giZ0SG1onkk32fuldcuUKVafS+92LvjDTONRNghhX1ZH2ObZxT/r1/AcbamcipDTxg6P//KU6ZjyPcOoGQ+CqgDqS7KA88cJ5BdbAxwryA1nl4p7r2+KbRBpc1Rpqv020qyobKmVF2J5JE/apKaam4S/2y59lGs8bddE6u/JqpW+Kvt1ibRJlWd0qsj1lOsOXxMAYwsJZG5TA2Wd/GaHEqBOrTCWN+MmQascq1h1goWU+4UgvSQ7zX2Cm7ovB1Q34cKNytTPSIwC2pkwXPjLsrIWzZ71XgTjY9I9DzR12VHKCEEwv1A8Al48V1L5PbTnkWFsQzM9ZruuR5BlBAdrhaKlS1ECyLaGMK8wW+QHRlJfgxqUc+Xy24MUhOBuYTEgp0+Ga0IJmID9NtAMb30gslxsWrG8lllEc+BmoDhbGhvJNfOxniq+HCX0v6u5+7fcYsi8mdK0XcTVAKQSqMucC3iI+hepMdT4rFbqxNUvFcRL6zbg/TSw6siHbhHc1cAp57yhe/sJGrYSs0cCqcpF+inbyzpJwMwgt2+SD4K0Fer8f/mswXFKhf6rLnq8J/yPdtn7QNNn/PC29Uh708eT4sMS+5HQJnTAkUuItgtLQhXSmGVJL7ClKHEziwA/Y8TIPr9KXqWaYBZlnDIP9zLcJDvI2qQu5VDdwKrKzwjRel28iwTyou7Aohb+9IUfxurz+dTrLreLS05IfKi+LoobGEZmLoWFLuyY7iogXWtT4gwRdcEKdvB8vvKUtqVGgMqMurYLA6fDG76a71ypH0ngxhZSPlD+mP5UxPfPcHx565m3zk+s7ioJbPNrvduOadQFbH3esO/i6uPZ5/s6ttZjk9FBZCJN1fOV2m1d8ZVgfQds8GGgsgDK6fPUkTFdbyU19OTT47rh7bAvKYFRHvRQb80HJY0jLBY5aH1Qox8E+BQEaMknnfL95jdJTM4h2W3z81pHwNx5/ribFKHsXHQ7dtSd7sSqwtHeAyULyrBOSB35TKcmeiQq+FAEOoUbDKT6cPM2FUgFyaao3fArSVWLAn/4zbcSMJOdJFXdmU/H5xxdof9ut2beuXGHIcLQ8AYdezY1+5RtIdN9V8CWng+F8/KIuWwNI5YuapwvYkRSgHudH+e26ifYjXCbcFyz7mJR2XKW8uZhAWEczt5G1cwKlhr4K9LwrHcgs1f/rdTcQC111rVQWuVEQfhG354mFX8/d06AHIkqkUqd9lpB7NIII+EQZfNTZMSfB13CIDALcl63gSpJmIhYwvOBrUF1SBLfJ7Pw3YUNkS7SxVJTHb8ng42E/p3vUmW1tZVYb685eRDnWChMFdmX5pcmnekrcXQJgIv83Ksh1zWL60vDhg5dxcfrCVWHmyoWcW1Nayoj+gNWkZiIAEGbhHgpqSce0KIbX04NqAGrGm0TXMq2hg7ZaYPYqoPooJ1HAmi7MRWzN+TNWqdWrEisPpSLDwQg01ENDwY2m54WBYoT0Wp6DRmlUGF9ngjqJ8zK6+o5W1lr7Ogx/8bn1rQ6f+RfYk7IgDPcq5gareKoggxlbd+shFiArUkGnndlXFrOHAjB8eptoHUI0RVIZekiQ6HDOiadv92+/5GGnzc6mVVHZxw5fMEr3A5ILlZFdNqlQzVadLYmPalTpP82ic4rQiZAABDqbpb7H2n8g0DT808AH/h786ogU57ap1DAXvkCFGnHjDehJD3znD8eDwO+RIV6keR7rUQl5ZrPpQ7Ht07xhpcFAsJCHx1QJ2oN1XM63Pa/VVT35HlA3WcKu3ZlJx11oEUqYOlT3xpIvJVQfLXaoFG/s7kf2qc9s1IzeqDodBKQ/x0R9aNbMOoTLrDzCTpjMOd6yGdZzAi/z1rwHtYbd6Z6SoQ4Mx2ovDhMF/LC5WdLTgr3df2w1O2P2Cd1O820lssf1bc/LGj+PbQKZACrhq/ijtKnNnk6/iwEs0p49qY4VFZn73AgGcQAncfPujQmoVmZEpxlQZWac1OIVc4a83r8BAi6E+HZOMqozxvTioiF05QzyRnYluDVyOrT0jAcHvxQ1SgIJoVidPS8p251UjxJKdpRnf8aQtnw5w2XnLwn1xJQoWQysUIm54F15lcZbQJjMn+tJm7GUlsMKgypflwE1QEvcilMrGvKv0ETjD7wqzrpSSlIQmbZzk6czVagoCl/NgKzmzC8Tv6KnOJqRqnR6f4HgIUhTIcXZ3osAYeHzqNq8uDWC2MCk7c/Bo+KuXv+smR3pZRH2MELLQVwd1/ic2y48eGPgOzZ670mdNNRAmaOLeB2Q1jxnI5vuohzPIQGDoWIj2a2wY6r8ASN+RTsnEXYaDlAG5zEENew31oSnYkv+u1tav8IoQYcT086bYNoGEk+4Ms/J3X5xC9zJk40EY+5BBYPe6eNGWOmhE6LmCR79bHU45Gf36NrG+A7gPifVT3tOxZZXznHhu0F9GSQvLO1OP18BU/YaQW6bTZfY3xzK5UgZ/ibQCHyuCh+wz074QOmSdavnp5TAZsG0og8iE8g9UuoqLMsmkBVyNXjxfexxC03nNt1sacfOB11a8VSyV3j4z6zVx6Bv/fG+hp4/jgZtsq20ocGqLwm0oLVL6mE/eD2fO7JsYo9yLVrdofY6crm+b0XUTD4a3Ye0ccv0il2o9mMipeZjgrWKZToGVS31aeGSR0szN5Gl4iA0+0dyJzcAudVuYV4UGtQ89K3PXQfiDsYuvKiRgpzARKB44YDr3GrrTEwLaSETYHJx+8Zg5G48NvC8rY+nygazTFypTqm6q7H90TilyQFZjQhLPO6iLcaQTgHNUFda7iNxq5EEwgpVznen23mrlG8IdqgHfZa5xIaDfbEd/RJEJUYQB86rw47eIwEaE/brZESNl7qNvtbHiqlBM+gXohOKTdMhfh6v4aKsK6fnht+ToLKienbG6FWY9GeYeH2/IOs78kW/CzErnKe2PbVvkoNCG6CzXlH1QVLyRmHH5f0MRWJbH9TTuOmrjjEvwCy7KtoxGeL0Dz1Q4cNoYjQFaN/nb9ytL0JfISoxFUZMOCZm2dXoPwwY+9yoEvHLYhx1mNQYPs1YsVhZ4n8nLP0uVakC5X87Cq4QoiYqSR3FP4YTDMnkSmmcKeCDMlQs/HRfUNb2xOqRf/erNA+ThG2AaXdreXj7huR3/e9EHWNHVPEJ1bIn7Ufn/tXMqeX3mlJoGl463rztRsdLOQmP6icIri8TS+u2bCwdK5ckaQMwkRzJME6cOo93FKvR+DshS19oAKTp16dpA5Q/bTRwRKjHajqb8tT+5EoPnasLatCoH06MHhWUQArZ9oZHA2Au2sPNKpUiuNAk33ELFPdIgmkPsBLt22Waj5KaK6ErbV9jrwJPcwYuTFtBpW76S0EjX3o6uCKXFkaL0nQsgYg5aBFIYxHGjAv0TOrc8xbSTU7gmVvgsrVzGY3bM1yLDGFLYVkcr3KIRiWn4hvgcx7KNqUZkToE+ZGTT7mNALCVo212O8MUKx8V3VjHU3TZaX/CIk10rjDbTFabbQEsRP63o+M5oIqTkaSuGF/Gn0Ge70aWpQSt7CYgqdwaIYNf83Iki2eyDRLhe3DQyGDbvgbEmL5uybI73N7NDtowA9Q7yTuPCvZebCH2z/SWiRPxqLi9iT9uFJNz/XgeDDHGhWzEEOkds9bZEaCgYgKUBf1cW89pZGNCMOKiQjNF1WKkppoUN5t7lY5gdRpv0CfvPCnAAC2xFIWUNzO83t9iASppsT6DotNomrjft9tg/guWUED41FF79mA9KDAnZSEhpbl3m4yZEzpgZPi13wPKTuoP+U71osAQWe16miIzuffmgW0DfWRcYT7ZcDuJ734M0A8nZ/WKhz6UGeJLwTjuioy+NfN1UItanjENiIhYGGpfLOQJZCyJJVdQQHxxN4GKnwBNj5x85Lxju4AUSb6cX0W7xU5RNh7l6uSRTdvDFq/J1iRS1MGGcEJKvzANYtK1oz8rsbJmhIuJ1u5nW/QGNNxtdoqWj7bC9XqSzmCKzDnSNiqouhPQzrm6PiJkMwFG+b2VQto0acTdpMODouHDgy+TcvK7tszUd4WRhkL6hHOgykVXQu+yi1wsJ/3mRRyzs27U/1zMSIAJYz8MC58PYDee/TulUMDbemlbVnlAkI6DUdkKlku/kUVbr7iD9n+j6NQRIwLsJD9mu5BLw3j8OdAmRaGVOJrZD1QfNxGzv3ZTWC85LhL8Fnc+VmslptGY6ZMm+gF/ivVeH959n3ncJP7LvrSE9bnHNaqxYIVyZ3c9d5i+sB9OFACAROYW6ufo2ofNWg0nV1T/K0PQdcLKB/hgwfA4WCDm+qtCqs1Oqqa01KG/Egv4KAdgCsNh+SbRuFAyoJSmYGNnxG8hRwGpcU0duQSYq+QTXCKFCV5bgUBYBYi+EWhlmWqVGtG5fTlK1CYzkXQdItJHCx/DDRtZXH01NnrZ3C6gXX1FXPiTL8UJt4e0NJT8e887gEuZib5jBFv+Cc4zQn7tJAAMj1jSz6ajUVtNGXbZa1oyvWGNdzXPTS2YKGxNhEQG7vTmKcORS2IjohAlE/blaMDshXnXNphvS1pCc36WMs/jkaMfj9DGOWCpJVNhlq3Jclhl4C62nrB3NomeM9viqQZWsMqX/TwZqjRV44jXy/MCja+YlVMEqD2yYAa0b5AaeZQ8nRpEE0fFeTWPWUvlCzgLuJLhF1R2EJF1JpsNEuKCZH3uCzocXpKF0TOdYFpVj69Px3pbF6fEoybYqidf/pbMqNx8S2LNgCqUS1uLEYZJF7+TS6womFw3ZE90lIWKoJJy5hQxnmzpaz6rSy2XUReNLjVG3TzExk56ptp1No8Sd1uBhlCnrpMJs62XWN/LS9k5xOrTMDDXLzQwKGjaLlSOk5N7Opqy9yDe4eUlCYpiMaJfQKgYvw/FPXBpRT8ODoT0MBBGqKKENcEGhBq+JnYOOCt5Zux33Zj2V6UYRUNTfGnY0nvrD/vQNhnMCFNPbsEimhrTEJnhGQeUGcE/0eCmIYHd7KIjDsQpkeDXpR2Ys1Pn27ZaUav91D2UIqxEd/h5jw2wrfRMTneFjbDLYyjNck+AQ6JkTT6qeFC+jVeEFFF3hlbW6n8D2xxVFgPYYEiAzp4rpq9GFGeCTzneNXcZcuUGlJyT/5ik1c3c6jUB3P+HUrivhTpgzQIesK3o9/h4kaRQ4F01mqGeVpJOKQExZaso/hOW/KW7SthE2KXDDZF9grjH4poNAovEPwlCPPB/VCsRu0/WBYvK4HhEPxMpsCoHErDk4BQ+1xcjW2Lq7ztUAQFm7xEL7O8Th+9h1TqnRLs+CcfKhyCkJJHt/ikpxwJsGsI/WxiMxILfEOV11u35891bMRYcw7Djqg0F9nxWR2Ddw66aw/oPWXXDg7s3AEyUVBihuv8FXtHrhFNZuiajnvf+tPijST84T2PTMWTa2gGlmFgWgSGAxgo0sImFLq68j4Y6v4tDYn+QNSQlv47UskwvLMuWstwq5xEHOCho5zJ2+ysSNXPkcDx5MIGuGquhBebmBJQW1srvvPIc6rn/NupmM8husWwoI9jt2CHAyRh7ifRSutkh7r3w4Lgh0Cskui8RLgUQON146Kx9S4NCr8BYlbtzAJfX0SSF87dj4pfNRgwrp0ygk4esgFWgD5Fjzh2qzS4cJR0XdI5h0AOtGw5puEdZM1IGoFQcfYUo5QqImSFWqZnLAqX/aq4ieATV5dhiinISxO7kQV/4joOJb33sh7QSCDZQlKQTeRBvRN89HBYAzNh8TdxsSoFMB5MCj/ceryZjgxfGexLRns9c8q34L+AvK0Q+dTyCiKCp7V4LyO4v44xTVuQdjkV7+AeIER/q6kn2/hXiD0cIVwFgxEbesb75j6mwSQtdJHg/U+8vfWSgB3V/9NDqBwD+qEFO4fqfKGyoM1HM6UgBYjMS1otFjFpSpBw9TO1Wc3+yo55hqhbNsuHAKdsYnk4zb39uf7lLZ2hdaGrh12GKpEX/sb5hBAY0VAlj37Y17bSC7+8anRIZLn8ivdfzGqTZaja0uOW4Z4mhMAaQ7k2Z66wylAlaUKnfbgiqKDu5iZE+monhIEql4j5nf1xloQUpzFgmnAxlMQtCYxV8wSb40w520DLkhl4EfFhNbop7H5M6djeqXQrdO77gj/yctV0RN/BXnmH7P9xCWlFr/5LXD8/XFTL0DcAmfUUS0vlN06Au20OISYahoYS9EF9E4uiimY4uyYwP24YP0+ys6ri9wD6VQo//9HtJO2InksCZhCAdWyYtTGvTO8d11+yoMdKeCLhx1czfWsEdW6LRZ2QqmZ207zdcRVt73dUM4eJuy7vlRGR6fLShR/eTka2MxbTY3vLsA4Gd84kXeh8K/OFGqi3aUHhkjw7f6YzaDvo0E4XkD1bPjJBVgfiTgfOBZ+jAlUmQ13W9WbxfgvJ7dS0/8aDH24qL3ZfXBsqcOxl5vIEhW6jcGabdMaQQWDjNLBo7BRh04o9Eq4Kz5mDIEMB/3z65/h9erI5rpfGY+ojciR1dBV7ZNxCHO6jT5oAh33eHyZRbue9c1LAE7AmHUj3uKL43zFlk85AGYXfnlezBSNUXkY3unksdlbc74RE1Thun6K4LwZlxxb9w8AQeBkaG1qSm5HpydAcZ7wLJrKZMYXGFNElfsFiRdmk90l0a7+MORXrIOUp2i24MDl0mv5y7pRPYiH15sP1g0HDC+AKxLx8jWnUPSALnB5QlzQh/mdy+fXZkhEeHyjICyvzZXagWCCpJc/fwywQiLamFVbHR7xrP9xmsURpm46ydAlwcHd/dyF7dakFDeKypJcyBYT5cm93jOVCyKTiTycRht07YZq5+z+E+o3VTnuw9M+2tPOq2MWFaII0k46p4N3T8Oe8rW/roY0IKBsy11QwMG+au24WJ+SY2FNjYQwKkLY2J1u+ituOQzl72c0buwlBHWJMGGqmGxjfil1qEUhcaiHh5psrtho2Z+4h1y7tr058O7ZA8doW0LNTmFoWGAHcRXMLiM6/OVvPp4OVaqWriaEdQGc25eOzESdU+hyJ4qG0lJ86cHprIZXq5qq5FOAxSOg33DWqxkjBcUUU+E0digTRqIvQUO9KrapP4sWsC7ihyCBQCs3f0lQ5YP3UgzHbqCkpBsa+qgX7FmZy7l5AQbR6MinJvfA1f8jKOUCfsiHwqnOfSGBMA/mCSsyzm2dYONeXJPsgnNJSxsrwpESefOPNUxLBuwp6Aqf2QMrpSzy5AY1U7a/fLUM4SBHu7gwG4tUfHcFsdebQL6Rf/BoHPSbs4gXMK/ScgHr9o5KZ2ACmKB8AR8V0KYf2lNEjWUh05hW9YYiZm3YFUMV2WyZqbksEtxxnp+kVFLv75ry/yVbPJAE/ctLL7CBdx9tbm/FvKVUQv6Ju/JFyHvt69PsaG0MhkeP3Os5koPO4XO796K2vGVvDVVAseWMMSKX+8HxiJcASh2AI4iTDnwP5+KLjeU/yNXSPZZxqcz/k2ClzK9yi3QE+w3Hn8IhIf6c/Q4xK2X3qgkdqZzHAGJvnYcMesnhBgMzv53ejK4W74HYWRBAC76Aa1usK7s6OJhoajfVUCG3XFb8dHafqDRv0FIWs2egXaf0ZB8AJP3d5W4A+QjGfFxHngzhgApuAFdVU20dzFtZxb5814p7WLgmetdJwpbzE5vpgishoR7fiO3NW0ki1XncR9Y5zfiiHAvUCOxGoI6tuWvTJ8ZspXJdImpc40ZIgGviQrzkQ7+KX7/keCs3KXFUgpy1Noqe8oCch4HcuEEdDqnhpGEN1eC4Ic/ppNDY1BVB7j4U30TI8s6Ag1gUYSGfMifvvLdVSKtRMyOLdE0m3QIOP984BgCMuZpFllLBbAqh4zEnG8r/pVhEv/3qjWVufBqr8jP3IgG6+gZOwzo5jXPniy8vdJg9/E9gI3XjFKVmqJ5S99MIrluusJ/Bh9vfzVcoR+uXmJ2TWQME5LCOBDemVGn5KtCaZganDqdvowCDdJLz/nv/sX6Igba1ieSKLb7W4Bgw0pv+aTtks2iBbqbURJObWUAxH8XeZIfJn+HoSoh6sLcRGOAYKlrrYKaKiz9mSWgXP2J0xiWr3+8DRn4VV90AoFQSyZFsiZYg96k89ElVFho9OCLeW1SgB5VTFxumb2DCbFBMduWuXpkjLtJcgO6I89XGZ/5iVSUFpE7jzvX093Jf3yORI4orHd3wKrX/LqS5UQ9gOijz64YCHL4o5LdbsfOdzFxqngjazmnWCJjrG9ZzCXD1qvckKZ/6F/zsLAaVKk13NwkStymKeDWnHPGNAEtHg+ZiCPhEzoECFwmg9O5y4W5FeZYubTTPjRL03X7Pza8ZzmH9CKCHLVXIOVQ9RND1KtZXBi3Ad8aCQhOit/Ur6UDoQnAKXY7GMyG5iAmXQR2kkKxfpqAD+mJaCojNzmqz7WZ51RjUIxXhCtaYOSBejTJGBE2S0OKHbfhXLGnQ0P5Ip8vu4JM7/WxgX8lakeltKc0muUJl6j8V6laS7YX08tXW7fAIj/Ri0J3FPxnQXW59UA4rOpCOxRqTVu5ARw9o/ZgTYSDOZ6pieaxxypDwtJHE8j4ZRKNOQHig4OAOVFLm4kq3wAt94C32SoXN4fpzoo4RRTO5/zIt4tg0aZ4O4gtxyvzZchvCAw/MF9PWwOrHpPwyvOMT1Tyc/Ii66H098FEd2FGCiQ6ohxOO4d1eSN1kfovyAjTfiYgyHdCmc8BA0S/cZQt6VroDj4ONo2hDx40vig/vAtdqu6irKjC+2RUrR/reVcl7JXsShjPGIdY3aAaDV11eVbCMMwihCSKlkNUZTr4H8pCPsUeMFkByQF1G44fbs5nqrZjdRf18eCZEqH9q8FBwNq0qSR6Sh5UdrFT4O0wmqn5hKITGvqujBFM378C8Wd1lk2KnyUIWrUMdpF95VoO8Jabwp93o6sYYc2HWZDEpWJiv08Besi8FN7LSkMfLCTx4rSl08zd5xQ3k5IPfR65o/Ty9/2nKVjiBSwa/+2ZXb2rmGiqxjfeHyyCT429b9e5UOs9UmhvHqp+X/QbcXLGyRJYc7zIbwCTL28zERPLlhMYGZFaM5Q8tX5ua1KBuTi9hIFhGNp03KwVnBy4LO1rIe3GDEcfnW3sIGaK++1G/Jcc2q6HkzCbpHDXh/cvNoGZBjTcmR0XDUBpxbEAebdiKK1JjyoNj+TlI5wRDH5YS/9ObYSEjgOD4eaOKthrOuiIAkUxUfdvW/mo5SXyVN73vajjr4myszuAKQvxXuFUgs/73iBgEsd/pSzjtcH7wJWjmBLPEwKixH7713OpezCqVTtQtCqBIpPLd26otQ82I5oHq4S6HfESb9bV3fhJVt77yzAgdZed/CfEli8QxmrdeIkP9jPh5+BlnxweHcp+PDkI8RCvGT36FW5ZmKLeOIPFnOQhtR4R+giMdpYAwvYnQgd1Xdf9yVIMw/VoigbaxjE1iFjDdI7h1f99zspHZNkUOz1mJujMMfVl52u/ctz9NS+j0VKyRrflAnw7SFb5bSOBcC4ZipXgwbookuj8BhF3QJf0XDXXqsl7n6PtB5bVL/SjrrQwdO52CLITfTrPgrhu3aWPWpoOnrH5qhInW0s5pmywq7FmzBHeh1UNwFDFkvOmoTG9mtYzXxwlrafmcnWOIBhS/c2Zk8vrGmuxqk943a5PCSpfLW2Xk8hNcz/DjYEmPRQhC76mu1MNRrWc44tia1/09x4+J6/DJFcjXVh7lRbVkUgLvTpO/1H8LxG74Au53nHjs2Jm7F0n576mWw7bSjGfp+isrDx2FDrrdrkcHRWmexQwGuWxd9QD20MPWix0Yr4XX2BabHEUU0Jf/MM4E04+xXDwjw7lxkI+FyW6gO5nLT/iNevePxBOHC6wgJYWRVedb+kUKKhp4F4W9FgGnpkORDjeepMXV/G2z2zhP3SqmIb9MWslWyo+1jFG3rtF274QXmTdXsayJqrJe1eWHJWbvBWJxVlzPRxYkHdGCbtIFFtJFnKFQ5ofHJmyuxnYV291WqsxGVEqLBJa3AFdFFpwOyJsif7LYwTmoAseHDSOP0jh7EbkCRm9MbT1BVSy7d1eLfq9jQcpRZX+Gf+2x+SiFhoyQ3xo/m5XkI0m1i4kPMtkjG6WGLUlcV3a9dP2+IJWTsGrtp3dzweADh+zjHEeZqKufxjAxl8hPWU9pd0ENsF1pdfxUjlIU0S1P7cqL6JA0Iv+8KfOKMP7pNfmbwacOna4/5EPmh7Y4wbr9reRp5SSE0ALuHJpp3DTfXnzoPjocK2pe1eyQnnlGlscJyJ4MZhKGqy/w05IUJmad7FLJTlSpRMfmv9W3kdgP2LXWkjXlRDeNBSF/zWiTDxsI2f11fMUEt3Rt/IFHpK/tuPmXCfApU7M+iGYxW8wJylSgc5037cFSejSHZaN8Fih8j2zzgWaLUmwOgib52kcBOOuCY+0M8+24oV5cJFo1wtqXkFCl5USRbizLaxuLLwnOAdTFEXBZqP5ucmhU7wSfiugiJgfe/bFjL7nyhYdpw5D1qJLNF4XNGUDEUImGamdABhSjOKA5auIGfGPpgH/lALhwQ8rVvIObEY9btytOAFAxTZjpGwrmdyaHxihHn4oIPJz1yV28N6B6IbEl7kcmbv+CzR7avR+Da6wrcsc47+RMe0q+c/Zckl+sb/dDhPsg1ozXj6LuWCgknoWCq8FH3++esZ2dSnxtuxNR6EhT9ZicG3GiAnwfB4btZyCe8GYKH6X+rL9V5VgQPayWWkRQYS9OxEjARy9EsdCnC3yagtOUvnJSF81UZUe78m71b0olAdkDDNe/8VY0FQXn3mfXwQy3rdSBhs4+OfR/29ckM9ffx3NgOa2E52tAN2pirnzqkiO1tYbKMSOqOLH9vdA+MrwaHlKfLgsLh5sZDu9kPQXW45F8q0W41lciOyrwlrCtHWdSI17ZuNCQ7CbIfP3fIXByNga3KMMly0TVeZhqWfDZCTZMPZgcIJH57S0IwvCSC0zveCsEx4xLZEpUN8CI/cjYqUKdiWDLWptObH3DIP8EhS4TI91pgbUz9Y2X5X8SnvrDTaAqgRPWrY4oy9Q7n9JoWeZ12RRY4Grn2KNxTWM7ny+9GJJ1EBqXWT1mOI+0pELNcxnLDxyZx8c41pyyk37o6fAWGgROfL2UHaZ5HSEzgTdPRKWPINAONuz966ncbf+//CXt+zp6kv2soASyRQlIDKg58GaO7t2vpaazND+FZP37aPWUa20Fu1dAXr4ucjRIxqmmN9/uudeosV6h4Jrn/QnbgsL4rTdtqEwMO+2FpBBX1PH2mQgV/SOTBRj2HRUeEtq3TzV5EDVSWIUmNJtb7ODnJvDo2Wu9zUqtMALU2SV04LTFNjG/OdhcTSTr58mec1jE9yUnEHmTF2yh8pyjXJFONHgKd/jdNdBpQHkEowvNlAX3TZm9vaui2Fr6w77yJ+KvWjAtqBytGBrzp0XpVscbMrEYjFBHJE+Npv4djN+AwM+6v5i9DQWp4u0a2nAL1Bi/4bNtx35TCkUkMz925h0epVw7WeKMJ2yGG/QE9Ggt0zZSgD5fOwYqVQI/WiLsvMl7Cf7zuEY8JD9pyPOy5zZ/3wCxUC01FaTavROyDpTQzeLNyrN3uXpsSChqV8wjPWPuu39zpp3ddge0owx8rCb3dcLmFkjs4sEBpRaDCqN2g+2CE78JZjTUf7j8sft6Cl4Hr9UHx0dBo12QrfEr1smuilM+cb6v6rDCnC8aonXZC4bFoLFa0I2JBjpJGAKNKltJb47v+Q6/ASyjXx0FXKWV9MJAeLXNXBa3Pm3qcbaDH4obVhTWDMinSkRjaeDndgAZkq4q5mtSnw9RuLmi0AUYcgM4YrQvt9JuBuVs35aEJoJs2V0eX0vYMywU5puRmGd2riZ207MZcf6SLiY4YU0nnU6q4r+4NUdu4XAZodgRKPCGQ4b5IOZCc2JNR9G6BbIPpUBCc5l3Z80oiPETBg7itgV4afCCIDLHsff7ME3wHuQ6G9MnUbFYqHxX0CA8//vtZu0fkEDqIJO3LvNNvsBGqX1WZx1ygefLjrBU/5Mkr7haM0IU+RkNSza3/NMCF0nO00DEbTmaz1SH93y47p3bs9UZnx6LyRMT31datasXrmKDGOE0hA6YCdC4BZLFq28/igUs98jr/dToHM6SP+hxi3LWB2gRhbW5khTC5G9l5VSPkGSPllguPCqTjAghhA7od2IHSFPRmPSGDVYxXEdO4P9Ot/4tLvGcq/WNOTGJ4Xo/iSa3cmyEkpsqj9KMAusYvhd3lN+IcfG7jHjRIR7E6P2qLc9PzF5ag1AQawLBgtXl1VYP6TEbc4if+21yyIqeh8qyBGIa9kkklalZmLsXpSXgcrcjwuPzN/Kur9TKjHvOK6vosG+2ugRNNPcbiZKSqpcANZkaqyRiFPGY6bFh8RRVOF9dfR8d13ZtlYffD70tG4pi75qnaOaCYR+dHMfbkoSyZDlsk56s59yG7j2pMr5c4eTA/ELFK+/NakRZAiDQSP9cEgWUoPGa3Uhz6hQO3yPy0fseBZn5i/kHIMMAkA3w+NVJe95lrHPXDyySI55dwDof+gb5na+uaugoLklsCHEQbVRITcIRlIojLA1Ei+kNq0uN3EgbEYM/5O2ofXHnwpG20V+IEiPgdctDHshiqDnzE2oM9vRO+/e/XtLjzGhPUTmUbu+zn25jS0owMqgvJWce+3qhgIvwKgEK3rz8xM97me6chfo8Ljm2fITmQD4ZTEnHoQS2edBMMRX0MexqXcbQBe/516VwbNYSqJTZgBSDUg/5b10lNy+EHCn6VRLBcGajlm1ullPLNo/PjZehSLLvjTC2Ty10WrU8qJHMY9dr8+6Nn5ApAUMbgZBm24kKpEVV4S1iTmqPVMQZmz8Z8u5/r3o9Ee1K0NX3QQ0kLDV8y9ccboDIXldj6bpAB459s2ky5mWHLfX1Jx4hPjaTbjw6Z6U6qVP4mj/1VLXWulTLI1Btk6ZsA/Cgm5IVjL30CHH+K+hVnIApsR21I9oF1oElncXOpMrI1OqheOgrrJ7gRFpicI0GHDV0P1M2Mo34ceMjxA5vP4KqVuWfd0fS/pTq3ULdIwjsEICHQ7PA51jkUXGGQFZjAM7g9yg1UU2/NDSnmZE6MVER2a8Tns8ACMB+F8eb/68JLwUTgW1AwlGrVM+ULY72KLUczwP6ajbC6wOzRrxSdNAjlzg4KcC8Mcopm7rbOwUyHi2iAk+XGE/vBUBK1cwvbp1/rAGW9whbfkGCGW/o5n122kqXNz6WWk0a8PlD0xakDhvEnOZtt5UwycHBCRCBafH+nNk+0f+9k8SDKtZYk1in0L0OtCtvNRa6oyhfZ8MSZDWk3Vw4EB1S6G2WYZ2HmXAh03Cr5QUhXAaxBD3Q1Si9oM3PWoRLQ1nL5aK+OZn9WFfG/J8/pxvcKeEpqL14ubCfyObdX+6Xqr5KhJupsGrfoegYKcHNumMjIhtZ7x12ldKafiK6Xo5O+hV/gEkX7RfzRsXWHamUehMnckKL5KM32o8VfdSyq85YrflkRCHjesRrCMoLAhuxpsBEZwmbfIwCZAJZlsoKRIPqXEc2Y5Y54RNqh9zrtnH1cRxzPQ/bNefhcLVxR09qnSJJEy94oRWxFp6F+FNGtbQdAptXvaLqaC/zo6YpoEy/9B9ismk42XpLKJ3woTQKshgDyk8uc89aVf/k2osC140Mn4hQvd3O0ZqWAyDpaKuX5CeuXuN46X0h6ZmUO6AB2DhRJ/Pm58YVdB0G8kjTyYWBXax3UIC6pdXV7cG94UWSjTXR/cbrduQa43bV/CsSxYZB4b4uiXYnmv+rYCkVSC0m+uTbwbcXpY24gE5yS65tfNskDNykbIozU9PYnXdotO+N3cqdtA1SO3jOw55TXlVRUmtb+7Ue+BsV0vxekiZZ4jbnTG88HrJdndNHgNwE0I19At8vWn/2sIHkhl8vqZY8lv8Kb9WEGh8qzUmecmTy+ecgOX9B2Pqmc3kfJdJ7zvTY+h3ZeHw+ljBodfz6WdNNbiVwltQbzqWqgE2BQ7K9IJZcmZ/fSOaMAXqBqahhicTUTOvRICtyIclbriCZ79dZMXmmw9d5qpf70t6XYu/FwR+R1aEd6USXDmFdudRF9se9Tju29GJRbrs0rN0Sf86C/hwpxlUZhyDeZr9cTLpkwkSQGLfpAlXqIzU1rQQkjANCyIZr8Y5gM7Qv2NnOl4ykFnNo+wY1oNA25UtkCA/SWjp9iFY0O+jDMYwtTCjdQEKw8uvLpERrEf7ewLd5/JATy+9lsT9SZDvWBFUhbih+5wJca+/vOsMZFq0F4m5SSbI9pQ/TJa7b6F/+nNVzZnVETwrAtkfIaRw+6p992kBSK9Is/EeiAgeCmcHYee2pKXE2bfLfTo9OyuC2WhYfk7fJZ5cbyKskdGXEtkDvVRtST/cmMEVcoPJvTtjt2U8JVht3dnxpSrjgUdLCt1R9O4hjF/eD5r+nypQeS09VjrzFC6L5bvvRO1zYL3zlSjEqsYGL6McCd69c7FVur9Q1zt72rFOcGrK0BIdOOUunonvuoiyJ9a9xEYhAN748LpwWbdgMSZlmIHvhW/MYUop05QfZnyfMSAj34JZp7FlEcfUJc0OVCXUCWVHmYe7VfYkTYfHsaXaRND0g2VAGLTNBCCyi1di6Sl0cIIZ0ifhj92UAt7VhdGycsyAIZg2MIiR+jLgZPD8l4yJ0T/+P5qkOhWBgP4tGTXrsap2jnSNpYLxTexATO1kw0L/4dCwVvxB4niam/d3bm/rkAcFfc0sboozDxQw6kf1DqUM16ezXqW0ecOHN0k6Tsc8kfrGq8NnZmIR2+7HPqbccpVReaXu5YoNEs8K+DbmeT/WJAsfbzsFTuq2tFSsxogJWPhYEW6OlySPfexFXDRdJd0xf39GoIiqi3craZmHDJ5DraFCjR2P+sTdbe4Uq/7WU9M4dx/jAapgea7ZKs67TpimdXo7Mj9A5wjRZJ/CYdGZLyhSKlfw8ra/satCVOOLFtWhz4zcHsYCAzBlK6RUetscp04fYf0AaJmvnievaxapORhUEOeLmWUnrXQ3Iv1KSHDoRO3k7fWq6Tme1kD9re1JlCmbWSBK3+0/bYb5AG+bss5vAgM/JiMhcOgNgZAoSfdVGmKxXgNKWdY4oqYJSpCrCDRFuAWtMm4KLiYQCRuGkXdyMurHG3ArstdgCJ+oq9K7sUI2qyXUt9S6iiNii9ZDCZHrevNuRZfHB7bhWNa9y3c4LyhEzcwgfAt8m/Av/+CnKzTAkPt84oMUv8o6ONQ3mB6TkTm/4w6zr+kOEVBT7eTNGJoJQz0zohxXA+z+WHaxlS34DGUguSBFJbi0mD5thIct34d1yXepwRw3l/hi3yArU9fKlCpD+7jyWqPRYKB5kXYHDTZKMR80ngRBW/xAV4g+9UPn71rxaL9rutwcHMrfj/niuP3NmZIP7nPghwbN+S4ZPLyu7unWy5GToSD5KAFYS5gEn7XT5vxlsiwIJtNWBghBRbCHB7gF+2RWENL5A+BkQA0CCsPQth17nntqTAdtHxQM55GYkdf2dL9X61PwQH1jaYYzXpahkMEbLQVXbm2OBx5pB5tj1THRgZIO5IblJXLeg8tdOUjm8YxKJlPPmFOJSom0XllWmKjSpmVz5GZxSfaI9VTfBNYU1t7fGywIX7yyB+4hJtMd7zemcd/VSeftmXSdxaH9P63LF2jlkUVrwnh8oqQBEZIfEF9Po7AJ3Sfls5LZ+qQ5SIjnNdAX7uYaheD/cQTyQe+FgyXs3M1bAxRWULbtvSI/G7ivqO+zgEiglR9FiZRAqG91IH5v91IGiyQkqd+Z84gPnX6tE57M75+UVWbtf+LSKckV1YUDPhQHy7NgttVqd9UXpsM3XNdvQQjIBbwT9/s7UPs9Jwdg0oPdRHThzNSH1Q5kc9G2uQwDFviK9267dmB3pm/7+hpwe/0LyNZPR6lGJLlnouSqd1e0HyTQaLclJLtHYyGY5d5VkVTWOJV/I4dVJ5dGjDvTkR5HNKkzIFlEo+v7k6hkYPiumJ+Lk7or0nRZ87ALhat1slpuwpROv65z90nI0LfClvI8nhk1V56TwMIVqZ+5NTRHkKIr7+GMOgBK26nyRxoi20DfpUUTdy6UmBfODTB9Q1eERVOd3tIJ51O3udq1YL7NWHO/eVeNu4y3+AT5x1gfPQENpAqwpGsNYwFV6BWdkRpusSOJVXiEyBAeqCK+Jn9zPJkqieYKrZrHQSICLjQjObz/UtLIb62bzMzXTMeH8V9Em7URScnEoKqA8u7bYE//QmvbvyMK0LMU5/Yy+yYrWlmpzTa9LIjxjkS4QAVAN2fj1vmxvRSavAz+E/OVWAjk3UnZHXeUZiSoieIeTk5drJXJINvwezc7gmqjpJeMSz/5pS4SO30GHni+rwkQVTI9XBUsunGEvBrvFzVgD5E2pIYPIyVMia6XbtXwppQovLHdrIGnhie7sstdp5GqbSArl+RDz7NdqBIqfyQUM+95hLkyaTHDF0BCmG0YGM6EHg4B/RUJX/CurZnmrQ4OPfLtjgXZj53+R0YxyaoivBv7U4X9w7Z1ssr7tO3IPer7H9h7mUnBLUSKOVAEH+Wd/NMZpIepcSSVxuYkv5HZQyknOxpIUGXMwp8PCfMYj6IdwSYJbzNpm4XbnFcPFuR4s/x8TJHVa6LF00CQyEzJvq1IRRVE4J5v5bYn1PjWoB31yFAdb5y3eLaoimOV7uozm/oG8tUgUgwWOc/g83mm7vfqAQxVq3S2PohgvBPhyn9Pz1aHVN6vOL6xIMRIweZLpjmtk9qnzPsLMV5MiGNUsCkXVdp2Gmww3ZQexk7zxc7ogOQ6d6p7Od26R25Pu1tlSk4IFrYn7f4mr+g6zsxIogYvYmORirIxe3M/mAlsVToL/BzQYFYn3UWcODVdJneOQb9m6lCwYbU7xV4nczRwWoRphOR5OHOo9rPZbvd5XXTtDbMa09YCliAD9ROjzWqXgtznonMFDpcee7Af+YMCb7Y/TjY61naxIyzjbvZKs+a0lf807zWs4aQAVVu412ZgJVWtp7s7x2aJ1nTqvG1cjH5qM5jpZXrENv2njzQ38uUwvU+EjMm86uRVWtAooLfr7a4Ih8KjmC1L72UvC4kLQdM0Jv4nS6n7zQkVwI/KY3rARsPostlpG4gLa3hN96zAnUMV4P0wpSj+omVshTf3Q67AAl44kzrjDZou1/U5CcOVHgfGTigr28eYmq78IMWKbxrNkooOpgWxqXCVSP4aK6S2XkJKbhz/7suEZ5L84/RWs0bPHpqtq9Uo2TAku32oe/ma32DaxjaA+Xfk4chcyuQZ/hauV+u0ZEMMzQRJ655zNk4V+WSYeAQDdzjWHwNP5+5oFzWXOe3hf6yJlc5DL4buoqI4KLVxWn+oBNuBc3DULrHST7mAoU2ZMBK0C+g7oZ98YnuijCRss1wMVgjyO+uFNR3LYEZkorq7fqytjlV7oZQ7DnaoGUALnW+wlo35smzqcV9AK/3UWu0AxFf9vSHP10vByO8TvPYA/kN/A6dLEv/RxgzvrqMmV5RrdFomJTHUwOGm4mEY3VYIPvhLG8x1ASupiEa3PEJUAbtP5Js0xGXb2gwyuJ3JW4Mzv3nre9MXLvYx2whJIjHACANShmrkoWdYQVoe1FU7JR7vvYBVCMWvHcZbHB8hBP8cBKWfzH84zrV1R+OEfzWayNBL23FMliANIoDjOOMBkzkLV6tb8kfLAgeAUwDbdXWvmkbf1QePIPKJUpKwfm8NJxtIkr9yKvSP5Nby4bJFQ4I/NZZ+RZHW6ZoJu8kuJzTx+85tQ4lYdefacWCf4cHCDI9yj6aeai9pQNfFlcW7x896Sh9PJlozD+EdGkHb30i5+1Tz3jZ4XWnSLo/CDW6QbJ9LmSirM7gaG51IMEJfthrvuaNkvBqCantb1XbNQhp5NtN9WoWC38sYWDBSmn2XmPX7C42NjAsG68yRJwc78YrqtMklL5fo/ljvbeWnfGdaCvgIvYXZj+KPewB7fdsWJBWoYstrrTbxxHvZtSf4y60ujwj1WIYy0FTqG5eHTItRmGPesdQ264WbwHeZASdyXU8bkLrv8KshYCrwwAy9GbX8Rjiqcu8Ise5D7w/lK3YYMK7nA0PJIV6AdXfwvVtLQkjMm91S9WK5RUOhlbj+KZ/y5lIj0IEqdl4xD+vZj/X9W56yyPmkTMHhmDXhnJ1TXj1TcJpm75Gp6gnHdvQ1V6xewRc3T3fWUvpkvoPGR67EmAzrqN4b3Zx2WrKNBppMcRAm1GS4+rOGKAIpuduoOhJC5t+pzJr3Mgk8WviYMY+a/hSzYW4ckKYXX33moDjRPJzwlvGUS2FHWKAc5UswTXl5fo9RhDhWvl4KQ2HoZbzfM+ohm9ptRUe90Ahcl2QES2DgupkeZEgeg+gyVPFFygdQGPas4OTsTtf7VlUW28OOZ2Y2Sjzzjs8Q0vL/SKTbWMGWEQjq45QfiXOkkNmqYafx4CW1mPXmYd5mpKiR7LY3PKqw9lh7gnWRCwVFsR8gqmAwcEiapTPDMKxadgVFVghVR+SdJmd2+Zpo9E1DIvD7PLsndoHtiKB77ED0Ee4VKQNVyHfRpWC+VqpDxr8kG1ryrlWhMCkUr/fM0Ta6js4ci9sdX5keh/iRvY9JK/oS2Ff136HQ2k+z2BIFFc9Q7tQhtWrcjV5cjCUZ/xSdjz37aq9PTK42F1aS09qkJN2HGdVOPHDLgj1iYzfxeuDRbysqs/l1vsJGmvdK01esHt63ioX/Fl/oyf6BEajmgkupqUbPUHx+4f1Cf+JQZeQkUXdcycjtXwn44BtMowE5g46CrGEcdQMPmPHSxI+o633qqtLssY//O9yGL6f+lFe0MVahl5X8wwBDWRahfhXjJN/WTnok5N8xqg8E7KPAtLUqbRywyEw8EpxDTk70Ub9lm1xbDLM0qlYmido5T3k4kxTBqC/G8ITzWewZfx69rhL8FOVRMqwTL2UQl1AxP4ncKtBN8eVn1G+o04avq7QYkDgSykBrehAgjWmUBgcKSgOEJKxRbcQNDHP3O4UBMM/K8gIj3sQ6mORiwCKkmT2BuT0GxpRcJdVf5NJAUTC+Y2je2crjJDjoRo6ox9YA/ndk6msT71uKRgucFksyBFvPaY7H535G4hv+qiqXVdT9sD886wlldphHvsBDZswTApUWvv9AuRIsluhaTaVIUwpkne1P4iftTYwmhhGus7xC+4/LDG0qJFzegcMDQqFnl0IWrXmcwtlNbEiMofXTqqr4RoPeMo/mPeiTKvtN/4G93PXxnlBbsVC0tX9Bqq4I9XMFhEbeyZt+z+PCpWLJTAPNIHKfVr0kjuxVkltVjOc3zswDmQkGX6p0t1WStABlsw0yleOrkFBoRqgasGjQ7HXxkHwo+FDQw/VSTyM13Wl7LhYAh35vBB2qGq09e8wVg1ulzKI2q+ekbRL3q9VzvKPencSWtPlUlytAm+vBA6lbSrxeOV7vIQyXwSats1GyTy6+freI/PqcbgAqmVGCy6R00lTRMuN5ZblnlFM1NPAWlThvHRObbzGUEMo3tYGQe4BSrYLnJJXKHZ7UoWoeeC8hbUrbjNi4zMuGxy/ftr16uo5D8sO5VWLyUr3G5QcEvMWe5cE38C5GVAnvne7J6mRCIEfN66ASUD79DGNMCF7bkR4EeHTrCbxgcKKwzg+SymZzQ56WzKXo6k490MDgg7dwdQVKt4FOg582rTzVk4lJUcDMAQ65g8M4dIyHS1DwdhsVuOYH3DlRl6MPs7oavjavHsfsW0ykiGmFkzdEqgdJ8Rwv47Zw/5s3pONGSvR+XJDUwjO0i/Q+VJWHcAngDoAaWuOi4JeDIPuN4G1BT6EfW9Y/Fpqvl1/mYthgIOAofhvhzCXCX8FwCBJidW/VEAeVORKVkoaBdqxpThp+zIDxP18cw43khvi7cBXGwM/pVKKvlkW51ZdNrYfa7bhxWpmH+FD1MkVhMEJI1fZ9Fwo/jwdhyNKy9OzC0m1Fdkt7CwqeCLetYhKaHquNbcaYTlCV/yIZbYTzBR5FKcGbfx1jxJYkmOQ/rFyHfvz8M2t/BVdI8YFc6mTwpLSARHBSLejYqgcTruaniuD0NYR5x2nYO1P8rn6OBZ/FtxyPVtCpFU84jE02XuTraG/Sgzs+lIRiWIGXe6F9BK58pLZH+6v6GdiGLzv0CHcFGlv9km1Cs+8D1XAqeH4T8bYytghvN7Bz0IkMbU5fXgM/26t4ZygBvw3ALHnV7RV2/Ty9daJA9cDtT7/H4mom6GmYEceMpP10H3Lm9XlZ7Tjjqwuy3CQNv4OsHYlqy2sBkge72g6K6SwOoKkhzu6cIPXysIS7TTSL2EOPW3rBso/+Oe0kwqzNe8seUhJFhf0KGIjPyjZldtJ4N+AK1u07pd2A8XySADDSRYF1Yszq5rztEPKye30a7L+A6T5sD4Vkhe1DqkrL4FPPuam3VCnXYk67A0kGEFsoVTyJzstNs1cLOvqbdCmUAzrtfN4mkthvFUgYi+9ZaI27f2NxjQEsMcUnlm2LzlQB3ONo5uzqq0P7hgbhC1wh9OwH/pZPtgG8oTUWcufzB3I+ROR4bMAFW8tVW4Z5+kC9KB80HawoOl6gkl7A1Z3rtc4Oj7kdYDqba27IZFxAnJaUSvL3KMZahqzvOkfiemDEBcIpzg4zbjn83w+gr0RU5e4zKNLGIZqHeczPFrlrgr2ZykM0/vlh/8rre+0Axk/BcQZMBdkcOJktf/qQRqj4Q29B2KRWLkEDI/9SQVnMi0qddAS0/0MOp+01QKTaVT+IDCQNpjQE3ay44k/PP3mv0F1ubH/uEh0K4T427eWLp8KhBQ0NJ0RRPblmbePIasRqXNMLx3tg/vang0wzgfUlWBQgtHh59GmUCwHr0q7qJ83QvCFNIA7glC+tmjzjVDUyNpcq2T4q9pyir1kTsJtgYG1oEfPd2jjWr9YDslzQzxj7gyIZAaMIQFh2WPPgiyQmbNcxK0+TlqpoW3CxTJVT1486xUEHa/tOidNm1alDWfUB71+FVrPIvmvQZtPL7D/UxPsiqRmvznJarxU/yrbR3b51Ka3hIoBfQ9YTUmqsElQvpYhS9dpDd5H68z6aGvSMMDCCMK3a4blFyYNyPkt59+gvS+rt62XB/ypFY5/r1c9a0OxWOwHfjxAurL/OrlkXPY+DfjCKoka0pvwiijtfRUcCJOmb1aCOtEBOzN220Y7ca2Jm6iHPA1UaXrs7Ph9UoNlA47YtbmcjHhKptq83xgEz5TkXihfKs5kvRX7A/+LdM56PWMrVj1lq0hdHrApVhtfTVzAsp8i4LeYmlqZXShyDUdc2uD8tUdAa44uA4EtwBZYsPvyLstQswJefKsSkZHnBQ+zv32cJ3KufS6HZDFOPl74Dr7P+wDBtOkUbBrbS8DfQ+p1G4a5WVvUsWgtjHbi7yQJDFuTyABhHD2HFzgPhuXyy5iP4WgXvcxL4sOeYG+PF3j4IlZDamzh8p37wYB0NTPt4TWpIV+xStRX1rB44V0sFAq7gybYNYIyWPfyY+urXOhdi9uy4qt8FsJKCGrKh025GW9aYvB4V4UPNDcQ5Dv5VtLglUHD33BAnnwvGVa79RY5VyC9kRZxL2EkhSKBBFtXGpcxSm2WNPF9+BW8thWIvRZQF4r0sfRXzos8nNVeXSnvLHglCk8U1TOMHdjd1s13z4DsFW5mfzbI7LxaFjYloPrXCUlcKTxjSqTniDZXvJp6glZ2nMZfobony+7wZkjT3Qn/dS40H/6Z3+qweqoVpZf8eCfhjuW8rJ1bYTkeXZJABQ3O0s0ZrlPkhlOyjBjUycaPKJaWvUaUUwddizxR1UDncwg54yt7TFUJDc7mgbIGQgzNtgzGq3A2KJPQktXOER9Owxs1BAT7dFMp8497DlqaVFyeuqAW/azTxzDnoErzsnrcKyOTFxy++pyKwjpbv3VKEAmexyIARbdJmQDCAQQ5g1BCEmK7u5iJzrwPsQWA2/WJFxjebJdILA3SFIE/NUDT5ZczUYx8qyTPzKBwx9B8pwCE8SLUm77DcBCz+HpEGGI8jWfKIQDZryUd/d7lblWKDK5BrEuNVbF8LkNi64PhYaT70U4XiZQTJG04935NTNVH2l5vAm55apagoYYDUGKoP5qhRRycJfBglp3Jg6iz7ytjPCKmD02N2nmvWd0k0DbSbreiDDCbC/eLypfrVl1MF0KwRW4iT8QvpfRPjaXe33LXbHbVdtZG1PZpOnr5VhskpHL0vfbz2GRaY6D9kJpgCikWF+vMxFeK0F6Wu+PGP1geXhnorOdWRcYITNjJqSaakDCUFa/GXpJJNW+VEsU8usiZ2jeJqGjSccKbxtWzjrHWh5adRcOCuEcPZ3l4VqvIRPNTfm8+MoDSpu/fcmAj6YEJI1JYK9SCRdKYE8T4kjw2NihrR4+FqYHA75VBPrGKzc1RCvV9p1C5sPON1WBKNPTqd4zqkJiBqUzHCPKpJQGvURYakGx8PnK07+wEWsb+V+6kzf0whvzlZB+rJV3qx2c60INUbVXx8JWGk08tP5gf0jkrb2cACxTPD4m/7o6UXgXJGM/UlxMVEBIZAM4tGb4+8qmj1vW9GYjsCBYw8Bd0wSwLcxgzaFQgKa543U5JAg1mZwEm0C/lSfT428oepcAuonRG7YutPYSQZLXjkf4qtqTXvLWCj2qhqYGaLpIl+HkbKviuWytKbOo7UPXoixul504XqOlRQbUkazfPbpKQwS5Kz+8ijS4ydc7lWokc43mD9eN5L7DvJAjElKi6jdpta6JkXU22e3S3+4xmETIa/R3Y3T0B8pOHjnXroq60BL8ks0nEurMZqdvyiHNp7FW0W+gPMLr1GKW1gcz7GtTOPwskOcvULOMNlM6IBBkkdRp/VOEOUIS0t4+D1c0qvePTSK+QXn7N9pKwPZczGR7v6Z+GIiislec69MvT9EKKQNWaXVw2NCGxXnYfBJUPBNZStdpW44dZ6EGNxINPCEi+Jaq8EuCqow+1tlQWz0QKlg/Pp8cet1zoWijCLFI5fI2oohZc7IGHpKTkyf6W0du5Uiwpe5K5geDe19wb67qzbFermOYhIUH2wTfINgOlbtzjtqf4jiu6xSK46OzokLt0IthBXBb08mv0Rt057gMnv/5x8+nCEFZCAj2FIE3PWNNqrtnhNHo+rcmiphcq1AvHd/XoHdOn40eq7MP/R9MKWiGe1hkFNrbEoZxzuoCu/hhUgOR+5K9kCxjyfJiM431f4f6Zzb82yM4X6NoB9OBIXy+tmAe8SXQCST16/x9/5IYVzWtbjlEbSQrBXXRopChz6m1zujmfMz6vWYxaAm2q3zoDr4UkVkWRedBXQeXQK59xJmE9717S/8tiYPFJicAVR5syEg3vAuiv4B5B1ncuBHnXpgd2UhAF00vrmHgHrrtGsiB2x9t95Jd8ykmILko1e/HZXJMm4GoWtZgcLEr6dTHA8+vznhDGnlpzuljn3zC03sLq8VM2NJpZ5tsVCMJKhZ+8MqG7766r+dKiUX8yftrTLe+r2G6j5wW2q1thcx2YK1Ir6+sbLU9a2tTPnQmLwSU7Z3Id5jNBL4J0ty/tz2bIpn+ytn91PWj8inffencDjK8p6RJ2SRxz6+mwV9ief0HjyPfx5Cnox3f7mG+VvS87ZZKwpfxj32KtZgfBkynqAha1u90pfhPMrlB6Y9uxTusJxg4cdo2WZTL3lt6TqinjoXki5ZAnfCKOWRY6C+3NrnxZeuoghHIEaLp1AYUsqgJefUaCBvOhtFG5W8vW9sIVWQQY6y1/WgJch8S1asOF2QJjUvgcXFAdXSRiTC2vsBLaKVTSRtv+uTQFYwyUqKHqJ6nwgThXowi5s4eB1sSHEizfogaKwzlPOfE8SSw1p3ssVISyuB2HtCr53a5gZqiuZHy9sr/NPMyse/0YYTn9QxOzf4BxNSXEDeKmP3ZGbTu3x1zodH3qkFYoaoYMoLc5XvN7rv/JmEAaQ5saYNYeDSYJYNtUTxlvPAb3vBGVIG9ZXuVtWLGF2gVFn4HIoqrVyExNnxSk9RsQVmWeBohDOm68wrR8TdTyd/fkvjeiDdmKoXLlO4vW1OFuLqf+RpK2BO1grKCz7BnrrWP4W7tgTZmE+4aTPXAF1hrW1lqZFh2l57NpxLimoapSMFrLDDrxOv+wLnm0YCpGF/HkmXo439XRujmWM5iBdys5g5Ip0DmQlZg1jcA7QW6QFW5gsPEdOcAcEdQeZLAUM1TPn8lllSYT0ndnyTukX3WEfVnn0YNyXM8Rpd7goyjL8XH4roZ11T7MHrrHmVxTnOdfWUlESvoCrPxj8RCVeAgir24jdsVVZAN7/vb3fKP7FkoFXxk4bIf3gZEmyvsSDMF3X5xVM06TQ+ms7Pble3FnxmPPaTG/QO6UQyKQxv4GaO1PphISkJkQidK1mhIJpmmrpyiVtbXwlHQ4E1jqNX+lWb/TjLYfckdXMR66CBu3T2fYPeSUcGynC0ox4letqpQHiATjq6DxsXSyYxeeEJL3jRIGHl2TKEn2XPJrhUyUkyK+B1iU18XO6US3aobNLDHv9wCPHRFcXuvlYrKdN7MZTcHGlj2L3livqZf2h0sUXLi3HnRALNc0G9FGFhbbKxRds0TIFguUTDiQaPd/TVwwvJpEhWdJlxa2FNU0Vr1LqCVH+tFLLgjcsOkrjfEy5kgEpA9MPkiSmzGQ0DsB+fEvqCnZbP5SSSuXpMrFXDlK3bvXABGe9jKtd3CqQ+VINbchVuw2FeDzlUSIbO03VYxmf1ENMDEHSlglrmbYAW/R8y1nG2Bhn/5Qb09y14oYj59NhiOGMRIZ9GM+prQw69FKpVy2xWuNZr/6AEhxIGV/s61p+RMsQUnxiEvq0sFdbqNC95LlgxFX5J9aCgSGcQE1IxtpGKNWEERVDbBobnsr2OdrwV5d0IIZ8ixBsax8VtXIl6ypdRH9y0dueY+ruxIqgQ4LKzriwHHMQZn8SRhaFZqH0doUAUaQlH4JzaGRs+q5qx4/Rr85z0+ep54KdOeqxXjmuGbUva83ZS+FgLswdlBtwcIU/GbxiH43Y1PreV5uRNq1ywRt7bTBj9o6DV5y8PLl03hWr9wr/siPWxaVgtJZZ9mEk7UKLZXsXNCMcrotyPUC45hMviRM+5TA3p8oE70x+/4YtylnY9iz0c3cfwxW/NKxSyx9qSeJQwl70sP5S9zUyRvrIJd6EYe04ikp1i+ScZVCHtqOeMXq/uOjlqJBitQe1Xxih6nCRg0ixOYzxuZe9jwotWcRmlZanv8q7qBNDmn0mEd8hnT/qw1CecKLzrtHK/+ymUwb2NiELZSHi4dKenQp9g2n9i6wI5A9xv2nyO1vnf5tnxrsc5koLENGSuhB5xX3+QkhI8Vp9ZPHxBIe9zUWqO+yCpaTKQQHUREYdOxiu6VRvzF8rdEMOKMOVO789zPpGP3+n9G1EeTSSfjUvtFW6r8uwb5ufspqwgbLa08JIXWnqWOyAdTXEDgAV2E797+oMhBMEUIlkHseC7gbtrH+RAGGPJ2Ye8KhRODdiRrZ08C6W9JHbZX8MFcA6FBM0RfMPrVJ0Z+o4myYJPRfZMT4d0YEVGcfAyvgzq4z8T6N866SWGJ5Xpq3GX2oqwJLRgCa8Twf6/2FzJ4uwTb1CHGplR6s+VXAjdiQVGVgrkRBdJ+7G0b4T23BwxUPSW4sRhzI0TCajoaJNp/pAOc1pr8wH7Wsl2Lg2Mz8fP/zgNktc6nSvcdfdIkKPzv82kZHS0/aIw2mtLNxVaW17TQyMcSjlJOm4xx8FmXZwHkCXVl7kRDXHAGsR4TmsE5FLf74qgwgYEW28tnZp7Tw0TGjE+ibVaml00aWmeeJRqZE3ssh1e4MprruDgpwrbnM0Rnq0UclXMfRXkqKEbxrmP2B8gGidszyHBnLFItcyXoc3E6gO/99mzuiKJTk9Txiuxm2GZR5DGZeyrGIGb8HQf9CYm1bRy708hS5Y1tFIPG7lGoOEpiC41Dd+vp+0o7Rq7MWf9A2rD2x2lGIDuNB1uc3GsqJmy6M3NH8Via7wmd+hSfVTkN7r35++wzCDyo6e+FuQrgr3KXEVqeWAIOgfv8rLDcj1D/TwxLyKjnqUL0BoX1ZzrH+FSjzU9wPufI1dKRL4cBd+ANS/dK6Gcs2oUbTiXiEbw76HROfpi6HMs0iPm1dpnOdCBVGFji6ySIzfrFrWK0Hw1ti25SkfHhBoFtHA0CrnkXJoAukLf69+tbySmpSDwMR4KUfSlqiGcbRtDvTPPZKXEU1iOiOxxKNpoVGcvaXh4mpLMNhGR4AaGbKxM8Y6eXwdD9UoiUu9HfagvO0TQ5aRrz/ZjCMKTiRdykpzkynMzyKDViDdBlESUN1XB2viklY35N8eL5Dq9lNB06ah1cRoQ2dP8vqYKv4X31xuXQZTaf51YbewLl6PDmCg991UAyGpJEgtpavzk97F5bzHpa5G/ySVtFl1mXQyrdYczbHi0dkB0E0O44XPI7pu8PDPM1Hohia6IJLUmj1asE7JFWozOiW1tbXOAwup/kT5q8/xPr76sroPk40zY9K6I/M+skTgYSB1tdXAe91k0rOKNqP8SaJV7KwNEJkWC4tQF0xzOyy3xPfQQIRWSihiY7teFY+XVirJexRqni+BWm4XT10tNrnXwi+ZLgp6noP7zfUnDbW45EuQOTekhSjqYebJ4tICFLwEOOrKdy/hrKJExF4ug7Hxr+sb1y9zKRjUVqgLx59Uaqev19vhR9/S08WkIzTjT5aB+LkDaTqtIZzAqF/zZj7F+hpmsm107OZ5SY621hoT6M2f4zGh9QkjUrGkY+dOHANwYT9r33jtpWqr+ueGAvPsQYFhtWczpvGY2nuTcNlY2l6ZxubDbnAgguisNqfFRYeXWe/iGAsdtDo/PBWYv/7fchnM0Uh2N+od4wGk/oNjpgTZVtWwEDhG/du0SrEYl2IXIRqycncbgPH/dhvbuaYJxgBgopZq+pBizZ37EmzUWfQLLfcBGXmhUT1sMVQ98cPfM3Tm1Da1TV+U72Sj9O82EiyD0f3Cw+P+Ajse7uplnBIOrLnZGBsTL7Eam4eRxcgwITokjQZ7wTx2Q8lEOZ71wf2RcvgHj/HwFgQbNcNdTYIVXUC3s6GauZsI33I1yisUM1yyB2g7boGNDsQkUiQMMn7vOpTqQ7g9pK4eTzq3FBYStiE9GEO+MSVey47APMnAh2c8upvhrBiD41voZYvUzNy7Q28Y7hSiFrzNgRgjTCxAFcvHwMRguVLob0tW65WRmNZSP1K/qUCApJdAnwqhZhIEFIurm/pv9M0sMiRuMwiQnLKAhX7onA1Bz9CGCDoruJ4kVqxCH6z/xeDR04uIXMBE9B1Fm5HGqZc+B+UuXyZn4w+mzjwrYWMeDqhjCe1XkqoYrw8In+cMQw9Z1M3Ish4+JbaJoBshnm7KUhhcg998SyFzuuZXDFCsFG70uMT0WdNcUA2BqrMmETS9pTQ7KN6zBl5dTtPc+IlIJhMTT8KZnmFsPQ7oL+91DW090ZNEmEYr2RTPuRMLpGE7zs5jdJr/cwWY1pP8uR4EtsYNcEc3OeqH3yvNvr/cXA87RBiN0WMKWl1mj8JDZhhy8km8Z5jusqCtnZqy3fbMvMKYG8iy9jgaOJyyv3yMntYVEbIe4CICTzxDRWgd6qz3czD2LNAEZHrr6vqQirEaaBQ88Q/hO70OY50M8sCoee+QHs2Wpjwvj8uihIcz3M302ZEoLWtYnZRWsGS/Hck3rSIfLLUP87uwTyioVJ8SuCS1mLlksBMQTFN36vWXkpd2UpcpqrbN34DMBWs0Dz1aWYpZaZsBZ9a/Ef/lWpgrVkYpA5LYR9LYlcQrtcVVYCiEV05htnqPTArMWrr59hn7GJBNfRAYUILuBLHiI8x9FrFk2IYyPHXmI6lO5RBuW3FnMwyJYR+CiezUU2QFzFUYx/miLLlSGEdjF/tt2v28j98j2+HVI9McV0j5yO7lbqXPfMtd+ZVGl+yoX0HjgEzS8opAEInhUkTeLMxVeygD/4e82vrOOa5w0zS7r+n0p1h7e9gyqfDu1t1AhlkawX+Ury9Ig+cJG7JFOVVmBVkYFJ+X/bvPb2nYwBe5v6Sp76mQxtmvIClTyNaWaq/ECq7lYFJ5bMZw+/k3tiBaTaUqcvKIJSbibAxGE32YCX/77tgjPDHSs1An/PiRYdNqA/pUEnh1afy4EzNJh/0AWzedk0CvVl1BWxostJDHLVSa5YCsJrsrbdLvL/6qe6EDW7fGR7SpbiNTitgtwVvwCrfjXJ9afj4ynmK1ZRzKTwTruFCXMGmGZE4WaR2ctQG4TUsCN8pJllGouGXwAEYMIRjPlRPVDzcBd7NZjzJqPknlRw7uEC3vytDbqzZRUodrNNyiTQV6ZnFmZobnt3CNKqYSZClaRRVdKM5P9W2FtlEGCtoui9IC9QnZDFjyjaDf47m03Vm+GTY9xinN2vl6efSiuAVdyr2M0DEAFPM5fN9PdY4FFkGlY26+HKw5ZgQLlOPSOuGqk8v3RrezrWkHFpopMNfDPvzYaTH6hGc88FLVt1J/pxFNGyxfzifCTaCK+6ZJIsonigl3kzw0SfzlBm7iDwWxbuDXrzTYphlqj2Uh2oOgPPsPtkFxAVWP1lBx1ExYZBbJsycYqjNdBxHH23ixTzjIjhbUjofgM79U0bclj8taca1f9WImTq9y6cEyekLHVg9pdVLgisiiuaXHy3BiE5m0fCZUc69r5dReenXKl00sNuVqIKizoJhcHDrvUr38KFgnE2AnSle6kh4FRLlmehfpU0mH48pQKIzEPUR8DR9EELJ4+6x1F8BZK5JHXguxxOBx68xyRbpZ8Z0wlrIo+g8/hkUDRU08w0pEa/7CgLeMmbIy2vLYqspNKUzMcaLOpe+6WeyXR8akCin6jbYejxmDpsQ9vEF0PLYbW0nCrjyX0jUsijIXgdaR6FaVRqXq/K4SgGEXGAjKZ30pP0eyo04/C+wlNSk5MF1bMZ9Znk9qVWbo+/56y2kG0igl6gP5AjthnhG3Y8YjS9iUIsDevddMOW7O/g5AMHYXsnVly/tbJu+b4M1gBe+M36xfFRubRB17OhtBjCQ9y1erzhCnxhP3qW5UkUYmJ41d3A9pcyROJqN4txlBKDh7TL5x6apJNOPe0VR7haEegEwkET6I6F5kuWz5Q7jtvc0dNcpdB2ariIF0GuqSZUyGLj+8cwrtYOjWYUU6A1694HDLFcYKi7z++tg38bRqoofnf8E+kr71gljjF+gkQuoURMR85QlT6yKhrcS+Jlm8feLjBhvADxAKtpMFesJVURiDi8jmXBt81ldOZg/niZF8CXS5PIx4ZspojVrbwfGwKqK3D46Fcv/w3Oq2F5j578KvgmJ9dbK2nlTw7i61604MkRtjBxl1/z0AyhDtG2Y0A7/F/ldccOPrOhMGV2tUp/6tpER9s8xZEJLIWQy2596Xf0OTw6PgbRov42Jx/9AgewGufczm+CUlefZg8pjJIY8lwQWeZspU2OvmyuU6dOUkyjefvQcI3GDFHrjcv4uXBDqjNwzTuWYUlIMS0pNrtairKr4URam2ebpas9gmsRMeyPUcODGsFkqStW86/Fg3WDfvPrJf4INdQlLE69JW986ZvkaIpXuTxfbM9OdpX1TU112LBiEpnrV/A6CkWWxp8uQ2y/uoluPeZVA2NCW8JQT82opwLEEHdkLg5hKWBuh5HpXUE7S6cezYoBJWiMIFNMhNJ/AQBsafL4LpyReZpTp5CT+EFwvZvOKEo+7sn147Q9+hPnnSg+ouvtFUK/dTnVKN2JO1mqMPzizh9XsmoBO3qaxlb7DM4L3+4NK5bzz86zCzsjkFL4W9XE77U4LrAYGe/OiBXlYdBV95Ngx4uVYE4IqwrcL5QBgzONesSvrafOM3h4qj6IWihkPkCChC/cnACH/hjt3MvSPf4I8Pz6cPxhKjdl+HIqSpwGVn67vG0c1ANPtDHiuTJIwzB+83ZxcfxpLfj0Rnrh4hZ3t1nrVv1prJGW2+wsJyRLIYF9jJdyuor0laiKYfukIlnGIi8U8alLLXkxq4rXnAt4QIWvHyOfRxrKC+8dA6F8znjJVURgfxwHcToSf+XFlRZyDtpxRtcqUTsg2c+DzJVLn/dzekC8/uLX8spowW0HB6N+Pwk7revoVLTmG3bNrcNm/QYMxXlHaghzP/jUbhHWDYNS9jOy55sGA2DRslhf9zRmzfsIv0m4Ajnnx3nht0fRB9qHLe+lfZDGWMteBNAGj/VV7pPqkP0myd4uW8w+biE9+5B7AFydshh0ZUWAdm3bGXhGX2dBMitF5eE5SLJyxXUlWflUIOMNY5ig7mhvyD6eOkRu8IEIkv9jK3uL4QbUk+mflwtS+CJUvY9oAglXABVZJNqwKuvKzfDr2IPNkVuKRZzScT4Ck7DSTelHzVLekZj8wIo5xmnzQb+5vnae+jswZ4z9XSm61b+07BV+QBZUBMWGIbphau/TkpakSMSTAVTXI9863XiwPeBMtRYSY6neGDTOAHcxY0YpG15HTdajzAT0w987aE1Ibv+WApngyrtgn5rYhVEK9HYH00xP/kp21FEyPoZoSit4guSx8lIvBgdGp/lJf1iTYkrOnHMqFnJSE4Oq1CAZF93jV8Ac0rbIjKxrpXj/drIWCTowly+0WRJiAKfkflkoO12CL4pN9PFBhg1o2CgZX3aDnKBCsKwfqWej42fQrW3EGM8O2WmIKsmgCMMOGqZ4aAF/mOEOFXEnxLVPQgfFCRjn7iuLFxj5Mn7Revm3K3qYp5E5LDFCqFXFupH35cD73ZaGTJlyP8iauoQyEXBZonrAzWFm2/XQLCy+e5NKzwAiOSxy1QQyBAmwi6iIwgPMV9ke8jvKIhxC8ZwKHqFfkBiLBRzwH9E225H47dIaoinuj1ZQ2X0ATPtP5R2nk6aapE+st2pxlkfUETmgnvGbokcdp/skwVwQu6/9OmIZ5rOS9VBzNAxxkh5yEHNylRePXwS5VpTUaBsvNCGvkXKbgDOjw72lEn0SPkvjbp2jIJG8mPFG0H9fjPB5Vr8TTH8L1od3Y5HbAXp/uyDDWyWwGR84WjSaRY0rnPgSCzrHzGhNEZNg/uK8gJsbYulIrU38i97hTVupa0Ruh/JzNzGif/ksgxzYixpLyATxJE1nGh+DWJzX8RIIv+S+61mFPwNDqulFy5c63gX3XYvahSpiK6Yr74U340GhQf7ItiWmkKOeeRFcXZqcZn9c3xUbCK1RDhBBvc/wR64B0l9q8nqQzrfQqmQWXLxTh6wu9OdSa+0OzVYHbCcanBHPWsh3YR0Z9QvqFh8UzRCRmZXfKnuhhYa5Ecet6K41jYOd4PXuvJWl+I1f5ssTDLScE/o+u/Qn2uDKkxzZfTWgzTH6DqNViq67/l+YYpmp0pj/IMBcKLfDHmbN7tnu1lNEcdYqYbalsE6936bPAtYK6bE7l4pacljgyYbCLHFNmBqVdPJ7bp4NTjMpQEs/f5VEBfy8+JAbampJOlPKvUSizg1XvLlpqdj/OTL7L/1F1GGDyvhMzvBS9YmoJxZdtuVNDRo6JP7b4AtEtQN5Xi3qRZF4PK7S8nEVbcUZQXxeFFU7B54qLGyrTDbX36f1dICTu951Q0e2/J7J4YJ65rfbOLOMOz9ItQ5EsioxT1RJ50WM66HlIXjnJ1U9yOrm7zn7gC+egR3MrBMMcXuP4oQjCZYr/tYh9wq4X48zJJsK2mE7COhz2YPetLsKM2VxMRVg+4sMTN3yZ90KbV5uQIZ8clMmKHC/a5EQThP6+wR3ASAuMngzJsTOGUPXNzXcEPtpyXOqDqAriVjC41Vaywc8p9ilviFb+NrsdGHbB12be+mNmwGKUQ7z2NaFtzZQXR31Jg53fh3JetU9jIL8OasGxRnGC91AHKgd+XfudJ4xwJD+2ZRr9h6BiEhggeaeeUKbf1dqYPnJ8PAjgbMFa5AH/53FFwbruI0rJvQJ/FUWSXl7rCMzZvKGDPYE/mGUqPKp2LQ6fYly/nHvuin5+8pFf2rT5d6xR28fZ7BBqTN+CPaCor5+eerhhjd+Z0DTUbmGHlc3TcNV83cCXj871v9ssJoozsXDMwE3m9LUF8RqTPfIiTh2ket6ws81pmrV/1/cKppD7/CH9X2rbwUyJ/lobY6mIWgCxK2RbdE2Z7Q8UV/hnQku3Nw8FJr0BLS9U6b4CGAQkTeJcHiuMkoWTekyQrp4amhbu+SzTAvJYwfndPDH0aC72x8DodjuVAUvMXhsJVH6PJx4onkzqvo3IGpSpnXDN1pTOEuDgFLxTzQTDZFVOmJWPibvPMAepoO/SH1PigN1Cf7IBbJQlbGoFmJMdG+7ZGDhAPx/Y7Cjn2xCO02o0O4EDvaxm12zR2PXwqVhj4mmhFErSRVEzzN6dvOJY3yw37bac2rCzBTruuylbKK+4XhmLFPy0QVqCTDadKGD3gwoAvudyrSpPTcqNInloP8DNo354IVQDPU4VauVrEl1PfQP6ArqIb3j/V/D0OttCJrUenpkaG+kK767ll9gCoRLkvJz18tBaJavBkjtvKgkSZQsnwYiHoYrKL/NmvChHjFFYOzQeaaJSs9nkDjqMXQdHCyCjQk+HHMJQBUHyGfMLzN4eH1eL0231A1Eo5NfYWhvpDtfvTD2E1hmp20guj5bIrb3PCLq7LNE+vypcS/TD/YT/tKaKHKrDHBCqXvjHvGAp3tGjH9echjnzM3h9Lh/QFbKluV7qn7hMImski24IFNmESP45jgwUc7l11wd5KRbX62R3Q8z8KZ9rwxzaH81+jbg7mxMnNugJTIUuPIy0YIGKIY6+hup5Te0vWtYM2zPO11M9vmFElyl9iTr23Qbo2KoxIcej1ZPcPQVftffdk9nAGS2Nj819LVQvXd32dZcejSWlIFoapdQ2TZlKIFXLdUtekG7LEhsAA9CSbzySWZFUr4jUMIDbZX+7g9yJ5NGB1WEMbaA4snaluvc6rqzmhr/Wrr0B96Raz5hmqeD5ljmyF2jWo31J3rgk052FqL5jz4LLg2xLufhQc1f0Be1mtEHxcX1RlFcSKsmyv0kXhX/65xlZdM7EaKvLp8eocfYkb1NregyY8yK4lZs+pLrVmIoYAG0KLUWkywvzo1KwpunOf1pRN6wKTuPRxP+xX2i6VL7gPNLRf53UBWFuhI6Jk3iPqeublBs0T9ZWgfnG3aKBJHdvBew6RU8jG9qFO/M4ZwxJSYm4mdxMtuHtDb2xJd3gph6VjM+LPFKpPhqEWpBhHyMJQ/qEby0rgIhzicgjUNgUKpgjRP1ZXBGk/5/SyCJA6YdE9nb7Ch0+gDkkYZdzdAfgOB466B5RUdtoYk9PCIFJ7A8tMz74pcqoIKCGdjg3+JrwG8vkByWE5oUVSBWq6R+jLyhwE44kDYgFJx5qFjCf4WVphcrG6lw3aSOi1NU69oGcW1Vi2IwQgyySW7BWOVgvGMtMeM565pJ2H2UGUuZQW9Ep9oqBWkoFBJ9Sf+jiV4hZx95zQ1wFlVdfuXxH0rp6dy9gA68G0h9S7SPjKuH8YGEIJkP/oAld1Z+qQZNBp7Y8Cr2E08KMmffmMDwB0wOSb/LZt9hGer1zDt2QqSXZ5RGdA8+3LoK1VEkgR7eKt3l32fI5C+21qrsoBFOBwgFTjvWJaXgpbu3iSOnMXDbAr4YlTm5YHgFkeZUb6rIYlIP57WLB8IDPK12sVtzmSnMYssuevWhqF8/fvkRZGcfNfwWFe3qMO8DwIJATSiCZkM2i5HMOOBOc+2Unj93Q0cyNaOumirAP1zHoroLjxyS//AarhYuM75OB4MuZinn/YZht9Av0c0P5PsLFgMABz5/yCos8lhhyahgnIdBs3bLPDbamcKAMRqPpKnsAJtDFPMR4bVpXo99n9JFfL7ICon3laGJMwCaHykJ0qvye3Nb20PdpGCxEbc3+hOYp61g8r4gpdnslsNr2ZhZhkmXqR2UPDDaVEwAAvUjIafAaTefMblou9n1gsWgolNBTVyZVUwmS6FZQ19NVOHOAWxhtV6xjBpRixPdkRk0Swm2oh+VFQ/2o5kvYEiyu5JhNi/OJrw6Nmbm6YANdJZX+fAoXboi6xomuL628BU5N4C2ImqPp5nDeiD8nHioM9zqdsIbogxzMfJM57/yBhmdeV/vTh+RtGv0Sp67i7kpVq8W7hXc0qnn5IQ93V2lYHJK98xo3fTlM6bpq+zW6fne58ArgN/ZarfYzBQuUgS9OUXrzHJMNTbL7peSPgMjjMUNReW6nNLw47fMvZCQg+f0LqgcKlYu+40n1/rhh43lgkWhhC4bDxVAHnAlnMCIfGIx3utr35GHWanTk9AdHBtYSGacWBvZvEoBI1xLecaX4r6pYpUCKU1ozJoWGAXpfZ+vYg52W6WY0BBq8H1CybcFkdrQ2qZkhKQQwDus8fwrQVWxyz3aCdvR43xv83E4fz4nJVLPvgtSlf1GzfrmFtlcUEIzZuALctUMWBFOd/D2BPe8hp9hkKUaDGa+bo1mIelu5yYNYuqIm6S0vUK7hlyt3TWyJSc/6FVAg37S9IbjULGLkU5OnUgYeNA2GdppMbDFLKblEg7/T9XN3a7DMtfR4N3MU9W3FgoaGEo6F76sgjgU+K5D8zG4AHYwiA6RzGA13zZYITMO9SJ4PVjYeVNvUaJBRrkvhVD0nrIUtj2u4E0rs0KWlZ0qxAdSTL4mfN6iIZtP87ob/zAN8zb3pAdLwW8GjkPRKF2yiihAd80rNTWT61l9zbc0/G+Usl0OMnuntk1d5CbfrFI7Y5FSgNyQlAvcUXFPKp7enbSNnDvUn6fVoEyYXmaiiLSNqS+ErRg359FNeW6cicMtgrRY/1F1gjshVFK6DIr6n4hmRFBniILBffC9jisERZgTr/eZsfR04RAiximMYQMjrgdZoJh6lvLHuOXlMZ8siQFHs8Ozael7uaJptdzczEc2PM/PwA1hd9EsbZLApltm2OmGEjuV4eW6dleikPye9ZGxqdc9/dangg47yLJt+xZsKEpSSKYA8rxXvgaFQ3I/IPmgekf8P2N5XXCOr6eUOlDcmJUbBa3O7gFLMrqS45FRRUxYfJ0aOpAgO94NGa+dC1kKKQ20emgKjuDlpDs6HvBKZBOe9BumHnKfSKUHD7kj57yXM1pdi5CnPUWyB/wdieEoNoOEzimg1PCCQWxR4RVVyUPsFxQBlXtYIqprWFIZmozTX0E2TgYva6PDrMDljo4CmSR61M7L4O1cIr4Nyy3iFIC9OoXLMX1MGLZ58R1adlDbCa64GAdW5p041r6gy7I0pLZGU8uxclKtUSVYng7fKBwmrC58Iwkw+EIf+QZDb+L8rXQAxrHevw/X9QWJcydT9fnkt1kgRpNn+MqUYUQye7B2JzP0raEeejU7bd+E+ibioPm6/v6pymC4VbOAZDxt1eJFdJhVYIpJRW9Hvi2WLhFw/fWILmV/qcIdRrvhGWeKLZ6fvviKT+ElOyldxbdkw8fC09/gfouywJXfykKFi8AHSOXt5ILjPsJNv5+f7CRvVyNbVUtNoM66KUK2CDvxEaIQVH3p2H1jyT7qNPHTpsxlB6xHLZ81CtQz9tiERcxGF8upzhjqNFllywI8zGH8i0fUM2VM/lLJ8xj1AKSkcu+BzNGaCNUdZjE9ydLQHjgEzYZnk5zuPqBYg+cunPHp1z6Z8P1I+xOB/FCjQ2ywEWA9xffME88QRIkax2QWSNmLBUNWEWVhecza8bYjrexYg9Ft2kOF1/56XVP3y/JUa1S1cFi2Ojj6xzFjudOHaqSxGqCXTU45l2FwOPMo9k6oW0A+KWLZsX5gk1irEerWihgfuyeu+caUAh1yVtOqKTHhX2rrUXFWjLLuveKg3ts9JeE4UwwQkRyXLBOkotSrjHpkvAH4NrMrYvhKHHwRHdD75E0B8uYX8WJTUEXsFC/dHkHRopUEpoz2sNhGotQQtHqUJ8N9MjGjMwT2NpFhjYMq2/viRS+ywMj+3gJTrLPaD5CSEMHX6vPAEb6snNjBx6VQhb6vcVrADwbiIu74VWFOit2IpPHZHk+8OkSswYKJoEp2tEBC8ewZrlwvZt+aisbjnCPnHTqyHFhpLA4Pl8fIJsRgcASp+Rm7ZT5szBmvpIDIjfQ6Bo1P/GgVPoZMdMyUHDy9agmugr/CsrSNbFsFg52txYElC44gO96GOR6Qa56/hTRRA47WRFPsZ928UWSraVrLnM0m3OqjrAun1nyrvg9tC/0rQ3onNp3DrAOSyV/fFnNEXLKYZrKXP2P0vskbefTa7O7vVLL3adARPzW5CBjlBx24t35w/5uMH2MYw4nxtRVtx0RcYBOXz6mYxZ7tndBU/+P+BKQL3jE0LBFGKzbbIRz+0VayZNy+J4F7IFAAoRl2yBWfJ465Ts97NXQqoyQk6m/9X1zr6n2wrjAZLGS0oEXin8HYuw9bTqTX/DW/+EOW95iFmA9wAwJIG2/bSSp8lAsK3fmtpFbd+wjj/uszAHswZrdnwHTXfivCK+LihEyOKBfXJnrp1KoRDnfgn1lnB1BcJB4G9AtcTeiBDOE1IM6sGa6yLL6NsfLPxWsMpqHtyAIYJk6iu1IP4ZCntOJXoeS2rlvOg7EuoRVp4DFY0T9Tlb1Eidp470kssgdfQeEyzQYVPTigOdaW0VkTMxBScLLSlqD6aY2DgCBWLx1rMTxuC4Ey62Sr/QrKVca3bQNWx932NNrDzGB9Iv85Bsjn0R8IBR42de0kXnottJlhKGwgNlGDaYL90JBGKGl1KiX/vupM0SOEI+nYEt6xiWRpwmLXoN/O0ZVwCL/IMJepT9Qp9lD2Gfogx7BCKmeXy6v+ylRcAD/cd3VgD+nD5BdDW1w6mSBXA2cgaoI53SD0CfeOXyGdnG9uJEe4ZHdIzLsnXtLnk9w092f6vh3HGCxaKjH3RkHCRup3ZTgXHTeE4YOXCw1VIaAUz6rgGwR+kZLpZfZ3Tmlj0CoCTDgf0HYTOiRXBv04mE/4bn/BxeJ/rdFGQOFxXbpJ71UqtMUGHSNHiOEoL+auJP0oadBgtCHbsSsl60sUZ3HzjJoS5QKaAOCsLfc+IMtEUktgWqSHwP/o0mY9tkHJGHSIgac9VIBoxg55wv7BHaMm3WUY8Sjo8i+aZPbuFMGwLI8+JiZ6qc5oiQ+XoRYFmXXO3g2rbYAieYD1L6IZDLZX0bqjnaB2U+i4sQrlm3b5QMc0TL1xnUDCr7iZ7qPPXNv2VpjulAqXTHUlBChJHho1wZQEKyYtnn8WuIOr3TM/sowlaR/rnNtLMLsF1XYNVq4/Perx1YtqJytxTnr233at66x2L/pw8a5z6CA9blaE96df0pgQR5YF2hLPlnQ3Ut5Umggj98iUE7Awr6pXP+2Y70oOTQAL1pNQoj5DzCkRCMbrHxYLoU3BKvGr4xIluT6WCRDmP6A2zznkhTY1ddzgMI5xNxmNq89MKOqwJToBl4cRHDsY9Pp+wQ4DWpSFHz/lIk6NT62Bsdqtt+aY8pG1+4cWCO7rn3eyttNZiP7mwiUMXEo2pUWb4T6GPn4qSlYl9ECnMloVvRNeQpz4uj+ckv4nrj38ENIFs2Szja/DbHAtdUi78bmYbeHLkIGgc5LQjl6bM/pEG7ddGf8N/TonePpqary480BxXcMVsRkj82nsC/AvYp/o9aMsNDcb2Knb8R6XWH/aWQrRhzVgurFWW/Pwv5ZvW9xlQy/Hr0PVWucWKLP25MVBTkwIk048RyTtQKWpZlUf1sQ4ukhTlO62pHnR761CSPfW6WRh8GKsvKPDq0jlz+jcm+pq5UBMrt2njeG5lVhJGeMSEc9jYA+lUPr0EcttuQapURfP9sF9+z9LCqSe3MQ1VpawPH1RwJjRakPhH9lbsnZ2Lb5ooT+qp7mi8FY4ntxyehvQEUX+mnPjtDibP1RysGzd3iF1jOe7m6beCEKmuTZSdw4sD0qm3ub3H10cW68fZcmKoJNBeUaSgtnyQ/YNYWhfURgWyefo9uFsVAuuz3jMq5EoHJTQgLla2kT0mGDaJcIotdQMmcYqZXE7FucMTalsQXXsV47qZkAJj40gozLZEV0l+Sj1KhWGooJYN7ml1JcMMak+88RCov+ETrY2mo10RNNIpaXF/oi52VMjfK8l8aPGLeBOb1uL7Qjobr0Rbzv/wCDHvKylSj6JLmB+K9rtnhztUpTresa9JJ5oWMwlGA0AddUAVJB1b/VUFliH/7uyNeIq+GhQV+UtXgB+cxSasmG1HT03lc+rK5qmtn0tIl4Bxf6xeJGhrvZZ99I84EPlLx0iNg08zrzdwvWq0h1mWv06J4W6Cs64Vk2yAloMv6grzH49o/z/0tOZ7rvZEhZs1VmXZkqCEqhxwUXwfAPOI3XO2sJRy9rS8aJpsP5HgDi/oD/Hapc+9pzVO0Lz+w5BePQlcTECgVWV8+rpeeys0R7yoGNK8QKRwwElh+TaWyC5T0IGRsLbgJ0aiIVMDePag5jAt6XMNFUzhb3I6sm9cutTkR1QgW4Ql54zy35ipWWUccOqgtCCQEjff2zIewdeXNMeuHBtHlSr7+8S0cZ2Ec2BdeAWQa2EJHY0EnvtLmgLqRRff3SSV9b2ExT2spqgpQM5VfOr0gRG8fLdZLC93pwGVymmnXLuCwYG+VJxOF3IKNSgiT2RfR09Zu0RhhBvhA/iq08Rg5PNZaeGdW0K0z6JyFsZqnR9yRPwvTjmVTj58n8SBR0Y2OSAnFEm0QUSQTkXKZE5hP7G9BMS5ZoJi/PBmWRx8JRBqF3YAOiYgN1vjVjyuW9yf2R/xuDOnAkKBx5G9rRmlQ0cuEKGU4Ln3dHbsLWfHQBGP0yKezeqtAaTy/cQguAVOEEQZZCYw/MQC2IQc6ckOywBwpwB7f3U+TwVvwLpS39ZxV+Pr1pyopG+oMdXuxk+Vba356HVAE8vFj8qjwOHyGY2WH7Sm4xvRqlPIihbHqNPTD9bkT/9qYzpIDntMeheInidapEHKIq0X1RkHTpx9ek4jg1HouLvWL7t88BgqsV0QxsrQnjAraG+a4nshSQhanemkjrxEuDCUIweDkPjn1pvEaVIVfQEJ92iR69BLmqDYyRtDojr8u2PW3IzqJqlOo4iSxFlGW/7ryYdlvu8en57L8cV0DSyqooP66erfOimwZ1k46IL5lDmgbbMldVhF3T7IoRcw07Rdz8gmgQLfNwXfeWiryrdOic9Ki2vRhrDifF5dr2tPGQQSQIFvErzAZw4vMPQrBRp8gQ7iBA/ZKVdrLE0KBeAfBgzSovNTGILR4J1DpmWTpOk9M9xsl+h0W6hZfxbjRejQu0t1rZifrBuVV6J6Wz4uai1WIgfYJ+XR7VJP1KZfAKtuGOL66X+4K1QtzbdzWfN7uS2MR95z7BNDxVNbxhcKAAA7qBlmCXEQ/Xvr7d5vvkopAaX74BAt/MmGbkBuvmrcghzCpKIVPfRPstYMce6F5gGUj5SmWNQd0VqLKE1zaQ2o8RPSgJuu5Pxu7rG22ZOTbFG+JrGufqhcPGMnR8F307q+6Vz06Y7fvTLPOWUGR88gbZEXVHSW5rUvUyLAg13ec2cKTI8HxdLEgIpQw7J8bbJhbDZ0LUxLErC4E+X9p8k7Zbg1YnJ1JiGZBUuRRGqKpWs1JwgtsicUOuLPKvh7Dr2190Na+d+tXbZ1Ee4baURbdoUx/iY8/+wVCDasPQf+qFbY5LvlA90EwnFqBMs5VfobhLrFHrXQS/aRcwVcAwEGuu9qHun9qpYdQ8L7KWt1rrzYT1MNxHVgnr0voHq0vdqnioza9uLFjze665gD34hQp/EM5DF8JjCEaDJggKOqM0jiexAik6UUaObQVHtT2E5GJB0jkvo9LB/rvSGRMl/stG5DwC5/RoEdDYmkIdlIU8BPzlPw4hq09lnFvrj7rSAOiKqBE1TDZY8CcXMEztD8Q6x0QFPFyrMGN3chNx3OcVlrxJo2FX1U3jCyKU/KHjN2bkVUOKV46vvAA2V3RuHvKCp3LuPsu5PLIX5bT119VC2t5Klogtr5GmlW/BR+xIJHpOqaRGYbHO1PhIvY7qRJHDS64rGKrNdzQUNTpYP4UJ6G0ttoi1b4c+uBPXfu9qfJQurZS0lmPI8ACf8x7AtAS4Qey0cNJgHq8dalLDaTYbvfTCrNHwoGdp9turEYA9TGZTZ783lPjGDeVZHJh2erCTw0/VUoy7eT7WoHoovLgPlMxyM8+L3mCn+H6HE/hhEKdnI93mgCymAsGlqUK3ipqQJkFfEF//h7lg/BvE7OjE0f0bvD2xvE9t71dGEltl5ti5rsRdSGzGyrl3iEsRaHYfkAN6fKaoE2BMmJPyhK7dVRYEzU/btaFty77lopaDxptC7kMmhOJBfmsHd/YKEcPUCXGKInOqdHI6AV3743+zZ7sg/JbiyUF4f89ldB+cenK+1obR3k0Ffql9wRqgcMBvHRWsI79/hn6nqhwVCvV9yyZ0HvU5j20D33/UhEt9ILMBPEVRjNtSkzP65pBuc18Sh3ipmp0ktXUM+uFoffnyLOCRgUj8rJ0O8KVXMZTQHQTOmpkJ57Df8TQ5F2z2IlRLhgO6VHDR9Q3KZyGIguJsGmIOhFlDYf7b92MMOZDRI/OpusMEnO1Mwzc+l7U+Bh2ZsX6Dwg9LFdlBI2ze8l6ABNuBaRtim5dtt0PT78OQeMkVTkdcNgV2gh9ZYFm2jGh9GHvy4pQX9hNFccpC8BX43aeSaJQuqJbEo2c6vKVYCicEn9P8/qITEAdjLTuiEYb2BnvaVGYxO1KaKX/AIwwYVwxu9p9fLS4sm6co/eyvEy2wRVru/LLyzhI16LtPpG8Opxa/RGWU2F80b9Ap9QhDqV1MCasA+y94oM0UfKjHzVOAeR0HTFVsvpPH6tjnc3Ccu5QrOSlDRBD/S8XyRD1f5vOkkX7Tmsy849NJmO6y/dVlzm9V6DXocERKkrv7YsvbNJNXu8NdYzF2idGL6WyBAJR68Bp+50oKEmsqUIVHyW/HT9BIwFd6J/VN5OzMMDptQmp7UEsE/FuPINLjJAOLbtt8fvw4BNhxg9vmltIFV9ZzfnQtvB/7gyAdNr13qhQkKt5nOePlDf8aNvG4ceBbUv1dlIr1wjIviYMJazIA8PJn7W4ppkChVgSLOS/ZjloWDjCS4uxm56rErJfnvMuqYmcWRhZ1mbhM3TO5m2Hvsc/eAF/gg9RcGgTrL1FvnV24XoLmGSZ9fy7BvJRZRLAncarNllUkDVyJ4GxPXsdix1zzf4MrklR2nDcfTdmZq2K25qQYUSYcB1kA1imK7OxpHhveZEJw1rQx1O6G3hHEUdVQKy0BY+TUO1cnoqIyQUf2zNFR0mbdMrB+az3fZ7LjKykNqwKXlqGUhfbGd508j+eXROnxP4o66S3YgWo4QcDd+7LC8BCMB9cHHO2TdjjI+U19i68nqlY4jeS7zHUBpnhu/joM4GPf8Ksxkx2zCtJj8mp8yj3cROwsKLbjrBGgWfdztmpxLoHYlqW4GFjiAusDrOkyKxC/uWj5GrllLoipxiNk2iCWk3jiQKT147u/LJavXEr0GfuQZHegIovAkzJl7HaxgTJhcVg9cVJJsL5K7dX4fRwCF61EwOSo6b+9Ux4R5J55BOkbhoztAzSy49BAleEbF3F1aJwGLi9G1CO2VNzhHWBR19IBIR8D6P7EPf+/I1nmumOZVThDnbKErQfcsBLBY6JVs9Q9ZoKUirucD+YXJY/cMsSkx7WwXHvSkBHGTBFFvHDvaehy+S8hPj0PKUIYH3t9hwyTyqjFmA/hW3qrwBtQbm9sYLZgH8r3HkVO+/CHyfOYNK2a3JkdBvb89b4Aef345/u09q1VMA5RIvl4cK/g3fQCoSbx1KmsH0jdiah7BqLA4hkIr92YUceCMzJkFJTd4ebIS0th6ZwS86Da9vEeYPRLAi+zscgUWxVIUORw/xXiCVJVzC0VdnSd6KkVXv5D4I3sk3JFBudSpRkzW9sPZij98QlokcIDlilhvIIETprxmqF3aQ7E3l6o6Pi9l/U3aV9kZ0DRkYdLJ7kmqXuWWjanifDw0Iulg2DyDflZFC+/kp5ZM6eeKJCaNRW/spTaVcRynigmM2rFhVC9rB6cnAXZiqwoakSVqooMz+TijxhcAl0I0Y8x/t9mfz5xriUxlGNwVeNw71MBKXqgKCKxrCZzB+ZUmjJFKBXPs7JGaRUOT+4URRO+Onok6xk/HS6RDs8DNIPQFnDlz6SozUF9C3m8XjUkj848QdhW0k+WEGd3DThWnLZsZ0qn8424UBYiUvIDrd20Za36kwi3mZMK33fxqGtKrrwOzOBNVyOmlxiDnbYVRpNnRUcJ37PCWP6fJyE4xCFgCFq5mHBJxFY3hEI9YNxhE0q0FzbFmb4qY0AIz7dwRy9LDAeetY6meyH5vXgtsG2Cs7oNRDm/h7XxwYrNCC8RDh5o+TYXZiUqMojlZuOB4NOmYZ5RRbj7K+PTlkSzYrIhjCOJ2AprFMcCC/9J8hUWve0/Z0tnCXZ8CkQC5dOTT7H2buAni6ZmmScEzKAtI6LVmY50gpDtcleOfpOh4tVZr+AUJnxecoRdQ52EKQasbrXqhOe+OESECKZtzgzGQIMOB8RgFp/OI/En30kbV9KzfdHNKHrOSbl1LlwxSQcq5Q0a4GDhBQEMNoNf3bZslDHKYZxJGrcQX2Ok5zAvwCQInXkh/A44z6fjDx+xxi0Qq9ZdwZ0/c8LawNYZG/6iirLk8swWp7SelkqSMPzUKmAw1qOFawXgY0OAj+/MyCyt6btXbsFdsOIiBcKRrbdw6i5TPOyO1QUPPgFkuIt4T1Q2g7CXQB1I5TtwPs/PEs2a7VyMMGG3n2VMDDu5/CBWgsWc883qRseijkFgSJqRuCx4cJkzYQvcK73QZHPGZ1NMmMjA55a4RiTWvUg/H63ZXV78VWPesBBqlYD/95zO8z4JhByySS3g4wTIJsxbKMoNonXZ+MPjcwOFhET4mCPoO56ieYIXPDSRF31iOQUDT5mhZMZVanHnDFhAFpLZWiXRHwhuapngXHV2h50rRvjsBSmLyGl8CLJn+aLJAbawWZc3W4cRxVvupvyop9cwY3702UjiHPDFAXcafSIpedVZqGY7VOMCRoo3DKzFC0dYCza3kttyt0GORrZJbG/DvVFfmUUb10tUfnHeHWfmVDdZ48MFUbfYpj9QChQCe0ip2REIvYfL0KNmZ1tg/dukO2u7gfSBdwO17V5B+nUr0LD6xxTfiuIHzeuHpxdAtSIO+iUmn338ftiiZfB/jAi9SilgELmli73HZTzwuKJwx10gvVDBZ03QW+vIDV+WUTs/lOUTQpbY5H2LiO3xMM2JLywjDgGxQWqBFRU7HF3okrrtAbOAbGeZaqj8fxwsrkKFddpXyC26YEeZHPYVCXTr2OCbsJsZ/sv/VSoYs3qRMpASoC3+s+GwAuxIB7qmc1EVNUotKLU52L9r2a+7Hire3kzHfQuWYM8yTXZqB08P1wUAk6K+Lk/sx2eDdqLqEd+nn49FkF70ZSAcdJqLspEaqv9QlJvRgNLTOfmJLrut/35TkXKLmOgHOC0R0qrnasxMtKgvvP4VkhiKZspy/1BNinnE/gGVNPK9/OkHHw43zGcUcqnUa6q1mVX9EfHaqB/cPKZ4pBDHz4nMm57CqiytEMQ+zvptIih4erCFQxopX4APjkUw32r+QGTFcfYxOGByvbwpSfn8XOGA2euYJbcaYr5ZstxyWVJaijq4yuv+hSjwCfyVABHVN3tZ2XnTzMRe2UoMm06UC8Kb2W4sv+lLF+QblJBr/nzM5K0GBnUdOfB61CbYpF1O42i8iE6nda2yMMiJmWD09RZVDlaD3rMEyo4HLDvpOHpzqu5x0M5Gvu1hI9/vTeXXKvEu0e4qh0r3vqeVoWtOQTTSY6EXXc7SCBUvGK1ID7m0hVuWFrDc+dZBebCiuM6Rbk865mUiXbu9Md3ZDnz/dbjDfEC/gu1K+bE8huflCQC8aoxR112UEO5VVVh+J7lHHSuMu4sGTs6LFtEkTq6a91e92EfDKoTHBp2+6lGdvy+FRmBooKAb++6oQoKsjtkYFWjLSQlgMTzZHP1+iptP5ZFuW2U/KDgTgD42sDFQpB5WOS6CeRkKiJoaFOz6O3mUsiNqw/wH8cOrCIPOSts9wU+ZWTJsmiqlFVBHTE2NeU20imKVkxtTHq/WpMXcml1zCzxd+u5M/tUdrRLkhnSWQWDl1S/xevLMT1FVKdeZ027YRTtXWhLWhqrlcikE/c+qmjVmcYex6ISbyKGQbBxcIpgTAT5quN1ppG8vyfLqYw7H7e3EyMiwRLYRxTRmhrxPfLC/moALK95Qhe14+mHHja03v4INo79xeFe0Q5M5COrUauY9zpiRy0C3HZAuXbSIJDWsxxZQPVbmY3RQ3nZbR8k4dEDY9mJ7yw06bbc94V4CXJ8+X0X22cb+3G3PPjPC5RVCGGD/x6S4rdBF5aggC9pr9I4RvmswpCZGYTa7aQtLm77q9eLj6ZA+EDxjLvVBYI3mzYNlpFscUo+QbB8MFimBfIpeXYmY8C44FRhHdvlehtcTZEvlnCKkWUwpI24+KqaeWnjLWLRoOgkQ5FG5X99mR6U3sb79cThgGn4LRBmAmmhyrR5ExguAXQVtwHYJaUiRL3ZvsJetKcbdoyYi4TvuAaexyiNCilPqa94mRKOfh/A6EHMmX2ORjm5BKcgxI6UL5ifcBWhf3ulCzJ+ht+UTpkIZCV44BOrrYzZzolILGqWWKKci2oaqlxMm8wcfb+QDYOYuXT+WMOaaO8YmUMPyJWt/RcH/d3YQdZ+yBMTCu+G3mlZsuMCKO7herZMFlqKWKF6QFpkZLrDM/b39KrR8ZhCJ/NsWilXfyQluLeBO2KQjIUifu1RlNAFOoqrOlsIaF9DjeqpdOUNlCfJH+d0VS2voj4/sYWpFvVpXpVjEmafTF1NmFv793dBIgvy0bssoV/r/OyzcLAC+26XlAn7yqVTIEo46RNFEvU3Q2LAjJUBmaSNkkjdtj0VsIodlb8bKE+qQxnCnrkr2U/igWq2eJrq61EG8EJgUMOFCk15cIcoTKFyRj2+mASwGVzw0uqxLngWhj62HrGbEtJGibm2RRiTQsfCfbmOibK4Ve0+zXiNsNDI/tRPrvqUelFp2xeptYUAB8wFOMLph63xclIZtm/0ZjizXZSsvDmlasAa3GdC9JBPo0YfJIQxtsBj3nkStXFxDll0qP84UdtxcTqG3yV+pfPl5L6lwickKEXcX6W3d/ksVxCMvcHzatTgr+ZNTScXqN73s1JerPE4X0P33bl/2HWDwTQ6Bviw1zVJ4FTOnhkaUhHy+mr/FHVjlrDUKy00ZPP9AYHkn3s7H2c8OjsZJdzk86MyqqcWTVXRMGaq6+hfd9ehjMhiQ4NrIfGy9o4BqIwL9YM58L+fMAIxzXkt4vuLwaIFP97HOWc0mT8gXbdyJjbUW4oF0cI1w/AV5zZlRirF0oWKu0vHnxmfjozTnqX6G6pI/UqRaUZPGxqNvg58pkP/BkoLK+Wp6N/9g/KzdZ99iIvyKanIu0aSL1RBbqxDOT0McGEz/qQGZL4eCFXC8NxO/+qYGFDwzZZ9j73rMZ5imDn0xulmH6JlTjH68INgiAJgDpqqwe3pHYvJfDYVLaw6kPse0DaPmMjuiiWl5W7GBrB1yHj3RVTSW6JD5gIHoATWx1dtlHYKAR8IhQbC8ct3Lq3vGK04DNrdmnmnkoT0YC6VYdOAbkhM7bqUs2I/XqsO5HpDDIubWOJYQzNhR0043ul1dpkQt0DE2joAQ6SZKDR13iM1KDcxCDJ8a02kqFNOmk2ge8YwScMTuSviEYN3hKrHEFBjNn2jx4l1/vNR4ebmHI6v/f8nFM17w0EbbMb4BJfYG/a24UxooRgb0b5MxzvbPjrzwjYwxDqasXAia5PVH5vDHGvSg35TG6XNacTa5RnAzQYCp8lw/kT/jy+vaSpEbYUePsQqXb/vsjf09rN/PGNyRx98gU4zni6vSn8iCcYzO3N9OSg6YpOH5XjDbK6cdT0g0pQdOhhe0t+Xef+oMaOT+ED/wz2yRCQ8wYz8vzXyHGOnqV9c83V3EjE0/KqXPN/lTJdkMwtdZ6wc8/7PwL4WPdnbJAHV9ORcKO5K1Pd584t5Lq1AWvhXtKyOH2hSZjDHYHdAuP/mOsC/lowCIY55d8Wnq0lig==" title="Mekko Graphics Chart">
            <a:extLst>
              <a:ext uri="{FF2B5EF4-FFF2-40B4-BE49-F238E27FC236}">
                <a16:creationId xmlns:a16="http://schemas.microsoft.com/office/drawing/2014/main" id="{5AB8A8CB-A07E-473D-B7BC-04E9B34894C8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 bwMode="gray">
          <a:xfrm>
            <a:off x="333166" y="1768020"/>
            <a:ext cx="11523872" cy="4456932"/>
          </a:xfrm>
          <a:prstGeom prst="rect">
            <a:avLst/>
          </a:prstGeom>
          <a:blipFill>
            <a:blip r:embed="rId8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0D1CE9A2-66B6-435E-B8F5-A4A2640640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/>
              <a:t>Awareness funnel</a:t>
            </a:r>
            <a:r>
              <a:rPr lang="en-GB"/>
              <a:t>: </a:t>
            </a:r>
            <a:r>
              <a:rPr lang="pl-PL"/>
              <a:t>X</a:t>
            </a:r>
            <a:r>
              <a:rPr lang="en-AU"/>
              <a:t> clear leader on brand awareness </a:t>
            </a:r>
            <a:r>
              <a:rPr lang="pl-PL"/>
              <a:t>and </a:t>
            </a:r>
            <a:r>
              <a:rPr lang="pl-PL" err="1"/>
              <a:t>usage</a:t>
            </a:r>
            <a:r>
              <a:rPr lang="pl-PL"/>
              <a:t> </a:t>
            </a:r>
            <a:r>
              <a:rPr lang="en-AU"/>
              <a:t>followed by </a:t>
            </a:r>
            <a:r>
              <a:rPr lang="pl-PL"/>
              <a:t>Y</a:t>
            </a:r>
            <a:endParaRPr lang="en-GB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313AAF37-6A8C-4D34-B3B8-1EBDBDA027C1}"/>
              </a:ext>
            </a:extLst>
          </p:cNvPr>
          <p:cNvSpPr/>
          <p:nvPr/>
        </p:nvSpPr>
        <p:spPr bwMode="gray">
          <a:xfrm>
            <a:off x="1610091" y="2188579"/>
            <a:ext cx="976010" cy="3805917"/>
          </a:xfrm>
          <a:prstGeom prst="rect">
            <a:avLst/>
          </a:prstGeom>
          <a:noFill/>
          <a:ln w="12700">
            <a:solidFill>
              <a:srgbClr val="C0000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6" name="btfpRunningAgenda1Level957375">
            <a:extLst>
              <a:ext uri="{FF2B5EF4-FFF2-40B4-BE49-F238E27FC236}">
                <a16:creationId xmlns:a16="http://schemas.microsoft.com/office/drawing/2014/main" id="{7BAC8C83-D6BC-45DB-8D15-E20F1E101EEE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0" y="944429"/>
            <a:ext cx="2283602" cy="257442"/>
            <a:chOff x="0" y="876300"/>
            <a:chExt cx="2283602" cy="257442"/>
          </a:xfrm>
        </p:grpSpPr>
        <p:sp>
          <p:nvSpPr>
            <p:cNvPr id="37" name="btfpRunningAgenda1LevelBarLeft957375">
              <a:extLst>
                <a:ext uri="{FF2B5EF4-FFF2-40B4-BE49-F238E27FC236}">
                  <a16:creationId xmlns:a16="http://schemas.microsoft.com/office/drawing/2014/main" id="{2FCCCE7E-7D8A-484E-9C12-8F6DDD76ECDD}"/>
                </a:ext>
              </a:extLst>
            </p:cNvPr>
            <p:cNvSpPr/>
            <p:nvPr/>
          </p:nvSpPr>
          <p:spPr bwMode="gray">
            <a:xfrm>
              <a:off x="0" y="876300"/>
              <a:ext cx="2283602" cy="257442"/>
            </a:xfrm>
            <a:custGeom>
              <a:avLst/>
              <a:gdLst>
                <a:gd name="connsiteX0" fmla="*/ 942786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42786 w 1816204"/>
                <a:gd name="connsiteY0" fmla="*/ 0 h 257442"/>
                <a:gd name="connsiteX1" fmla="*/ 888066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782550 w 888065"/>
                <a:gd name="connsiteY0" fmla="*/ 0 h 257442"/>
                <a:gd name="connsiteX1" fmla="*/ 888065 w 888065"/>
                <a:gd name="connsiteY1" fmla="*/ 257442 h 257442"/>
                <a:gd name="connsiteX2" fmla="*/ 0 w 888065"/>
                <a:gd name="connsiteY2" fmla="*/ 257442 h 257442"/>
                <a:gd name="connsiteX3" fmla="*/ 0 w 888065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1146368 w 1146368"/>
                <a:gd name="connsiteY0" fmla="*/ 0 h 257442"/>
                <a:gd name="connsiteX1" fmla="*/ 727829 w 1146368"/>
                <a:gd name="connsiteY1" fmla="*/ 257442 h 257442"/>
                <a:gd name="connsiteX2" fmla="*/ 0 w 1146368"/>
                <a:gd name="connsiteY2" fmla="*/ 257442 h 257442"/>
                <a:gd name="connsiteX3" fmla="*/ 0 w 1146368"/>
                <a:gd name="connsiteY3" fmla="*/ 0 h 257442"/>
                <a:gd name="connsiteX0" fmla="*/ 1146368 w 1146368"/>
                <a:gd name="connsiteY0" fmla="*/ 0 h 257442"/>
                <a:gd name="connsiteX1" fmla="*/ 1091647 w 1146368"/>
                <a:gd name="connsiteY1" fmla="*/ 257442 h 257442"/>
                <a:gd name="connsiteX2" fmla="*/ 0 w 1146368"/>
                <a:gd name="connsiteY2" fmla="*/ 257442 h 257442"/>
                <a:gd name="connsiteX3" fmla="*/ 0 w 1146368"/>
                <a:gd name="connsiteY3" fmla="*/ 0 h 257442"/>
                <a:gd name="connsiteX0" fmla="*/ 1146368 w 1146368"/>
                <a:gd name="connsiteY0" fmla="*/ 0 h 257442"/>
                <a:gd name="connsiteX1" fmla="*/ 1091647 w 1146368"/>
                <a:gd name="connsiteY1" fmla="*/ 257442 h 257442"/>
                <a:gd name="connsiteX2" fmla="*/ 0 w 1146368"/>
                <a:gd name="connsiteY2" fmla="*/ 257442 h 257442"/>
                <a:gd name="connsiteX3" fmla="*/ 0 w 1146368"/>
                <a:gd name="connsiteY3" fmla="*/ 0 h 257442"/>
                <a:gd name="connsiteX0" fmla="*/ 1146368 w 1146368"/>
                <a:gd name="connsiteY0" fmla="*/ 0 h 257442"/>
                <a:gd name="connsiteX1" fmla="*/ 1091647 w 1146368"/>
                <a:gd name="connsiteY1" fmla="*/ 257442 h 257442"/>
                <a:gd name="connsiteX2" fmla="*/ 0 w 1146368"/>
                <a:gd name="connsiteY2" fmla="*/ 257442 h 257442"/>
                <a:gd name="connsiteX3" fmla="*/ 0 w 1146368"/>
                <a:gd name="connsiteY3" fmla="*/ 0 h 257442"/>
                <a:gd name="connsiteX0" fmla="*/ 1399642 w 1399642"/>
                <a:gd name="connsiteY0" fmla="*/ 0 h 257442"/>
                <a:gd name="connsiteX1" fmla="*/ 1091647 w 1399642"/>
                <a:gd name="connsiteY1" fmla="*/ 257442 h 257442"/>
                <a:gd name="connsiteX2" fmla="*/ 0 w 1399642"/>
                <a:gd name="connsiteY2" fmla="*/ 257442 h 257442"/>
                <a:gd name="connsiteX3" fmla="*/ 0 w 1399642"/>
                <a:gd name="connsiteY3" fmla="*/ 0 h 257442"/>
                <a:gd name="connsiteX0" fmla="*/ 1399642 w 1399642"/>
                <a:gd name="connsiteY0" fmla="*/ 0 h 257442"/>
                <a:gd name="connsiteX1" fmla="*/ 1344921 w 1399642"/>
                <a:gd name="connsiteY1" fmla="*/ 257442 h 257442"/>
                <a:gd name="connsiteX2" fmla="*/ 0 w 1399642"/>
                <a:gd name="connsiteY2" fmla="*/ 257442 h 257442"/>
                <a:gd name="connsiteX3" fmla="*/ 0 w 1399642"/>
                <a:gd name="connsiteY3" fmla="*/ 0 h 257442"/>
                <a:gd name="connsiteX0" fmla="*/ 1399642 w 1399642"/>
                <a:gd name="connsiteY0" fmla="*/ 0 h 257442"/>
                <a:gd name="connsiteX1" fmla="*/ 1344921 w 1399642"/>
                <a:gd name="connsiteY1" fmla="*/ 257442 h 257442"/>
                <a:gd name="connsiteX2" fmla="*/ 0 w 1399642"/>
                <a:gd name="connsiteY2" fmla="*/ 257442 h 257442"/>
                <a:gd name="connsiteX3" fmla="*/ 0 w 1399642"/>
                <a:gd name="connsiteY3" fmla="*/ 0 h 257442"/>
                <a:gd name="connsiteX0" fmla="*/ 1399642 w 1399642"/>
                <a:gd name="connsiteY0" fmla="*/ 0 h 257442"/>
                <a:gd name="connsiteX1" fmla="*/ 1344921 w 1399642"/>
                <a:gd name="connsiteY1" fmla="*/ 257442 h 257442"/>
                <a:gd name="connsiteX2" fmla="*/ 0 w 1399642"/>
                <a:gd name="connsiteY2" fmla="*/ 257442 h 257442"/>
                <a:gd name="connsiteX3" fmla="*/ 0 w 1399642"/>
                <a:gd name="connsiteY3" fmla="*/ 0 h 257442"/>
                <a:gd name="connsiteX0" fmla="*/ 1567957 w 1567957"/>
                <a:gd name="connsiteY0" fmla="*/ 0 h 257442"/>
                <a:gd name="connsiteX1" fmla="*/ 1344921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567957 w 1567957"/>
                <a:gd name="connsiteY0" fmla="*/ 0 h 257442"/>
                <a:gd name="connsiteX1" fmla="*/ 1513236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567957 w 1567957"/>
                <a:gd name="connsiteY0" fmla="*/ 0 h 257442"/>
                <a:gd name="connsiteX1" fmla="*/ 1513236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567957 w 1567957"/>
                <a:gd name="connsiteY0" fmla="*/ 0 h 257442"/>
                <a:gd name="connsiteX1" fmla="*/ 1513236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736273 w 1736273"/>
                <a:gd name="connsiteY0" fmla="*/ 0 h 257442"/>
                <a:gd name="connsiteX1" fmla="*/ 1513236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736273 w 1736273"/>
                <a:gd name="connsiteY0" fmla="*/ 0 h 257442"/>
                <a:gd name="connsiteX1" fmla="*/ 1681552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736273 w 1736273"/>
                <a:gd name="connsiteY0" fmla="*/ 0 h 257442"/>
                <a:gd name="connsiteX1" fmla="*/ 1681552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736273 w 1736273"/>
                <a:gd name="connsiteY0" fmla="*/ 0 h 257442"/>
                <a:gd name="connsiteX1" fmla="*/ 1681552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2005577 w 2005577"/>
                <a:gd name="connsiteY0" fmla="*/ 0 h 257442"/>
                <a:gd name="connsiteX1" fmla="*/ 1681552 w 2005577"/>
                <a:gd name="connsiteY1" fmla="*/ 257442 h 257442"/>
                <a:gd name="connsiteX2" fmla="*/ 0 w 2005577"/>
                <a:gd name="connsiteY2" fmla="*/ 257442 h 257442"/>
                <a:gd name="connsiteX3" fmla="*/ 0 w 2005577"/>
                <a:gd name="connsiteY3" fmla="*/ 0 h 257442"/>
                <a:gd name="connsiteX0" fmla="*/ 2005577 w 2005577"/>
                <a:gd name="connsiteY0" fmla="*/ 0 h 257442"/>
                <a:gd name="connsiteX1" fmla="*/ 1950856 w 2005577"/>
                <a:gd name="connsiteY1" fmla="*/ 257442 h 257442"/>
                <a:gd name="connsiteX2" fmla="*/ 0 w 2005577"/>
                <a:gd name="connsiteY2" fmla="*/ 257442 h 257442"/>
                <a:gd name="connsiteX3" fmla="*/ 0 w 2005577"/>
                <a:gd name="connsiteY3" fmla="*/ 0 h 257442"/>
                <a:gd name="connsiteX0" fmla="*/ 2005577 w 2005577"/>
                <a:gd name="connsiteY0" fmla="*/ 0 h 257442"/>
                <a:gd name="connsiteX1" fmla="*/ 1950856 w 2005577"/>
                <a:gd name="connsiteY1" fmla="*/ 257442 h 257442"/>
                <a:gd name="connsiteX2" fmla="*/ 0 w 2005577"/>
                <a:gd name="connsiteY2" fmla="*/ 257442 h 257442"/>
                <a:gd name="connsiteX3" fmla="*/ 0 w 2005577"/>
                <a:gd name="connsiteY3" fmla="*/ 0 h 257442"/>
                <a:gd name="connsiteX0" fmla="*/ 2005577 w 2005577"/>
                <a:gd name="connsiteY0" fmla="*/ 0 h 257442"/>
                <a:gd name="connsiteX1" fmla="*/ 1950856 w 2005577"/>
                <a:gd name="connsiteY1" fmla="*/ 257442 h 257442"/>
                <a:gd name="connsiteX2" fmla="*/ 0 w 2005577"/>
                <a:gd name="connsiteY2" fmla="*/ 257442 h 257442"/>
                <a:gd name="connsiteX3" fmla="*/ 0 w 2005577"/>
                <a:gd name="connsiteY3" fmla="*/ 0 h 257442"/>
                <a:gd name="connsiteX0" fmla="*/ 2183510 w 2183510"/>
                <a:gd name="connsiteY0" fmla="*/ 0 h 257442"/>
                <a:gd name="connsiteX1" fmla="*/ 1950856 w 2183510"/>
                <a:gd name="connsiteY1" fmla="*/ 257442 h 257442"/>
                <a:gd name="connsiteX2" fmla="*/ 0 w 2183510"/>
                <a:gd name="connsiteY2" fmla="*/ 257442 h 257442"/>
                <a:gd name="connsiteX3" fmla="*/ 0 w 2183510"/>
                <a:gd name="connsiteY3" fmla="*/ 0 h 257442"/>
                <a:gd name="connsiteX0" fmla="*/ 2183510 w 2183510"/>
                <a:gd name="connsiteY0" fmla="*/ 0 h 257442"/>
                <a:gd name="connsiteX1" fmla="*/ 2128788 w 2183510"/>
                <a:gd name="connsiteY1" fmla="*/ 257442 h 257442"/>
                <a:gd name="connsiteX2" fmla="*/ 0 w 2183510"/>
                <a:gd name="connsiteY2" fmla="*/ 257442 h 257442"/>
                <a:gd name="connsiteX3" fmla="*/ 0 w 2183510"/>
                <a:gd name="connsiteY3" fmla="*/ 0 h 257442"/>
                <a:gd name="connsiteX0" fmla="*/ 2183511 w 2183511"/>
                <a:gd name="connsiteY0" fmla="*/ 0 h 257442"/>
                <a:gd name="connsiteX1" fmla="*/ 2128789 w 2183511"/>
                <a:gd name="connsiteY1" fmla="*/ 257442 h 257442"/>
                <a:gd name="connsiteX2" fmla="*/ 0 w 2183511"/>
                <a:gd name="connsiteY2" fmla="*/ 257442 h 257442"/>
                <a:gd name="connsiteX3" fmla="*/ 1 w 2183511"/>
                <a:gd name="connsiteY3" fmla="*/ 0 h 257442"/>
                <a:gd name="connsiteX0" fmla="*/ 2183511 w 2183511"/>
                <a:gd name="connsiteY0" fmla="*/ 0 h 257442"/>
                <a:gd name="connsiteX1" fmla="*/ 2128789 w 2183511"/>
                <a:gd name="connsiteY1" fmla="*/ 257442 h 257442"/>
                <a:gd name="connsiteX2" fmla="*/ 0 w 2183511"/>
                <a:gd name="connsiteY2" fmla="*/ 257442 h 257442"/>
                <a:gd name="connsiteX3" fmla="*/ 1 w 2183511"/>
                <a:gd name="connsiteY3" fmla="*/ 0 h 257442"/>
                <a:gd name="connsiteX0" fmla="*/ 782551 w 2128789"/>
                <a:gd name="connsiteY0" fmla="*/ 0 h 257442"/>
                <a:gd name="connsiteX1" fmla="*/ 2128789 w 2128789"/>
                <a:gd name="connsiteY1" fmla="*/ 257442 h 257442"/>
                <a:gd name="connsiteX2" fmla="*/ 0 w 2128789"/>
                <a:gd name="connsiteY2" fmla="*/ 257442 h 257442"/>
                <a:gd name="connsiteX3" fmla="*/ 1 w 2128789"/>
                <a:gd name="connsiteY3" fmla="*/ 0 h 257442"/>
                <a:gd name="connsiteX0" fmla="*/ 782551 w 782551"/>
                <a:gd name="connsiteY0" fmla="*/ 0 h 257442"/>
                <a:gd name="connsiteX1" fmla="*/ 727830 w 782551"/>
                <a:gd name="connsiteY1" fmla="*/ 257442 h 257442"/>
                <a:gd name="connsiteX2" fmla="*/ 0 w 782551"/>
                <a:gd name="connsiteY2" fmla="*/ 257442 h 257442"/>
                <a:gd name="connsiteX3" fmla="*/ 1 w 782551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1 w 782551"/>
                <a:gd name="connsiteY0" fmla="*/ 0 h 257442"/>
                <a:gd name="connsiteX1" fmla="*/ 727830 w 782551"/>
                <a:gd name="connsiteY1" fmla="*/ 257442 h 257442"/>
                <a:gd name="connsiteX2" fmla="*/ 1 w 782551"/>
                <a:gd name="connsiteY2" fmla="*/ 257442 h 257442"/>
                <a:gd name="connsiteX3" fmla="*/ 0 w 782551"/>
                <a:gd name="connsiteY3" fmla="*/ 0 h 257442"/>
                <a:gd name="connsiteX0" fmla="*/ 950802 w 950802"/>
                <a:gd name="connsiteY0" fmla="*/ 0 h 257442"/>
                <a:gd name="connsiteX1" fmla="*/ 727830 w 950802"/>
                <a:gd name="connsiteY1" fmla="*/ 257442 h 257442"/>
                <a:gd name="connsiteX2" fmla="*/ 1 w 950802"/>
                <a:gd name="connsiteY2" fmla="*/ 257442 h 257442"/>
                <a:gd name="connsiteX3" fmla="*/ 0 w 950802"/>
                <a:gd name="connsiteY3" fmla="*/ 0 h 257442"/>
                <a:gd name="connsiteX0" fmla="*/ 950802 w 950802"/>
                <a:gd name="connsiteY0" fmla="*/ 0 h 257442"/>
                <a:gd name="connsiteX1" fmla="*/ 896080 w 950802"/>
                <a:gd name="connsiteY1" fmla="*/ 257442 h 257442"/>
                <a:gd name="connsiteX2" fmla="*/ 1 w 950802"/>
                <a:gd name="connsiteY2" fmla="*/ 257442 h 257442"/>
                <a:gd name="connsiteX3" fmla="*/ 0 w 950802"/>
                <a:gd name="connsiteY3" fmla="*/ 0 h 257442"/>
                <a:gd name="connsiteX0" fmla="*/ 950802 w 950802"/>
                <a:gd name="connsiteY0" fmla="*/ 0 h 257442"/>
                <a:gd name="connsiteX1" fmla="*/ 896080 w 950802"/>
                <a:gd name="connsiteY1" fmla="*/ 257442 h 257442"/>
                <a:gd name="connsiteX2" fmla="*/ 0 w 950802"/>
                <a:gd name="connsiteY2" fmla="*/ 257442 h 257442"/>
                <a:gd name="connsiteX3" fmla="*/ 0 w 950802"/>
                <a:gd name="connsiteY3" fmla="*/ 0 h 257442"/>
                <a:gd name="connsiteX0" fmla="*/ 950802 w 950802"/>
                <a:gd name="connsiteY0" fmla="*/ 0 h 257442"/>
                <a:gd name="connsiteX1" fmla="*/ 896080 w 950802"/>
                <a:gd name="connsiteY1" fmla="*/ 257442 h 257442"/>
                <a:gd name="connsiteX2" fmla="*/ 0 w 950802"/>
                <a:gd name="connsiteY2" fmla="*/ 257442 h 257442"/>
                <a:gd name="connsiteX3" fmla="*/ 0 w 950802"/>
                <a:gd name="connsiteY3" fmla="*/ 0 h 257442"/>
                <a:gd name="connsiteX0" fmla="*/ 1145918 w 1145918"/>
                <a:gd name="connsiteY0" fmla="*/ 0 h 257442"/>
                <a:gd name="connsiteX1" fmla="*/ 896080 w 1145918"/>
                <a:gd name="connsiteY1" fmla="*/ 257442 h 257442"/>
                <a:gd name="connsiteX2" fmla="*/ 0 w 1145918"/>
                <a:gd name="connsiteY2" fmla="*/ 257442 h 257442"/>
                <a:gd name="connsiteX3" fmla="*/ 0 w 1145918"/>
                <a:gd name="connsiteY3" fmla="*/ 0 h 257442"/>
                <a:gd name="connsiteX0" fmla="*/ 1145918 w 1145918"/>
                <a:gd name="connsiteY0" fmla="*/ 0 h 257442"/>
                <a:gd name="connsiteX1" fmla="*/ 1091197 w 1145918"/>
                <a:gd name="connsiteY1" fmla="*/ 257442 h 257442"/>
                <a:gd name="connsiteX2" fmla="*/ 0 w 1145918"/>
                <a:gd name="connsiteY2" fmla="*/ 257442 h 257442"/>
                <a:gd name="connsiteX3" fmla="*/ 0 w 1145918"/>
                <a:gd name="connsiteY3" fmla="*/ 0 h 257442"/>
                <a:gd name="connsiteX0" fmla="*/ 1145918 w 1145918"/>
                <a:gd name="connsiteY0" fmla="*/ 0 h 257442"/>
                <a:gd name="connsiteX1" fmla="*/ 1091197 w 1145918"/>
                <a:gd name="connsiteY1" fmla="*/ 257442 h 257442"/>
                <a:gd name="connsiteX2" fmla="*/ 0 w 1145918"/>
                <a:gd name="connsiteY2" fmla="*/ 257442 h 257442"/>
                <a:gd name="connsiteX3" fmla="*/ 0 w 1145918"/>
                <a:gd name="connsiteY3" fmla="*/ 0 h 257442"/>
                <a:gd name="connsiteX0" fmla="*/ 1145918 w 1145918"/>
                <a:gd name="connsiteY0" fmla="*/ 0 h 257442"/>
                <a:gd name="connsiteX1" fmla="*/ 1091197 w 1145918"/>
                <a:gd name="connsiteY1" fmla="*/ 257442 h 257442"/>
                <a:gd name="connsiteX2" fmla="*/ 0 w 1145918"/>
                <a:gd name="connsiteY2" fmla="*/ 257442 h 257442"/>
                <a:gd name="connsiteX3" fmla="*/ 0 w 1145918"/>
                <a:gd name="connsiteY3" fmla="*/ 0 h 257442"/>
                <a:gd name="connsiteX0" fmla="*/ 1474085 w 1474085"/>
                <a:gd name="connsiteY0" fmla="*/ 0 h 257442"/>
                <a:gd name="connsiteX1" fmla="*/ 1091197 w 1474085"/>
                <a:gd name="connsiteY1" fmla="*/ 257442 h 257442"/>
                <a:gd name="connsiteX2" fmla="*/ 0 w 1474085"/>
                <a:gd name="connsiteY2" fmla="*/ 257442 h 257442"/>
                <a:gd name="connsiteX3" fmla="*/ 0 w 1474085"/>
                <a:gd name="connsiteY3" fmla="*/ 0 h 257442"/>
                <a:gd name="connsiteX0" fmla="*/ 1474085 w 1474085"/>
                <a:gd name="connsiteY0" fmla="*/ 0 h 257442"/>
                <a:gd name="connsiteX1" fmla="*/ 1419364 w 1474085"/>
                <a:gd name="connsiteY1" fmla="*/ 257442 h 257442"/>
                <a:gd name="connsiteX2" fmla="*/ 0 w 1474085"/>
                <a:gd name="connsiteY2" fmla="*/ 257442 h 257442"/>
                <a:gd name="connsiteX3" fmla="*/ 0 w 1474085"/>
                <a:gd name="connsiteY3" fmla="*/ 0 h 257442"/>
                <a:gd name="connsiteX0" fmla="*/ 1474085 w 1474085"/>
                <a:gd name="connsiteY0" fmla="*/ 0 h 257442"/>
                <a:gd name="connsiteX1" fmla="*/ 1419364 w 1474085"/>
                <a:gd name="connsiteY1" fmla="*/ 257442 h 257442"/>
                <a:gd name="connsiteX2" fmla="*/ 0 w 1474085"/>
                <a:gd name="connsiteY2" fmla="*/ 257442 h 257442"/>
                <a:gd name="connsiteX3" fmla="*/ 0 w 1474085"/>
                <a:gd name="connsiteY3" fmla="*/ 0 h 257442"/>
                <a:gd name="connsiteX0" fmla="*/ 1474085 w 1474085"/>
                <a:gd name="connsiteY0" fmla="*/ 0 h 257442"/>
                <a:gd name="connsiteX1" fmla="*/ 1419364 w 1474085"/>
                <a:gd name="connsiteY1" fmla="*/ 257442 h 257442"/>
                <a:gd name="connsiteX2" fmla="*/ 0 w 1474085"/>
                <a:gd name="connsiteY2" fmla="*/ 257442 h 257442"/>
                <a:gd name="connsiteX3" fmla="*/ 0 w 1474085"/>
                <a:gd name="connsiteY3" fmla="*/ 0 h 257442"/>
                <a:gd name="connsiteX0" fmla="*/ 1634385 w 1634385"/>
                <a:gd name="connsiteY0" fmla="*/ 0 h 257442"/>
                <a:gd name="connsiteX1" fmla="*/ 1419364 w 1634385"/>
                <a:gd name="connsiteY1" fmla="*/ 257442 h 257442"/>
                <a:gd name="connsiteX2" fmla="*/ 0 w 1634385"/>
                <a:gd name="connsiteY2" fmla="*/ 257442 h 257442"/>
                <a:gd name="connsiteX3" fmla="*/ 0 w 1634385"/>
                <a:gd name="connsiteY3" fmla="*/ 0 h 257442"/>
                <a:gd name="connsiteX0" fmla="*/ 1634385 w 1634385"/>
                <a:gd name="connsiteY0" fmla="*/ 0 h 257442"/>
                <a:gd name="connsiteX1" fmla="*/ 1579664 w 1634385"/>
                <a:gd name="connsiteY1" fmla="*/ 257442 h 257442"/>
                <a:gd name="connsiteX2" fmla="*/ 0 w 1634385"/>
                <a:gd name="connsiteY2" fmla="*/ 257442 h 257442"/>
                <a:gd name="connsiteX3" fmla="*/ 0 w 1634385"/>
                <a:gd name="connsiteY3" fmla="*/ 0 h 257442"/>
                <a:gd name="connsiteX0" fmla="*/ 1634385 w 1634385"/>
                <a:gd name="connsiteY0" fmla="*/ 0 h 257442"/>
                <a:gd name="connsiteX1" fmla="*/ 1579664 w 1634385"/>
                <a:gd name="connsiteY1" fmla="*/ 257442 h 257442"/>
                <a:gd name="connsiteX2" fmla="*/ 0 w 1634385"/>
                <a:gd name="connsiteY2" fmla="*/ 257442 h 257442"/>
                <a:gd name="connsiteX3" fmla="*/ 0 w 1634385"/>
                <a:gd name="connsiteY3" fmla="*/ 0 h 257442"/>
                <a:gd name="connsiteX0" fmla="*/ 1634385 w 1634385"/>
                <a:gd name="connsiteY0" fmla="*/ 0 h 257442"/>
                <a:gd name="connsiteX1" fmla="*/ 1579664 w 1634385"/>
                <a:gd name="connsiteY1" fmla="*/ 257442 h 257442"/>
                <a:gd name="connsiteX2" fmla="*/ 0 w 1634385"/>
                <a:gd name="connsiteY2" fmla="*/ 257442 h 257442"/>
                <a:gd name="connsiteX3" fmla="*/ 0 w 1634385"/>
                <a:gd name="connsiteY3" fmla="*/ 0 h 257442"/>
                <a:gd name="connsiteX0" fmla="*/ 1802701 w 1802701"/>
                <a:gd name="connsiteY0" fmla="*/ 0 h 257442"/>
                <a:gd name="connsiteX1" fmla="*/ 1579664 w 1802701"/>
                <a:gd name="connsiteY1" fmla="*/ 257442 h 257442"/>
                <a:gd name="connsiteX2" fmla="*/ 0 w 1802701"/>
                <a:gd name="connsiteY2" fmla="*/ 257442 h 257442"/>
                <a:gd name="connsiteX3" fmla="*/ 0 w 1802701"/>
                <a:gd name="connsiteY3" fmla="*/ 0 h 257442"/>
                <a:gd name="connsiteX0" fmla="*/ 1802701 w 1802701"/>
                <a:gd name="connsiteY0" fmla="*/ 0 h 257442"/>
                <a:gd name="connsiteX1" fmla="*/ 1747980 w 1802701"/>
                <a:gd name="connsiteY1" fmla="*/ 257442 h 257442"/>
                <a:gd name="connsiteX2" fmla="*/ 0 w 1802701"/>
                <a:gd name="connsiteY2" fmla="*/ 257442 h 257442"/>
                <a:gd name="connsiteX3" fmla="*/ 0 w 1802701"/>
                <a:gd name="connsiteY3" fmla="*/ 0 h 257442"/>
                <a:gd name="connsiteX0" fmla="*/ 1802701 w 1802701"/>
                <a:gd name="connsiteY0" fmla="*/ 0 h 257442"/>
                <a:gd name="connsiteX1" fmla="*/ 1747980 w 1802701"/>
                <a:gd name="connsiteY1" fmla="*/ 257442 h 257442"/>
                <a:gd name="connsiteX2" fmla="*/ 0 w 1802701"/>
                <a:gd name="connsiteY2" fmla="*/ 257442 h 257442"/>
                <a:gd name="connsiteX3" fmla="*/ 0 w 1802701"/>
                <a:gd name="connsiteY3" fmla="*/ 0 h 257442"/>
                <a:gd name="connsiteX0" fmla="*/ 1802701 w 1802701"/>
                <a:gd name="connsiteY0" fmla="*/ 0 h 257442"/>
                <a:gd name="connsiteX1" fmla="*/ 1747980 w 1802701"/>
                <a:gd name="connsiteY1" fmla="*/ 257442 h 257442"/>
                <a:gd name="connsiteX2" fmla="*/ 0 w 1802701"/>
                <a:gd name="connsiteY2" fmla="*/ 257442 h 257442"/>
                <a:gd name="connsiteX3" fmla="*/ 0 w 1802701"/>
                <a:gd name="connsiteY3" fmla="*/ 0 h 257442"/>
                <a:gd name="connsiteX0" fmla="*/ 1963001 w 1963001"/>
                <a:gd name="connsiteY0" fmla="*/ 0 h 257442"/>
                <a:gd name="connsiteX1" fmla="*/ 1747980 w 1963001"/>
                <a:gd name="connsiteY1" fmla="*/ 257442 h 257442"/>
                <a:gd name="connsiteX2" fmla="*/ 0 w 1963001"/>
                <a:gd name="connsiteY2" fmla="*/ 257442 h 257442"/>
                <a:gd name="connsiteX3" fmla="*/ 0 w 1963001"/>
                <a:gd name="connsiteY3" fmla="*/ 0 h 257442"/>
                <a:gd name="connsiteX0" fmla="*/ 1963001 w 1963001"/>
                <a:gd name="connsiteY0" fmla="*/ 0 h 257442"/>
                <a:gd name="connsiteX1" fmla="*/ 1908280 w 1963001"/>
                <a:gd name="connsiteY1" fmla="*/ 257442 h 257442"/>
                <a:gd name="connsiteX2" fmla="*/ 0 w 1963001"/>
                <a:gd name="connsiteY2" fmla="*/ 257442 h 257442"/>
                <a:gd name="connsiteX3" fmla="*/ 0 w 1963001"/>
                <a:gd name="connsiteY3" fmla="*/ 0 h 257442"/>
                <a:gd name="connsiteX0" fmla="*/ 1963001 w 1963001"/>
                <a:gd name="connsiteY0" fmla="*/ 0 h 257442"/>
                <a:gd name="connsiteX1" fmla="*/ 1908280 w 1963001"/>
                <a:gd name="connsiteY1" fmla="*/ 257442 h 257442"/>
                <a:gd name="connsiteX2" fmla="*/ 0 w 1963001"/>
                <a:gd name="connsiteY2" fmla="*/ 257442 h 257442"/>
                <a:gd name="connsiteX3" fmla="*/ 0 w 1963001"/>
                <a:gd name="connsiteY3" fmla="*/ 0 h 257442"/>
                <a:gd name="connsiteX0" fmla="*/ 1963001 w 1963001"/>
                <a:gd name="connsiteY0" fmla="*/ 0 h 257442"/>
                <a:gd name="connsiteX1" fmla="*/ 1908280 w 1963001"/>
                <a:gd name="connsiteY1" fmla="*/ 257442 h 257442"/>
                <a:gd name="connsiteX2" fmla="*/ 0 w 1963001"/>
                <a:gd name="connsiteY2" fmla="*/ 257442 h 257442"/>
                <a:gd name="connsiteX3" fmla="*/ 0 w 1963001"/>
                <a:gd name="connsiteY3" fmla="*/ 0 h 257442"/>
                <a:gd name="connsiteX0" fmla="*/ 2131316 w 2131316"/>
                <a:gd name="connsiteY0" fmla="*/ 0 h 257442"/>
                <a:gd name="connsiteX1" fmla="*/ 1908280 w 2131316"/>
                <a:gd name="connsiteY1" fmla="*/ 257442 h 257442"/>
                <a:gd name="connsiteX2" fmla="*/ 0 w 2131316"/>
                <a:gd name="connsiteY2" fmla="*/ 257442 h 257442"/>
                <a:gd name="connsiteX3" fmla="*/ 0 w 2131316"/>
                <a:gd name="connsiteY3" fmla="*/ 0 h 257442"/>
                <a:gd name="connsiteX0" fmla="*/ 2131316 w 2131316"/>
                <a:gd name="connsiteY0" fmla="*/ 0 h 257442"/>
                <a:gd name="connsiteX1" fmla="*/ 2076594 w 2131316"/>
                <a:gd name="connsiteY1" fmla="*/ 257442 h 257442"/>
                <a:gd name="connsiteX2" fmla="*/ 0 w 2131316"/>
                <a:gd name="connsiteY2" fmla="*/ 257442 h 257442"/>
                <a:gd name="connsiteX3" fmla="*/ 0 w 2131316"/>
                <a:gd name="connsiteY3" fmla="*/ 0 h 257442"/>
                <a:gd name="connsiteX0" fmla="*/ 2131317 w 2131317"/>
                <a:gd name="connsiteY0" fmla="*/ 0 h 257442"/>
                <a:gd name="connsiteX1" fmla="*/ 2076595 w 2131317"/>
                <a:gd name="connsiteY1" fmla="*/ 257442 h 257442"/>
                <a:gd name="connsiteX2" fmla="*/ 0 w 2131317"/>
                <a:gd name="connsiteY2" fmla="*/ 257442 h 257442"/>
                <a:gd name="connsiteX3" fmla="*/ 1 w 2131317"/>
                <a:gd name="connsiteY3" fmla="*/ 0 h 257442"/>
                <a:gd name="connsiteX0" fmla="*/ 2131317 w 2131317"/>
                <a:gd name="connsiteY0" fmla="*/ 0 h 257442"/>
                <a:gd name="connsiteX1" fmla="*/ 2076595 w 2131317"/>
                <a:gd name="connsiteY1" fmla="*/ 257442 h 257442"/>
                <a:gd name="connsiteX2" fmla="*/ 0 w 2131317"/>
                <a:gd name="connsiteY2" fmla="*/ 257442 h 257442"/>
                <a:gd name="connsiteX3" fmla="*/ 1 w 2131317"/>
                <a:gd name="connsiteY3" fmla="*/ 0 h 257442"/>
                <a:gd name="connsiteX0" fmla="*/ 2299633 w 2299633"/>
                <a:gd name="connsiteY0" fmla="*/ 0 h 257442"/>
                <a:gd name="connsiteX1" fmla="*/ 2076595 w 2299633"/>
                <a:gd name="connsiteY1" fmla="*/ 257442 h 257442"/>
                <a:gd name="connsiteX2" fmla="*/ 0 w 2299633"/>
                <a:gd name="connsiteY2" fmla="*/ 257442 h 257442"/>
                <a:gd name="connsiteX3" fmla="*/ 1 w 2299633"/>
                <a:gd name="connsiteY3" fmla="*/ 0 h 257442"/>
                <a:gd name="connsiteX0" fmla="*/ 2299633 w 2299633"/>
                <a:gd name="connsiteY0" fmla="*/ 0 h 257442"/>
                <a:gd name="connsiteX1" fmla="*/ 2244912 w 2299633"/>
                <a:gd name="connsiteY1" fmla="*/ 257442 h 257442"/>
                <a:gd name="connsiteX2" fmla="*/ 0 w 2299633"/>
                <a:gd name="connsiteY2" fmla="*/ 257442 h 257442"/>
                <a:gd name="connsiteX3" fmla="*/ 1 w 2299633"/>
                <a:gd name="connsiteY3" fmla="*/ 0 h 257442"/>
                <a:gd name="connsiteX0" fmla="*/ 2299632 w 2299632"/>
                <a:gd name="connsiteY0" fmla="*/ 0 h 257442"/>
                <a:gd name="connsiteX1" fmla="*/ 2244911 w 2299632"/>
                <a:gd name="connsiteY1" fmla="*/ 257442 h 257442"/>
                <a:gd name="connsiteX2" fmla="*/ 0 w 2299632"/>
                <a:gd name="connsiteY2" fmla="*/ 257442 h 257442"/>
                <a:gd name="connsiteX3" fmla="*/ 0 w 2299632"/>
                <a:gd name="connsiteY3" fmla="*/ 0 h 257442"/>
                <a:gd name="connsiteX0" fmla="*/ 2299633 w 2299633"/>
                <a:gd name="connsiteY0" fmla="*/ 0 h 257442"/>
                <a:gd name="connsiteX1" fmla="*/ 2244912 w 2299633"/>
                <a:gd name="connsiteY1" fmla="*/ 257442 h 257442"/>
                <a:gd name="connsiteX2" fmla="*/ 1 w 2299633"/>
                <a:gd name="connsiteY2" fmla="*/ 257442 h 257442"/>
                <a:gd name="connsiteX3" fmla="*/ 0 w 2299633"/>
                <a:gd name="connsiteY3" fmla="*/ 0 h 257442"/>
                <a:gd name="connsiteX0" fmla="*/ 2131317 w 2244912"/>
                <a:gd name="connsiteY0" fmla="*/ 0 h 257442"/>
                <a:gd name="connsiteX1" fmla="*/ 2244912 w 2244912"/>
                <a:gd name="connsiteY1" fmla="*/ 257442 h 257442"/>
                <a:gd name="connsiteX2" fmla="*/ 1 w 2244912"/>
                <a:gd name="connsiteY2" fmla="*/ 257442 h 257442"/>
                <a:gd name="connsiteX3" fmla="*/ 0 w 2244912"/>
                <a:gd name="connsiteY3" fmla="*/ 0 h 257442"/>
                <a:gd name="connsiteX0" fmla="*/ 2131317 w 2131317"/>
                <a:gd name="connsiteY0" fmla="*/ 0 h 257442"/>
                <a:gd name="connsiteX1" fmla="*/ 2076596 w 2131317"/>
                <a:gd name="connsiteY1" fmla="*/ 257442 h 257442"/>
                <a:gd name="connsiteX2" fmla="*/ 1 w 2131317"/>
                <a:gd name="connsiteY2" fmla="*/ 257442 h 257442"/>
                <a:gd name="connsiteX3" fmla="*/ 0 w 2131317"/>
                <a:gd name="connsiteY3" fmla="*/ 0 h 257442"/>
                <a:gd name="connsiteX0" fmla="*/ 2131317 w 2131317"/>
                <a:gd name="connsiteY0" fmla="*/ 0 h 257442"/>
                <a:gd name="connsiteX1" fmla="*/ 2076596 w 2131317"/>
                <a:gd name="connsiteY1" fmla="*/ 257442 h 257442"/>
                <a:gd name="connsiteX2" fmla="*/ 2 w 2131317"/>
                <a:gd name="connsiteY2" fmla="*/ 257442 h 257442"/>
                <a:gd name="connsiteX3" fmla="*/ 0 w 2131317"/>
                <a:gd name="connsiteY3" fmla="*/ 0 h 257442"/>
                <a:gd name="connsiteX0" fmla="*/ 2131315 w 2131315"/>
                <a:gd name="connsiteY0" fmla="*/ 0 h 257442"/>
                <a:gd name="connsiteX1" fmla="*/ 2076594 w 2131315"/>
                <a:gd name="connsiteY1" fmla="*/ 257442 h 257442"/>
                <a:gd name="connsiteX2" fmla="*/ 0 w 2131315"/>
                <a:gd name="connsiteY2" fmla="*/ 257442 h 257442"/>
                <a:gd name="connsiteX3" fmla="*/ 0 w 2131315"/>
                <a:gd name="connsiteY3" fmla="*/ 0 h 257442"/>
                <a:gd name="connsiteX0" fmla="*/ 1963001 w 2076594"/>
                <a:gd name="connsiteY0" fmla="*/ 0 h 257442"/>
                <a:gd name="connsiteX1" fmla="*/ 2076594 w 2076594"/>
                <a:gd name="connsiteY1" fmla="*/ 257442 h 257442"/>
                <a:gd name="connsiteX2" fmla="*/ 0 w 2076594"/>
                <a:gd name="connsiteY2" fmla="*/ 257442 h 257442"/>
                <a:gd name="connsiteX3" fmla="*/ 0 w 2076594"/>
                <a:gd name="connsiteY3" fmla="*/ 0 h 257442"/>
                <a:gd name="connsiteX0" fmla="*/ 1963001 w 1963001"/>
                <a:gd name="connsiteY0" fmla="*/ 0 h 257442"/>
                <a:gd name="connsiteX1" fmla="*/ 1908280 w 1963001"/>
                <a:gd name="connsiteY1" fmla="*/ 257442 h 257442"/>
                <a:gd name="connsiteX2" fmla="*/ 0 w 1963001"/>
                <a:gd name="connsiteY2" fmla="*/ 257442 h 257442"/>
                <a:gd name="connsiteX3" fmla="*/ 0 w 1963001"/>
                <a:gd name="connsiteY3" fmla="*/ 0 h 257442"/>
                <a:gd name="connsiteX0" fmla="*/ 1963001 w 1963001"/>
                <a:gd name="connsiteY0" fmla="*/ 0 h 257442"/>
                <a:gd name="connsiteX1" fmla="*/ 1908280 w 1963001"/>
                <a:gd name="connsiteY1" fmla="*/ 257442 h 257442"/>
                <a:gd name="connsiteX2" fmla="*/ 1 w 1963001"/>
                <a:gd name="connsiteY2" fmla="*/ 257442 h 257442"/>
                <a:gd name="connsiteX3" fmla="*/ 0 w 1963001"/>
                <a:gd name="connsiteY3" fmla="*/ 0 h 257442"/>
                <a:gd name="connsiteX0" fmla="*/ 1963000 w 1963000"/>
                <a:gd name="connsiteY0" fmla="*/ 0 h 257442"/>
                <a:gd name="connsiteX1" fmla="*/ 1908279 w 1963000"/>
                <a:gd name="connsiteY1" fmla="*/ 257442 h 257442"/>
                <a:gd name="connsiteX2" fmla="*/ 0 w 1963000"/>
                <a:gd name="connsiteY2" fmla="*/ 257442 h 257442"/>
                <a:gd name="connsiteX3" fmla="*/ 0 w 1963000"/>
                <a:gd name="connsiteY3" fmla="*/ 0 h 257442"/>
                <a:gd name="connsiteX0" fmla="*/ 2123301 w 2123301"/>
                <a:gd name="connsiteY0" fmla="*/ 0 h 257442"/>
                <a:gd name="connsiteX1" fmla="*/ 1908279 w 2123301"/>
                <a:gd name="connsiteY1" fmla="*/ 257442 h 257442"/>
                <a:gd name="connsiteX2" fmla="*/ 0 w 2123301"/>
                <a:gd name="connsiteY2" fmla="*/ 257442 h 257442"/>
                <a:gd name="connsiteX3" fmla="*/ 0 w 2123301"/>
                <a:gd name="connsiteY3" fmla="*/ 0 h 257442"/>
                <a:gd name="connsiteX0" fmla="*/ 2123301 w 2123301"/>
                <a:gd name="connsiteY0" fmla="*/ 0 h 257442"/>
                <a:gd name="connsiteX1" fmla="*/ 2068580 w 2123301"/>
                <a:gd name="connsiteY1" fmla="*/ 257442 h 257442"/>
                <a:gd name="connsiteX2" fmla="*/ 0 w 2123301"/>
                <a:gd name="connsiteY2" fmla="*/ 257442 h 257442"/>
                <a:gd name="connsiteX3" fmla="*/ 0 w 2123301"/>
                <a:gd name="connsiteY3" fmla="*/ 0 h 257442"/>
                <a:gd name="connsiteX0" fmla="*/ 2123302 w 2123302"/>
                <a:gd name="connsiteY0" fmla="*/ 0 h 257442"/>
                <a:gd name="connsiteX1" fmla="*/ 2068581 w 2123302"/>
                <a:gd name="connsiteY1" fmla="*/ 257442 h 257442"/>
                <a:gd name="connsiteX2" fmla="*/ 0 w 2123302"/>
                <a:gd name="connsiteY2" fmla="*/ 257442 h 257442"/>
                <a:gd name="connsiteX3" fmla="*/ 1 w 2123302"/>
                <a:gd name="connsiteY3" fmla="*/ 0 h 257442"/>
                <a:gd name="connsiteX0" fmla="*/ 2123302 w 2123302"/>
                <a:gd name="connsiteY0" fmla="*/ 0 h 257442"/>
                <a:gd name="connsiteX1" fmla="*/ 2068581 w 2123302"/>
                <a:gd name="connsiteY1" fmla="*/ 257442 h 257442"/>
                <a:gd name="connsiteX2" fmla="*/ 0 w 2123302"/>
                <a:gd name="connsiteY2" fmla="*/ 257442 h 257442"/>
                <a:gd name="connsiteX3" fmla="*/ 0 w 2123302"/>
                <a:gd name="connsiteY3" fmla="*/ 0 h 257442"/>
                <a:gd name="connsiteX0" fmla="*/ 2283602 w 2283602"/>
                <a:gd name="connsiteY0" fmla="*/ 0 h 257442"/>
                <a:gd name="connsiteX1" fmla="*/ 2068581 w 2283602"/>
                <a:gd name="connsiteY1" fmla="*/ 257442 h 257442"/>
                <a:gd name="connsiteX2" fmla="*/ 0 w 2283602"/>
                <a:gd name="connsiteY2" fmla="*/ 257442 h 257442"/>
                <a:gd name="connsiteX3" fmla="*/ 0 w 2283602"/>
                <a:gd name="connsiteY3" fmla="*/ 0 h 257442"/>
                <a:gd name="connsiteX0" fmla="*/ 2283602 w 2283602"/>
                <a:gd name="connsiteY0" fmla="*/ 0 h 257442"/>
                <a:gd name="connsiteX1" fmla="*/ 2228881 w 2283602"/>
                <a:gd name="connsiteY1" fmla="*/ 257442 h 257442"/>
                <a:gd name="connsiteX2" fmla="*/ 0 w 2283602"/>
                <a:gd name="connsiteY2" fmla="*/ 257442 h 257442"/>
                <a:gd name="connsiteX3" fmla="*/ 0 w 2283602"/>
                <a:gd name="connsiteY3" fmla="*/ 0 h 257442"/>
                <a:gd name="connsiteX0" fmla="*/ 2283602 w 2283602"/>
                <a:gd name="connsiteY0" fmla="*/ 0 h 257442"/>
                <a:gd name="connsiteX1" fmla="*/ 2228881 w 2283602"/>
                <a:gd name="connsiteY1" fmla="*/ 257442 h 257442"/>
                <a:gd name="connsiteX2" fmla="*/ 0 w 2283602"/>
                <a:gd name="connsiteY2" fmla="*/ 257442 h 257442"/>
                <a:gd name="connsiteX3" fmla="*/ 0 w 2283602"/>
                <a:gd name="connsiteY3" fmla="*/ 0 h 257442"/>
                <a:gd name="connsiteX0" fmla="*/ 2283602 w 2283602"/>
                <a:gd name="connsiteY0" fmla="*/ 0 h 257442"/>
                <a:gd name="connsiteX1" fmla="*/ 2228881 w 2283602"/>
                <a:gd name="connsiteY1" fmla="*/ 257442 h 257442"/>
                <a:gd name="connsiteX2" fmla="*/ 0 w 2283602"/>
                <a:gd name="connsiteY2" fmla="*/ 257442 h 257442"/>
                <a:gd name="connsiteX3" fmla="*/ 0 w 2283602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83602" h="257442">
                  <a:moveTo>
                    <a:pt x="2283602" y="0"/>
                  </a:moveTo>
                  <a:lnTo>
                    <a:pt x="2228881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" name="btfpRunningAgenda1LevelTextLeft957375">
              <a:extLst>
                <a:ext uri="{FF2B5EF4-FFF2-40B4-BE49-F238E27FC236}">
                  <a16:creationId xmlns:a16="http://schemas.microsoft.com/office/drawing/2014/main" id="{F1E276B5-1D3B-4ADE-8100-70CEDC8CC41C}"/>
                </a:ext>
              </a:extLst>
            </p:cNvPr>
            <p:cNvSpPr txBox="1"/>
            <p:nvPr/>
          </p:nvSpPr>
          <p:spPr bwMode="gray">
            <a:xfrm>
              <a:off x="0" y="876300"/>
              <a:ext cx="2228881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wareness</a:t>
              </a:r>
              <a:endParaRPr kumimoji="0" lang="en-GB" sz="1200" b="1" i="0" u="none" strike="noStrike" kern="1200" cap="all" spc="4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41168866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btfpColumnIndicatorGroup2">
            <a:extLst>
              <a:ext uri="{FF2B5EF4-FFF2-40B4-BE49-F238E27FC236}">
                <a16:creationId xmlns:a16="http://schemas.microsoft.com/office/drawing/2014/main" id="{7155CE85-8E96-4CED-973A-5A868D463C2A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0" name="btfpColumnGapBlocker861270">
              <a:extLst>
                <a:ext uri="{FF2B5EF4-FFF2-40B4-BE49-F238E27FC236}">
                  <a16:creationId xmlns:a16="http://schemas.microsoft.com/office/drawing/2014/main" id="{83655332-80D5-4ED7-B78B-08626029477F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8" name="btfpColumnGapBlocker918258">
              <a:extLst>
                <a:ext uri="{FF2B5EF4-FFF2-40B4-BE49-F238E27FC236}">
                  <a16:creationId xmlns:a16="http://schemas.microsoft.com/office/drawing/2014/main" id="{0A150A93-BF08-485B-B8D6-284FB5C11E9D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" name="btfpColumnIndicator426773">
              <a:extLst>
                <a:ext uri="{FF2B5EF4-FFF2-40B4-BE49-F238E27FC236}">
                  <a16:creationId xmlns:a16="http://schemas.microsoft.com/office/drawing/2014/main" id="{26A5ACAB-8423-47CB-8341-9676E33CF686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880027">
              <a:extLst>
                <a:ext uri="{FF2B5EF4-FFF2-40B4-BE49-F238E27FC236}">
                  <a16:creationId xmlns:a16="http://schemas.microsoft.com/office/drawing/2014/main" id="{5B4F3125-EC10-4E0E-ACE1-47A18C7C2469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btfpColumnIndicatorGroup1">
            <a:extLst>
              <a:ext uri="{FF2B5EF4-FFF2-40B4-BE49-F238E27FC236}">
                <a16:creationId xmlns:a16="http://schemas.microsoft.com/office/drawing/2014/main" id="{8DC1EE47-0C0F-4969-B49B-2EC1E0515017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9" name="btfpColumnGapBlocker873323">
              <a:extLst>
                <a:ext uri="{FF2B5EF4-FFF2-40B4-BE49-F238E27FC236}">
                  <a16:creationId xmlns:a16="http://schemas.microsoft.com/office/drawing/2014/main" id="{8FBAD2EA-2C46-4F27-AB65-C86BFE1E42C8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7" name="btfpColumnGapBlocker245429">
              <a:extLst>
                <a:ext uri="{FF2B5EF4-FFF2-40B4-BE49-F238E27FC236}">
                  <a16:creationId xmlns:a16="http://schemas.microsoft.com/office/drawing/2014/main" id="{A89A2CA6-2B51-4E98-870A-7E22293CDA02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546896">
              <a:extLst>
                <a:ext uri="{FF2B5EF4-FFF2-40B4-BE49-F238E27FC236}">
                  <a16:creationId xmlns:a16="http://schemas.microsoft.com/office/drawing/2014/main" id="{C697B64C-3242-4C53-8F6C-346CDF13B391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" name="btfpColumnIndicator526215">
              <a:extLst>
                <a:ext uri="{FF2B5EF4-FFF2-40B4-BE49-F238E27FC236}">
                  <a16:creationId xmlns:a16="http://schemas.microsoft.com/office/drawing/2014/main" id="{96ED63D6-5C8B-4F01-B4CC-9B4E0E2A6882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btfpMGChart543561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z2dD7pS103gZfJ6l4USC3jqtWOPR/ue0umjYEY9KlLthURXCUyUuZbmGDPUXB2idlVQc+R1c0j6vNnMaKvr/AiLRzfLeigJs3PmhN3mxXDVoVGoWEaHu+QIIQcPFbK6ByOnul1mFN9ulPVhr0jUAQt2zYeyJ/lN0kSQTD0Uv3nfLUVGg6BJf20rWF79+nxXYAMVVWK4NRX/C0VRiC7cl/tTJ0DagmnXe3mkQLHiw+FjEEK9TeIdYgk+ChDL5oI2Cg5jgDoyF8e90ZhGKttuGmNevhA8RLhtl+mZsPpOPx4iJAcL9FHhM/KIruAOAwY9ln/BawoM+kxttEil2rKyi8WsHaYbKUR9gQCf/Pqi6Yb5cPLv87AFTLQtPRD8xhNjCe3dzummbfeBjk7LV7UnDEXF5pDdPkNVPArFG41vPWSHzPr4tDqjrinPf6Khvi2Wr8HHUc4no9a+LhRT3Mm92FQqJrDF6E6YkyosqRZqykfeh+GxbYBFGTj1rBVAujBRR/pSuMnC8G3ETPjaKpOYnCBSWONvUgsM19i/bvL99MTgftwy8GSgUC6tEj44na2cVuTjGpt3D7aEmvwYP77A54e9R1oisfYJo0Ucw8R5Mgmkn7l+FNJCmA8dBUJ9Hkiibb6HTGJMIbfTv3/i6EXiah8hlMwzxwtfRoGqrPv9TMm/tO0Ldlx0QMVIRKPaCq3hhINoftsk8Vc/jbvW5M9brPhNDMVKW3SktjhtWZG1rookvCqJ5n1l/dy5nj+wXv9lllG8J7J+QuBQ4HZW0VVtx7up9C6S9n4A6AxKAXuegEC48YBVpLG/e4jx++WtOuVeHzyRHbFIdzF8dfgTwCncDFlgGlSRAHg1Drw/vqy8fNXC32R+rRknj0ndytQqYDRcUwpZPiYFoLFtyke+mJw1oHi1AQUa0OxsUbWvW3X/Gs4TIoPxiWtPT0ZrORaiU4LathTSHLRGePKbbrKEwWXtPhJ+LmWV7O3BGxOXid+fwEG4z6ON43N9S5viwpz4zT4MdtHzy4To8p4vM9MweUrdFTu/armpnCPgBFssSMjtUMoAOulxi+D5eVrMszT6aSOtoKzd9kNR2LVz4m9XQiu9pKSv6anlUn75yjo2r3Uxur9eXpyPnHIcOZPLba9YwuIRSC+2GSmpNqyQxZ3HJSzafs5Cgqk4d6Jpgntb8WKFqukdhVl5K7RF1XV2TeR8c5fojkKilUrj8xJo8wOZvuYod76qeHbwjfBoTjOX37vH5NySTy1w9l45Voe505qRTw+UJyoLLJaMoiSHBKAo7Jf8pyjgvTwW/CAdbr0Yn6+zwLl7gf38UK/pE80kHwFOXeDQ2UWeiD8aQaYPxt5YMMpEEYJATKq+Rr6QaX15vzy67vv+DLl8ncuwipktyL4+hj3W3+btZfywizJIV7KsGL28i4niF35wCAiOKNysC71H3MSHFvFENW4hFIRHG4jltWbcb+0Vhu/cxy3JuPfrT/SAUiQnz9kJDZo7S4qzbd3YS0aFcimOY2cZ9zS2O1bWPWB3xSowdt5w3w7/umyjVi+4OmcHAERSY35bZMkf11YkcXLSRyHy1/XkIrYCO/4k3DYJpxFW534VN8I0o9LRSf4xvOinW9uHHJXR79LDRCJYNifwQr9RGPJ/MvvVxJVctjqSE4q/IEXKA3OaZOv0KRMvfLNRfqvmQFc7Uc4xWD3jC4c38G4/rt1TvAMMVKcIbLtJdozm5N2oRO8pkKnhSqpHPAc5YPmGh86uhf1ypvqZv3rhncjrKhVETL4+sbXrH1bNsigjBhFU2YHu7l8dZV5aSCuA8ceIHulAa3KUWaxsNcdrsWQNU9LlvcZVbZzds2A8i+4tfDLZLQd7lEaPLSp9BvAiiIrZUJoLtW6k0m4gG1QH8p4wBK3mGK8DrvY7G34VK0rOVDmLEG9ngfc3Cd1QRQ3koUqzfMdaR4rvPkvE7DV7avL2ZXhb/lk2L6wwUJp97PebBXLlP13xG+8NkIYLjF5jMUcZIW9z/xQx1ooSW6AFLMaj00ORBvouCBRYtgtUurB0OGv2G18/EnpVth5YVT3AM62ugrSXTiVH53QMPerO9ogsibZzUKd1/qUIduuvFFJTOksrEK6p9Rp8vHSWAwH46pSNEMwoPsJ+g0Qr2hzDheT4dEfqxTWVCbyWaPM3eXnw3nrUw7EIhZwtlaEjGC58QHi8lEKEwTjaeWMVNrwDfFG+BnVmY47NMt2FVSf9CJ3WT979Iv1mVieqIWp0Zm0EjNvYC7wmbXh9SDZcIuyLJmeHOSB1KS2Y+IDXylaC4TeK794sbEfj6LW76R6kkjFEwmSn2ppOUIEVv11HcDOpH5nB+r+w5G1zbvoRDeVDJMqdTDnTMj2BpwzDF++/Uf36K0H20ldLNsMM01DGGQ1/3xc0XNpluvpguDp/fvy1tcE0RykPX5KCYC/mUJTeXXPxKKiWkniPWzzk+NiXT9TvytI02bJMJvJYB4x/aYSqzcIVYDMRAJjyzZILsfL1Ku0Kg3g7prfjqgYw4KnZnjBHJDlVgoWOr+eUk3zKSI8wqOizOHQlAxFgs12NJ5ULhQ63m1cIEYzavMRDG6r7KVEhYYL7rVGw8cGHqduk9Tv2CS+dS9nRUrl3nO9CP2czj8mUJz8WJMwKBvp710sxXjn4sWL+/56QIuTUaG67L/HEZycQoQLvJGuJN5KrAW3XAFR/SSxcoTRci7gCACfc3WA2EgtXWfJcaGr7Te1bQ1zGCpgKJJwlQAfeChqN0xSvNMdiRUqJz5u1nqzkQldUk47baLGWn814/LNMLC0HNTWhgAVdus3MJwIFlOVewBFkjzFgS4L5EaWQNDb4wyjNNUjqLYz6VYrHfz8oNGpf6WNiXPDm4GBvDVz70wYnoYtxg6cMJPJ45HK8Ac0tGSC3wA12lwxdBl0yvudG+B7axAUgRyczxC6qfcQjJAFB3yOkMZQrYdXRMrqGv31pPUhL8pha7KHRcAuaDXnpG2qFp3JSof9QLq6dY5tW0SmXuCytAFQOkgyssGYR5pMtmqdIDBLivqtmhWCO/sbUQFmM+xX/yMMrbjOGGEZDgezQG4/tPr2BkHFDrJcY55xZplvU6r3xAHhXdr14M0LXtoBKQL4AVxUQpRyayRIbAQPgcDrvnl1/ZG2mhXAc7enJroL+tUz2w64bs/t/6+kEdtXKKohz3sdZTktilsmzX5GFzm5XPtbXY5rGkKiasKAR8PDfIZkYkGFgXSzy2+EyeNLjP5uhYanEl+EoIJDbXsjIuPSMLxQUvx+M3LYMR3aRctLFQtOg7cUYz0+E0GqS+lRVaq6sFTlKTac+T1XtrwnUb68qfK9QFxN1HWUz04iuw2bGMfu2FVD/7vgttj32YHzxFIETkdpg7u4sVwSskGBPu+QcVhxf/sf2rMVSQUmR+Rx/h4Ba/IQoq0AfgjEuUUSBoIy4arCfDK4VEKK3h9EUpPEI5qJXD8+tQ/qVG13P8tdEQtRo3cHtrXYf34JZOIsSVdCZpasb4Dp1EHeaA87oNuVGMZDiHMaMV3UVpH03iJZA+uMJHUZaM3d9rRxYcNhbefVTdMv8zB5rZMxy9cMFbgq0m6iuNB8McnZ4EgtbVFdTs+ncBA7L8B/3fCUOC66bhINGxm7B2f80zFpg9ktZe0e4zCqbcaeNp9Xjzh4azc4XkcgOXtffS1Sj8I/GfLO4L+W5a1dw4u/F7QgBiEb1glaU6/EB3sEMIWPn+GFd7b3RY7BV6EOPhv40+fmNrtFyIwMRSa9E+fTKYcwZjCE54Q0SX1qMqsddix76meP5BMhcoH47385mh1IgBFAPm+SkCIg0gFbyN14/XYTF++OWXUeWnG/lm4J9M6zzqvGIVUeYP97QBayfcpWbaej35cYBYZWo8GBHbUfWYDpJF92QZcUKP0EF6BLjMBsD7heMtyxXZUz0DVB8Yy1oLOX9moHr7JMkFktmRCOhcWj5UN9HesiIORbbMutDN20R6WdxaN/b8WMO/vd67qOQqxOfStwn9eTsAFCvEPZVQ07XQNOH12Tz8leQOFvvpIR6ZYkrJuwc82CJ2KQwvQ+2mmrhGMhnQ33Hayltf7ibp0Wz1ubwzHxMXiL9YDoWF9eNHAeic/AtewnGOoumS3iglra3YBOSSc+i4iE1WuQJmJt/rUi/B3zJ4sADNVLaXGcyOTX+ThLt/qWDbD0VHpIaqWwTm3tFtC1OKBz5V2wtne/XkmRlKSnL2ifhLt+7oNLzJwZwXyhKU3RUmwSZ9/FkZ6XYY4Tegh3C2tIfG0OG15fuSfsa3IfhTP6P4DtLMWPeU97leYJUN0CXXrackioGZRVnkJgDYpmst0Ax9aVYg+d5otsGQw9ESw6T+ZYqtDUvzTjCUA4HPMEaV3pm/LOfbfQshxVESel5vUlIgck4vf0suZcsVFqHEy7s7lF82ZyKLTTHN63Y9Wy3TBzsWudmNndyVlHvBdrjCfx59TEraXTliuzqyC2osoOgixpHtdJEOXQc8SC1JjLDCE3X8NIu+c2C29+RV6P80vEIzMGO+U65R2mGgdKoU61mA3hxXyY8b/uL6XKsyhEgVqvi+fvSh/BCUKS6Wd7E1xsDBH9ZkULxL3K+JefSkdOd1KQ3+hgQEgN2mIHE12B8ZIexTgf4ibYIzi/oQcQtVlYqKjFsU/KNJ5Qxq7kv7vJGC/OXswuBx626IQlW/C0FvfIw0DIx9vz0tLylg5JgxRoUNiDSY7CMtv1AWiFzVLNzY4WjMYBOPQL7ogQd6BKhfnsq/CaosIUxfYg59G5YgWBjosxvnb+Udz7jJkAWxhbg1cX8LSbe9LIZC/O0tr7Vw9Lh+SGAVHFMq2EMM5/O/hz/G0hUt/9K8LpeDPxOyqcLCVS/QaQfyyvftD1sXzNeUcLzzyBCB0okMOZydjEZM9mv6fq8AIvdhIf8OUanxeuA2ZiHCuwk6KlQrlWD0aeDXD2M8uMWzw/BlhQzCp4AnldgTqJAWb1Fmwmuzu6JaSsuyNtAaVLG8HS3B5EqmPd0uaLSJ7ACyVmddtnFg1pMxgwj8zj+R/uDzi97G8ZXXHhWU1YtmHdAdejtNboP5syjuxrWBLVBaZ201wonM4/Z687ddgJmrm442FxV7Puab9uQ2IaSGIzpK/xruG93jYE91+Lh+fbCQeC/YkrMXDq2EMF7cDUxK+NwkkuI37klX9KpJOisycfsoXygrVeI2OYgkOHAfzVg2P4DSFxW8sHRy6ekiHsD9MYamjV7a1LGTRDlHR67PwH9QSSGqB6QDWsQB9QFIBtPOZnujmKfyKPTIem3Iv+jr2Cu3V402MwVzh6JBHC7lGo0ukiavQyEXA35aZOG2mviEFX/tcod08bs7hRzG8IZLqaB6N/tGaqyShrPfRt2FR/g0w6WwCUwph6oNDruUvHGqChudAbiRmeK2AcKYkvxiGjHNZzxWxxu8LAfiGKPwvtAdEYKL/FwatDud4bsGkmoP7eI8Zq7SgqAJmj2wPSIZswODQ9jkN0j3KMWLOoBqXzlUza1dQyf6B4m57a7Gi6QIjHXLEa5Dd6aEwhwtuQj58GWJiQHXKQYNvZq62E/Ph728InX3HdtDr3xU+auY3y/COSlLAfSg9KHQ7p6FO1LSeXm7ktw+p7TBIg3mRqP4ZC3IY1dbzpDtBYqxQE6ydIM/QGv0HJ+NsRPLcy2apsu/Rf9XyU+APIQZAhmfVqwJso0d02ERMu0z1lgTrTUkBdY5hfafSSwJtZwU5vuy4e+ASQXmUX6Pof5JSt5DehJBRi6EHMsOqfG8drSStsVSH7Z32jyzkcCqWJueQkIPB7gdv+21LNjPsXGidfKRROyVe/+KeHBLpf2RBFHd4XZAkdG4wWIPBWdeJWMDdDBTKF2oCCjFApXN/FOFIid3KayPvKNQJenVCiA9VByna8jrtJk8NKsI4KaPjXWocK6Jjc0jZosdWNwjD03uWktdaleTDy4tjIALD+wfPmNytMZBSUENiRWxeGa4ZR4b0M92NUoyCWZVUdKSb0VGOS0MXLXXzfv1lzFo2siWbApzrAqHdWl+7/PEVeaqn6vnsNEWdpD/Yb09FLbOMXvptVAHHlZb+ih0K2tJYH/1dLfKHJ2ePIwsARbWO9dzQiyKoO/V+jlA8hJakQ/Qk8M2afIs6g9x5tdhsMwxUNKWHE4fJmNrQhrfrruXZUnWzw50BQ83ILp+F5b/1wAT4Ul6am46Fchb+Qe3SL/38VcT+lGn61WPwInMJC7zk9khtlx7OBQVIxW597+7GszongqGliiKc3zRTrtXLu2FmNne8Hy+P1ikbDGsZS/BDPDJTqlq86wFaS7ShmsOWRJt4OICc1OnwEw256onx+6n7p82Q11CI+ayjFILLP9pvJi8uxncDb51/At9syRsKa4uNccaccOM1xm8dZ/2FNIX8+OSzLgq99ImXs2Rklk9r8PZ6J7gf2OK8TPTspxaAmCjhEVbgIRD6o2St+mQZ84/2nyoR41iOiEU16pY0OL3OXIp5zdutfUT9tpLHF7fv29eGHram/8Iz4Wlqy/g1bhjrv3vE3BxPjSJONjg4jM6psSb3VRO7iAlcewvTmQooEcR2cuiE8SY9vVwayJ0oyRv/+LsUhzJ+VOgfBe6yje7vFOcqCY3VcBCV2qNSPI597piQglbLPjH6YDKivaEjGfUzrs9cdpY57m/URhQ7h/VbQN2EUgALAg+CQN4sr+PfDCvBfTrAzDNIZjHvlsg273V+U6ZQ025OK0wdHfCmUaMqRHl4Um4aMd7xuBo5A5ZgQNO5ZMAt+jOdpb6QCNMZq0N3yBbgMQLUwQSX36lh70+3kjQaYkqG7H70OuDPWZ38CDcQKYDdPSbnaoxHxcGPfoLIzbJai6DpxcoWIH6gupPlMRkiJ2+wAMeZq4PdGQGlHos2kXPHY1jBOZ58N0uVue2tLGLbuSN5lfV8sn3AExdilIzz25I0CawQgEkEYtVhaZ0ufMFtHzXV9vzp/7pBwwmvOz8vEHp6w11eRriDesijVYLY9XzeNns/lYOWfkl6TGWk2PJMdLEAbkmq7Bsg391CqzzP0WvCn4yt4IQQUU1SWgAg2MI2ReOfrCKcSvv4QrGqDU8JXgeK6RSG1Y53TjTVx3Ujf17YlVAzaoAQNa3QUI/bYX+Mbi0TTFO1tmChczv1nAI/Z9ddIy455JPoq9giLI5eb9BaNDMs4PErOO+VgdRVKoavG8wPVaLXT3hD0XsQ3g9MavFuCySHnDVYktOOAD+OWUu8bAIW/Zu9d401Nk9T4J89oD2VSULn69qQnAycY8qFcs1B5wIaXAL6E2wOfsZ4n42e0U4nKQ9JLP6icydbXnLAicHgxUrDNINkGtDNql0mShRAk5ttdtAXVgnKeOvhFOSDPnQnqBWbcw0r8heDAmr0t8m9aI4B0HkX+bahcQ58ty8DsnkmTMi+2UAEiRRN7InjT/el1sHa8dQNmT16M3LkQ7KI+0QWQajj5FH3vLBYpMgc8nRyPBg3Hne0DsvSIOTw4y5LX2ochoLgUgfnAOp5/dKgEUwzY46DLfoqUKLr4NtsAiFYpPyDQPK/Yh0Ix+e+XL69v7d003fGNr6EsV7hdlJ2WMU5xJD5KL2InM03Rd8p1lVJhfbfhoPCjaa1NGR35/cDO9/4W2ndnvsG4AnkwP7EPUBWh8knvdHnSaVXJ44qqjRS1gyr73rZnH2Hi/ipsbtPYZ8ngm7Ar/TfoktzR2h5PIVc0FfZqblG8rn1cPhYCkQcUMDK5xz6DYB7bg5Bq0mVgOXTwsHv21jFNqI6Vmq1JOK1h+gydu/oKv38F3h+AJ/XSTYnoreggvuRly6+FmLBF8cFaYIU81cLCYqgjWrthhWSFQSP4QNupgmgt92YR9/wCJ8mwRD7wQHHcl/44fl9jTXIiZ/lfTurCu5JgpYllBws44rV+PLajQDSE9YpxcWZV1rjwtsWhrBZPjk1PK5nHAbXZR3xqWPV477yRnQP7F43Gvbp2xbTSq9nplSr92UrtoQn6FOkxg9Mersn6ddPAiidfKcNsHE0+LxwBV+al/Mj3al2utynGiqh4wK9y9PR7XrpOw+khtjPG69Ckx9RBWnUFRqMCdHQV2Lx5kkWUHuKV/+JpAmCkqgCUGF+1Cx3fuJyX61MBBLNNJ/HnnwuFjL/tIUK82qpSGZEwod7yijIS95blFKo8goKP7s8Uu4aL48PK8R04kUdt34P+PvwugfA6ssaZwrQvDhhear3m72ZHluDZwUahW5pijtblF8STGNPFeDniHKLx13ctHLO1YCryI8genPSr6Jj28+7opNeGptTZQeCSVh6h/6REFeQp2EnDrWpUYmJ6hRa+zM/2S2bnzMLl1DyDLXP82bQjSBG7S9E9pJ0x/QQ00wnvSIfXHpSELWKp5eOyqYP3G55zTfCBOosiljgoi+ilOqtqXwvzmxj1GG9yRptNJVSh9kUt82l6HNOMtzHUeyVUzKzYqaZ3qGLHLRnwUi2TK0LQKI2crLkRQSIeU8cROuqcr6VS/pzhM9JSgyDjtXdpOOZXfjZ+UMXNna+9nbVnFK1wC3CVzEDTFvHK/fa1v9gYBMia9xcuCy8+ZJHkcoxotnzHcBkXGRX+JnHiN65cijYV3KXZui/XecevNFsqQinnAUkqWSxd3fC/FIZAV3s8cZEYesMsIMm7idJkBRoiU/4965zdQZ8OZEvkSZ2AY8FIgYNy+TJhGUxcqp8Bbht42lTHH5A0iAm44KwRrNIqLknTSRNkKdR2y/GkiUUMTq+txPIHFWi6vEeZbMrDLSknbRc37xiYVD0E8fZkdLvzRGIDK+AVtrBBxuOfWo22iQILOj8MBmLEcC3rPYQVFzwTmEwkdGUu4GDrvVLeGnc5eR2e1RA5pMKCtmhZoHJorhcAygTnSBcYh7SyTv+Yoy8LF+kAdD0toQT9OEfnniI3uiKvxmp2eSeZJ/gRuXSjCBFV6HyErfL0ge4uaRYv6hzkbKJc0dBZDVhcwptC/LaqOTiPnsYnoWD/qLq3tVarJFkjpmvp6+e/LHYPe2+B+cj65sJXOtYW1wJL0Kfa+JzZt4MkjK167a+cQnt6W0s7eGwuWo36THL52blqL8w0FM46rSHcxxtjHznGqgmc7EPjBgS0oq9+gVkxpvcaFQKqvcujF5p1N3cdOLvL37fpVP0OgFnnklXzt6A+/PAG8lsouoS5RpNe1gbP2aJvvUe52L94xhQfwXnwsvFffYs7S/orAZl12mAu6xnrpDFpeJFBOjedHJi2NDx7KPAUi0bOKQdwFOKk/H2VIPkaG1H4tOzkNnTvbXe0gDDTEdjgk6304tLcvrfjauoQLLUURRWe2WBXbIAee/k3Hl8BNeV7fXnfxKPeelLzinCDsJ80IhJLYn789nyZEMR/neTtefHg/Iw+kZjzI5V202up+sanc0Frl4nd/OOcRQsPoHZ1RzV27yXJRXAAF+MQwSQpQ48J+pwLSiq12/hvG99AJ0c+mhTgks1bG9IdDClR39lsfNEYPrB1epDMstz1j5tZd3Ixs4rNdJZz0s8SZV5xZyhs1kBpPnQdr1jlRgs32hUlmIc41a8AEUtxVhILNxtPqmnIwjejx/nZxIFrklIiyzg0lP1gkNiWq/xQ9DelgCfCqhJCGt1pr6gTdGN0dFvLapx/Gc7XLUaMW0O6ot28UlU6DSuUrQVydaaue30VFz/LNJlpR9qq03pm5MViHrnRKRGk5muwTZewKBvdsFJB4NrG8wbVo9L6SQppijjAAZk9/6uRKL+lTG8Ho9gw8dnjCKEa1UqhXbZ6oOGq1HmMuAF2br1C8KGyrzXqNLXybN9OBiaBJ2GJLqV+zms+lan7lC06A+6D/ufpA++gORuHznkPvOhsKmEnJ+2ZQ+hI3XrlQzdXMMLpf/CoUAbt4BhEO1SSlFuGBU5/r2EqyNExdzrKIz+wMUC7q58lH7+L4m7QYRprdxWRG+vlOjBs7irp3ScMoWLaPJwKLhU4oIVXDKJvY7XO+V/njOIsTXhI7RrNF4a2wDSN1Bfnpma8G30meYJ8CEAOiNytZdZazPvYSClzaGwe/j0dPFp57w6j/RfCwKvdLLYy2ktXzMfDl7Vkq6DhzYAAjLQi5bB1jXeZoBTUmciVn0DUdJTzx7rLoVhqWKRA9bJeyVduESurNfPmLH8frl1j3tQhKfltlpcHPZ8E7I61Lnm19w6/DE55ILkVARZEN5/ee8VplAIkkOcir4KuhLD6rItdeZ77/KNxUjmvbRSE9i59iN2/85kwI/meYL1Nr3F7H3F0s3iYGjEwuq8cbGb4a4Yj0+bD3m4NZRhIsof921K4/RFQ1rFRCPGlNG66oZ/V6WTLKsIodIFVIXxo4gX0IS4NqWLQXrqrywvBZowsq/tO/9iKbQgCx6HW/UJJenBJ5lKVGNuebiYBcwRL7ecr8ogdey0b/zU+hpeIBxFzuZ/di0vUJ9TQNffbLyqqOLIqP2AnduCKhAp7slraWUHlQVTWD1a/mabNwcJ3QFWluWq7PqCkYnPAsGQi3baWjqLPrNZKfxlreNg+WY7rHh//fiMisEIY0ptt6HB34M0zfGFuCeneyKgqYHB9kOaOV6qzMhjPzgRmN3ZYpRgIvxTvDhUCUPlN/dLEtIx29/l9oSbeSk+RfwMcKya7ZanavRysMlqm03sId+CxHSdudguPwZZpFNeNTlVz0MuWK/1RGSYw9CIjAGEr1Ply0daHyrvAb94eLxmv+CLq0/ofum6B2XYNAdykszEBf1VWA5gg5wSWm4zQXiMeveravlkGNxp93TZWdpY0ovE5GHcI5qExbBntxzM0E4k6HHV+Ij2xQ8pfNCPFWI3M6E+Iue1N9WnVTjTrBrwFBCssk7ujZG4KF6tgzxWBjpsmezOkT5fWq7VF2UEKJbDWOcOZlCvzT9SD7AgfQyuNxu+Ni86bwauwqrkrZbvPiEaI+gpEFYn8Q3pctv1C9G6m4+HOQ3JKJs2U7RS5TyaaOf3Os9KAK84QVWxLK27qCYUQOcZBu5Mzzoun/6hAoTMB2Gyl3Rt4+RGODJDnA1E8RKUNnjUj2ISQHSTZSROWJ7tH9q/fz2PitpMX9cdYKQNx+Jjz+OsOx0oRwPWSxI1ajxuD6gkJWYar+7VRg3WLTur/lJIhpT96iylBhLiRACHCxuxF8EVs4cAUMZhWTop/3ieyQ5m7A/9sqI/wm758kfI4IqETy7N5hWlIBeoJR+zUDSXY2m/M0gTRDfC3zTmb4qfUzt5n8jB9CTG3POxyAl9Tihkunx+h6qrbU07OVF4qeukn7c+8uEIdb8z/cP8pCSctm7W05vbx/k57oZ+VkE+ucxUUHo6c/nDHxnpcwA/Y0xPs1+Wf8xxHmAhGTLoo0iZ0bc5pnY7glP5svDsb31CsIR8HrMVRcNl5RwNVpgFffrvKfSs7JmVSA82KEhMsNQ+s0cW9DH0fMxqQk0U01t5FWN25DzyaIRYV4azRkCa7JiK5HAJeGjr47MVtq6tzzbKMLaYQS93Z5jAet+y9pntQLQFj5HkyPXrBOaB8yoKEYoGxT0wvLlRWGCwW9hngNB1n5dzS1FHD6HDbPOHmrRk8AGZsCHAQGtWj4HBJKYaODwqq+i3U6ewG8g/8Fm/dO8aFw6wZiagfx/lVJQdg1HtqujsZT3A4ilQihSTtnfHILpJezVeKOgg1eX/Yz+nMY1wIQa+te4hermOuWWsE8nPqXAElMlzol+qCZr/lcnWUD50PiHDMpbfd37SbYisSsZMxDuEBT0NztBoCuVJUubkEtZg4xmjnJCeYhH0a6BLy53Ifcx34CDKxU7OGlX9u+qy8qnk+/FzR1UxVlExXX0D1nCZvPQz4mc3FjFEYZ2jjtlJBpE0SwbwdN3Z6jq+9W42r49xkQdlZibS+mM+X9RCMH8VHPK+f6wSdVl1ung/sb8fJ7SZDQuG2YjgqljOSXMWMVuI2h3BXpp9NxI/8IXU939PMIUItNrwmy9wmDHdFpcH0Hg51F0+7biktTY7S/4Bh0PLOytHVZl2w0DjHkS3Zsyc1y/f33la1O2jaLkzT+1FMKF5hhjEVlxiDdv0sjSkr2b2JI2bXFa0lKA/GmLtfaEjAzlnA53RBRaXsBzYBbK//UBXcOmEh2u3/iqGOR9Ox6QQgA+0ZtGdG1/bTfqzKwZLCkcOwToCM9eGXd9LM+EAbw5slPrinU0ilgPTiJGBPr8XAzPsNMUxGQJl3xoGG3YcsH0htmins+KnEd6L2CEM9b6nuqwAiQglcI/iptxzLth15E2ZEV3gVfEEzFnBzwlIoimf9+TXQ23xnR5dKviXH9Pfhs33kJdb5heRn1UEWuUVjg8Msd95d1PTqwDDAoh8z13IVuX0zcmYHt7SRJvzkmvpaI3GI70nsyPjqrbG08rmCLxDHMmWjo5HygUrfy1OtXNxQelNabmWDQ67pZPOYLeaOISZz+eSUZHshvAPuhqJbISVIYKLCvee72/7IQ05tjqRBgkRYk7dK50gDWsHgQV309xulDrEhGHBOJXjJYMqhsgjj/Hg+f1ME/5TDi1HZ3vBIakeuEMvwu/OlKNevXpAlKgcpxAPhnexJaS1QU4lXtNiVxUN13eNEXD8p73ZwQkm3l/TH74LfsMIh3guoXrEsaOqwSEAMk+52UHJqCl3WzxGN2J2DO86VCLvBcPcHar9B/2EhvVS92rE43fAoJE/b3gQAMGbf3okrExb8YGgDhdfDi2qzUipMFIRqQK5C+6CeZHayLp1T/GPK210AosPeHIQ5m6Gri09Al0jwYEfNDw1RUytFDYsnTvasbhuFCGSfR+/HtSpAKKjUjhUTHUnAv1fmfjz2CUMWWa8cQgdEKPx2w7X4sdP+QBqwwOnS0tE0/GLIyhxsxCKpXsEBOM0nOfh3Zur0EpeykvllNYKbC+jOBO0i6nTZK+WBNgl+2yOOQaNgpYEwE4fSqYqGFq675XwgssoctQJHuqPUDMME/cxiyVf8eRQsbchvxt4/qggVMk2SA+bbdRsgEbUxBl8PntkylyE2s+L15qzP+FxUsY1AnuwiywXhfusDHEU4Orj+0AkhHQqzgh+8IeK0CGhj7Pb5lK+a/C3GvEm0WJGpLZEsiqAv94+3tErHnulHsHnQeuJYixxDtAc7RD9MYjALLuF+onsFG8Ymd7DPJ6Z/1T8oJNOko3ItGANuN3y3vxMvB+HDbr+MiWFX9S8pBZk/SmGh8XYldzjKNF5171XS0iPQ5fjrgMlGrxZa1Psi5wdRIm+kwVeA3KBOBsdMgmQqy1Y6mHbTPMSZl3HMJzKNPsUbwsRmHhopq2XyJbz/Q/HwBtjwkbCsWrUGe51xAiyyhJ6pfWR8mldZti4hFrVe7GkqeYWcJgIP6kpBRzsx4p+os+0VKJeU5cLbck8ImZ95PLOt1UVwhE7v97Y0Zc+L2nfjWru8XAT2x2pWZyG1GLL8MOdsegVHyLTE85h2hkLiLOMrTfRdf3TeOWkFMQ5hA8Z2QZtFkWeeiH8U1F7kXMtIyfk84kNWOTOuMV1pV/Z20753XvcUfoyKUJ3VVjYl5t0lPTd6yF3cguaUq9KFIV2vX3E3nzIqd8dbiW1VqDsxsKmka0Nf2JgV65Fn9jaYUybTUNdiAumpgwk++HNjl/VoetyJdbLHS+8jEQ3E7bxhSEDJepd9S8DEWE80783nFv1R8LalyU3jqOMSpnP43Itg4KMwpC4+MMhVpm0G6ooI1vGgK0cbeOta68gZt7Vp5X6arjOT2taqE585R2y8n4BX0Xcc4UGPpuROVbbCbxbnYJaTVFxl6Y6p4TH9JKySiIIXM8ZBEdi54SS4DSGxtSfmWKyIJBhNdXyNLquLBYYOibky7rANf1k+jwX+6yq2b2jZDZAtzMc5A/sbJ2aVqRC8SdK1b10Lr4ho1OIBxvbqzUFKJHEeXiYgUMobSO8/Q/T3MUqvkLXX51Aq3eRw+wkI9ul+vYA/UNQa7o3GvPzF+29UTf0z000qcVUtwWkQVdjMA8B2eI5nJ9ZeWdyaxDGjFaoOGjmNN6TVm3Rqu9AtVcq+PD61Gq+Lmu93gTd2gH7+CMUYy1ehtq5qjA6nH0amOklwSL5ya6u2f1Bj8CgoThU6jwxEyGDY4t+2nYO2bnjVYPei/nvk2//JlcsjVzywQSEVSSYs2oeUvsuQ0l5LXAjvjuyI/JMOh9nvG3tqPK0tbCL8Rh5Mu/qCUaSqfK2RPyHqLCau3j4rX5c4fRd9oQ/+QIsHp05s015J0AHHbryA9sRF2iUVcXvjRKtuoNWCz7u/bSdy1EQVBzVBRxk7iu3mG+yhIAy3Us7nYux/S5Oz915J3MhXgcO2txaPr1sApJ4809ytwYbBE8lSkEgl7hroWnYAlf0bNjAK8CZTsZTwkbMpER9n6RjYDlS3PPqU5XnusppFpQB4XkxEyFL2DrXrRFkeMh1EcBTBcPCR6eilZpbR75wLJcNP7IpQ87IJHAvZrsfkh7jjA8+ThnxW2xq3MtV4sVw9A3Ak5AuQ/hNMXGudw2gMUCSjVEjnkR3iS/alvoEdTXtWURg2X8Cte+RG9RZgbAy+11PUa6xjU6cj8ioMlWyyMvvhYwV/lJH3Uy5v6Ndz7fgKS9Kalg4IhgGs0naqkxNXWCKPPbgDJ+JZWJYYfB8vzR6nmRPg4OHsO9lFSMQWMls7ar2fzHj+PfdgqxJ7zbNaRjOBOrlCgkyXtAvFVWWIRxIRmi+CsNckhJc8ycqtG/n6+2mNmq+NFDTnedqSEs6auyjZ+b0JGNRNK8cTZ2vkk/YiiS90iumimKZR+D8ZYZHxw16VQPudv7VmeXCK7RjC3TxcUjQC8nY+HcrjbaDoam+hbxl4EUE8j+EN8AYFVDfWOawSmhG0SYWoX98m8P+NmbrgsSXuE9NVsCEOctK8ACz0CSCfMXcvaXleanw6N5ySrbGAWqvRun0mdd2DN17M7xCd8Id0l3yhoZ9x+Wnw9uz3uIwYh2UDAFDkUm6XBLvFZ5H4V3ekxVhY9hLCZ9j/raKq/5LR+s5Ev/oleDfoyi+e3UYB0qCbZPp8KgFEw5C5+j/ZBTqAo5i1PHttF4jDTBatmssqyDPnJkKtAdh+HYdyBmyeS7+1ujQPnlkCkgIJ+vCYq454GcIjWECPPMJxJiMVY6jlIZ0WYAfeV+1Ho7UE01a0Fg95WvBhbDt/m0196CIDJIggTPMgIYlPdnh9TgY+1Sd0n5DOfP1b1bEIbZxpjwsWBeaLbHipTWUPKTMbQDVq0Oj2ONpD4eiLe3org+ajue6JzE1/pAgKYDtr3H3hQjHrYJd2hnVcvr5ud1A7Vl0shivvzOs2lASKbWklXoB+02onNpZXmQKf7zeVezMJUVk6Oan0k2++eHY2lJFrGkmLgB8Pdhb6TQblkZ/ANpltMHOolwgWvRSup7ysO2/uW0pVzn+lGSkpdXHRVFrM3gpOeIPMpFkxBKUpmFsHP42Xn2UMxfTuoZXuaewnGDNz7NuTbhnfiM3IHKmEvHLxVouUhSYB7e/DlyT6Qd1LfRUg9+L9DplqzvK05TtYvDS7PvJ5sNs/7gtijj4C/ukU+ma5HYBMyPpiDa/xpfddisYDKBRTBdgWfzgwP9GTr4yb0RvgEqOM4YDx/TzX+xeGwMGb1tpI2d2dy2aCfD0aE2WOgQu7KMQMeYmcAkvM3yozcv3zQW9SzQj5U4pSRXmDTX50WbixSX1vZ1V4CpCbMm/esLAocEZOdhmnx2fSgEXauFM31FFB7pVWZ1NCGtce7i5pX8W7HxIg5lNwuv40XerS4R/Qhsu9ogJBqyaNko9dUxmiylwmNTVPl3M+DQajN3cQArapd2r8pzIsTD3QnSeJ5z4KsZ8SNAJqWT+LCU/wZAAd2I4O5qX9lE7p56UOAxiN+HwIG+uZZVn0h1agz8g2+JUJixwztznmQR7guzCAxiGrvzvPquOwrh4MTjEXjC8v/GYpKLCFxG374lbURoZzEOTa0bmrZBSenSeSysMEepHxiAxOQTNDW1IwiHjSCxyMLAJTbEjQpxQVQHUp0vTFFC/Ldn9T/3qSV3aZmyOGcHKY/vDHrP2WsutF6+Nyyf7McET3wbfTj2s48+t3oBJtGgROwRe/Sde/2FtDB2AicBSJxicTam5TevD9msX1UN0kjHWUzi8YcDEE1Gxcnc9DWUmp0pLoqo+pe88rkDpSGCGmB7SGNaotSN9FALmxj3KA8WYV0KcN1G/koAKWOlbLx9d34AAE+5ZITBXK6TmcRWtJgNNyoXa1OUKIxPSLkhhLonMKg2Mc8MXO9gko2j077Qsxtwo9TCoVpBcKYPdaRS2EFJWQ41pxmLotUjobGWzyDoJDotLrX/IDZt92IeKAQY3czrNe149lXASiz9nz9KAwuUhhw9UiYxGnfPKPlyfFRo6TXhFsct1MbB+JJ7K32dpEZo+7dSY76yM6/It9avuqcYmvRIrP8A7HQG9cYUbzmUJys/6Z2vVS/IZ3l9Dv/PMtcsQlP18iMYOmBUVFoRURqswYma6+WSLFPn99EB3pzjhGgX2g1DKuuqMLMwhUV3IVp+A/YBuD7zwyo/Dz7ZBHfVbHSy4QS3C3TbuMqW2CJIzvjd+s2QQfbTy9vnsb9WTUUnleM5xE8fuEsWO3GTWNfNax1WZkx1hY3gWX0p3H0SKcNkMI4f5ISIWToj0t5s8qyjV8o2iPUCtCtTavN/ydo9kgB36RxI+fKQ+HP+57OmCSsiX/m6A9//tKO1TCz8YrBG+HkytCeo+BanRRluSMnogMQXBl0CbhHK1vg2SKKurfgTwIStcisiHgdgCywsGCalIbZXC7UU+uNjf4kKmN7LkhHc5p9lJuDQoHMBh7CAyx/4OeMhh+++xxzjlUJMzlP6E1wWkUcantq5u88d+VXYmiZ9BavJGaJoJK5W4TVdERdNuR7BdTWxojcmHA/K5KDPwMRF9DyIDWg3kR6VIDe1CVhaatQy46o5h2cfzDkKjswd40ctvTpEVnsmMQP+ONkwa4lFHlNjr/VRco+Uvxuy8xznr3mXMHK7VKkA3vk1HZiSj1hUz69SkkbakPF89ug2QuQbRh3W8kkowwseP586THqB/uVbcloeJYBW4oXa8xDo5xIIZz8SEZxPgFjj1Xyw6sUH8AALcIV8Uc9GcvBIVfoCTIf/hcIEc6wafZlD/6/DXYiAVXZcu02Tb91hLr/1JflY5FaTqXXp8+3ZAHU4X4qvte4OkG2p55ldWWB1DzM6cFi//pG8qQzB/8J6Qa71JK5QWiVyElYekf1SwEcBy0n0D7V/Ltc2Rf2kHiDdIiomZdCGHSx7ouKd661L3vKWPUGkwv7tx9DZxscgtl076aVBGqRDOUnk/4pHgS7MphnZruVpSR40OUhBf9Nj75MzCBWcN6/7pCSo6xfN9ffTY6/K6x1UTY2qYs141L/Cqv7ZGKHUdRn/ZB5mZM01AMpMb0Ttt6faZep6y9qn2qF7Ri/8f90PYzn0jMS7sWTKHC1Mo3j15A3gX+WcFH2LGjc+jqfq6KqKxnLQ+UfEvIC8pB7mcQ8LNfHTkZMhDN7G9YRUTBY8ito7ZifzylWOZopj93Yij0xvFBninDXIFzxDRkZYGHDzVbTzqfwCf1UHECVLb2xy3kPFexV78uC5IYwy3unNPbMql5w+7UY1SjzEptyOYbcAdV5WfzoQoGVjO+6DrOjgWNXONk9L26vCRuV7OT2iQc1RFvw2M1P0OKf/BDH2qUlC5ipfBMXSHBKC2j3HbM08ysY8PV47GCzmo13e502+hzU0eudJ6d3rcNTfmYlUQ+EAiCjWIJQ/o7yeVvykaFXgHln94xV8GgTcHEJTLckR9AV1eaInOUcVxAz4i48sM2UBCVi5oRJxDV3NHfeHxDM5cmFMFkOGPzc6TpwkruOwwGUZKVeAid2aESMCZatHG8wrNq1y4lhj6T736VV4/G/rH1LQ8LyQuAS3Wj2Ko2J/AKDKg+mVQzeNXWM6f6j2v5gMB2Wjo9lSLoXOi9f2T+gRXDODeau33ELHJLOOM2f/anAFKKB180Yki/uv8EPJPjDgdnGWRRn8m5LUKb8avWx5LGPfL58QMlmVp5HxBXljPrblGhWf3bqu86kT/e9aYQ7uUjP1k+TIBEciN7BrHjMo4ls2Qxnbbn0NKCpPAyacY8EEAJ2OUA7Am/bPI+yiFp15US5Qawp1rg6IO1JtT4BbWtGuEVNLks5FTKUU0CaGjBy6XLmJmvDBynn1jNh8iofMPwae0yQA/N/9Mhs/rHUPluVGXZd6jpIp7f0/N5I2FpmlWALjYWdfHtsaDUuvTCtgoyiGfVQyTNLZqrKZ9MDUxq48OufsXY2pIykSsdS1C4xYt4l672EpR+DKKPdKlgNASEIYTgqp3VzDE8kxzEP3ANlTPfeSCM0kCC6BBvhnF5H+6MRQvxptFqLDO8ZFLXDkfj8Mx2qa8JbsQ2tdICHYKSUYJgrA2hGt3XId/gPHr10BNewSZv+2Msv/zrg0aB3W8E6QVjQKWvmY/a9GxGaV5ok9ZRykCu8S1caObnL+hveYNIKI2Ud/wwXHz1pEVZfdQKoI1LbLT0C/O0pSj/weCWlRIEssA5xaunzg/bnM3PEHewRe0UAOvtleEGNQaejC1d1j9rh7tbpakhAI1ooq94Y24oLYcSs9uTF9uyJI/Ac+PkKeDKFNqNS3/B75U/agOX8x6ZbqRjZS1W1d4YDKB5LrHSxxrC6QEtA9Kf98tfmZJPGDQjKZsIP3wTpeJuHEbOKZOjqSAThVII9oacdKFVE2VRkbvufuohWwydYNYMel8x0rZaS1B1HZ4C4isenphr2JMBbPt0d3YS4njNp94GIw/FjdSJhxRP/jkA6jCvPEHWNMQL846pQUjUCzq3tN13VmFq1eJYN/vUkGZ920DOv3XUveYH78Akr9iHrdWBcG/rcypoxqzphd+/FtOxvkvj+maoj0nGZt12umxzt/yxAuvhpMrxZsFaGuvcmgVyUvaHp51se4VMJkjIlrRdyt7IaFNXwRTcjvEivPsM8kNLf8LZSRjCe/BHYlAq3Yss3XD9VWW8w4lHXyupzqkf19PBfr7QreOnfXuudJhLzGyUPu1M/9pIDMZwBRb4mPqvMUbCDsizHXTXj8Ji/uidUKhDLjXeNagvkJV3IXcDFg4CT1IMKHtnQQEG1CHsnbsWz1YNUukmbZfsJK1Wsd5AjItexNmCSBkOilbR2oHJ2IMbhBvr9I9ACIb5v7uPBCKAujV6pfxQwgsC7J5wDjaYarmGu45xNqbVf7M/pyq7oDKEjidPdAEmM86qhP4+Hj+GafQq1zrDjavg0m0/HbLvbwGdbBrt7uceF6crwbk+pmZIo6noICWKastyTjmJSmj3Gcs1R99RS/6Jg8qt83m1TnXGGsIw9v70W7YjIQ0gQ75tfn2Sh8KSOv4+MjcK51dpEzfwHZyQA5KL6feMA7R99cj/Tm+knac6yizsNEAoyA1qWP0asaPD1O4zq9kGc0Jicgt8rfj9Jt04zOwdSV+xnpvgUbjBMKnBCTUn9VNKQHpyMPzHfViv6IMUlffoCW9RN5XWwOrYbs9FFvoC1yky6EGUxd6J2X9eazisGt8ESusNYpXL2b8Q8AZ4n1Kdkxm2CxZ/IEb4rgKk02FYtNoGW4SsvPZWX2gNoiyDH3M6viJ29UooZsTEbIstP1K7sxLnyfasv2/xxY5rdsvkI6aC/8S0VGEJvS5ZLcRfVzmFC95PtdM/thqZn+txrRPs6FWQsdH6g6KXP97a4WGRCeg/Z4nLTAAzUIeciPYaRf/hEZWKMfHddQ/0soeKLcuqrjZejOcIzOwNJidin4RVS0VXeg/uwfi/3nQb57G5tk5VG/md+bKXK7ICdA8cl5wXaRzYYWjbOck5hzcwOS9iCoRol9x2ddxqVMXSuc/ENGtcib3/+lbJShfSgNTeT2+KnqRUc+IcijhlhewLH1T1aEQuELXF//pzQ+jptnJZWMWJqR7Uwj7FvSFbgVdJVqsbz5YV5WQxRGnuud60FL61ATqt4iQLzsVWd9whdoR8Ss0Dk6DKxD9fSRWwmEap1HEGLbB0c5upnQDXb77SOw+fRBz4fqWFPDjKFHnqEqtB3LGvFYFi2NCddDPkl1zndgffFt13YgUB4KLrXl5M2B1o5s8ofpsnjunczrNvG+qVQ6s2kK5MlfCFYetIaPTTUZxvO86PA/oHNJ6voVAXrB4n/OWq+AWHn0CfijUNT7zN3qRLlKLdgjDJaPx0FWXktD1fjl2QDPeRx4fYt8AWCBKf4i6fwIe/pMsZ+yeERMx7OJcogbmu/rLeEYgJeONV5msM0mBtU3+GIWM+oiOB2gGDqvpbzIIG3q9VBXvD8EfpASgg5K1+qh1fgvbYRy8FNs5haHrdBiXdmlDURfN61OSW2ugRUH7PB8Y7yRpqrTP5WRnSqtVZlZzgjQXh7LNlyv/KdAiERgAdcXauJyrEwVsRYswDvbcE36mKSUr5P1PVxj1LQQzq7HXoLFqKWTnKBT4rN4toMDbusA/14g7ES3+V/JvkIEUHKkR9500mxSYV6Mzv7QxL3TCKb00Ze49hnG3DBpZSEZxjiZ/Dhcb+thnjkBqAMSEDhOQ4UK1N9GlkujL9nZMTLtOa/13RdaeM4VSezS9pTqDgSkO9/YBarM+o0lyGJofNy8lY2S0tuwXBDse73Qet4wngkGpx/Z6KY0MN2CoJfhgJrJXxB5Dz1OgEEGpw/LFfHHCwOB53t8jIH+TowAKHymUVHDoGS9hYLipWef/DmLV7E+KqVz/lvZPhK9U3VxJMDSBLIl4qgXA3uHR8x33YM/JmFyNDz/1sECZSAx+Zzuj7r5i8jGTEekU+tCZx024NauQDTEoA36m8uJ5jsnFlzp1134bow6KM2Y++phd9YBTmc13iQ0V+QgcAeL84KwvG5EyVQyI66zJuQveZtwPgeiaVfb+wbRPKpMsZGmi33J3JF6hYkL98W/XWCSGivTF4hXiX9P3yPy8ST56yReFmI5EfjVkfQ5OfVSAIb809tnDdlWH70AFpSamIlLhO3l/N4DrN7Z74qwUKR8o0chWiDmI4ajjXK8EMeZvB6/DHth2DhPVSsShV7DoRYcWMOIQrH1KOBAWsJHvcYi32Dn+iYOmFOB8Pv/3adB5rWACrsyURnWyets7/cbADr7SdR0QhMi6SspC5q5bQW86nwIHMDyqhxo1pu1SSMw0sd3/YSCRRTOtfegFep4PkrCCNLHEGPY1aMUn0M6f0Ew7GAUPqnvWzrb9UUhTOjiOapcqgcgbNV+NodnurYtvTjRIDFnjGg19iYWkCUAvHQWVwFBSF+MESopbDMUyhhDkqcA1njhpPXDY5Oh/ZRPKYOZa61LrmObkrm/hFBm49NBUKiS98FVhoU4Jf4oMOLDzPphvbhYVbaAfsXq9kZX/Kt5H3Tu4pXdhqAQbsbFFv6mMT/L9B2bhmse8Wcolg1bm4miyBfI8JraMMG8fkiXdFkkTudmQBzR4F7lZtdlP6JRkLkiy6+yADa5rS1sMNow0ud+kAXfkRkoUHZu7L1UKca1M9odmRMREDMgZfOVkw47ZZrH4HlUiPHnuauu5qdr6ujIO1XIw5fvTEBagAaGrR5lXMjLYFXE7SufrprdrvuyRQgaN/oar30jt7rFLnj3EIehXnHg3TF/QTOhPMqpxoErFxZ+mtX9BJOljoJUQ84PjbnXmCyQIRFe10ES1olpcYR55ZTG1iGoe2Jnhl+JogT7zSHOYnhz/QL9KJLQY4nvJLTZog0lAuhiKmOnfEninDweIZ/3PBwUQgXfrTjJJXdcuzZOoZWsERbqTBzzkGbsZ7mCtmfBlUz4EKIl+WKIqqT53JCi3snfTJkcmvuDLI4Wke/cMnG4TP+j8brnp3ofOSFQrUBN5DoL9Tsu1hfWW/Zads7dkc2MBFn6TyepXHBbzyD4OFp4MU8+JfVw+O7/xj5ufc+wBMuOJM7VAEohHIC21+ooCEgiKxBMnbqXu2s8zmbN73xRDTHZ8MLkFXi/afC3GR4r/paZgOK3yaUzu4cSeeSvvMw4fl7M0Wa/wtB4jiF4yclz9yEX4Ajmiqg6E7QyIV3UhMeBlSpdjxJgLdReiVrnFXoRd0X+i4LOXrOB4r64YpzdkB6KYhmKPdmhxdGeamn/b+izLMXvR3Y6T5LoA+ojNzo5FEjc09+fDwMX96u6HjygrqKHdpfTmELZIP8wD7yfUJskUb3tITlaGqEPH0PTC0Pf3jnCPdedFoKtj+aHvRmYJaA1QzPvvv5SaZpR71KUdLZi7DAlgCZTFKXKMoMulL+2MqZ6MIsefjmx57XLoOrG2bMXEI2elFxj1Y5p/avNqiCgobBtOPcr669JnTt6O4QKGOuxHGNm2oBxMl3quaDyMcYKjOD9CqkybRVuFxB6tzRI2/IUOcMQI1igBqGLCuogjvBotVKEe40zUADcYQPQhKPEkoRKPZzr4hK71O7yPYTHpEy3voail51Wc5ffeTpcjW8ryNeOoN85gViUkUw3Jx81PKUviXLwYJxKFUZiMmN91fAdNVP0zFHJM9ndAP8OKb/NTUDL9WI628oGTPI1jCDvHBhEUws/rx8Cc1IlVUnSDQE94Vy6uuMw3mk+vBrs7Z4r0MgM/BCxb4gGMFItA6GzHypNW+2KVa61xnEq21pQtDRZQLsmLlrskDQueM4XtN6FdBgyQU3AXs/WEi3+NT4z2xPzCiJsfa0oI75jnEKT9SIzcNpKaKtoNo5Oz8d4HMOr/qxKHtgWhJqyQySnPCqyXnkaYs5IAnZAr69Fng0r/PENyuHQ50/WC/S9haaLnFGmRqwGs6cnsWQ0OzCceNzyKmyDMc4q0/Xho36W2isf3rQNWjL+W32VrM9zUtvw2jkOTPbsGTOWIgMkJw8DJcmPR+ogEtZvJblY6sQX+QDnGYKw50v3V/vEkeqAsso/hB3HYp/HKCi1ojZHHSGUQzs2Ul91E/vfVSUBZb1ZTwNRnRwTQDmFf5XMqc7H0he2gIDMbE1gvs7+9CXRAIDpnNaFzz/2M9KQuCznoG2pNPMECFq4hkxdexow7zk9ujtTv9RRzvAczka3rs/oUiI1NZoQ3R3LhUDcwiMEIJYr+JViUJDH/xKJea6ITuM/gxeMLU6KCtpulkC3tGGcfYBTsRa15uULExFLeVOHp3V/uXwHYWOI8UgOHIDNJJUXWH5FU8qjEm72+PJJ/nnfxyiTPv5K6a+DP67MfTx98Py4etnIu7wI6CwcJI5mxARQIhRiMV5sGvFfQ4ssanLJneL/ZoRbgeFDD4+pPNYVT47zrxb8Q77ADU4jBbfOXQq+tQpl3nte86cnQR+gxvvmfy6xKZTLpm/VagnrecfOJb9M2/voPZ0HGwMDJuf/H7CXFAruN6WkOq7q5MYpXm3rZ8wQOECvTlknKBh20ycegA88gah4wHkRTmhdjeGlST1hVAWfqzGc5WDpx7A/XgIN2OX5hV4J7Ja9x2136valU+Pt26ZLXq2ZvwPBw9CACw4cNZ0shdEm5QMoCkSxfioUOzrdwEEDEC0OgtagHhfs2B/yob0LI4kvEjKd1fj/0YVIu23v5gPWdQk/pAPIrRdxcwRsCdnPi2mHGyU9+6SvCWTCdWI2xRYTwbU4CFHly1MthRedieO3ZIRGVBkpTdvG+ksVyqT75YgiPFtp07TcO41p1I5fdChWkT5ZHHWQI2i4WL98DRmDzGaVRCYfqheDYl8DTx06k/MJw708I1GcSh/xtJ57BHBVuEp3d8Limcb2KFfGxcK4QCCFRyjUwiMu/xjo1GHnS2AHQNXBju/XM3epIutErSH8htCza8MtY7fdSkEQDuA3eBSmBY2sxIwLNHwx02zOdC8Qq1UlgaQXFVqCcoHgvFrBoOLlaXdp4LjiJWVPSB5GkVjrD/R1oNi7NAUCoTrx+haetsIkzbx6YXIEAghB55p7NFadyE42bGo4E0tKUJIJsyt3T+qA6gPWlDoWDD6qV5rq7+waZgeLopVAwKYzo6Y+DXDToASzKIB1bA7Keq7RtrPlZTGHHfngVLoQ2mTjB2Q0RP1BGlo2Yi88Pz4afTqaP37FwMYUYkVV02/oQ4wfnnYXhYLdTAculHbsCRVl2SdjezCs/lafi21Y0RGy6MgiYEC6jO3j83fetD/oOTj2gAjAFsxIWjZc10hV4Mvl8r4MzcgSqIFFS6tJrXhC6JXg5ZdfMnesE3vP2XyCI2fUBiV18FDnJO88YBiXCM3ISzRmnOPMGLdebDOVYVAvtJzbB51dupll9C2Cjfqe0lEullHmuZy9yvfkJXSqkxe0/rDeNBW6SzEVznp9gTNJwq6pwr3G+SxYa51U8Jsl+aZjlf2oHeRhIyFQKb5/n9BrozYgLe/ppGo55zVJ3fqgWD7o3uP6xGy8waypk+PSH8E4XfWgbG9y/qq8JDwHTBlC53+1HjzAu918FfEIx2bu9pvSOx8rn2ArdFUNI4ev+Xv3ivP4fEHtenS9HrlDPSKLG1X602gci+g228Ud3or7v6fB7cQE+Ff4+TZiKhFC8ATNa3qf9sX8V68TEQ6EK7KL1kPSFMUD7XyqSozLqEMPaWcKAuvjVEXTYdoI/fg9LzC2gJ33AuHWA32kbSIU5Tho7OC/l4LnzP0QNLY8VwiyeXchnL3T2DQqDKBsd7mxx4iLg6U/ZEoPUwRiC/OLucpxxR77rckdISz6C0i4pE94E6S0MHQzsgA10tpPqzR56C7tbVU+orqSlXkZzZETWQWLLc7EfNsrZ0LkMUDyTWHQq6ZzOxR1aOHrx5kG1wT8Ly+tGfz8KqiUYQSOEBoUwuU5yQsERMFzUgxCCjk2a69o1545SSL7o/H6XHHSwfPLlLRB+2RV3PKdcckRDHYjS0/1A4iA/gk0WVNRfbeNteuBN6lpsL0EeuJh93+GQxggLCWxksMBbD9EM7XdqofnspnjCLLYQ4DS6aJ71TcR0wK1MKkwWw0f0Uk2JN1cNvDWjYOnPZLzInmDoonkI4FsIQ/ipwkcDFRW0gLuvRUKH2UaDnNsDZxCrWAEHnG18+RmSz0VDfDeZ5F2CksS4/3AWwtutVaFslerwW+oIlW7yjb98OgiPI/XuGlH3nS1r4BuA5FiJTrEg7cnd+2IX/VYHYWrsnvirAFN2r439axBgDTPtvMdsZF9Y19rvECUyHUZFxsVEDLUX2YrhawGmD8scAFNjjCxNooQEwubzxNqwCChU8TOVVWySJeBG7gDTl1GHSD9KZYhvcvAQcEcl8HAqZ4pCM+wGcrUFaJm1ru/mYoPX95Q18uMU6QREh/UzVTaOTPARyz3gPo9WHOFL2rKNY3CkK6/QpyMcueY67oTdnFwTyJRBpKaKE3lRbsP/wQZ8Ca84uTvUm2QfkhFZgCOg4PzDzR8O82KnqOFEcyQrlK6jcN/uSf2emyfISlNfUJB4JNplxZYHoVtrnboxhcmxvyeXg47DoTPEEGKDV6fYXpGS3aN7j6eVjreitsVmVDxn0BM9vvNJsoM1NQh5OHuOu4CBWCD8rPophwo6VAUXpEWJvsZ69h19QjyLl18auln4rlCZ+/YWD3rg2/n0bT2UwGzWj/k5nPFLk86RQjIO1aEa5Cc68YKDjXaIPnh8cNYLQ3Bk4t+rYgA/eou90RVC2bYzY4RtU2XsFzaMPrt/Wyaa682i90Bl5Iq0vCnpcvFP4IQ9eELLFgCF3sHB88EZr93e9AQ9k1ebY9C0fTcOIzaOXUhGMz3QXmcspWseaibYX2keARfO0zi9ccf6+Dm7bhwA7r+ov9F9YTqDONUH8LLfpQEPfGa7kEcTrWPSV0XX/QXlLhVVbkNqX06QPITXhSLOiOEt1is6l2+brg5MHU4G2YR5LfdZYXda23IJr8/E+i+0lfrtfT43WqSyCZnoimCnu2PREi3qbZfefTNblDKPHR0Wu3aaLQ0df/1o7xshumOPyzbP0ptglWhyhJLf/UTlVv+peQOUM8W6/OnaY54faljcSIN6Rt/edAkbNRFSGfxITG0uyAfnRVWWAh9w55x1GXNWSXr2q603DHAdvgbsuE+FEfZG8GEusjR3jry+VentJJc6sw1YZz6XrfhY9tJO1q1CwRf7qjm/lVhIzk8ZKJo2gcJbPjkswFFGDKDmfY0VqPPIzkvTJaqDKWyIgbIywSoV5n31H64zAlIJkDSx78qOvXwfQqrRxyI/llXGA2mGPNVWa/mVps0IoekWfHzcVlOo62OFH71+E9JsbVXlR2Ef9LDYbLFyWca/HAAT8fZEE9e+IRp2+WbPf6sGlvoTMjZldqrdFD6OaxqeRSQvZmQbvZNcWYHOVLqcMryLms5qw3hCodU9TFMgL4LsC4H02sUFPXAE/ZsJchCb5mHeoLJ8Lmq9/N6ZhlunJiBlo1rf3fPabbtM7OuGa4MTnPfy/4ECxOAFBieyQpYEI+a2ZVP0GvCXbFSnweyCnWGavtwI7POqiMg2DX0iZmhnQgXHS90pV5SC0vKAh7U5NG2Yf5OxmZ9Y3MzaFfy3lYgOYHudGjPqgTmN4lswPQlipgcmhhpfBUUZnEa8y1vrmyvZl+/QtXsyeASRxlEppfUbGnzNGJpT24ilsXdwXDn58LIGCNy8hqWQcmsbGOjVHuSKk4iUKB934/A+PzCfEbpbR9GgUBrgO1CihD9REhSRP6wCdJfKXe9WdpAwV8oWI8UP/kTa3apNH6vb2za9V2xJ2/CNNQMtFERN+g+2p25znFGf0BSY67R0Y0EcCyEXx7tRL97+4/picS1p389wgc7YNvK9T45Qh+NT/rtpkRVfZjBPbgw7H73Zs9RzyvgeN4hFp6AqeZ7WT1vOkhymFNyW0ER60/TMaolOfviv+DJ6JZ8mkP6eHhworDaLzZaPTpgE2MzNSA5uh/c3+1mKqyj6eaoZjD6JUIzcrLQL40Ck4t7Jojk55mdTBK5rONwL0Fh015Zcd84Ax/ty0NcZC7i/GOrYee9lz34HCaOhrzDfNYx+z/RTitN4DD9rbiwUEJ3OvD0S6MgDaYUTpQdmOO/I0vcoanoBjbyZw9rvo2TUOGstGnLoEkw8UigMAVBrBE111ymmICuhjV8n+WqU0p1pJc/O/YxZsNqrBbyWB+hoU/H9kg6YzhavnbTYKQxXPkukyq6z6Ep1hfIJ+Oq8LlShP5rE1/+a7FhhcDKcY739Uqcv7m55pfkTdtLdxXQNyggECiQRbsErz00K/gJo3rk+9voq2qd2Q4gejzcfMjRAuT8osFneHTi9Z2gzfIC2h9k7XKbtiMBoGBAGqAZKRcXGsdgqbe1e6MviKi3AGU09jDV75JVJVaIHcPFYaFjdCITWEkY4/+ckp814V+Q7EdoDwIZLkgAQ2PbbsXCSGCuv3PVi1u3BTEW/tek3hR+yQjxnME+Tyrwu3WAQwjpPqe6HoqvYBrEcwL5XrBWQ/ZLtwqAEma2iyBjrBPyLuAZbaOS+hqqonfxytm4z3F9YE75Iqdc53NC9Duru4nX+c7qrb9VEO2acdOE+VpfQVysNLfxV+jwPY6tdg+OZiM//wTG97ap/xrd+JbLam5Fla3TSoJIwiN35EYZ31gbU9qyHF3Xjpq9JAVZx9EzaTaL+ftknCvt4DNrP5oThXlawnDJxttCGIw8QUpHVNYxvVL5/VwV0vGthK5zKJ3Gf2sOOpPHCB0oNGvJ0/L2PB/R7LqKlx4KVh5WHvjPkAYq6b1wR/T1C6gn3d14XfGHZRk2yXptOdv7qGhVCs0b2gM3XymntoRBZXsddQCgPtLeesz7YHHGeHpV8w7+EzfTh/3ZLdVpWhhfkwsFX3DpqZL63H44tr+6X5jbmV1omEdhS4AvoR7qm+cBxS+8KEqR6eN0s+Apaoo4FTw218UeL7tCtjW7BjpvO7n1ZaM0l93nnRgVjsTs6vnQTSLelqkm+QFZJ0LCTMPODVBl0kfloFUIXYPtMehFDuCcV7ITkdIodvh16oAvTCSwdS8mx3ECj2q1zPsg4xTTESUDlVCBpnCN/G8H/6CdMu5zTnciEUz2/JDNQBWQIntP8PuU2NETAnZSFQRP2q4kPV5zIEV7ITBeQGCqh9vNEI1cVhGuedlRRpwrNaq9stRrmVl7hP68cXhwzKhUnuXymBN5SFEroTSKDcVOqoTWNHc/rPP4+doqe1djajdDCzOq3vkqw0gKGJWFBJP28XlpPeC4Csnz7RsCgrrGQhGxPQ0j/Mnb8yLdP4uEhyVBOYVNro5OlQ/S3eBjj1Dinhgk3pG3tTPIIH7wS9uhaoQ2D9WESYy7CNA5PRH2Qus+GZ6xX8/RNdMaL1YWoRElmBRgT0+UEoaQ6oHoV69PudjXrfwgl1EKx82i9a8m4iCpSSbTKYfyP81x/SrcWZb3nrNvb9j9vb9+kf49UYHQH0VC3COnVObHCWN9ymyatzK05H3k0SJI9IuNl8TCm/e40wsaacn8M0hxfA2jswcLNqFzzWVBobYqL75oFS/6QGY8nHomYBK24/n9QDz5Py6uveEP/ylAOja53rXvDE/iCOqbYdCRBmoUeodgqDietmfkr+BLRJgGCB7HzmdNLhq+uPFveAL1gTI9mHbkz7iIYO7YGRxR0R1dCrkTiOWS4zW9V3YEKpY1Wf+eUVOGB/Ob4+G587alA4erTRbe5gNl7oNOrFswdicxuRPtK0MwSn7PGoe0hCXmKE3ebv7ODOfWJSShud4nkZA96PnAcjOd/uG4BhUml/NXxe6zmqHuvENO1IkqkYD6VQ/AjZtlU29HxYPV2eOaNA60f4JWxHPGEulrwUM3CUJ+i0ImJ2A96vrZMttDID+orFGFiYdCbVBXQuVqd5SJwgPyDEZ6XKSVGTcP83E++eFC0y4rIe0+VgNYEWe4Gy8fZ0o8JjlPCCVt8B8Gzn7JkTT+n8e/g6IWnu1mKWAIDKTJ/VpUPERK4hdimbWbb+bBeu1tInh8BU5mwV3mr5p8HfrNMRwSqeEGKHWGgqVTjC1p7K+rdbhAtClU3QcTCzRsErmZvnpOliIsvIRqZKIqZBffH2/UyFfBibY8HvblZRdXOmi9G0bGGA45huL/Df6cwznjsEI8dUDTsg6iWb55lRpt2YdssWve6uScs5+ILn0vbOkXJ+RiLKLrizYJaM3uykwNwYt+Zkei72jHOxk+57SlNJiOlWZiFbChWu4Z32gzpl5vPWUw6xcRO3+/sLLORnh9FpOR5dZQE8SR2fJQKyCe5xRuWytb6WL5qSWJ9J3D5d/ykGE5+Ip5bam9YWGFwPRqnRFQat58DSfjTtHBpJDHthu0/pXG4K+7zHGRhUsYrE4O9bHPHaK10Lr0uByQ16mnAoByL5lHl/UO4Dt00p9OLhuhwa3IJ4G0kldL88x9GRiM+Zm2T4OYcG5s1hVDSVs4Z/K06Gw9xFwZ5uDUFNiKFMpJ9znjqpONUfqqNgi4D7tV1NRm/nARNJnd1ZbVNTNJu5R9zAhoHs7qoMbOKyRWZc8okI2pxymLFRwQHoBgsSTJWZU5tvX005/Pqf/Ui/Rbd+7eeg1gGdbaG3xhGpoZ1POX2VhGJeDEwTAQgP/s34/OWIvXee6CuKF7H4LJ6IFH0EIaTpesm17zFfJtdtRpx9TZjOk5B+k/mXaHH18YFUgMd96PGFlz3WB95hQbxhASfpvvdcT050NwTAECsEt6/0ruzAWPpwnKy17w5/UnnvbvIMKs0R4CI2RCsw6iqRLMQmsPn1Ap4w0iA/q9NpiZIBjDGrJ79w1L5jS5fCBgQVVU94ZQsr0sVvXJYesDnN4JmNWC0wDfDhOSqsMAlEbzEzPqMUxbBIoFHxIA4YR1EWp0vvKq1RExToEAGNitNiUl4pcbPk/xUG+WnqazSH/tAYo41ECjt7Y6MJhT2oVKBR9ynLvrVxj6ecqxwarkIGSCn1YE8sYhEcfD1zmn9xCqVFAoNkpmDIO8BzlJ8jtncCV1LNV+G2wv86FPoXq+hSyPVVvnXf9cZhHNd68CAixJTN+igyPJKI/G98RYn5KfwQxTI9lOSntpaJXZ5TXIpRe92/X5PbkKlnmcJfX8AAxaG7FYKp9TOc24nUsn3mjEhqVoX0cahr6AOtsleHFxLOiB65g0r++MJVIsw49QSwrnCPHH62dn9gjxcm7N9jF+3jI3wEMAyeY5JF+tRe3uhxxzqekeIVvvZihzeNJK/Zg+lBEegUtbU3acWUCPwW2CYCv4T9bvm0lHuMIHS2gUhj/Tyy4KMR+eS/2EAuYIocTXAQe4bWfimHnUee6eD6LlPgqCb7GtB5Gkmvet5GdWFMxRApUx7DsuQYPrZdktrP5rEEz2A+eE4NJ6tTKS+xF0fTXbDXLbORD0xoV2DWktlRZJHj3CLtbs0hXGxLsS7AofdDGoR2r/2KYU9Nprr0f5XEm21f8iePxmU5iNghJmPQRktvZbwFLYHyaXaiA1JzBJDuo30NjKWDc14YNYe3zR6Dt1/P7/iKYoK0ar/sx0We6b6AqVqAlpm+0RiUAiQTSGoMcxf6GZ1QTVthy3N/qL3I7/r4IMmX5ZsMnk5oryvnZVv6ikJBpN6bAThfTQoGQSQ6GcorbXPqosqvicphv4j/xgtjYLxdvpHFMRcsONcmtMExnINwuInFd9HgB64vIxpr/2S/kZTuWI0nuQclKynQxV2uzanbUZhrA97r18sEjJlxURm0SGWiiOA1FgJM+d4xUnyklAreCnZeuqydvwjEH2AcCZcqKQmToosn8/t9QFNfbgEphJqHYMAxwdJve+dKkMU7SOw6CK+5qfqFXRc3BngxFW84IoIMFNw7JpNMKUqb/DSRaScpqb51VhEeFf8efprgLXCxQR0sB8xKV3KHLKkHOsMOX+sJik1W/03Tqhju4eZDkVVjjzx1sy7KdcgMSjdh5Rg71V3mcGkoSNfa1s1tBnMmSPRCozDwIHaT8GuaDqHi4cYEvoG+jzYmRxT8H5dZWm99xZtu5KrdjOQVkeEGAYNV+mfNIYKiOhw5WL3k9K14X8rnfZMWklUDfHaL5bZYSIRfhBunaUEE8dOeQWWQhO1m2OuvWz2538bsk3wvRodJp6Z1qcGPK7VNEgmFjg5WBOXUfLLI3bAyfPEqXq0wssSVRBIoLKzOGZSqFJ3RUk3JkhG9OIHbmqSL7KI8ZP8DmM13jCR+8l3NUPzur+FcHsgM1LJ5xyd5zygb9Iz0FZxoe15rLJYPzNh/24NHFSZ6McbPT77Vc+Z9BSZ0PeKEEsBRabf3NAiV6NQOEW95txNxrzfCdzGLeJwQzSaimplwHpiwsbGX4oZzyA+Bt38bHMBA7kQwa2wPz9ME2LNUOXNes2ed8RfMJ8hXPdC7BDD3paqV7Z5AVnPZJ1+GV0EGLNmyVtcUOlasZohhRng+Su1ImcVJQxY0ZoUOULPOEw1iQOOASIuU2IEq/wgvWBi26jE6aur8l/NV9Eh6UzbMJxhOCpW4sK6p5dVfT7lL1CM1cwWVOf2oyi/YZG4VgQtRPk03C7ULpPNLazD5Az4jPYGlF9/MsfoJza35zpiT+x/bcF0a/0NSR1XjO6p7sJxu7B1TC9Cmvug0YkDNCNlWQY39EUceKlHYJHWGLBKWA91or1yc/+WRy6gdEjKUVVc3L0z3OB+OTxIC/f6b7PbkceDDyuG7oYIoi8gbJW86fDuCLMwDFd4rEKI2fGnpRCvLlW5T8SdHLIGdzkAAy9R+nfKAph8joHSXJBFbks5+Neg/zMPd7tng/upC9WFRr+yNQcu5jbGOA5QzN6jxKh7vkkLJCC9HGpOIYSwtQXqGoPSXmbW+6KiWTx7OCfWmV+lkZXp7QtcwB2K8yCpfTI5bHJMFpolalQZP1FJYaR5095MJGEM5XBKBDwLJvUc8aDxJDeKNmBxjCimEV3tXumafdlCZwt25IyQf1iYanRZSayHqdd8T4/Ws1z5PhJvYgNtG4mlYLNNiR8ZZSHU88/Yh+DpDZmSkWHhEd+iNfuCJppCRdaqC7dQBLbnwdayHEnUj47MKqJ15U0+KuEgNUlPzYgoQYrrw9Hg28Je3b7Hz/BPTnjId96TalKkh/Jqb1amonxjRlWFOOrz3XzjisUgBqx5ozJpzaudB/U58HymWlGPq6JQdoQmArOYLHgmg0N9tO42hfoyCo50NLrwymD1lYbPgWK9Qw1fCiwrHSvC71fZfI+k2Xyv9L48wGvGtBHhx6uLDRQBkG5wSSz8tooHM83FOFBD5zJKq64YE3xhupRDYuBDx5TGixjMGKMx3w9dvJXx9ahSJLuFvmXZToa5nC1YZbx/VV3zWHXF8ST6aj/Tw6K5PN5Pwpsp6GIK7f0tO7+zxPlHD2NTIL3s4nFs6KqzSRNMEVQLWokrxObWQlWTJwDam/pTlpdRewZlvxT2anR0n5UiDN9hi+PgDOpCQ7SSUw6YL/G21uOMIZ7bCjOrcjLG2q4TBnkYyhhoamh4yb9lxo26xs2RYDlDLbv6Ww9TUG0rXMFq8O0YYYZ3fXU4+PqEbxbI1p0rbjNV0LjkmxCdleYpFc0PmL68oC2s+s8NfU/r7AizLI1yaZYjjDrye2dQkJ6AYM5RkYiH8LnUF8YF6AVCj4arsGr4e5Utn19kNilYU9ktJ6TWIcqNDFrJuZq/csAUTF7XIKfKghitUQMhacT/V6/pJw7Ypsns6E7ItSTx+cUHRBqfk1qYExsgqjugyawokyeckHrcPtml9Y9kAwXz5qJ8hC96QdjrNe2IiVIyPaJATSqcdESk8QyzeWiWRSfaTYfy7NxOvQWhLBNsprpjq3u5eKYsFcWEszMwwhhOZ2ivYvJUXNXOwF0xG5N2f8W4kvo//qjbQz3SJ0mmmKYhmB0sknb1rPtORfY40ZTOEz6CC4Xtl/uqOR0GhAM+vkF18bUwoSI0dNfujg3rpOWTkzyGImTAZ8HdR8sOhPgxB3Ydl1IazMHfeilvVk2sJtm2zEQFgITEYr8PGvpw0KBH8m57EkZWdVLOpl2sFlq1PsoWMoavDBLuFxRY71AREef9xcKzxyBT5QQeELlIXI1O2fdwJ/dcUo8nBFixB5KGT0NSMReFRw4+00K+7r4esfD5wTuL3Od8ARGxyY1GlgnKI0Rry4nPluZrnBHVJQvlvQIJ/28/wJ4wxVwOZuBYQqhn3rtFkh1uJlTNgug2eZqfekfOOP3QlA2Ea/mayL62D5VFx0Q9lz54Fj0jHcftTW9fqVR7Gm/X4Zcge7NE4tcgjmMbtRWrzIJx2yZGg0L8PaRcNT9ANVCipDtDTVXEgFeMWcSag+krsaO0WZ+/jgwG4V5MM/+TYJSstUTuKW/SRPvp7MZQRqz0spnC2IZRIjA1YSf8Tk2lQ60e2ZwsujjIVhYYfkJ0rOyHPh4HaGjIsC1po6jVHqQDc5rNnROz4yrhXdsoT8XcY+plzEVu2u/5stbwgVhKBbXa72w49ZDFD33LxxlKeJN2GgSN3GmO/r07+f9kce5E8ZMkk4+La94wdnqGV200a3F2HKITXO7wnPEEEYoVjrc63KvyzXzzOPNUJ2D63rjfIHliLYlluiM7LCfruuPbZRBh8nHCsTBVFGB5p4mWFoNWzUoj83JLCZOGN3NTnrIEj//U/J/AdhQAF33p0OgkxR3u44+7bazckKcUcrWHGkwGoNIZMuQpuAra9PnEksjxF9GPXd5r6zBXie/bbSpQEIKZANuY+QbSFCJeuYsrbfa/KkdKcMzrlYwYidWIkPrNxXRbwch6nQsNMilwRao3meCJvzIF0EudAv4sXqdJ2xiy90byYZqKlfD3o06EeN8M7LuSqsNQrwGlWk2dOQtXnQZEZNj3BMld5hkM9olW94FVHjMg6iNI0+ewtv5nS3MUkWRVerw9aaV5eC0j0R9u3dZd/yNGvXQmVF9cVpbgBODe9VXNjr2uKX2CUyePjdo6BcYlf2WN7pZvighUZbneHSyKmGccUppR5NtDzTnxX+C1uUTQtHCv6KeMF+xQGgtEfI6yxbzYBLYzR82+PLyVo5XcLhI1T7GdWAct36CY+T5dFcn4tQ/RpiI/TPq6seaIxswZ8PcbOUB805aWO/E6oZCT8N3g7lpbfFUfu1UJoV2kDVEyqloiaOmJxRWQcBCy8xfXX7M2ldRA21h+uWiSUqM6oUm71ZqMii+7Qf/eXkTRFjV5k6Sd69HgGkvvlBq82SkpaWEAG7hgoz6xpNsP9IsHbJQ3rLVyuTVPj/AtR7NsmrvdrSRKT+CUIJ8aDnE8Z2Y5GPyqshZ/zZfhK7JCvn8y+cN+xlDbU6jgx1vw6kZ0Bw20Gj4X6FU3d4hMRNYnu8s3LKJz5uotgVP6eDn6Ds+GB5njWoW2zTaDL+St+SSFJYjMXPu+gkAU616EEWEEoPpUVsgl+tIgIPSbDVid34jkvyhzE6k3JnTymfzdsl3kkcHRGhmGz7/0oeAuDsPedV2/jxO4FbleB5TVfJFB7t5x68LbmKBDa14r3zr5IKI3iHJzHP7ILmSvoypmj0NFYza8WvvZv6Mj7B7OfeEdrsETlaaAmov6tX3CELFW6ZEdm0B6VGjxVSi+gMXV4FyTa1Q5CpVUDMVppqaA1Xn+SLAb2cbPH7A/8aDtmoz+bu2tCEiFlfU5nFFXeHcYGdJqs8XeSov5i/cKrUtO021FkKkXYyoGA81pNxq7Fel3VXtxr5RU+45pbigYYBkeeKIe3SaWbyH0IuGxi2oj79l6822WTszLMY37x3jIgilOFYkX1N2NlOHWaGzLn+bonldKlgrZUBmQM/TwqQYHWATcjv5OHtioezbLkShoXtEPn6awKOuAehTZ3TBaZNsnVhl5TkXlXPU9tIZ3qJFbzUzeY23dCywTfSRnQe4atQufqplebfoKpThhruztPeS8nrL6V5ivZmT0yjh9WlrUu3zs8xlImVxcesHRLCxZKhynMTt/wFP/Ul55Bd7jzFzlfoG++SQmo6Uu80iiECNzScA8/AwxohxwPzPjShkc5WkQ5C9dDCjPy4vZoEJvT7booNmaDgz+i2yNn0/hllcaIkUFW3Bw9/1qQF+1VBwfpNl2G7nNLfXsSGvmHKJm1HdGTlTDQWb5gWNtHNXDmW205jGX5u5rdbRTh+YoTtaoIkI/ilOrrB4NhdECO8x2mLc4xs/Pmh0ehtzV6ZN6K2vE0pQX8i7DVaFFJbsfbKPV8/S/odBNYncGTMG5/JsCVhptF4KGUzAtG4221ykTSwTuaq4x790IY2ixiLweqgE2BMDAZa2/uks8lPaw9WPVQAZMwasgK+jOREjqppkxgz65zSNWAFADiys0sxl3r/PTYL1bjlM6zMjwV3z4YpSJYGjA9lQJgpOZanKShkBkJaKi50DAXY6My+8giJKbOHNAyyf4HUaDSqWh4qBjzw0BozhMSEkkSztINdbqGsvSrqKljamJmlQr8ApUKgrOd1vSKvvO6kpO9v0vYDYHJg1RObV8J6bwubXK73qEx+Oxw7H/ZTjuXJTfzZaOTeN4GVpa+4LQVPReUXURh0umcPObeqYll01TEbEJiFs/incNbxSkCy05m6aqobrCI2fLZwS3zhK5zOTNZlIX81buvWxx9DtSd7yUQpBQD3V8/AOKeBQu9z/i+HkLgq1q8lR8VhttHVt64cIm0cPZBB0pfmyzw8NFaoFaQEWjzpluN5z2T7IbRIpswPAfvFn5/C4WPOawKhvzk2+YeRURXQfHJX7wgH/C4J1XLhShKcOmZ6+uXAp5hPyVJqW9M0++E4fNxve7YfKU4UVO6oMN3RtOwUAV2Aj6m68AGAiW2OMC+tl7yuaQPgLzSydtVRVmPBEy/LF7hYfr+GteH5VLV85H9oJIbzjzZpkRe3WFII1H+RNo4ml4rd4Q4nGIWADuFOXiSNWaJ7Auok2rWtytRXQORx85zrrhSbw+R+xaf9EZMfOuHT/gXbrEocdffd1ogN+VsSmzNVWLvR+YX3kO0ZRwB5ecZjeXhmhJE4sHhDEsMCMKGE6PVRXoU+DSpQjCR3pj4MI2uY/s4xqLLMp3uy0pEzNqRQ9yTlJFXurqiFqg4i3mWv/FNYH7qGcEhYzV9XFkzxHllpvckAdp5QYgT2oWdiCvH/vxe5XI0tIeh8rJje5PaaF7S4hEpa3X3O+U+Ydumt5PEfUtgDa/fzC3dhhqhOv/E9W81u/bQY7DHRazq9myJ2p3kNDg/A9KUE41+ANOt/Uz/DtMc5DHGR/R+vaGUFaJHLEn3L19nmrs9azLUhy8492pGbmgvDQo5sAF6bS8nNjZfyPzS1enSB8sUtqgdya/vE5FMfN+j1Hldhl7/59gqcNHsHZD17oS7W8TrY1xHiDVN0fbKsMukiD8Z1HE9445la+reREItDoyshyjsZ6PqlyEGU02IBHDiHCu4HVUyEltudjU+uBL4TmMAKWeoDpDfVWTytJgXOthnDQwK+ph8sys9d300HsIqaVyuYIM47tpeHT5oemONUfPip3pASE+e0ZustesT5rDDH+5afpVxmAryD3RaPDHy2j8EzqS513SNwl0ypP7p3a6F4SQa7pIwiNMFSZwdVI7Q3cNYtV6Go/Fing2a6UXY1AOK89cSfdn96/d2yhXFSG7BR72hMY+Hep4kHiwM5MzvFbPBR0DcqKxhQH2WbTolyoiClBEAyd0yX/QdOqgKj6LmlidaTQFcFMWIpieWV78OdzR698TzWZusxzl//slyp5JquOClX3y3l6vgWSE5qm9U6rffn6DESkqhQQOSZ4yvK/xLCaF9nwmZsmeh+jcop3PnsWOWytLbA6h4d6aQw+Cpo4HNlWxM1LAkQCYCaf2KEW0cprpUxhplfuoB09V8SbCtMe9b7TFxbvRZHXM14n3RcYpbx7HstQmPGs9Q2ak4+bbpOge/D6WwJ21qFZV0ONUl1M/SKXVYhD0nMWfLoNstman6CNudrMqCrOWJjwWAAVytiN4QmSLTO7qHGxxcTMXkOxpjitmoHFDEjflmOkgAyUm8XOKijfNLadxY/z4tZh1gJT2h4rTNE+6flXbE6XNvGBRQZe5sezEq7Jt4qNKJNhDD9wjPfHxhKXFYobicPSb24GdjHp952cW+rlJSJzHlDWPAxvckKXpAY0VfxkX/SlMNFT1QH/86vhNfFnXQmfUEBxn3IoOR/f/HfAOZYRkL1AoFDZFznvoTUtUczLWLI3Ek+QneI9G+8MoGeHqJNTI3Huc3xKBafrpePr3l7KjI2T+ychlznjPlZNsSNftrZrEWcOtwLbL/Zk+zoXzINNTHpF7qf2wrx8ODFfLl/iyQcOKthwb6ZRGgKxDosmUa2Ocu53r9Zach3HcOhXYDlZU5ET2QMXyMy2KhOKMsRirl2ANJcDFB8zhlYmNnazv0koUBr0eYoNkiKjSBJuT4prXyj+9HXmrSZ+tZPw8yDL4uEcIH9pKtscytS4GxElLm+aV89DH113142TJ1v6hJ+dY2q7PBQdMGlUHhClARPWYj/RfKNTbLFVBFqnpnP+yfSxIqTYAsqTxuSGoHvF0GaJjz3dJ/bVqCl80/kyNBzsu6TrYU5i5EktBR4o+9eedsSKmC+YUTynuP9a740QKKJkwJfSGPDaG+wd97T73GGrSGcs3E6A/3p50WsuqSWN30miEQfKf+BgI0sp8XY0BEwPDaM8uuqWPuSqR5oGT9pQHRhSAWsSvLIAF4mezNwKzgtPOdg9oBOLFqYvFxEHnDFowbrHskQjxsAPqcbSicmP+SviUMwibkuvjMcLMwTXWascEBl0J6pMp+WvV+y1EnfM2xQHj+7zCuCDSoiG/wTXt/ljrnNaJ355o4w00agJ2SCjC14tr7Zq/Rgrbyw+vkNLFBtUJw4K/98oyQ7kIJ/8TEiCxsPxYMMSD31fbDUSoe4j68SbbMqtMqw/F5hx56ZqTsCsbx5Dk3AqaX2nqHAiHcMzUsElh2mQKnWwgVYGVeoG9z5f7LTYdwjvY359fkO/oXsIQB1yzCT/NModbgAG7MTGU8eWzO0qeISrxC9zCfJRaVerPE3rZnMtovOyG8A2ROGfTrNwqwtOJHwoOeMuNzghqEbbtCR7ihZFEvKnTNZ0NQJg7jKH4ozDpYzK5gOed1Ye36mv8qoeMMIhfbxsLDh38olR972d3W2PrGjfk2sqoE2L12DUHQrh37yuyW8aYoxHhJQyI/RFUDQsaOTBcl+VbH2/DJ0FH7ycmRVPi3GFpw1cSEP/XmMj/U6EAyD9IvvfVg49xaT1W4NBR/bNquTiQlK0xLzMUfXhg6ZmsXLJWGpRT2FngTKZzWvvY5fFxPx89daIBSgwKk9G0SXSleU/XpvuSo+sS2JoAwS0Qj9eFphHZw6APsd/VqOCcTxrj8ZsHxfxll21k475q5MsBrC8kAavP2xGQyUikIiYDVPKbFfAdOMb2Fh9Kch1LXy/walK2aB+jLaB7WUe/aJMvE8weOXtVyXaXmYs6mb3k24SUnpHLFqyGtNyIvESE/WlIuDpO+oSrNBo7WWQKGNFo/Rrko/qmEaEf61Rrbv9v3vlbZhwIP8Q9Ng0mnTEvbNhAGM8GgASIkgTk+MWOx2nKFjOTXmCrjO1FW5lv2m/C6egArwLmNHoiXIIGg4pLFqMN5J4UBHDuDFzLCakgRkSTENbnZlUum1ucWG2z6EYUZHE3M1/sTXCQxN6r9vj6xnVvdlcHTF/xQluhxORzr0/kbfGJUwCO1Ex3azrXESgJIle/ZNOHB4DhSG15JDO+DmLybWueDcPup9LBPV0sKC6MS5kdySG7Rv9RnWSCc3ikR5lC598I0wIisBGhjWHPVe66b47p1QA8mq+4euIicp2BYldyeqwZ+fsX/4BcSitKF38x8maZiLtDSLBOC0A5kTnTqh/EJhvIjiJcMdHl3XN+mwmlWzGeo4vEjOuAjASAb0+lVJYNyrP3IZ84KbFXYvSwbbpFo72A/r4WiON8a7mQH0kmOnBdVGPphm6lczLkFlHH/MgX/xN/dKRMW/xWg49wI9Xvfdv4OjMgLLS+Y1+BNoHEUHR8BVtThSRn5pGHmmqj6bBlj2HMD+WS070bd0XG3fb+GvbajNyroT++dZW0nNmpIF85PC60zYdZ3PPPMc+3ztDVIfXfWSsEc4PHJmiXZN5uaS7TuqvLBwnvJKOQkvOssxGxT1vJRJ9MBnJC5V/wj+kydG1Ep6qnGf9kbRufW0e6HTP/68L/Kq2ad0I+qY1miEqH7hlZbWRHFZ+CSC70eKDPH6S8z+no8KnPWmvmA9tfaxfXC5R9vGt+VKWLFn4SBAaMjMAswk/ZlTHE0PCIZEopdBNZI9aDgf1PLxiEwXhB366EOC8JwyJ3u9NftoAqF6NhIzX+V/VU7y5A3FPsAEh+ChI/+OnLjcFRB0iREMTzEkznaU9NeOjzBTSk7h60vN2rZFBch34RMvmmqgYcmYnSsqnDvCbAJYnMe09+VU5fODibDxipZ9Qb6gfLow/0eQ8B2XaOKfu8tsa7UKOBo9ZihxR17j6wS0JGwthH/LWTng7H404xZSA3LYqBLY12XALl1Qmqp7dznX4+ioxAVCsVxxm1wqxABtdEkE9zf7umQgO/F5QUOsGcWDntkuKiqRm/Lr/JDpVw1MTfoPK7x0v0ujrN9lZyQ0UdTlR6+HRAbOh9jZOGWDD++S4fr92vi/j9IVA3nfrMUSLJiLPr6wHPdjzoaLMhzC8lFLvsDe+Ci8H3Jv8l6dr5YQlbMrXojz5LTgzbqelPAIrEKrjyP7giKxeSgXvzwB1Z2y0uEG5dFYBu4As7Ruq0diEMDd1CS9YSENHil4viBW5zi84GRwOHS8+V0WYYRwPqUcn1MfR9USXWpjpXrcOb2TJDGwa0bA0abRY+ufSPEaujLc1rKuaXGk7VuBxVEJ4sOJUejOwd7wFEJZLO+XHs891jhDtmfSpUKgdzwcKMv62StTbPwQu/2nh4o1Qm5cb+3YEPBwAYnLOK5gtZGfC98eyE4iCb1kD6piWzixLR50DfdCIs7rxyaFQ/mxSDOb+nuSY5PSheR6uKbeQWlbcGz/Y0uSpr2At+0tb98IXE1cU5ZLoCUVeMh5k5v+MP9f069CoGSiUzwHMVxSwqD6rl0ML2HMqgCbS05eQq2GSE5TKSIOb1KUMcBDrG2X3lhWwvF75lrwRLo5RgV9HX4qbW2aNrSB7CojQjqWiroF00HPBWy3zVmrYVC3DgbeiTpkt2wnJlOHrdeBfddZCzU3Z2i/x4DRC4EzyFmAMFldVx6+FszGVrdEIDQVrlQPkCr2NMU+DcroMvYH6nSosRLxQihhFIwugH4rFbfKp0Zm+YeX5qm0Z4fGOoNJa+IhgsZ6jjKlWE9XnmGQf4DDp1uVm7ANXjGpuTB3xhg5mNwwJ8xSU58FgH2wH9E60T83ELD5LQzvmXDUsXaksweEYco9AGcZLD0gyUd6KSyTcxEDxDyH2r/8GOrzLx+l9ElqfhTV47381e6Xp5lUl6WsUqPqVZnBSkpIFt1jJW8rpgxQAmlpQni2OaT2ikbG0gF81OBUfBIcvCD2CA4jU2HNDVf53iz5+l1ArGsRVaWv9q/YWWJFjd43K7BoO9BzxelYCRMMxF0DYu2GTtv61NESLdYMxDLt2lwcXm9KV3esCL7dhxx8ZtphSxdoJBnf/d2tVE0VTA7uo24nFPuDw7QHs7+yp+5nAg/sFvczf6HIwBrBjyYbB348us5axXonOD5h4Hx5Nj8oMVlpv8LU9xsxrYnv4BwgfrUiwk/xKi4118zv54I4/OfeB23mTLgrElX2nElggWL9ffL5aekYhgEGwUFrl+ReD+fDNI51V/fLr8PUSe+bnSmM2rRBtuJzHjIFiN/RD2m0tTmmCFh/YqCtqSQAip4dt2zSECmxzhmmkL2lERGqDQWmQE/UHP6VdSDBlKzIyEQWh2kHGVkYGI5mKy4Tevpihgec8mDRGnvkZsGQ2UYjzmBMa5EOTObGqb+eiSYfrABgbgOON2fO2fzhOyphH5/Ph/atW4dhnKrYIgo5yjYSR0d3eKA/Uhl8VLfaueiN7rNRSMWs+qeVKITE5X+62NrN604gqUuYlEkJTd7h+6+DiCM9CjRICbAkcivlCBThAezaxm0Hublew32rjjCuCKzSLidlvTH0otCAcijGVtxPo9uA98ZqPZ2WfdT/InPoX2fmdU4tzkHGCYssESfVzT43gZukreyocuFlird+ij6KvVdlkNnohN+fEDt9anfvhvWUlZCCObNrlBvDpupAeaWeWU1e3zNCBzh5foBvvVJLuC5zSxVIh5i2TUy0Bj/czITp0BgAm7+aaMu4okFx8uu8rNcjG3nzQzppPVMBf/mJtdLeDj3jBC50YmCpIZT8gpv0ccq4bci/yzCy67++Y59Ajt/yIaT98r6p02pt/U+0pHBV1TUQwPH2p4GqkKq6XtYlOgWGFz9JJuX0DVZzs6CU3WgwIuVlJKlZQJuwl5AeZA8HeTN6LQ/2xcAXv71eiuyEGUb3zdynPHsOrK3CeIJIleMeiAW21Ylslp6sZ1Wc5+tAnQf2grfoemLf/KdxI3qfiQKRO/ZZnQgVxRUECBu8cskL0xImqEAqScevJL5gWAOIFaNjCjTG1oAvSTQVv6/LAYComMTIBvLS4CmLB1Sy99qegZxH/duXXPmGNP6rrJBGMQDXTvvg504M7gnS9enFh8KKz/CbApAKjRo39UT0u1rl3sx6QcMa79VuMjLdN77dZJZ3xzJxJ/7+3vnCpw3rJt3S8PSn6jNgvMaPuj2Yhuzp9Qrm03sN01wgf97vJ1sIxe57b+GmGNsPMjtp3rV8QpmCEgy89xfxZdWfuL7bDs6HGsR9Bdns=">
            <a:extLst>
              <a:ext uri="{FF2B5EF4-FFF2-40B4-BE49-F238E27FC236}">
                <a16:creationId xmlns:a16="http://schemas.microsoft.com/office/drawing/2014/main" id="{7C26CCE7-01B6-446F-9143-D518D10883CE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 bwMode="gray">
          <a:xfrm>
            <a:off x="363986" y="1807693"/>
            <a:ext cx="11497813" cy="4758206"/>
          </a:xfrm>
          <a:prstGeom prst="rect">
            <a:avLst/>
          </a:prstGeom>
          <a:blipFill>
            <a:blip r:embed="rId8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endParaRPr kumimoji="0" lang="en-AU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BC2975C-3F72-4E0D-96FE-D22F265129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/>
              <a:t>Aided awareness:</a:t>
            </a:r>
            <a:r>
              <a:rPr lang="en-GB"/>
              <a:t> </a:t>
            </a:r>
            <a:r>
              <a:rPr lang="pl-PL"/>
              <a:t>X</a:t>
            </a:r>
            <a:r>
              <a:rPr lang="en-AU"/>
              <a:t> clear leader on brand awareness followed by </a:t>
            </a:r>
            <a:r>
              <a:rPr lang="pl-PL"/>
              <a:t>Y</a:t>
            </a:r>
            <a:endParaRPr lang="en-AU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2BE641A-771A-405B-BEC8-90AB34D34F7D}"/>
              </a:ext>
            </a:extLst>
          </p:cNvPr>
          <p:cNvSpPr/>
          <p:nvPr/>
        </p:nvSpPr>
        <p:spPr bwMode="gray">
          <a:xfrm>
            <a:off x="827315" y="2442239"/>
            <a:ext cx="1079864" cy="3634616"/>
          </a:xfrm>
          <a:prstGeom prst="rect">
            <a:avLst/>
          </a:prstGeom>
          <a:noFill/>
          <a:ln w="12700">
            <a:solidFill>
              <a:srgbClr val="C0000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9" name="btfpStatusSticker134768">
            <a:extLst>
              <a:ext uri="{FF2B5EF4-FFF2-40B4-BE49-F238E27FC236}">
                <a16:creationId xmlns:a16="http://schemas.microsoft.com/office/drawing/2014/main" id="{4166C4CB-77E7-48C0-9CE5-6FA41164DED7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100356" y="955344"/>
            <a:ext cx="1761444" cy="235611"/>
            <a:chOff x="-2280176" y="876300"/>
            <a:chExt cx="1761444" cy="235611"/>
          </a:xfrm>
        </p:grpSpPr>
        <p:sp>
          <p:nvSpPr>
            <p:cNvPr id="30" name="btfpStatusStickerText134768">
              <a:extLst>
                <a:ext uri="{FF2B5EF4-FFF2-40B4-BE49-F238E27FC236}">
                  <a16:creationId xmlns:a16="http://schemas.microsoft.com/office/drawing/2014/main" id="{08E0F3A5-F818-4144-B93A-99ABE4284712}"/>
                </a:ext>
              </a:extLst>
            </p:cNvPr>
            <p:cNvSpPr txBox="1"/>
            <p:nvPr/>
          </p:nvSpPr>
          <p:spPr bwMode="gray">
            <a:xfrm>
              <a:off x="-2280176" y="876300"/>
              <a:ext cx="17614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liminary</a:t>
              </a:r>
            </a:p>
          </p:txBody>
        </p:sp>
        <p:cxnSp>
          <p:nvCxnSpPr>
            <p:cNvPr id="31" name="btfpStatusStickerLine134768">
              <a:extLst>
                <a:ext uri="{FF2B5EF4-FFF2-40B4-BE49-F238E27FC236}">
                  <a16:creationId xmlns:a16="http://schemas.microsoft.com/office/drawing/2014/main" id="{5FC0F2CD-9F16-4473-9199-CD05E358100D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80176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F48420F7-E5F2-4091-BDE7-24433DD5E34C}"/>
              </a:ext>
            </a:extLst>
          </p:cNvPr>
          <p:cNvSpPr/>
          <p:nvPr/>
        </p:nvSpPr>
        <p:spPr bwMode="gray">
          <a:xfrm>
            <a:off x="339726" y="1281776"/>
            <a:ext cx="11512548" cy="446012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1" indent="0" algn="ctr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 </a:t>
            </a:r>
            <a:r>
              <a:rPr kumimoji="0" lang="en-AU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ich of the following brands </a:t>
            </a:r>
            <a:r>
              <a:rPr kumimoji="0" lang="en-AU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 you know</a:t>
            </a:r>
            <a:r>
              <a:rPr kumimoji="0" lang="en-AU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</a:t>
            </a:r>
          </a:p>
        </p:txBody>
      </p:sp>
      <p:sp>
        <p:nvSpPr>
          <p:cNvPr id="42" name="btfpNotesBox350040">
            <a:extLst>
              <a:ext uri="{FF2B5EF4-FFF2-40B4-BE49-F238E27FC236}">
                <a16:creationId xmlns:a16="http://schemas.microsoft.com/office/drawing/2014/main" id="{7BDF0EED-B3C6-4D88-9AEF-7A351EE83AEF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</a:t>
            </a:r>
          </a:p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</a:t>
            </a:r>
            <a:endParaRPr kumimoji="0" lang="pl-PL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6" name="btfpRunningAgenda1Level957375">
            <a:extLst>
              <a:ext uri="{FF2B5EF4-FFF2-40B4-BE49-F238E27FC236}">
                <a16:creationId xmlns:a16="http://schemas.microsoft.com/office/drawing/2014/main" id="{5E63CB46-CFC2-4119-A303-97660536EAF8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0" y="944429"/>
            <a:ext cx="2283602" cy="257442"/>
            <a:chOff x="0" y="876300"/>
            <a:chExt cx="2283602" cy="257442"/>
          </a:xfrm>
        </p:grpSpPr>
        <p:sp>
          <p:nvSpPr>
            <p:cNvPr id="47" name="btfpRunningAgenda1LevelBarLeft957375">
              <a:extLst>
                <a:ext uri="{FF2B5EF4-FFF2-40B4-BE49-F238E27FC236}">
                  <a16:creationId xmlns:a16="http://schemas.microsoft.com/office/drawing/2014/main" id="{612BF735-3A43-4EC7-A410-CC732CCD545D}"/>
                </a:ext>
              </a:extLst>
            </p:cNvPr>
            <p:cNvSpPr/>
            <p:nvPr/>
          </p:nvSpPr>
          <p:spPr bwMode="gray">
            <a:xfrm>
              <a:off x="0" y="876300"/>
              <a:ext cx="2283602" cy="257442"/>
            </a:xfrm>
            <a:custGeom>
              <a:avLst/>
              <a:gdLst>
                <a:gd name="connsiteX0" fmla="*/ 942786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42786 w 1816204"/>
                <a:gd name="connsiteY0" fmla="*/ 0 h 257442"/>
                <a:gd name="connsiteX1" fmla="*/ 888066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782550 w 888065"/>
                <a:gd name="connsiteY0" fmla="*/ 0 h 257442"/>
                <a:gd name="connsiteX1" fmla="*/ 888065 w 888065"/>
                <a:gd name="connsiteY1" fmla="*/ 257442 h 257442"/>
                <a:gd name="connsiteX2" fmla="*/ 0 w 888065"/>
                <a:gd name="connsiteY2" fmla="*/ 257442 h 257442"/>
                <a:gd name="connsiteX3" fmla="*/ 0 w 888065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1146368 w 1146368"/>
                <a:gd name="connsiteY0" fmla="*/ 0 h 257442"/>
                <a:gd name="connsiteX1" fmla="*/ 727829 w 1146368"/>
                <a:gd name="connsiteY1" fmla="*/ 257442 h 257442"/>
                <a:gd name="connsiteX2" fmla="*/ 0 w 1146368"/>
                <a:gd name="connsiteY2" fmla="*/ 257442 h 257442"/>
                <a:gd name="connsiteX3" fmla="*/ 0 w 1146368"/>
                <a:gd name="connsiteY3" fmla="*/ 0 h 257442"/>
                <a:gd name="connsiteX0" fmla="*/ 1146368 w 1146368"/>
                <a:gd name="connsiteY0" fmla="*/ 0 h 257442"/>
                <a:gd name="connsiteX1" fmla="*/ 1091647 w 1146368"/>
                <a:gd name="connsiteY1" fmla="*/ 257442 h 257442"/>
                <a:gd name="connsiteX2" fmla="*/ 0 w 1146368"/>
                <a:gd name="connsiteY2" fmla="*/ 257442 h 257442"/>
                <a:gd name="connsiteX3" fmla="*/ 0 w 1146368"/>
                <a:gd name="connsiteY3" fmla="*/ 0 h 257442"/>
                <a:gd name="connsiteX0" fmla="*/ 1146368 w 1146368"/>
                <a:gd name="connsiteY0" fmla="*/ 0 h 257442"/>
                <a:gd name="connsiteX1" fmla="*/ 1091647 w 1146368"/>
                <a:gd name="connsiteY1" fmla="*/ 257442 h 257442"/>
                <a:gd name="connsiteX2" fmla="*/ 0 w 1146368"/>
                <a:gd name="connsiteY2" fmla="*/ 257442 h 257442"/>
                <a:gd name="connsiteX3" fmla="*/ 0 w 1146368"/>
                <a:gd name="connsiteY3" fmla="*/ 0 h 257442"/>
                <a:gd name="connsiteX0" fmla="*/ 1146368 w 1146368"/>
                <a:gd name="connsiteY0" fmla="*/ 0 h 257442"/>
                <a:gd name="connsiteX1" fmla="*/ 1091647 w 1146368"/>
                <a:gd name="connsiteY1" fmla="*/ 257442 h 257442"/>
                <a:gd name="connsiteX2" fmla="*/ 0 w 1146368"/>
                <a:gd name="connsiteY2" fmla="*/ 257442 h 257442"/>
                <a:gd name="connsiteX3" fmla="*/ 0 w 1146368"/>
                <a:gd name="connsiteY3" fmla="*/ 0 h 257442"/>
                <a:gd name="connsiteX0" fmla="*/ 1399642 w 1399642"/>
                <a:gd name="connsiteY0" fmla="*/ 0 h 257442"/>
                <a:gd name="connsiteX1" fmla="*/ 1091647 w 1399642"/>
                <a:gd name="connsiteY1" fmla="*/ 257442 h 257442"/>
                <a:gd name="connsiteX2" fmla="*/ 0 w 1399642"/>
                <a:gd name="connsiteY2" fmla="*/ 257442 h 257442"/>
                <a:gd name="connsiteX3" fmla="*/ 0 w 1399642"/>
                <a:gd name="connsiteY3" fmla="*/ 0 h 257442"/>
                <a:gd name="connsiteX0" fmla="*/ 1399642 w 1399642"/>
                <a:gd name="connsiteY0" fmla="*/ 0 h 257442"/>
                <a:gd name="connsiteX1" fmla="*/ 1344921 w 1399642"/>
                <a:gd name="connsiteY1" fmla="*/ 257442 h 257442"/>
                <a:gd name="connsiteX2" fmla="*/ 0 w 1399642"/>
                <a:gd name="connsiteY2" fmla="*/ 257442 h 257442"/>
                <a:gd name="connsiteX3" fmla="*/ 0 w 1399642"/>
                <a:gd name="connsiteY3" fmla="*/ 0 h 257442"/>
                <a:gd name="connsiteX0" fmla="*/ 1399642 w 1399642"/>
                <a:gd name="connsiteY0" fmla="*/ 0 h 257442"/>
                <a:gd name="connsiteX1" fmla="*/ 1344921 w 1399642"/>
                <a:gd name="connsiteY1" fmla="*/ 257442 h 257442"/>
                <a:gd name="connsiteX2" fmla="*/ 0 w 1399642"/>
                <a:gd name="connsiteY2" fmla="*/ 257442 h 257442"/>
                <a:gd name="connsiteX3" fmla="*/ 0 w 1399642"/>
                <a:gd name="connsiteY3" fmla="*/ 0 h 257442"/>
                <a:gd name="connsiteX0" fmla="*/ 1399642 w 1399642"/>
                <a:gd name="connsiteY0" fmla="*/ 0 h 257442"/>
                <a:gd name="connsiteX1" fmla="*/ 1344921 w 1399642"/>
                <a:gd name="connsiteY1" fmla="*/ 257442 h 257442"/>
                <a:gd name="connsiteX2" fmla="*/ 0 w 1399642"/>
                <a:gd name="connsiteY2" fmla="*/ 257442 h 257442"/>
                <a:gd name="connsiteX3" fmla="*/ 0 w 1399642"/>
                <a:gd name="connsiteY3" fmla="*/ 0 h 257442"/>
                <a:gd name="connsiteX0" fmla="*/ 1567957 w 1567957"/>
                <a:gd name="connsiteY0" fmla="*/ 0 h 257442"/>
                <a:gd name="connsiteX1" fmla="*/ 1344921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567957 w 1567957"/>
                <a:gd name="connsiteY0" fmla="*/ 0 h 257442"/>
                <a:gd name="connsiteX1" fmla="*/ 1513236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567957 w 1567957"/>
                <a:gd name="connsiteY0" fmla="*/ 0 h 257442"/>
                <a:gd name="connsiteX1" fmla="*/ 1513236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567957 w 1567957"/>
                <a:gd name="connsiteY0" fmla="*/ 0 h 257442"/>
                <a:gd name="connsiteX1" fmla="*/ 1513236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736273 w 1736273"/>
                <a:gd name="connsiteY0" fmla="*/ 0 h 257442"/>
                <a:gd name="connsiteX1" fmla="*/ 1513236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736273 w 1736273"/>
                <a:gd name="connsiteY0" fmla="*/ 0 h 257442"/>
                <a:gd name="connsiteX1" fmla="*/ 1681552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736273 w 1736273"/>
                <a:gd name="connsiteY0" fmla="*/ 0 h 257442"/>
                <a:gd name="connsiteX1" fmla="*/ 1681552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736273 w 1736273"/>
                <a:gd name="connsiteY0" fmla="*/ 0 h 257442"/>
                <a:gd name="connsiteX1" fmla="*/ 1681552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2005577 w 2005577"/>
                <a:gd name="connsiteY0" fmla="*/ 0 h 257442"/>
                <a:gd name="connsiteX1" fmla="*/ 1681552 w 2005577"/>
                <a:gd name="connsiteY1" fmla="*/ 257442 h 257442"/>
                <a:gd name="connsiteX2" fmla="*/ 0 w 2005577"/>
                <a:gd name="connsiteY2" fmla="*/ 257442 h 257442"/>
                <a:gd name="connsiteX3" fmla="*/ 0 w 2005577"/>
                <a:gd name="connsiteY3" fmla="*/ 0 h 257442"/>
                <a:gd name="connsiteX0" fmla="*/ 2005577 w 2005577"/>
                <a:gd name="connsiteY0" fmla="*/ 0 h 257442"/>
                <a:gd name="connsiteX1" fmla="*/ 1950856 w 2005577"/>
                <a:gd name="connsiteY1" fmla="*/ 257442 h 257442"/>
                <a:gd name="connsiteX2" fmla="*/ 0 w 2005577"/>
                <a:gd name="connsiteY2" fmla="*/ 257442 h 257442"/>
                <a:gd name="connsiteX3" fmla="*/ 0 w 2005577"/>
                <a:gd name="connsiteY3" fmla="*/ 0 h 257442"/>
                <a:gd name="connsiteX0" fmla="*/ 2005577 w 2005577"/>
                <a:gd name="connsiteY0" fmla="*/ 0 h 257442"/>
                <a:gd name="connsiteX1" fmla="*/ 1950856 w 2005577"/>
                <a:gd name="connsiteY1" fmla="*/ 257442 h 257442"/>
                <a:gd name="connsiteX2" fmla="*/ 0 w 2005577"/>
                <a:gd name="connsiteY2" fmla="*/ 257442 h 257442"/>
                <a:gd name="connsiteX3" fmla="*/ 0 w 2005577"/>
                <a:gd name="connsiteY3" fmla="*/ 0 h 257442"/>
                <a:gd name="connsiteX0" fmla="*/ 2005577 w 2005577"/>
                <a:gd name="connsiteY0" fmla="*/ 0 h 257442"/>
                <a:gd name="connsiteX1" fmla="*/ 1950856 w 2005577"/>
                <a:gd name="connsiteY1" fmla="*/ 257442 h 257442"/>
                <a:gd name="connsiteX2" fmla="*/ 0 w 2005577"/>
                <a:gd name="connsiteY2" fmla="*/ 257442 h 257442"/>
                <a:gd name="connsiteX3" fmla="*/ 0 w 2005577"/>
                <a:gd name="connsiteY3" fmla="*/ 0 h 257442"/>
                <a:gd name="connsiteX0" fmla="*/ 2183510 w 2183510"/>
                <a:gd name="connsiteY0" fmla="*/ 0 h 257442"/>
                <a:gd name="connsiteX1" fmla="*/ 1950856 w 2183510"/>
                <a:gd name="connsiteY1" fmla="*/ 257442 h 257442"/>
                <a:gd name="connsiteX2" fmla="*/ 0 w 2183510"/>
                <a:gd name="connsiteY2" fmla="*/ 257442 h 257442"/>
                <a:gd name="connsiteX3" fmla="*/ 0 w 2183510"/>
                <a:gd name="connsiteY3" fmla="*/ 0 h 257442"/>
                <a:gd name="connsiteX0" fmla="*/ 2183510 w 2183510"/>
                <a:gd name="connsiteY0" fmla="*/ 0 h 257442"/>
                <a:gd name="connsiteX1" fmla="*/ 2128788 w 2183510"/>
                <a:gd name="connsiteY1" fmla="*/ 257442 h 257442"/>
                <a:gd name="connsiteX2" fmla="*/ 0 w 2183510"/>
                <a:gd name="connsiteY2" fmla="*/ 257442 h 257442"/>
                <a:gd name="connsiteX3" fmla="*/ 0 w 2183510"/>
                <a:gd name="connsiteY3" fmla="*/ 0 h 257442"/>
                <a:gd name="connsiteX0" fmla="*/ 2183511 w 2183511"/>
                <a:gd name="connsiteY0" fmla="*/ 0 h 257442"/>
                <a:gd name="connsiteX1" fmla="*/ 2128789 w 2183511"/>
                <a:gd name="connsiteY1" fmla="*/ 257442 h 257442"/>
                <a:gd name="connsiteX2" fmla="*/ 0 w 2183511"/>
                <a:gd name="connsiteY2" fmla="*/ 257442 h 257442"/>
                <a:gd name="connsiteX3" fmla="*/ 1 w 2183511"/>
                <a:gd name="connsiteY3" fmla="*/ 0 h 257442"/>
                <a:gd name="connsiteX0" fmla="*/ 2183511 w 2183511"/>
                <a:gd name="connsiteY0" fmla="*/ 0 h 257442"/>
                <a:gd name="connsiteX1" fmla="*/ 2128789 w 2183511"/>
                <a:gd name="connsiteY1" fmla="*/ 257442 h 257442"/>
                <a:gd name="connsiteX2" fmla="*/ 0 w 2183511"/>
                <a:gd name="connsiteY2" fmla="*/ 257442 h 257442"/>
                <a:gd name="connsiteX3" fmla="*/ 1 w 2183511"/>
                <a:gd name="connsiteY3" fmla="*/ 0 h 257442"/>
                <a:gd name="connsiteX0" fmla="*/ 782551 w 2128789"/>
                <a:gd name="connsiteY0" fmla="*/ 0 h 257442"/>
                <a:gd name="connsiteX1" fmla="*/ 2128789 w 2128789"/>
                <a:gd name="connsiteY1" fmla="*/ 257442 h 257442"/>
                <a:gd name="connsiteX2" fmla="*/ 0 w 2128789"/>
                <a:gd name="connsiteY2" fmla="*/ 257442 h 257442"/>
                <a:gd name="connsiteX3" fmla="*/ 1 w 2128789"/>
                <a:gd name="connsiteY3" fmla="*/ 0 h 257442"/>
                <a:gd name="connsiteX0" fmla="*/ 782551 w 782551"/>
                <a:gd name="connsiteY0" fmla="*/ 0 h 257442"/>
                <a:gd name="connsiteX1" fmla="*/ 727830 w 782551"/>
                <a:gd name="connsiteY1" fmla="*/ 257442 h 257442"/>
                <a:gd name="connsiteX2" fmla="*/ 0 w 782551"/>
                <a:gd name="connsiteY2" fmla="*/ 257442 h 257442"/>
                <a:gd name="connsiteX3" fmla="*/ 1 w 782551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1 w 782551"/>
                <a:gd name="connsiteY0" fmla="*/ 0 h 257442"/>
                <a:gd name="connsiteX1" fmla="*/ 727830 w 782551"/>
                <a:gd name="connsiteY1" fmla="*/ 257442 h 257442"/>
                <a:gd name="connsiteX2" fmla="*/ 1 w 782551"/>
                <a:gd name="connsiteY2" fmla="*/ 257442 h 257442"/>
                <a:gd name="connsiteX3" fmla="*/ 0 w 782551"/>
                <a:gd name="connsiteY3" fmla="*/ 0 h 257442"/>
                <a:gd name="connsiteX0" fmla="*/ 950802 w 950802"/>
                <a:gd name="connsiteY0" fmla="*/ 0 h 257442"/>
                <a:gd name="connsiteX1" fmla="*/ 727830 w 950802"/>
                <a:gd name="connsiteY1" fmla="*/ 257442 h 257442"/>
                <a:gd name="connsiteX2" fmla="*/ 1 w 950802"/>
                <a:gd name="connsiteY2" fmla="*/ 257442 h 257442"/>
                <a:gd name="connsiteX3" fmla="*/ 0 w 950802"/>
                <a:gd name="connsiteY3" fmla="*/ 0 h 257442"/>
                <a:gd name="connsiteX0" fmla="*/ 950802 w 950802"/>
                <a:gd name="connsiteY0" fmla="*/ 0 h 257442"/>
                <a:gd name="connsiteX1" fmla="*/ 896080 w 950802"/>
                <a:gd name="connsiteY1" fmla="*/ 257442 h 257442"/>
                <a:gd name="connsiteX2" fmla="*/ 1 w 950802"/>
                <a:gd name="connsiteY2" fmla="*/ 257442 h 257442"/>
                <a:gd name="connsiteX3" fmla="*/ 0 w 950802"/>
                <a:gd name="connsiteY3" fmla="*/ 0 h 257442"/>
                <a:gd name="connsiteX0" fmla="*/ 950802 w 950802"/>
                <a:gd name="connsiteY0" fmla="*/ 0 h 257442"/>
                <a:gd name="connsiteX1" fmla="*/ 896080 w 950802"/>
                <a:gd name="connsiteY1" fmla="*/ 257442 h 257442"/>
                <a:gd name="connsiteX2" fmla="*/ 0 w 950802"/>
                <a:gd name="connsiteY2" fmla="*/ 257442 h 257442"/>
                <a:gd name="connsiteX3" fmla="*/ 0 w 950802"/>
                <a:gd name="connsiteY3" fmla="*/ 0 h 257442"/>
                <a:gd name="connsiteX0" fmla="*/ 950802 w 950802"/>
                <a:gd name="connsiteY0" fmla="*/ 0 h 257442"/>
                <a:gd name="connsiteX1" fmla="*/ 896080 w 950802"/>
                <a:gd name="connsiteY1" fmla="*/ 257442 h 257442"/>
                <a:gd name="connsiteX2" fmla="*/ 0 w 950802"/>
                <a:gd name="connsiteY2" fmla="*/ 257442 h 257442"/>
                <a:gd name="connsiteX3" fmla="*/ 0 w 950802"/>
                <a:gd name="connsiteY3" fmla="*/ 0 h 257442"/>
                <a:gd name="connsiteX0" fmla="*/ 1145918 w 1145918"/>
                <a:gd name="connsiteY0" fmla="*/ 0 h 257442"/>
                <a:gd name="connsiteX1" fmla="*/ 896080 w 1145918"/>
                <a:gd name="connsiteY1" fmla="*/ 257442 h 257442"/>
                <a:gd name="connsiteX2" fmla="*/ 0 w 1145918"/>
                <a:gd name="connsiteY2" fmla="*/ 257442 h 257442"/>
                <a:gd name="connsiteX3" fmla="*/ 0 w 1145918"/>
                <a:gd name="connsiteY3" fmla="*/ 0 h 257442"/>
                <a:gd name="connsiteX0" fmla="*/ 1145918 w 1145918"/>
                <a:gd name="connsiteY0" fmla="*/ 0 h 257442"/>
                <a:gd name="connsiteX1" fmla="*/ 1091197 w 1145918"/>
                <a:gd name="connsiteY1" fmla="*/ 257442 h 257442"/>
                <a:gd name="connsiteX2" fmla="*/ 0 w 1145918"/>
                <a:gd name="connsiteY2" fmla="*/ 257442 h 257442"/>
                <a:gd name="connsiteX3" fmla="*/ 0 w 1145918"/>
                <a:gd name="connsiteY3" fmla="*/ 0 h 257442"/>
                <a:gd name="connsiteX0" fmla="*/ 1145918 w 1145918"/>
                <a:gd name="connsiteY0" fmla="*/ 0 h 257442"/>
                <a:gd name="connsiteX1" fmla="*/ 1091197 w 1145918"/>
                <a:gd name="connsiteY1" fmla="*/ 257442 h 257442"/>
                <a:gd name="connsiteX2" fmla="*/ 0 w 1145918"/>
                <a:gd name="connsiteY2" fmla="*/ 257442 h 257442"/>
                <a:gd name="connsiteX3" fmla="*/ 0 w 1145918"/>
                <a:gd name="connsiteY3" fmla="*/ 0 h 257442"/>
                <a:gd name="connsiteX0" fmla="*/ 1145918 w 1145918"/>
                <a:gd name="connsiteY0" fmla="*/ 0 h 257442"/>
                <a:gd name="connsiteX1" fmla="*/ 1091197 w 1145918"/>
                <a:gd name="connsiteY1" fmla="*/ 257442 h 257442"/>
                <a:gd name="connsiteX2" fmla="*/ 0 w 1145918"/>
                <a:gd name="connsiteY2" fmla="*/ 257442 h 257442"/>
                <a:gd name="connsiteX3" fmla="*/ 0 w 1145918"/>
                <a:gd name="connsiteY3" fmla="*/ 0 h 257442"/>
                <a:gd name="connsiteX0" fmla="*/ 1474085 w 1474085"/>
                <a:gd name="connsiteY0" fmla="*/ 0 h 257442"/>
                <a:gd name="connsiteX1" fmla="*/ 1091197 w 1474085"/>
                <a:gd name="connsiteY1" fmla="*/ 257442 h 257442"/>
                <a:gd name="connsiteX2" fmla="*/ 0 w 1474085"/>
                <a:gd name="connsiteY2" fmla="*/ 257442 h 257442"/>
                <a:gd name="connsiteX3" fmla="*/ 0 w 1474085"/>
                <a:gd name="connsiteY3" fmla="*/ 0 h 257442"/>
                <a:gd name="connsiteX0" fmla="*/ 1474085 w 1474085"/>
                <a:gd name="connsiteY0" fmla="*/ 0 h 257442"/>
                <a:gd name="connsiteX1" fmla="*/ 1419364 w 1474085"/>
                <a:gd name="connsiteY1" fmla="*/ 257442 h 257442"/>
                <a:gd name="connsiteX2" fmla="*/ 0 w 1474085"/>
                <a:gd name="connsiteY2" fmla="*/ 257442 h 257442"/>
                <a:gd name="connsiteX3" fmla="*/ 0 w 1474085"/>
                <a:gd name="connsiteY3" fmla="*/ 0 h 257442"/>
                <a:gd name="connsiteX0" fmla="*/ 1474085 w 1474085"/>
                <a:gd name="connsiteY0" fmla="*/ 0 h 257442"/>
                <a:gd name="connsiteX1" fmla="*/ 1419364 w 1474085"/>
                <a:gd name="connsiteY1" fmla="*/ 257442 h 257442"/>
                <a:gd name="connsiteX2" fmla="*/ 0 w 1474085"/>
                <a:gd name="connsiteY2" fmla="*/ 257442 h 257442"/>
                <a:gd name="connsiteX3" fmla="*/ 0 w 1474085"/>
                <a:gd name="connsiteY3" fmla="*/ 0 h 257442"/>
                <a:gd name="connsiteX0" fmla="*/ 1474085 w 1474085"/>
                <a:gd name="connsiteY0" fmla="*/ 0 h 257442"/>
                <a:gd name="connsiteX1" fmla="*/ 1419364 w 1474085"/>
                <a:gd name="connsiteY1" fmla="*/ 257442 h 257442"/>
                <a:gd name="connsiteX2" fmla="*/ 0 w 1474085"/>
                <a:gd name="connsiteY2" fmla="*/ 257442 h 257442"/>
                <a:gd name="connsiteX3" fmla="*/ 0 w 1474085"/>
                <a:gd name="connsiteY3" fmla="*/ 0 h 257442"/>
                <a:gd name="connsiteX0" fmla="*/ 1634385 w 1634385"/>
                <a:gd name="connsiteY0" fmla="*/ 0 h 257442"/>
                <a:gd name="connsiteX1" fmla="*/ 1419364 w 1634385"/>
                <a:gd name="connsiteY1" fmla="*/ 257442 h 257442"/>
                <a:gd name="connsiteX2" fmla="*/ 0 w 1634385"/>
                <a:gd name="connsiteY2" fmla="*/ 257442 h 257442"/>
                <a:gd name="connsiteX3" fmla="*/ 0 w 1634385"/>
                <a:gd name="connsiteY3" fmla="*/ 0 h 257442"/>
                <a:gd name="connsiteX0" fmla="*/ 1634385 w 1634385"/>
                <a:gd name="connsiteY0" fmla="*/ 0 h 257442"/>
                <a:gd name="connsiteX1" fmla="*/ 1579664 w 1634385"/>
                <a:gd name="connsiteY1" fmla="*/ 257442 h 257442"/>
                <a:gd name="connsiteX2" fmla="*/ 0 w 1634385"/>
                <a:gd name="connsiteY2" fmla="*/ 257442 h 257442"/>
                <a:gd name="connsiteX3" fmla="*/ 0 w 1634385"/>
                <a:gd name="connsiteY3" fmla="*/ 0 h 257442"/>
                <a:gd name="connsiteX0" fmla="*/ 1634385 w 1634385"/>
                <a:gd name="connsiteY0" fmla="*/ 0 h 257442"/>
                <a:gd name="connsiteX1" fmla="*/ 1579664 w 1634385"/>
                <a:gd name="connsiteY1" fmla="*/ 257442 h 257442"/>
                <a:gd name="connsiteX2" fmla="*/ 0 w 1634385"/>
                <a:gd name="connsiteY2" fmla="*/ 257442 h 257442"/>
                <a:gd name="connsiteX3" fmla="*/ 0 w 1634385"/>
                <a:gd name="connsiteY3" fmla="*/ 0 h 257442"/>
                <a:gd name="connsiteX0" fmla="*/ 1634385 w 1634385"/>
                <a:gd name="connsiteY0" fmla="*/ 0 h 257442"/>
                <a:gd name="connsiteX1" fmla="*/ 1579664 w 1634385"/>
                <a:gd name="connsiteY1" fmla="*/ 257442 h 257442"/>
                <a:gd name="connsiteX2" fmla="*/ 0 w 1634385"/>
                <a:gd name="connsiteY2" fmla="*/ 257442 h 257442"/>
                <a:gd name="connsiteX3" fmla="*/ 0 w 1634385"/>
                <a:gd name="connsiteY3" fmla="*/ 0 h 257442"/>
                <a:gd name="connsiteX0" fmla="*/ 1802701 w 1802701"/>
                <a:gd name="connsiteY0" fmla="*/ 0 h 257442"/>
                <a:gd name="connsiteX1" fmla="*/ 1579664 w 1802701"/>
                <a:gd name="connsiteY1" fmla="*/ 257442 h 257442"/>
                <a:gd name="connsiteX2" fmla="*/ 0 w 1802701"/>
                <a:gd name="connsiteY2" fmla="*/ 257442 h 257442"/>
                <a:gd name="connsiteX3" fmla="*/ 0 w 1802701"/>
                <a:gd name="connsiteY3" fmla="*/ 0 h 257442"/>
                <a:gd name="connsiteX0" fmla="*/ 1802701 w 1802701"/>
                <a:gd name="connsiteY0" fmla="*/ 0 h 257442"/>
                <a:gd name="connsiteX1" fmla="*/ 1747980 w 1802701"/>
                <a:gd name="connsiteY1" fmla="*/ 257442 h 257442"/>
                <a:gd name="connsiteX2" fmla="*/ 0 w 1802701"/>
                <a:gd name="connsiteY2" fmla="*/ 257442 h 257442"/>
                <a:gd name="connsiteX3" fmla="*/ 0 w 1802701"/>
                <a:gd name="connsiteY3" fmla="*/ 0 h 257442"/>
                <a:gd name="connsiteX0" fmla="*/ 1802701 w 1802701"/>
                <a:gd name="connsiteY0" fmla="*/ 0 h 257442"/>
                <a:gd name="connsiteX1" fmla="*/ 1747980 w 1802701"/>
                <a:gd name="connsiteY1" fmla="*/ 257442 h 257442"/>
                <a:gd name="connsiteX2" fmla="*/ 0 w 1802701"/>
                <a:gd name="connsiteY2" fmla="*/ 257442 h 257442"/>
                <a:gd name="connsiteX3" fmla="*/ 0 w 1802701"/>
                <a:gd name="connsiteY3" fmla="*/ 0 h 257442"/>
                <a:gd name="connsiteX0" fmla="*/ 1802701 w 1802701"/>
                <a:gd name="connsiteY0" fmla="*/ 0 h 257442"/>
                <a:gd name="connsiteX1" fmla="*/ 1747980 w 1802701"/>
                <a:gd name="connsiteY1" fmla="*/ 257442 h 257442"/>
                <a:gd name="connsiteX2" fmla="*/ 0 w 1802701"/>
                <a:gd name="connsiteY2" fmla="*/ 257442 h 257442"/>
                <a:gd name="connsiteX3" fmla="*/ 0 w 1802701"/>
                <a:gd name="connsiteY3" fmla="*/ 0 h 257442"/>
                <a:gd name="connsiteX0" fmla="*/ 1963001 w 1963001"/>
                <a:gd name="connsiteY0" fmla="*/ 0 h 257442"/>
                <a:gd name="connsiteX1" fmla="*/ 1747980 w 1963001"/>
                <a:gd name="connsiteY1" fmla="*/ 257442 h 257442"/>
                <a:gd name="connsiteX2" fmla="*/ 0 w 1963001"/>
                <a:gd name="connsiteY2" fmla="*/ 257442 h 257442"/>
                <a:gd name="connsiteX3" fmla="*/ 0 w 1963001"/>
                <a:gd name="connsiteY3" fmla="*/ 0 h 257442"/>
                <a:gd name="connsiteX0" fmla="*/ 1963001 w 1963001"/>
                <a:gd name="connsiteY0" fmla="*/ 0 h 257442"/>
                <a:gd name="connsiteX1" fmla="*/ 1908280 w 1963001"/>
                <a:gd name="connsiteY1" fmla="*/ 257442 h 257442"/>
                <a:gd name="connsiteX2" fmla="*/ 0 w 1963001"/>
                <a:gd name="connsiteY2" fmla="*/ 257442 h 257442"/>
                <a:gd name="connsiteX3" fmla="*/ 0 w 1963001"/>
                <a:gd name="connsiteY3" fmla="*/ 0 h 257442"/>
                <a:gd name="connsiteX0" fmla="*/ 1963001 w 1963001"/>
                <a:gd name="connsiteY0" fmla="*/ 0 h 257442"/>
                <a:gd name="connsiteX1" fmla="*/ 1908280 w 1963001"/>
                <a:gd name="connsiteY1" fmla="*/ 257442 h 257442"/>
                <a:gd name="connsiteX2" fmla="*/ 0 w 1963001"/>
                <a:gd name="connsiteY2" fmla="*/ 257442 h 257442"/>
                <a:gd name="connsiteX3" fmla="*/ 0 w 1963001"/>
                <a:gd name="connsiteY3" fmla="*/ 0 h 257442"/>
                <a:gd name="connsiteX0" fmla="*/ 1963001 w 1963001"/>
                <a:gd name="connsiteY0" fmla="*/ 0 h 257442"/>
                <a:gd name="connsiteX1" fmla="*/ 1908280 w 1963001"/>
                <a:gd name="connsiteY1" fmla="*/ 257442 h 257442"/>
                <a:gd name="connsiteX2" fmla="*/ 0 w 1963001"/>
                <a:gd name="connsiteY2" fmla="*/ 257442 h 257442"/>
                <a:gd name="connsiteX3" fmla="*/ 0 w 1963001"/>
                <a:gd name="connsiteY3" fmla="*/ 0 h 257442"/>
                <a:gd name="connsiteX0" fmla="*/ 2131316 w 2131316"/>
                <a:gd name="connsiteY0" fmla="*/ 0 h 257442"/>
                <a:gd name="connsiteX1" fmla="*/ 1908280 w 2131316"/>
                <a:gd name="connsiteY1" fmla="*/ 257442 h 257442"/>
                <a:gd name="connsiteX2" fmla="*/ 0 w 2131316"/>
                <a:gd name="connsiteY2" fmla="*/ 257442 h 257442"/>
                <a:gd name="connsiteX3" fmla="*/ 0 w 2131316"/>
                <a:gd name="connsiteY3" fmla="*/ 0 h 257442"/>
                <a:gd name="connsiteX0" fmla="*/ 2131316 w 2131316"/>
                <a:gd name="connsiteY0" fmla="*/ 0 h 257442"/>
                <a:gd name="connsiteX1" fmla="*/ 2076594 w 2131316"/>
                <a:gd name="connsiteY1" fmla="*/ 257442 h 257442"/>
                <a:gd name="connsiteX2" fmla="*/ 0 w 2131316"/>
                <a:gd name="connsiteY2" fmla="*/ 257442 h 257442"/>
                <a:gd name="connsiteX3" fmla="*/ 0 w 2131316"/>
                <a:gd name="connsiteY3" fmla="*/ 0 h 257442"/>
                <a:gd name="connsiteX0" fmla="*/ 2131317 w 2131317"/>
                <a:gd name="connsiteY0" fmla="*/ 0 h 257442"/>
                <a:gd name="connsiteX1" fmla="*/ 2076595 w 2131317"/>
                <a:gd name="connsiteY1" fmla="*/ 257442 h 257442"/>
                <a:gd name="connsiteX2" fmla="*/ 0 w 2131317"/>
                <a:gd name="connsiteY2" fmla="*/ 257442 h 257442"/>
                <a:gd name="connsiteX3" fmla="*/ 1 w 2131317"/>
                <a:gd name="connsiteY3" fmla="*/ 0 h 257442"/>
                <a:gd name="connsiteX0" fmla="*/ 2131317 w 2131317"/>
                <a:gd name="connsiteY0" fmla="*/ 0 h 257442"/>
                <a:gd name="connsiteX1" fmla="*/ 2076595 w 2131317"/>
                <a:gd name="connsiteY1" fmla="*/ 257442 h 257442"/>
                <a:gd name="connsiteX2" fmla="*/ 0 w 2131317"/>
                <a:gd name="connsiteY2" fmla="*/ 257442 h 257442"/>
                <a:gd name="connsiteX3" fmla="*/ 1 w 2131317"/>
                <a:gd name="connsiteY3" fmla="*/ 0 h 257442"/>
                <a:gd name="connsiteX0" fmla="*/ 2299633 w 2299633"/>
                <a:gd name="connsiteY0" fmla="*/ 0 h 257442"/>
                <a:gd name="connsiteX1" fmla="*/ 2076595 w 2299633"/>
                <a:gd name="connsiteY1" fmla="*/ 257442 h 257442"/>
                <a:gd name="connsiteX2" fmla="*/ 0 w 2299633"/>
                <a:gd name="connsiteY2" fmla="*/ 257442 h 257442"/>
                <a:gd name="connsiteX3" fmla="*/ 1 w 2299633"/>
                <a:gd name="connsiteY3" fmla="*/ 0 h 257442"/>
                <a:gd name="connsiteX0" fmla="*/ 2299633 w 2299633"/>
                <a:gd name="connsiteY0" fmla="*/ 0 h 257442"/>
                <a:gd name="connsiteX1" fmla="*/ 2244912 w 2299633"/>
                <a:gd name="connsiteY1" fmla="*/ 257442 h 257442"/>
                <a:gd name="connsiteX2" fmla="*/ 0 w 2299633"/>
                <a:gd name="connsiteY2" fmla="*/ 257442 h 257442"/>
                <a:gd name="connsiteX3" fmla="*/ 1 w 2299633"/>
                <a:gd name="connsiteY3" fmla="*/ 0 h 257442"/>
                <a:gd name="connsiteX0" fmla="*/ 2299632 w 2299632"/>
                <a:gd name="connsiteY0" fmla="*/ 0 h 257442"/>
                <a:gd name="connsiteX1" fmla="*/ 2244911 w 2299632"/>
                <a:gd name="connsiteY1" fmla="*/ 257442 h 257442"/>
                <a:gd name="connsiteX2" fmla="*/ 0 w 2299632"/>
                <a:gd name="connsiteY2" fmla="*/ 257442 h 257442"/>
                <a:gd name="connsiteX3" fmla="*/ 0 w 2299632"/>
                <a:gd name="connsiteY3" fmla="*/ 0 h 257442"/>
                <a:gd name="connsiteX0" fmla="*/ 2299633 w 2299633"/>
                <a:gd name="connsiteY0" fmla="*/ 0 h 257442"/>
                <a:gd name="connsiteX1" fmla="*/ 2244912 w 2299633"/>
                <a:gd name="connsiteY1" fmla="*/ 257442 h 257442"/>
                <a:gd name="connsiteX2" fmla="*/ 1 w 2299633"/>
                <a:gd name="connsiteY2" fmla="*/ 257442 h 257442"/>
                <a:gd name="connsiteX3" fmla="*/ 0 w 2299633"/>
                <a:gd name="connsiteY3" fmla="*/ 0 h 257442"/>
                <a:gd name="connsiteX0" fmla="*/ 2131317 w 2244912"/>
                <a:gd name="connsiteY0" fmla="*/ 0 h 257442"/>
                <a:gd name="connsiteX1" fmla="*/ 2244912 w 2244912"/>
                <a:gd name="connsiteY1" fmla="*/ 257442 h 257442"/>
                <a:gd name="connsiteX2" fmla="*/ 1 w 2244912"/>
                <a:gd name="connsiteY2" fmla="*/ 257442 h 257442"/>
                <a:gd name="connsiteX3" fmla="*/ 0 w 2244912"/>
                <a:gd name="connsiteY3" fmla="*/ 0 h 257442"/>
                <a:gd name="connsiteX0" fmla="*/ 2131317 w 2131317"/>
                <a:gd name="connsiteY0" fmla="*/ 0 h 257442"/>
                <a:gd name="connsiteX1" fmla="*/ 2076596 w 2131317"/>
                <a:gd name="connsiteY1" fmla="*/ 257442 h 257442"/>
                <a:gd name="connsiteX2" fmla="*/ 1 w 2131317"/>
                <a:gd name="connsiteY2" fmla="*/ 257442 h 257442"/>
                <a:gd name="connsiteX3" fmla="*/ 0 w 2131317"/>
                <a:gd name="connsiteY3" fmla="*/ 0 h 257442"/>
                <a:gd name="connsiteX0" fmla="*/ 2131317 w 2131317"/>
                <a:gd name="connsiteY0" fmla="*/ 0 h 257442"/>
                <a:gd name="connsiteX1" fmla="*/ 2076596 w 2131317"/>
                <a:gd name="connsiteY1" fmla="*/ 257442 h 257442"/>
                <a:gd name="connsiteX2" fmla="*/ 2 w 2131317"/>
                <a:gd name="connsiteY2" fmla="*/ 257442 h 257442"/>
                <a:gd name="connsiteX3" fmla="*/ 0 w 2131317"/>
                <a:gd name="connsiteY3" fmla="*/ 0 h 257442"/>
                <a:gd name="connsiteX0" fmla="*/ 2131315 w 2131315"/>
                <a:gd name="connsiteY0" fmla="*/ 0 h 257442"/>
                <a:gd name="connsiteX1" fmla="*/ 2076594 w 2131315"/>
                <a:gd name="connsiteY1" fmla="*/ 257442 h 257442"/>
                <a:gd name="connsiteX2" fmla="*/ 0 w 2131315"/>
                <a:gd name="connsiteY2" fmla="*/ 257442 h 257442"/>
                <a:gd name="connsiteX3" fmla="*/ 0 w 2131315"/>
                <a:gd name="connsiteY3" fmla="*/ 0 h 257442"/>
                <a:gd name="connsiteX0" fmla="*/ 1963001 w 2076594"/>
                <a:gd name="connsiteY0" fmla="*/ 0 h 257442"/>
                <a:gd name="connsiteX1" fmla="*/ 2076594 w 2076594"/>
                <a:gd name="connsiteY1" fmla="*/ 257442 h 257442"/>
                <a:gd name="connsiteX2" fmla="*/ 0 w 2076594"/>
                <a:gd name="connsiteY2" fmla="*/ 257442 h 257442"/>
                <a:gd name="connsiteX3" fmla="*/ 0 w 2076594"/>
                <a:gd name="connsiteY3" fmla="*/ 0 h 257442"/>
                <a:gd name="connsiteX0" fmla="*/ 1963001 w 1963001"/>
                <a:gd name="connsiteY0" fmla="*/ 0 h 257442"/>
                <a:gd name="connsiteX1" fmla="*/ 1908280 w 1963001"/>
                <a:gd name="connsiteY1" fmla="*/ 257442 h 257442"/>
                <a:gd name="connsiteX2" fmla="*/ 0 w 1963001"/>
                <a:gd name="connsiteY2" fmla="*/ 257442 h 257442"/>
                <a:gd name="connsiteX3" fmla="*/ 0 w 1963001"/>
                <a:gd name="connsiteY3" fmla="*/ 0 h 257442"/>
                <a:gd name="connsiteX0" fmla="*/ 1963001 w 1963001"/>
                <a:gd name="connsiteY0" fmla="*/ 0 h 257442"/>
                <a:gd name="connsiteX1" fmla="*/ 1908280 w 1963001"/>
                <a:gd name="connsiteY1" fmla="*/ 257442 h 257442"/>
                <a:gd name="connsiteX2" fmla="*/ 1 w 1963001"/>
                <a:gd name="connsiteY2" fmla="*/ 257442 h 257442"/>
                <a:gd name="connsiteX3" fmla="*/ 0 w 1963001"/>
                <a:gd name="connsiteY3" fmla="*/ 0 h 257442"/>
                <a:gd name="connsiteX0" fmla="*/ 1963000 w 1963000"/>
                <a:gd name="connsiteY0" fmla="*/ 0 h 257442"/>
                <a:gd name="connsiteX1" fmla="*/ 1908279 w 1963000"/>
                <a:gd name="connsiteY1" fmla="*/ 257442 h 257442"/>
                <a:gd name="connsiteX2" fmla="*/ 0 w 1963000"/>
                <a:gd name="connsiteY2" fmla="*/ 257442 h 257442"/>
                <a:gd name="connsiteX3" fmla="*/ 0 w 1963000"/>
                <a:gd name="connsiteY3" fmla="*/ 0 h 257442"/>
                <a:gd name="connsiteX0" fmla="*/ 2123301 w 2123301"/>
                <a:gd name="connsiteY0" fmla="*/ 0 h 257442"/>
                <a:gd name="connsiteX1" fmla="*/ 1908279 w 2123301"/>
                <a:gd name="connsiteY1" fmla="*/ 257442 h 257442"/>
                <a:gd name="connsiteX2" fmla="*/ 0 w 2123301"/>
                <a:gd name="connsiteY2" fmla="*/ 257442 h 257442"/>
                <a:gd name="connsiteX3" fmla="*/ 0 w 2123301"/>
                <a:gd name="connsiteY3" fmla="*/ 0 h 257442"/>
                <a:gd name="connsiteX0" fmla="*/ 2123301 w 2123301"/>
                <a:gd name="connsiteY0" fmla="*/ 0 h 257442"/>
                <a:gd name="connsiteX1" fmla="*/ 2068580 w 2123301"/>
                <a:gd name="connsiteY1" fmla="*/ 257442 h 257442"/>
                <a:gd name="connsiteX2" fmla="*/ 0 w 2123301"/>
                <a:gd name="connsiteY2" fmla="*/ 257442 h 257442"/>
                <a:gd name="connsiteX3" fmla="*/ 0 w 2123301"/>
                <a:gd name="connsiteY3" fmla="*/ 0 h 257442"/>
                <a:gd name="connsiteX0" fmla="*/ 2123302 w 2123302"/>
                <a:gd name="connsiteY0" fmla="*/ 0 h 257442"/>
                <a:gd name="connsiteX1" fmla="*/ 2068581 w 2123302"/>
                <a:gd name="connsiteY1" fmla="*/ 257442 h 257442"/>
                <a:gd name="connsiteX2" fmla="*/ 0 w 2123302"/>
                <a:gd name="connsiteY2" fmla="*/ 257442 h 257442"/>
                <a:gd name="connsiteX3" fmla="*/ 1 w 2123302"/>
                <a:gd name="connsiteY3" fmla="*/ 0 h 257442"/>
                <a:gd name="connsiteX0" fmla="*/ 2123302 w 2123302"/>
                <a:gd name="connsiteY0" fmla="*/ 0 h 257442"/>
                <a:gd name="connsiteX1" fmla="*/ 2068581 w 2123302"/>
                <a:gd name="connsiteY1" fmla="*/ 257442 h 257442"/>
                <a:gd name="connsiteX2" fmla="*/ 0 w 2123302"/>
                <a:gd name="connsiteY2" fmla="*/ 257442 h 257442"/>
                <a:gd name="connsiteX3" fmla="*/ 0 w 2123302"/>
                <a:gd name="connsiteY3" fmla="*/ 0 h 257442"/>
                <a:gd name="connsiteX0" fmla="*/ 2283602 w 2283602"/>
                <a:gd name="connsiteY0" fmla="*/ 0 h 257442"/>
                <a:gd name="connsiteX1" fmla="*/ 2068581 w 2283602"/>
                <a:gd name="connsiteY1" fmla="*/ 257442 h 257442"/>
                <a:gd name="connsiteX2" fmla="*/ 0 w 2283602"/>
                <a:gd name="connsiteY2" fmla="*/ 257442 h 257442"/>
                <a:gd name="connsiteX3" fmla="*/ 0 w 2283602"/>
                <a:gd name="connsiteY3" fmla="*/ 0 h 257442"/>
                <a:gd name="connsiteX0" fmla="*/ 2283602 w 2283602"/>
                <a:gd name="connsiteY0" fmla="*/ 0 h 257442"/>
                <a:gd name="connsiteX1" fmla="*/ 2228881 w 2283602"/>
                <a:gd name="connsiteY1" fmla="*/ 257442 h 257442"/>
                <a:gd name="connsiteX2" fmla="*/ 0 w 2283602"/>
                <a:gd name="connsiteY2" fmla="*/ 257442 h 257442"/>
                <a:gd name="connsiteX3" fmla="*/ 0 w 2283602"/>
                <a:gd name="connsiteY3" fmla="*/ 0 h 257442"/>
                <a:gd name="connsiteX0" fmla="*/ 2283602 w 2283602"/>
                <a:gd name="connsiteY0" fmla="*/ 0 h 257442"/>
                <a:gd name="connsiteX1" fmla="*/ 2228881 w 2283602"/>
                <a:gd name="connsiteY1" fmla="*/ 257442 h 257442"/>
                <a:gd name="connsiteX2" fmla="*/ 0 w 2283602"/>
                <a:gd name="connsiteY2" fmla="*/ 257442 h 257442"/>
                <a:gd name="connsiteX3" fmla="*/ 0 w 2283602"/>
                <a:gd name="connsiteY3" fmla="*/ 0 h 257442"/>
                <a:gd name="connsiteX0" fmla="*/ 2283602 w 2283602"/>
                <a:gd name="connsiteY0" fmla="*/ 0 h 257442"/>
                <a:gd name="connsiteX1" fmla="*/ 2228881 w 2283602"/>
                <a:gd name="connsiteY1" fmla="*/ 257442 h 257442"/>
                <a:gd name="connsiteX2" fmla="*/ 0 w 2283602"/>
                <a:gd name="connsiteY2" fmla="*/ 257442 h 257442"/>
                <a:gd name="connsiteX3" fmla="*/ 0 w 2283602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83602" h="257442">
                  <a:moveTo>
                    <a:pt x="2283602" y="0"/>
                  </a:moveTo>
                  <a:lnTo>
                    <a:pt x="2228881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btfpRunningAgenda1LevelTextLeft957375">
              <a:extLst>
                <a:ext uri="{FF2B5EF4-FFF2-40B4-BE49-F238E27FC236}">
                  <a16:creationId xmlns:a16="http://schemas.microsoft.com/office/drawing/2014/main" id="{15A19A4C-5E56-47D5-87C1-8FC850D47116}"/>
                </a:ext>
              </a:extLst>
            </p:cNvPr>
            <p:cNvSpPr txBox="1"/>
            <p:nvPr/>
          </p:nvSpPr>
          <p:spPr bwMode="gray">
            <a:xfrm>
              <a:off x="0" y="876300"/>
              <a:ext cx="2228881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wareness</a:t>
              </a:r>
              <a:endParaRPr kumimoji="0" lang="en-GB" sz="1200" b="1" i="0" u="none" strike="noStrike" kern="1200" cap="all" spc="4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CB39FA88-DB21-4108-81C4-EA6AEDFD3825}"/>
              </a:ext>
            </a:extLst>
          </p:cNvPr>
          <p:cNvGrpSpPr/>
          <p:nvPr/>
        </p:nvGrpSpPr>
        <p:grpSpPr>
          <a:xfrm>
            <a:off x="10291115" y="1803247"/>
            <a:ext cx="1958035" cy="484257"/>
            <a:chOff x="10287000" y="1973345"/>
            <a:chExt cx="1958035" cy="484257"/>
          </a:xfrm>
        </p:grpSpPr>
        <p:sp>
          <p:nvSpPr>
            <p:cNvPr id="53" name="Rectangle 6" descr="Light upward diagonal">
              <a:extLst>
                <a:ext uri="{FF2B5EF4-FFF2-40B4-BE49-F238E27FC236}">
                  <a16:creationId xmlns:a16="http://schemas.microsoft.com/office/drawing/2014/main" id="{E6718A5B-408B-4B80-8DDE-DFE4AAB9B5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61211" y="2205645"/>
              <a:ext cx="173651" cy="174588"/>
            </a:xfrm>
            <a:prstGeom prst="rect">
              <a:avLst/>
            </a:prstGeom>
            <a:solidFill>
              <a:srgbClr val="7891AA"/>
            </a:solidFill>
            <a:ln w="19050">
              <a:noFill/>
              <a:miter lim="800000"/>
              <a:headEnd/>
              <a:tailEnd/>
            </a:ln>
          </p:spPr>
          <p:txBody>
            <a:bodyPr lIns="44421" tIns="44421" rIns="44421" bIns="44421" anchor="ctr"/>
            <a:lstStyle/>
            <a:p>
              <a:pPr marL="177800" marR="0" lvl="0" indent="-177800" algn="ctr" defTabSz="868223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94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4" name="Text Box 7">
              <a:extLst>
                <a:ext uri="{FF2B5EF4-FFF2-40B4-BE49-F238E27FC236}">
                  <a16:creationId xmlns:a16="http://schemas.microsoft.com/office/drawing/2014/main" id="{47217ACD-60EB-442C-8AB2-E851F3B2768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620375" y="2182000"/>
              <a:ext cx="1624660" cy="24359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square" lIns="44421" tIns="44421" rIns="44421" bIns="44421">
              <a:spAutoFit/>
            </a:bodyPr>
            <a:lstStyle/>
            <a:p>
              <a:pPr marL="0" marR="0" lvl="0" indent="0" algn="l" defTabSz="868223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Key competitors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847D05F3-AE0F-4EC0-8F26-C84D5F6DC08B}"/>
                </a:ext>
              </a:extLst>
            </p:cNvPr>
            <p:cNvSpPr/>
            <p:nvPr/>
          </p:nvSpPr>
          <p:spPr>
            <a:xfrm>
              <a:off x="10287000" y="2136924"/>
              <a:ext cx="1470666" cy="320678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180" tIns="34180" rIns="34180" bIns="34180" rtlCol="0" anchor="ctr"/>
            <a:lstStyle/>
            <a:p>
              <a:pPr marL="177800" marR="0" lvl="0" indent="-17780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70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5B7E358F-DDDE-4918-8665-33831622D4BD}"/>
                </a:ext>
              </a:extLst>
            </p:cNvPr>
            <p:cNvSpPr txBox="1"/>
            <p:nvPr/>
          </p:nvSpPr>
          <p:spPr>
            <a:xfrm>
              <a:off x="10326499" y="1973345"/>
              <a:ext cx="525173" cy="222468"/>
            </a:xfrm>
            <a:prstGeom prst="rect">
              <a:avLst/>
            </a:prstGeom>
            <a:solidFill>
              <a:srgbClr val="FFFFFF"/>
            </a:solidFill>
          </p:spPr>
          <p:txBody>
            <a:bodyPr wrap="none" lIns="34180" tIns="34180" rIns="34180" bIns="3418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97" b="1" i="1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2674720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btfpColumnIndicatorGroup2">
            <a:extLst>
              <a:ext uri="{FF2B5EF4-FFF2-40B4-BE49-F238E27FC236}">
                <a16:creationId xmlns:a16="http://schemas.microsoft.com/office/drawing/2014/main" id="{1F49C0BC-6D14-4F7C-A8BE-384B76D1FB3C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0" name="btfpColumnGapBlocker448997">
              <a:extLst>
                <a:ext uri="{FF2B5EF4-FFF2-40B4-BE49-F238E27FC236}">
                  <a16:creationId xmlns:a16="http://schemas.microsoft.com/office/drawing/2014/main" id="{1E6CF24E-3809-41D5-9EDF-FB4D360D8F95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8" name="btfpColumnGapBlocker690016">
              <a:extLst>
                <a:ext uri="{FF2B5EF4-FFF2-40B4-BE49-F238E27FC236}">
                  <a16:creationId xmlns:a16="http://schemas.microsoft.com/office/drawing/2014/main" id="{8D552D6D-B93F-4163-BC3B-1460487AC5CB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" name="btfpColumnIndicator975362">
              <a:extLst>
                <a:ext uri="{FF2B5EF4-FFF2-40B4-BE49-F238E27FC236}">
                  <a16:creationId xmlns:a16="http://schemas.microsoft.com/office/drawing/2014/main" id="{206D2DDC-A2C1-444F-A9C1-62551FEDC41D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694302">
              <a:extLst>
                <a:ext uri="{FF2B5EF4-FFF2-40B4-BE49-F238E27FC236}">
                  <a16:creationId xmlns:a16="http://schemas.microsoft.com/office/drawing/2014/main" id="{F4A56E0C-45B3-4371-AB45-9418DDF9F32C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btfpColumnIndicatorGroup1">
            <a:extLst>
              <a:ext uri="{FF2B5EF4-FFF2-40B4-BE49-F238E27FC236}">
                <a16:creationId xmlns:a16="http://schemas.microsoft.com/office/drawing/2014/main" id="{EE1DA574-60E7-4D0E-8EEB-C57A5303A353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9" name="btfpColumnGapBlocker628334">
              <a:extLst>
                <a:ext uri="{FF2B5EF4-FFF2-40B4-BE49-F238E27FC236}">
                  <a16:creationId xmlns:a16="http://schemas.microsoft.com/office/drawing/2014/main" id="{6B477DF3-92FF-4477-8B43-83DB3FF2F345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7" name="btfpColumnGapBlocker308753">
              <a:extLst>
                <a:ext uri="{FF2B5EF4-FFF2-40B4-BE49-F238E27FC236}">
                  <a16:creationId xmlns:a16="http://schemas.microsoft.com/office/drawing/2014/main" id="{40C5E35F-6B69-432D-88A4-1001B7EFDF3B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915502">
              <a:extLst>
                <a:ext uri="{FF2B5EF4-FFF2-40B4-BE49-F238E27FC236}">
                  <a16:creationId xmlns:a16="http://schemas.microsoft.com/office/drawing/2014/main" id="{9361835D-1B25-4052-8C34-A3A3F89EFB33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" name="btfpColumnIndicator302671">
              <a:extLst>
                <a:ext uri="{FF2B5EF4-FFF2-40B4-BE49-F238E27FC236}">
                  <a16:creationId xmlns:a16="http://schemas.microsoft.com/office/drawing/2014/main" id="{A02089CD-47CD-42A7-8B0D-8EA32BEBE9FE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" name="AgendaLine">
            <a:extLst>
              <a:ext uri="{FF2B5EF4-FFF2-40B4-BE49-F238E27FC236}">
                <a16:creationId xmlns:a16="http://schemas.microsoft.com/office/drawing/2014/main" id="{4908DE91-7177-4E64-A83B-38A0084A7148}"/>
              </a:ext>
            </a:extLst>
          </p:cNvPr>
          <p:cNvCxnSpPr/>
          <p:nvPr/>
        </p:nvCxnSpPr>
        <p:spPr bwMode="gray">
          <a:xfrm>
            <a:off x="1616981" y="876300"/>
            <a:ext cx="0" cy="5689600"/>
          </a:xfrm>
          <a:prstGeom prst="line">
            <a:avLst/>
          </a:prstGeom>
          <a:ln w="19050" cap="flat" cmpd="sng">
            <a:solidFill>
              <a:srgbClr val="CC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AgendaTitle">
            <a:extLst>
              <a:ext uri="{FF2B5EF4-FFF2-40B4-BE49-F238E27FC236}">
                <a16:creationId xmlns:a16="http://schemas.microsoft.com/office/drawing/2014/main" id="{AA648D6C-0465-480E-A82F-85AF17065010}"/>
              </a:ext>
            </a:extLst>
          </p:cNvPr>
          <p:cNvSpPr txBox="1"/>
          <p:nvPr/>
        </p:nvSpPr>
        <p:spPr bwMode="gray">
          <a:xfrm>
            <a:off x="330200" y="952500"/>
            <a:ext cx="1102585" cy="235611"/>
          </a:xfrm>
          <a:prstGeom prst="rect">
            <a:avLst/>
          </a:prstGeom>
          <a:noFill/>
        </p:spPr>
        <p:txBody>
          <a:bodyPr vert="horz" wrap="none" lIns="18136" tIns="25226" rIns="72073" bIns="25226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all" spc="45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genda</a:t>
            </a:r>
            <a:endParaRPr kumimoji="0" lang="en-GB" sz="1200" b="1" i="0" u="none" strike="noStrike" kern="1200" cap="all" spc="45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3" name="AgendaEmphasisBar">
            <a:extLst>
              <a:ext uri="{FF2B5EF4-FFF2-40B4-BE49-F238E27FC236}">
                <a16:creationId xmlns:a16="http://schemas.microsoft.com/office/drawing/2014/main" id="{B94022BB-4E89-4FA2-A47A-CEBCA71DB5F8}"/>
              </a:ext>
            </a:extLst>
          </p:cNvPr>
          <p:cNvSpPr/>
          <p:nvPr/>
        </p:nvSpPr>
        <p:spPr bwMode="gray">
          <a:xfrm>
            <a:off x="1616981" y="1077401"/>
            <a:ext cx="127000" cy="743179"/>
          </a:xfrm>
          <a:prstGeom prst="rect">
            <a:avLst/>
          </a:prstGeom>
          <a:solidFill>
            <a:srgbClr val="CC0000"/>
          </a:solidFill>
          <a:ln w="19050">
            <a:solidFill>
              <a:srgbClr val="CC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34" name="Agenda">
            <a:extLst>
              <a:ext uri="{FF2B5EF4-FFF2-40B4-BE49-F238E27FC236}">
                <a16:creationId xmlns:a16="http://schemas.microsoft.com/office/drawing/2014/main" id="{421BF18E-1062-4307-80DF-267DC15AB727}"/>
              </a:ext>
            </a:extLst>
          </p:cNvPr>
          <p:cNvGrpSpPr/>
          <p:nvPr/>
        </p:nvGrpSpPr>
        <p:grpSpPr>
          <a:xfrm>
            <a:off x="1970752" y="1270000"/>
            <a:ext cx="9891047" cy="5295900"/>
            <a:chOff x="1970752" y="1270000"/>
            <a:chExt cx="9891047" cy="5295900"/>
          </a:xfrm>
        </p:grpSpPr>
        <p:sp>
          <p:nvSpPr>
            <p:cNvPr id="135" name="AgendaTextBox">
              <a:extLst>
                <a:ext uri="{FF2B5EF4-FFF2-40B4-BE49-F238E27FC236}">
                  <a16:creationId xmlns:a16="http://schemas.microsoft.com/office/drawing/2014/main" id="{AC93BD09-002A-4CCE-85B2-32F04CAA2884}"/>
                </a:ext>
              </a:extLst>
            </p:cNvPr>
            <p:cNvSpPr txBox="1"/>
            <p:nvPr/>
          </p:nvSpPr>
          <p:spPr bwMode="gray">
            <a:xfrm>
              <a:off x="2034252" y="1270000"/>
              <a:ext cx="9827547" cy="5295900"/>
            </a:xfrm>
            <a:prstGeom prst="rect">
              <a:avLst/>
            </a:prstGeom>
            <a:noFill/>
          </p:spPr>
          <p:txBody>
            <a:bodyPr vert="horz" wrap="square" lIns="36000" tIns="36000" rIns="36000" bIns="36000" rtlCol="0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3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CC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mographics</a:t>
              </a:r>
            </a:p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3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PS</a:t>
              </a:r>
            </a:p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3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KPC</a:t>
              </a:r>
            </a:p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3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wareness and usage</a:t>
              </a:r>
            </a:p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3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witching</a:t>
              </a:r>
            </a:p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3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ice, Spend and SOW</a:t>
              </a:r>
              <a:endParaRPr kumimoji="0" lang="en-GB" sz="2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36" name="AgendaSeparator1">
              <a:extLst>
                <a:ext uri="{FF2B5EF4-FFF2-40B4-BE49-F238E27FC236}">
                  <a16:creationId xmlns:a16="http://schemas.microsoft.com/office/drawing/2014/main" id="{6E9B348D-CF65-4DB4-B1B0-9602F6722784}"/>
                </a:ext>
              </a:extLst>
            </p:cNvPr>
            <p:cNvCxnSpPr/>
            <p:nvPr/>
          </p:nvCxnSpPr>
          <p:spPr bwMode="gray">
            <a:xfrm>
              <a:off x="1970752" y="1839400"/>
              <a:ext cx="2800414" cy="0"/>
            </a:xfrm>
            <a:prstGeom prst="line">
              <a:avLst/>
            </a:prstGeom>
            <a:ln w="9525" cap="flat">
              <a:solidFill>
                <a:srgbClr val="D6D6D6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AgendaSeparator2">
              <a:extLst>
                <a:ext uri="{FF2B5EF4-FFF2-40B4-BE49-F238E27FC236}">
                  <a16:creationId xmlns:a16="http://schemas.microsoft.com/office/drawing/2014/main" id="{9E60618C-CC6A-4676-B88E-DAC7E683DF07}"/>
                </a:ext>
              </a:extLst>
            </p:cNvPr>
            <p:cNvCxnSpPr/>
            <p:nvPr/>
          </p:nvCxnSpPr>
          <p:spPr bwMode="gray">
            <a:xfrm>
              <a:off x="1970752" y="2601400"/>
              <a:ext cx="2800414" cy="0"/>
            </a:xfrm>
            <a:prstGeom prst="line">
              <a:avLst/>
            </a:prstGeom>
            <a:ln w="9525" cap="flat">
              <a:solidFill>
                <a:srgbClr val="D6D6D6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AgendaSeparator3">
              <a:extLst>
                <a:ext uri="{FF2B5EF4-FFF2-40B4-BE49-F238E27FC236}">
                  <a16:creationId xmlns:a16="http://schemas.microsoft.com/office/drawing/2014/main" id="{E25467E2-151E-4E71-AEF6-B513BB66F7D3}"/>
                </a:ext>
              </a:extLst>
            </p:cNvPr>
            <p:cNvCxnSpPr/>
            <p:nvPr/>
          </p:nvCxnSpPr>
          <p:spPr bwMode="gray">
            <a:xfrm>
              <a:off x="1970752" y="3363400"/>
              <a:ext cx="2800414" cy="0"/>
            </a:xfrm>
            <a:prstGeom prst="line">
              <a:avLst/>
            </a:prstGeom>
            <a:ln w="9525" cap="flat">
              <a:solidFill>
                <a:srgbClr val="D6D6D6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AgendaSeparator4">
              <a:extLst>
                <a:ext uri="{FF2B5EF4-FFF2-40B4-BE49-F238E27FC236}">
                  <a16:creationId xmlns:a16="http://schemas.microsoft.com/office/drawing/2014/main" id="{A269613A-28B8-4C52-A816-E27F176DDB1D}"/>
                </a:ext>
              </a:extLst>
            </p:cNvPr>
            <p:cNvCxnSpPr/>
            <p:nvPr/>
          </p:nvCxnSpPr>
          <p:spPr bwMode="gray">
            <a:xfrm>
              <a:off x="1970752" y="4125400"/>
              <a:ext cx="2800414" cy="0"/>
            </a:xfrm>
            <a:prstGeom prst="line">
              <a:avLst/>
            </a:prstGeom>
            <a:ln w="9525" cap="flat">
              <a:solidFill>
                <a:srgbClr val="D6D6D6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AgendaSeparator5">
              <a:extLst>
                <a:ext uri="{FF2B5EF4-FFF2-40B4-BE49-F238E27FC236}">
                  <a16:creationId xmlns:a16="http://schemas.microsoft.com/office/drawing/2014/main" id="{0402BC4D-744F-4A7B-A1D8-96DC528733A3}"/>
                </a:ext>
              </a:extLst>
            </p:cNvPr>
            <p:cNvCxnSpPr/>
            <p:nvPr/>
          </p:nvCxnSpPr>
          <p:spPr bwMode="gray">
            <a:xfrm>
              <a:off x="1970752" y="4887400"/>
              <a:ext cx="2800414" cy="0"/>
            </a:xfrm>
            <a:prstGeom prst="line">
              <a:avLst/>
            </a:prstGeom>
            <a:ln w="9525" cap="flat">
              <a:solidFill>
                <a:srgbClr val="D6D6D6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116085327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btfpColumnIndicatorGroup2">
            <a:extLst>
              <a:ext uri="{FF2B5EF4-FFF2-40B4-BE49-F238E27FC236}">
                <a16:creationId xmlns:a16="http://schemas.microsoft.com/office/drawing/2014/main" id="{A08F4280-BB22-4973-8211-8E3CFDF24349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6" name="btfpColumnGapBlocker535925">
              <a:extLst>
                <a:ext uri="{FF2B5EF4-FFF2-40B4-BE49-F238E27FC236}">
                  <a16:creationId xmlns:a16="http://schemas.microsoft.com/office/drawing/2014/main" id="{7C6087AA-6F36-43AC-BFF0-8C0E130966DD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3" name="btfpColumnGapBlocker500664">
              <a:extLst>
                <a:ext uri="{FF2B5EF4-FFF2-40B4-BE49-F238E27FC236}">
                  <a16:creationId xmlns:a16="http://schemas.microsoft.com/office/drawing/2014/main" id="{26A0498B-6DDC-40AF-A5BA-D7356C18DB0E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1" name="btfpColumnIndicator343884">
              <a:extLst>
                <a:ext uri="{FF2B5EF4-FFF2-40B4-BE49-F238E27FC236}">
                  <a16:creationId xmlns:a16="http://schemas.microsoft.com/office/drawing/2014/main" id="{FF743B3F-4B7C-44FC-9F0D-53633E79E892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btfpColumnIndicator828972">
              <a:extLst>
                <a:ext uri="{FF2B5EF4-FFF2-40B4-BE49-F238E27FC236}">
                  <a16:creationId xmlns:a16="http://schemas.microsoft.com/office/drawing/2014/main" id="{5DE674D0-EFC1-4C62-B70F-A5AF8003BA73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btfpColumnIndicatorGroup1">
            <a:extLst>
              <a:ext uri="{FF2B5EF4-FFF2-40B4-BE49-F238E27FC236}">
                <a16:creationId xmlns:a16="http://schemas.microsoft.com/office/drawing/2014/main" id="{22F73B1D-37E8-4A1F-B93B-C04165FCF23A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5" name="btfpColumnGapBlocker193474">
              <a:extLst>
                <a:ext uri="{FF2B5EF4-FFF2-40B4-BE49-F238E27FC236}">
                  <a16:creationId xmlns:a16="http://schemas.microsoft.com/office/drawing/2014/main" id="{0B6DBADA-36B3-4C7E-B77F-EB07CC68DD7C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2" name="btfpColumnGapBlocker472974">
              <a:extLst>
                <a:ext uri="{FF2B5EF4-FFF2-40B4-BE49-F238E27FC236}">
                  <a16:creationId xmlns:a16="http://schemas.microsoft.com/office/drawing/2014/main" id="{EE9D8B83-22A3-4471-946C-92959FC29B0D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0" name="btfpColumnIndicator135249">
              <a:extLst>
                <a:ext uri="{FF2B5EF4-FFF2-40B4-BE49-F238E27FC236}">
                  <a16:creationId xmlns:a16="http://schemas.microsoft.com/office/drawing/2014/main" id="{FB4E98CE-5F87-46AF-8C32-090FD18FB6D0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750920">
              <a:extLst>
                <a:ext uri="{FF2B5EF4-FFF2-40B4-BE49-F238E27FC236}">
                  <a16:creationId xmlns:a16="http://schemas.microsoft.com/office/drawing/2014/main" id="{D6F18178-509A-41BE-AAE2-9E93C8AF5E10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Rectangle 13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vl5jf/09ap99kD5plAaxXVCNjEk7eSh8qzNCHVzDwg4tv+lTGG6Db5+KUUavBPoiliMC3X9War5X/WM20nA0a3ZyBuReIaqDHFemqWco9yxEFZc5RhIYFDxCCtaF63Gjz0TeNrdhkGnSSf+qIi1ltlKka5lPyi/+tQs1vBvS/Xu6/hNUjNR00hkI4NsjaUa+TFQ0+14gmi2A5DxQCRK74MauCsLncRDGt7qg2hk2F2935u5nvQTb/WciSuEZ4KRgYU3eIlvrvaz+A4qoRs/99jRiMYbUxnJGyfILRdmRvPzDWBwWVqIeV9b0SeTr3oNkO334h2IiUIRUg4z5eEH918dYY/FqqYpHBtxnhwloJ93+EK0VW+dDX/EEXQtCL3ndULXOX1chl1QZoY6ohOlBXyqwCPdFilvKQ5a0UqXnyuuHNe9YNYHOv0ssZVRDUPXh5pAIGJpaODpc6ExfN+Z0BY+coqDs/qX8PJcFUXA0vGHUK8daWJwjQ7CtA+kzVXqDfQpU1uvJfuluJ6wBZapXJkVc2eMbXp/KM5F9Ju2UyM7BbSs7IC70VU90GqUrrersthwJkvxg8L1TC5y2F1CwAGzfgOKpC4BVo6IdvW/kVce/B0wB95HqZlDkcvlbjG2lhZ4HR037k5qApNi7Gk8YWiRmU/qGFQeA8CmShjGGCdwon65q/D3orW1o/5r6Re4LBZhlq4oFLVjfzshWzya7oMyWCe3GDOWoi2XEf2YXV/Tgq8HrM7u9u5Ysm1Zxa02CTMmgIRWJAPdvML3OFawqlo0CWOKzYVd7Drl/JLDsCPKKP8Ay0ZH0qa+x/l9WnCio814mCnd6EAJao3IpQazKhS85qfvOFp9wUBOJo+bE20AKuItLropTUp3ESziHs7jvqkpp+d6Vff0Zt+uw134hnjCLUVtxq5c82iYjT9kCSvkSDBQGgdX91SyL8X88wYYSqRHirjnbt0lRT9211HaxCUZc/s5MG+D95ID9vS/G6LoU4rHBhyM/vdjRVCpDMo4HX1/pVuKP/DadgjsO1gJcmgXcmlTr4NAGiWmWypcq0CBTFxYtEFojmmrnEEEPtw0H0d+8ZGQ4TleSP6YTJS9h/o7DONB8BRh5to42OZGKmh6Dc4B0dRudEFLfUWbJ0J+RVd0KQUdAijhMFu7TZIyjEDJ1gPgL3nhzlVdIuWQOeB1A2Y9/NV7tNLAsrAAO2DncI0qgXkae3GZuYMpjV+/xGRvKprP75H6i3S6pbtxK5loF5G5ulqO7FDcxsCl4loDWbOmj9FSjuZFnXRLqtl5LEs6aeisAmJ9zP1yy3ZYZwoqNYSnbjiqoSCg4gmyPBt0PUV+3ISs35ZMbXc1JnHPCHvFdB2TLE24P205c+veFDkDdFtFXAuTDH8O9zJm4iO/ivRGP8G0avgIkXNToEWefBlq/ey1G93QwsROs+nb6LHrDQDX04pIofgBrF+ZjBV0mYZ3wL3uM2KkfLFM+hmKiyPqNjlFIDJGm/d/LiCYiA2ksRZ5H40b+TbVH30tW2wMyvkx58IlzAwIqvx8AwclHGQhuWQGl3JemQpj0QvMvVjH9HCJGK3W5mj5aa/XZ+xUGdpZooWTfFHSEEsP2uA7a9XlgHNdWC1yAIfgxxLVRx7jFhnngy4RgDr1cR2J4ZiKuON3/YWxIwFwOsz++g63/pFwzFoTVE3VWUZqj+Ur9OP1LNdxsryNxcvKhAjR9YlUgtxvja7PmlOpqDleJdMHJgQ2dnwBNn+hWE17GSNKQyZX8N1fH+gaW+Fo0UxQO1MbhotvxziiEn4Qvn/PPNkFjyIuG8C8lIfx4XAZBgs+jjzItr5BX0Kpj5kiYU+CENZBgVQjGuUKG01HTDBRvusk41djnTBm5HUsP3kzMD/Utwz4TbjMAw56+rBJDrgUCILVfvv13DbQqemdMBoeB1Ad2YX2xw7tim/Bm5lnEA3PTO6dz+WJi9D9ttaoRrG9sBWwhgwl7SoVRijTmewKVCTbGpBQrOdoP19oI7qLRryzi0yb3fNvm92COhE1ahDFQ912+/jKUT40HscsjkKBHsOmlH3DbG+KIULgyfJcpJjdiF6MXKr7w/xn9a5noFRItaa/I5P2hBnruUNteW5JtZqlzEFlp0IbG9dllIDEVk6vdS3MWki+2WruOq7fPdIYBc1/EBIAwXSQDK/G8tcKkCi3V2qkrScurIEb3JRC6T/cca7TsTDokeB3RzIbiyBNuY33nm2Pa0PMA+J8DQBWyancZhGqwJXqvEiLgPOs3EHUGjpOIFUyl9P5XKOQwfvEvNQ+d+oQw58fI/sxiC3uoKb5aNH+8Dm/S/LjDTjzmcLJmJIw3ecZJwaNtmly4SNByfr9AH3kEa7Dx2PJsu2/QVuTwW1k7tpqqVA2cWlqghwXxJ2g+JPGx2pr3KjD5/BWuawsWzxTuB6atKBF8l/uYNO7W1pap/Asi/Gub1XGmL4pazYhAmigV1TxnzW+dRDYYeD9BEZIZPNbzuTSISS+wJa6QpemmklhO0w9OvoJ/qG0pKZvxteNjuU451nOA0XlY8L24u5KI06jh3w1FpU3KeLoYvhBK++5AfKp6E2aGh7N0uwKeBBXodUThdrDSyCID5rG2nLMabBjVX69SM+gM1u9bTFSGfpWIvl2tFoJHab9NphhQru0Nm6fwJAPU2pQRm5zmRZ9OllVbNr2D1ZDAc+aJZEe4BM4WA33+IpdSbOQDE+7HpLkp+QCjJZHnoz0ukawNXDg834kXf4Qb9r41mPRVdhg05J5vDlkkLOyoPOZyBuE+gal/z2l0mj3wivxOyWJdyI81Ft9pOnzp6VJx5bmHy4Qd/0cysbnBFi882n3rxiWg3DG7n1udjYz6D3oayFovFC88LeR8jm67lOMDe1p9RptVNy7J0HeXGh+i3tkEFsIcv4rZTumsz9cuMvWmSWV7s/JaiLRQyZLECwHyd4j+G5QUKLf3YvnPNlUHuQWVXz71GQLM8c3iPP8hLlCRHV/qomZMGW9bx0YlKu98OhXKiQaf5FIxK98vtrVm93q/R6uFnTs9oQjoKR6i5PCixMw/2dK23QAVyg/7v/sORWtmBDHZVHAed79ZysGBHWSLQOS2BcgM/WO+QQbz1lW656Xz3D9/iPw4nwjuAbJH1t5z6cPpe8EWYnbyljyRIeO/+CgvebxQP02d+YCUDu8DdMyG8EVWWBF3z18QlNIjTtWYWl9VBMwZDPpwGGv9o4nenCG9m1rUC/scpDB8pXpjH5Qsr7zcr3t3QmtRKmhoawSryLXFndoLfjSUAbWJeKSzy1xC8ZsWb7YvGslPyOldzhCth7FuAepe6MYEylsYD6pGqU9DR9CBIt/IY7F5VXLq4SrIDz318CNvoZ2CKpWWLESGaRewO9pwJjeYaOatFQQFMHu8seLQjwMhH7URxmWW5YtkJseadfW+8krLNeiGYHGDyzCgJ1PVOdkEcqnyiwa/ITjUp1zSXWMZElZjCFmMSUJCeP56MKHz/aDWUIHYgExSZb+dyk7VTEoDT1eaLmkV1Vm86Xgfs7MXXRTg7psmOasnHmFZhDgvQQ/G4BcC2vEdRjzx++JAam0D5UQuyia2+ClekZBwVTN0Ul8CD1YNHZfGW4Jo6asPb0DWci/iOh32HzXoDnqOqkR3D9pRHvIC17wYt3BJ8gNjosh7cKA+LbyO549dV9DJ0WsqTlClAWlYSr6gkkiSwy4F2N5aCSb1Sre+prkzm8GbUie8FOORp0xqEEy9g3zQos2FoYmdwAmjWIjA9frPSgTwSXCZ+ZBPOvxw8L9D/PH0kYVtLinyJ/WUm0cw95HhN/Wqun/6npJUOBQ0EzyNEqTB5piclIx+720VzVJpRjpHmKg7sgAnlbAbROLmcftDn+Hey2hlltbvp1I/O5oEf/I0n7HAR2byXmH3RmsVyE+VNlbfRi+Zsd1DyktQhjxrDGozS3dDkip3iltUdi8BfFP630Qc95lbH5LDD2QCuS8NeznrWvMa9QLhiTZvH12obVfiHGE/GVD40hJxXT5NA9De5QWdFl82OmPgJwePtc9udGMWLehJdxldRZ9k0EYbVPcWYcvliG/YOPEGTlACwPLd0Vr4Ik8QB5HAD/oqIpop/KaATCGL1GtsXCTcmhTrO2u+9i0PHcdwBFrM1+aDSHuU6+OvGRZOzLI/rIJKgCWH9pB5+1LDAAJRxunTotvHwfF2UuoOctlKsZ5ZCQkbWmjWY0+jENSWH2cragI58W9Zxo9mgXvOhkaAHHdrTALSFaU4UPdqKgXvN1aUHrgaUlMTiRXUspEhf+kW507GuFnvpaJCgBrQ43YejDsIVk4yqZfo7l9gOAbjcmUCPQ5aCCboGGlLd2SwuOfJbcJUAbNK8jOMkueTGY2Qpk8v8V96px1xm+a+lSD+h+Y8FFEanXqjoxnwreNtLs6Pj7mUVf5knFxfsY/vF/aqH6l1iZGsWT+T6AC785R9Rz0m+HFTMUIs0HMUOvVLwWWNrPhg44zcrFEsMz0NLC2e9O6G65pWUCXKN6hsjVIhEEjWFtcGo0ayq/eE8r81Q41DvyZY2j9aDQiwA5qWk1Ot5x32Em55xHbX+KvLAqjHFbu/aNZM7aCNFDnbi261gEqdsOLzmfqkdQjgmiMta4pwfQzd3ANaMcGOVkySyuf5sg6YesqIeD4QAr+vafOYD7pTIVIvKR/b0s4iUhxgqyLfJAyQgvGKRQctwVnUOBThWF16uzWz4aBCJUbCCqyeUIUT3rhWx9dDfVSLSd1pt/lZZ0F+65FePs7lIqhRd0VyDGLlmgMyFaaB4iv6CyDR1ByRasTnBtETjet02FHuGvWP/Jy5SOKMZFIoegoGTbSjQ/PEPCUQG476rmCf77jaIEUmINiVQ+zVgOi9wzyQTIUkgyjGFnaQc7ZBtmq20H53tryZROs8nJLgSlYWT1yqAM6/QOzmq8DLketeDvHsjPj7O43tNNTdGykh1NYkhCw75y0aAcUG46nPIQY7ZYVIN3HJlJr2iVUCZCa6D1GMXlRkm0ku9yTX2BwZ2sds5EBGN5jTan6GqWpuJz/0upRrXt5j1smEhvAUq22HUGuey6F+vMN4r65yuK44ON2Nvhki+6KLqNs07MfTkR/oyr8NE1dn77F8aQs4TTvSpeCo0uJ6h83PvLM0qOv6dQf1WT5ctCAxsUKL3Dz0KmuEaEIRRnJJqh6WWl8lD6PMnw2xMNv8vbk6wVPFsUUqXLBuGvp1Dj3aOPbRiApvDAK39po/wG8tznch6DtpLh0IL1vajvfzISQ3En2c0yBb0hTndiv2v1luG9+66rfZxvG2L84JpxYY2zFGPrYU2Q0zJ9WiVh+UnXDJfw/TtQXmtQQbrGvVd3FtJxbA2p2XJxPFk3xDU2ahS4jHpyunqoLONrJHtRSBG/OMtWDC0NglRkAGpfkBZeMmaG9mnmQLfpKb1j5BTyxw2MJ1LByxzD0ONw8UmxFTYZ+u5SfHy/DkVRGUZpdx0CgCok58L0m+x/Hm258DAzK/ZDohq1ECs31UOpvokvg00LXTxdmAHkvyRUvKusBiyUZPQr72VtXzoSLkfE05JowXhoBTGrWx66c7Ig5NDRGkmLNaiiQQ210MhqeOzLrNwMjxWsguUlkx2pd0RCo1pV+Qm5Z196zU9V3evCNyfPiB+/yEMSjnJnCQNJyiZu+RTzd5/X28/aANtmGiTATQwLUy/qi9KdwNzSnYAdYue/dlbwV4pzxgyjgeVp9VyewnvJigFy80Oi9uKxoxsguG89eSIAop7Iz2CgnlQMrFqMx/1kanNsq3o13A2filCFTGah9OgyVOPap4wk84LqlaVFSXSjO8o4yVud56eyH/axITNePbL5qGjJo9pbQCsLjcRt3ccJwSUVqLg4NwyrAq4ItEjsmHpvBBQFLvuVyvKTlpLpZGwF8wHP4u1t5reG7lLf6ADXfQidVlk1wHM9NgI9XO8ifzK6VzJAlTwLbgfBasHBjs0+LH3b+vZfM1f0uE0uAvqWIrkV505I3iRNWA5CjC7qlx44LAunHW03VCAhHDqFc2oP4TSVkubu2acqrOvbutLQSWOffuBV4FjWPNnmOQJtlvcUlhesLcCrNrokUbrH0fC2vgEfzD3sZ9B1GeI2rP4cwUYNcLfmxYTbQEqOKIpt43xvvW2wxSHyesnbb57fjcfH9gr0LIpTESoCYr6dHrd5v3Tsf87k4vDIQKSTp1uRPaS+3QFMEW1X2bcUWjSKjfPWX964USDfEIo/z4+ElM+BXQXfor9XCRZcwcyWcGBhsg4Yb2EouliNg0UAuRa76JApcDUvUbFjDXC3uY9oN/466Qtt72aEzcB0IEqePegvct6ncg/6aTbAKO31yYBg6uznvaOtCc6juOje1Ce5GFdRFhl4vXlY61iLhBieKB8UH7gKg0wxmbYTyPCW87rrchWZ0/r29axQrUHqpyltzCnoypVcROORm12859BBdlA4j6Pu94Ql16TagvAuxfHMRYTT/OYuQXY0JYz/xyhiq5H1/oXwm339+fiIgavu1P7FUst0GgxHuNJaZMG6FivEcHD26jX8u3qyoy8gb9iqvFseratasskMkJwykKovsJwH2neQHl9qGVhdNxZos2GEJpt0EpXhlPx30iOVih16xUCgdhktuWLvpC0M9MOIwfYtb1FXNqLuvxeDuTtpI2W/N0Sakfwc1+u+ioNuIfDlNfSwI3nbCiVYYIoceoVoXpADtVTQh6+2DOGR5syaF4kqm61MjYU1O7J0oQezUztXQc5a7A/NDE02tM7P6AimribTPGxCYudhwvau5P1wIBBAcUKKcezAeEPdUvouj00adyJYr7058EW3BTK+TFw9MpaLkiltStNjG9fkV3WukjbbdGEXgBMimyVKnbeQxZEm1xJG9ialQIm8zfa2PHiBSQv9RUZzVa/AV+hKmiqUK5nhly6tFy05N1mwcmJWSibOoYLESqGbHM9frklrkghN+7vAZR6NTaIJxjHzE3lVdEj2EPwRYjpQP0Mn8qmSW//PQ9C21zrjAOjp5kkl+bcbUzcaOzVdUIpTwAFRr2J8H01lb5kgCVD71anUJFO3Rn0+Rmcn7NYRMZFaB/8mPx03tfP52I0zkuHutsyCL6S0jdy0uGrYncYwSnxPO4bSPuotPxif1YeFWTA2K3n7+yvy4GDjJoWZAEdjjnLZBjomBHQ99wbCYUXKawJ/bxWDXmAt8kKwAX+ntDnKcygPWpNuNEX++HAytymqEC48YqBxaCdU5mNXVgg89cyPBf0pXAXJXMOJixE6UEDMCjkRx+GjAT2THprx/IOeNmbgD/R/fHYKdT/0BYYdFFMeQYr1TAKpgEpW+OgdozR33+UGuHseeD9JnPXVmBngjbGrKOglsjwzgIDm8JpkzUq0ozLGqP35+ep9HwI7grSJfF3Pzhjg1JZjgnWIh+5FNe0lXArbgel2JLyP+Jp80m+fhl2Jk/41ghlA4HpIbwiwTknTnga23baPlgm8I2ZOs/58LPWjTfuq2jmN5sXULLeuEWOfUDdo33v7mUo4K0v5MT9VriQ6xrrJxF1D0LN93oK4jrP+CjPpT1C8WjRwq1yphB6tyuAwXPAMI5Ekk2bnpyWNxpXD8Gai21l0rMWIyxpBxPFQTaInojzkie8KJLZkYrz7xmU5V+vZFJr5bsJ8UDcY/tbJUx6Srk05DNW8vCMQs6yeT47dv6px0UySYMR03dB2YSpoQWcyGkQB7V44rYiUwcQ2iMtsAUTH2ojXlYDoY+htE4kf8t00Tvfc3AvIbMK0Ee9iWkkFwqsV+beIJirhqN9GTUq/Qx2M4wDZFow7yVuCfwUZNUiJPfu20fIEjdxRVVNFLRWyZXrT9JlbKaxOaVj5gk8USvufjTBxxnFoY7LcwsQZWWa2BSZoSMQOaKdyk30UAVS6DPaC0ekiZBP3Nl+8vwtXRqCmNC5c6u4CsO70AmUEdhx9yO1y0BtmDBrxEfD4Ib7Y7JFPpsxyGYEWcT/6UA/r90l7rP9vxe0SYuml+uJxEkp/PVfJ0TIYNvsa79yReKBBsanZ95LBufzgPcuyBtz8vrnbquOy2UoWQFH9Xkrzm/kT2gC6QLN683k2WQkVcK/0KdBrh18rFS2bCpiYEBSuClCf4MtKKoahztFRMB0Rgh+VPKyUvO2DAxXE7aGVJy3nsn23yiK4gDIoqACs8X7jQI28hqf8xukJ0e+B36oVb6RpykeqyO2BXEtlNJCZrGU2GzfRg+kVJxOWKpzI/FkivQNg8zMJ6WGsFgsoSS2LgdXwUyqgSaD1u2Exk+LuxVWLya4HdVG64b1FNtuvOErP0S2AzRKhXJlu5+CRKO5GFF4dMGpzSMfoFdS3rag+tF86SUDqUVtUYwcX3nvNXube8K7gQSwdYA+wh1FdsovKEpS7bEvsjHg0A1mNEKqBGARABfiOQGPHV3Gm+cDlvpGtK5ne/mttuZ5UqMeESUT9InLNRVmxlbf6HyVZoBUhHdvaMDNr1FfqJdvGGfgMwaBeCXOTLC3dRL/U31bBMAL+ER0oPIWeZfXKPS+9ynNo2OUarB6mTvxUAqdYdsQ484pISlNfTizO9vygiP1h37cj3NiBWS6WUo6HaHuT9tu0l0KWLTUehwAVigGR3zQckyPS/kdwXznPcqGy7hPCJT+5hGkF4iG8OFVb37h2BE8oP3lfXgZs8CcRUz59ZtNdMdpe5bVUg5DxyJBoY5rg6WIOeJwCYcDjUQZNnOjXiZ9wNo/iNhd7wgOZay1+VydO9TpbVnlnQPPYGrARX1AOqGvEmhVJ+IRASQNurv4URKfw+2n5dSBS//0s6E4DcR7L/kujny24z9TQ0Xmx1gi6HpJgFka2+0HGf4NuXlU291WusRNIrqnVfnT7yxWERwMAIkPzS272a5AZMVBMdSBTMgO6xCvZo9HaZzUbrKe4d1YzYmfL3vVdGA3po9alShQl1HM0xi40QPaJhSbvq98bwIuzPruoiBtaRFFIx3IRzxzESg8bfCZyBzGp5uepvnmiMBKRUqHx/s7JoalDDvXIRsdS6M7rb1Fla8y0AtpwTin9XAvSu6iUOuSoDfzxV2AqyLsaWYLiDQ/nKzAWjyduREp59ovOmUrAc/KLMEFv9MhqJVtkflUO9n3MidjS4eC25L+905KLTvw5bmth8dBJnfHDG9a2uX2E1ajEY1NZlmA1wpnXSMOT9wzNbISZWp/3I2PGruIspwV8cYyZaQmZAF5LyCij6/y/785x369adVkLGKIlDajMZFtV+R5sJYA+hfpxYlr4uebSOVPP+OnGYl8cshEoZM0Z3winUneFLildhfDfD6mx4Ucq8ACZLv0dDStKk1MS56/V1n9NSfu7Ly1JiVwWsf4pQCrqI4AAjXdnem0FwA5ivaoI3LsIpVcRZ1BCW1XSOa8Mt5ReryDLEpNthsK/VWK4KLQQv1TvJhqFsBR/VuWl9+/wMplWR6dedKl+BAeG8W7WkH1DotOh4Vap5WLlCuxngtuHGx8yO2yGGSjv/btPky6HqsyomXq7nVByPQbbXG1NUdeIzgCTvbuWSF2mrOzgkfejqEhQmaXPdojBliu9KFqdIgme/afaTWhYxMQ1ZLfR6y2+Cb+tJih7A06QkP6nYlxCpjSt/zrL7EOuK6vA/dspGwqycq5QR+AdBoje6Ii+zqI3oBWV5Z3e+MYXge9x0z+ruYlLF3otnygrQ+39pZ5PNhJT6PXtfn5nyE391eJ1FEDLdmFUkbvPONKV6BJZRszij5pD+uug/O6AWP5/xyiP0pb8lHlIUHftou37AI4JpimGx6lWZimtvnyMcNU2fJ1QEX9FzCjv/cg/+EZvPxkMGL4gazFfurQNqSLjeNibaraJqC9e6XDY8k83dWMMoPidxXAIvWgGkoxrZKceQfnL+1Uv+1lhoYH2V4QBJDDRWol8T2YnVLg85LnT2667DpBrMdKE+kpWhGLsQQ3IDeaE35eWT183UteSurAQkbsMrfUJazB5ZJ/aar9YUVrdTCh3fzw8BtIU1sJYt7UkI/dnrk+5ps5pHsLwMYMa1t0Ipz2N8nWryko3zLm189SUslQhe6m+cwMe/4BCNA62q7MlpIzBsWsTPy6gPiCsLQh/ueTOvc1SJU2H7+yqTifZ+Vi8Nn0CT/gug6NKvl3sX4pPycua3/Zcmqe5CUGy0WXW0uEWMZ9NFlB+k7l5+gzq6cVCrBNlTluLwKzCopTCDAVpE8zFanKjHKfwVkTUdIIEuLg3qUlf+SCYZ67IAnFeJ1J+dEI35QeVEwFBic8/ydy8r/uCEkKLZhr4cUbY8JdW3T7pqtLh2/8VJTRI0mlljbCfXlKVTCxqWjIRcT4kGC7OTn/AeIGl0jkEs7YRvaMXHRFND4K4x96Ob6PVA7h56bh8CdYJJoPkBF82YYP56VwZiLW9OyKqsXhZHo99GczVS3gmgv+M9Z82ZQZmEg8pqZcyzkhZxSFQcfZPJ704GC2JvuQRYgQItpDnVQDIwvWec7p6d6lHJI/e8RYHahMkGthHrsgvCxqO8D/fE89WNITCx5lGniRD3NEZaGZxsmxOLxhjmUbOgFsQqiVtPjzpm/eeEpfKcORZ0MtJ7ZjdMZTiBvn9jOEnu6KZVl14DtY+UFjRiF8VSRuQZnZ+FQ8ILei0rIhp7g/ExBo9DXdgFqTmC4PEsYaJT+zuCMbrtr7owZUR4P6Mvmb68H92i0n/SH2y58vJW1BM+ciQ3gI0xVsCRNb939nWL3dxeee3YpopHUSNNNwAFfrH5q4/q2m7/yKXOiaDpI6bcY/pNeNzgGQf+KqXH5xQDucgb2AeeWgPhFXhdSBnWCK70RAATNckVmXW9YuNPPwtusW+7okJ5wOcWyynLFb7fdQRDxpUrtzPs9IBf0ECDukqaYbhu4mvzk8JqjSOSPMlFQVP7ToLiSL+7aX1aS4H+8btFU3LacJ4MrEoOYUXW8JGhBqqZNmJ/bwZfKtWXUj2VWfLlzamGfAeHbmqaxT1Ch8IaxZRWCZFSGZ2TtmQwAmTJwggib7zuH8wzbpCzVgeyWaXgDxtujek6fBfVM/+HqmNu6vitxGLpXNBvkXhufFbJ01ptAHznF6Sb7c3ODZqo7IblUWwexzG4OhOcWYC5W602WxevxiGUbpIKkl86U/gF+YqO9CsLPxReL4k5zCskz767OzhXnuhLaqG/sRtkh9kLbPuzTE/Wfsz9Tk3a4fyRyL5q21hnFGOIooXpU4UndCnw2f2Q30tjjRl+GlXxtHrJeUScaCgv2mvAFxbnXXu5qZjMASul+KiUMzLd/kRJY4Kfk5iUD+ILLD+YUU00vP7+iHDnPUap9PGjjWR8vaj4ErJS97JnE1gN1iefUH8u3D+empbtZe3hjDNEfNS6xnlb82l5S0sFdRf17k3rUUM4m4FvqCSekMahzXNs3+q3Ble7D2xrVdL4LxWWw1O0FtoWrpS6DUJ7/2x9fC6lqxHje/NSKbyjplaNaSS4lsbscsBnRYnE13d8Z7LPNywwW785/RUMyxLtIvEfT++UR/HB8DRqaCnperuNLZ6SbmY1e65AiCDlHCzTyGJqf+MPbl0MQrqBO4ko0D8h+bEPncLZYBfJYBucomz81NR4rSNhF1k3VrSIulCG46JUGat/cRHx5iR+ihU70kP6eHCuc04BlVcSx/UNSqFXUzBi1QqkE7590AfdnotChVZm6q4prYCgZ6Phu7VFfuFElxHM4M/XmtC2c3BkZO/sKocGOpbdjzHVfmBi4qgBhC1cW2UG4gCNGtvXGKnHU0/TCMH6bRNi6vaGJSR8rBj/+0cUJEJYtUYa3x4oCGA/xd+va+hZbiIe46W008G1vWTZZ3pLq+FtO4WnArfSciV1CczvOu/YFpGqvzZJs6M5sgigbY+Jqug0sCjLRN6L0W7zXbI8gIRlUzpHJp7MlYS5ngDacQuWdZGMbTPIzI41jhkKQln20HY4dJd1HFPdNOMQGq27ngSuD/72DRQeszf2oge0VLuNN2jo6TxgVzcbzKUBwhxYV/l5P6cMHsRnPyH0+iS9NghmUezpDG4OZy6oQhjIeWqDdCjeRk83jAUMTWjMgm8mcSp1sTq9Xb8O6XY8m/iLZv9VCawuqiGbciCwxdt5SpTP+xKVwJPaAScS0AaQXhjucpv7IXhgazt4nOZCGao06ayXFfTOpRXvU/uuBhy/aVhGdGBD7kmGxckOanSKWO9TYAz424FTlYP5CLMucxXbl7H6nzg01RFPIZVzWGuTT+p9/lkR+wFkmnRyZT1ljm5EHUPf0xvGjKoMgykxupdubpIuX5/Mqpujb7DMQ8XmlN3fxIeC8i7DOCIZWqDZn8nTgUGhwI99+YhGucqzRcY6OL6/caj4+q4AqbJbkAjjGdjCfxhIhsFzZYXLOMLwQAIIfZ6V5Y8f8p4dxGzu7AdFIVD1bW/lNSxJhdIOKfcVHzu52DmzeuO3/Dnn5JfoPz1QaF+2AS8NOabOsk3nnw6MiK7cIWkkZ4hKVInmH6vy+rfZAEg2K5aoB+SwQsqYiAYCr+3nUBg7FVlOZ1qK7ERsq1JGOxVX69NO5bfXdhnvGhvflFdCWCeDDa7dpk8u2ZlHUcvKOnUtjYbAHB4Wf5hn6c2AyVCshrfJBeTI7PXUdG4EtDGabCcdC3Rh8g3ZeWdx/vsVh0aiKl0IkVqIAEWKSMx/4bQDZzwamjMsR6NadWx7tjYb8cmssC7JoCjv6usmKE8fTaXftD2CurWfKaglOWfTRusZSA1UcHCoPD902+29saZnuQtvk6P0nU9HfOibBOCArAtrbHFxpLfzDAvz0zFiT9Bmgx8qEqTjYuMibWLUld+vzS1m0fBkcZnUasH4Skc5SM5ItRadPnBtxNKcZ73YX85II0Cl7D2tbRMo9Aegjg3+4nf7HHZt/1f5rGC0tYTCEbjvJ3sgkpMJHoufJNm9oaDavxVFaep6xnaxn9kCTo8MJfKXa8nWTA0Bht4SSpttr6IEjbtRx2N2b2Vdy1RbNKhCnTdo0FlokVzrqEJUXS8FG5lu3XTh8/9jdR/JxoEU2IHCIuujuJVOAvDy6btqZAMjj0HEvbWEhH/9SBiy2haUrbO/8B1WMvVUfVkOf0l4kUSnl/cWJXIEW/vtorqpgrtsJGkzdKCUuOrUvczNtpYR7wXzbrm7zNlzFAZrdRzhojn4GuuRqfLx6KiahZy7qDyq/HuNk1sT3tPIT1g3aQTbsvwzEc1joUabbAL1lKyyFgwxD6OWSUOBtgdJPeyu6e+0yLMkZVUN9VZ1lgLDa1j7yuSMARIKULFjYYh4ZKe6sT9zWWHYcdejvp2KwODTOo4K7Q+Gxwi7BCGC2zcPnP2ofxF7mee8NGljsv9nB86ypbKJus2SF/XDcIT4/dPXFy4+7qoJI40W9PDlUVBnT8CPswqkyRvLCrStdw6cJ4pG0fbpjSynTeN7EGFtR4be0D9FFjyxHnh0Q1M9lWCiG6W573hVmMM0WrWFN9KhzUcCVdfGIW4vmJcehHFHmm+3wbri9lZjkHVMkIMmSp0nICPgHsaJafkB4oBmF/eTIUzUpdW7YYrlfAIlZwOeCzvQgvYU5qY6RlYIEAgj/eRcfWLBsxHl1J9vpubXY6UjSfEnUJc7fpXxpiGhGeonzzF2I+WPMRva+m7T//fSLRG+A8Nlxr5SvugXJLWWEKd62aiNDI2NuxkRbwrpAuO2eGYxD9LWV6m+FOWTAsbRnpgb3EHH8wcFYMRPuIOibQkbjZAzunrOHzV3Va26oNxNiHT/F81LH5gZ6l6TTudw8msE4Le+5J1Y2TOsmeOQmDEGsKRdgsaGqanTYuJ8kN+++DlLJNGSTWl/cS2HHYzKrzz8WA8C2WaygxLXUtNr2Hx9gkZtZ2UPEB+U2hGORILO147h4dnZJyL5HIhu4auzNiXqFEZNzIeIiQXBV4csVT5qqwPeRzT7hRGTF4mJVQM+WvnRJuOQ6Nqse6RcrnBiQMaCDcfOLVSAaVhoMhyHn8YyiAaeSiuIo/vKgAcVAkpYlvpoo0xwRTC7fHvp3z+ylOwxYE2n/spldrb5rfn55DChjna5TuTHl0SZ9L4uV6Vw9ZLZX+BQgar3lk+rSmPbJYzVGQFX/zg0cFiskDjPLMJERs6+dOppLARithYpjtOtRqmvWnFWOqp5pV+kwGLQYyztFFv/PacKuFvEPwa4O4Uqjp+cf3bSvHCyYvwU/1Hz65sdALWFxvUjxS8Q4EqYpngpyLElMPBAtUXtzJ3upjnL5QrI1x2GkPAc8EuXxAalPpZbt0H8MIgvZ2RPqS7oXMV4bkkL/c911xKjuWfSvXK24ADPKPwgVB4uSS+K4HD1af19VVhTUxmKBi89YmiEQXT4gTjnwJI6PEOozdVPBC7zj/C8SyYXW1wgRlkyUMBh7rGPdB73BAeOXhQMi24z4a3ecQxEpMyW9GOE011FL7pNWyPoqG4USrZhG1jtsrAkKqG/+XxZrISYNhtNLcCrFrmqJqJcZVn+4X8XsEJVH0SpukJY342hNiEGAB3WqhSd47sfki33btsPc0635vUvKt2tsPWI8IuXYLQMfXxBNngxdGjuNQn/qHFg6w6JvK3LNO9k2FpY4ZhRAeIlBsV/Rvh9LGEm0kiA93Y0byGdIqix7iB5bkaW/RzFZEpCwzCDFlut7lsVLY535qfbJUvyRRsUm97uVEfEOTrsSfKFkk4X8uNBqvwCp/jC6S9noHjzunPcjqxZ8+hv5MA3q+Juwav62E5r9chRDGKEG2pw/k/yU7GGbxRUDW9nrDQ76B8EOMu38hehDacERyfpwy2gK4POow5uWicbUp6ZyfslSzQx/+XeTHHRmaCQ2MdRa6jkkUgbIEIMSZoOhFomBEpz3djowr1A/Vs4hSCcAfbbA+akaiuumu9uDkrrVl8Vvm3fAYKmCAnQSwEA/3cKpbWZ5/qFeN9K5GMHStHqqgi2rGjHLwyN91NEDo/lex8kULvyB7cagCZJNjszKv478CZ4DOxfI43tyDGp3czZ0wO0q/9slLGSdm24qH311DRIp7pIL2SasJhzGiTf+El5XDRmzivV3pQkfSJp3iRzQxvMaWdEr6bcDRHBE8CyIhllx9NluaZUmku13eJYjBKNw8JHNefFoD2zHSwm2WWDMYyOc7EL9LyM2JyXuXLvAM1u0HHHyySpb3T/8VigqEUYmuvjUqw08GuVBC+f4eYFN+Okhqh8uzcYK4LjnRXIj7mAbdm+/k1Zc37EY/iPDvZFO4WVuE7u+dWCaLlKbScwC6e08h/JfVS0XFz7Ne5OmnycYtybGp/b3sGOO2JY8h9tGw9KDjNsMmFawpyrpUKEMLlE1XwZpcedFqo1ZIS0v35pNBP7tgH+/+0yZL3eJW6vcXJjqwE0VfRmLt9/eoVzCw+K0v/km+ZZr8Llpbfl8CdYvozL3Gb0nI3M1hyGM9fKgja8Pd8m/6dMDt7fZsau9Yv9cweGKgDoTZgxLFD7UPrEuXRQcBIGdLx0snZCttYdd32gRe7HP2poy5rKIVkYMiWOExz94zabQrJYSkFP0Un9v5BTiXwnEVIsHeAM6vMAG7OMRqXcBcYzEG2uUoIGAjznCyE98fsrRvbsVma8QJp996reGi6VYa0U3LYwLBdUeGovLflLMA0ER/REKk5jtJ9+QEUCGbwp+k8K0Ld3QWf3MV5khYef0KXUWeVfBoAiigLSd/QysC+CgHGghei/fDA97Ou4Av5YvZr1qVKuFcTrJAIGEbWn/BxL5RvZrLnD/m8kGDZsEtZVQpfF6aMk86gEGfmYLV1OrcLinT0mSGL+gEtcUcIcr7FYegsFMgizVdbpWu5SKnEyVBJJhWhDF1k8BM0Np0NR1IBQrhhBpWL0kZsZDhpGZTi72bX5mmM4gz0+PG4gpucHIdgzmZV7AmJtVW9cbgzhSHNynKVBwl+8wi1b+E+xQp2XSFjza6wHkEg49ZBQB2BDUD68W622vWCsHDJ1ZDdfQ/KxmLgMLYBAlEQ2uazE+xP/8vlmf9E7aAUugIm40TALp8OXkCWvMYpAwk1MGHO8dpJdKYIWx1YtAfpxAsgrOBHPxe1DeNRLGiX14t08nVUTgfpxPRHBYe17B0Ip4CQt5U2jUW+XzkbnlZP7fC1zNK+Q3ABkwOTZRHJQg7Prl4OF6u9wdgDJQYSz43UZOJr0oYKCpKJuc67/nFwJ+en6Qw0ICH0gg53Nitn0pufR+uxQ4F/I59eMGcdy2j+MPYR0IDM65f9tmoml97y6YsCScd2c9745WCJdLysk6P8iPSIjh8vvjeU6crpH1Mkzkwz+mImTP/0XUrdQSnhGqBHFBLLEGptLNTDoRmFKDrD5337f1CEqNtgmVQzTp6dc0VNmln9vsRUYkNRjavuoH4nQr+p8TcK57uRxUDqAmG4E1UKy1Kc4YDbBVLZiNMsHVUs33mZv6GkxPTTdjByz5GtD3S2Q7stC1mYS/lxRYxCCnP3T1rKzLM1IX8SiEqQDHEAFVUrK31eOabqft4aaBCNgt6354FpAFW5Z4WgEGHe/YhnCjsKu65VeNujkx8UZWqtGh0Ey7wR9b+ITUwg+8iaMvgdaWzXukpNk+59mayLZ4OA90+0MytCarctlCgM/LvIMdKz9LvugOpFSW0eKQcM7mYo0vGTSlLAPnEkAcbq3hoKPTfd7HMMJnWgAiAbp9ECvK5abYqRFcj6+gL2sg1fEJYKc7sArPHxS+EOLpUorA5AZQSqPIo3aMtgMU30UEPc2CTr6N8uyDkEAIliOiIO/1jtVdsisSGk5X+2YWKDGXDJypDNXLhqxgMRj8dDr/UWxsmemrwEg17MdWRqRnFuvwAgB0znKzZKQEMvAiJ5A5sIaBdzrvHV3FoHLSdOVvkjW1pc/QcZQQbXZQqJuHegx4FQmtOWmkAXG8MdFKhY4Wugkm97H69vlXfmOJa+KKnuX/uDsUZNe9Zk1xSheXYvs73/F+ZR1v4++D8UrtQNQpF3E1TekPS8aF73vceub6E1WxfNQZbEO6eAuLVMCmk2dUoY1W5PKviYvNPhbzgACcEW3PZz4A9ow1D2hwAmFVP/C9EMN8S0KYjr/5IHG3pE1v1/+W+qkkyon6lJEbSrFz4wjM6j8wA9JULZb+3uz0/z3quWQD5veTB6trLWpz6PDg4pS99WDk1yAdR5YQ6aMXIl5x/I5dFrGjPfixTPS0ki4xQwOudMh5pL6AvA1XwDG8BVFaaElAqCjK40uX6aZr6tQSVoQhp4xK6hhjo/zhoK4r1pnYiFVx+KvMxax4K/YS1Eq1PpBQE7nLCte2mQGI+FzSlN0V/vc0sgWd5f14oU9IRDKGzO7gzygvY1CMofBconGZI20DVs9+DOxWaOXwZlSHmQlgm2PfvNznnVLXFP4ot/oI+daBdidh47TWlvCQSS3J6Pt8VxZ6ulXWe6Q9gCKjnqgGoJbeES15eOEjcLX8R5kG1YPjbMBAsvX5BCVPInbMA2BaMleTHDYvuTKdngbCNJpqIGP0Vs/lPB7sraTLbUpY5jY2alu/8BV7ODSG/XPTYN/sgawk9q1fr+3M3sgL2iHs+VSDcw/xyeQ57iwGfLw0gz28LnD/VJrCIBEDc6AJZxw9KJFnoPQSQv32DVbxIRNYpxWpPj/jCIHiwjwPO4/9G/Ff0O7lQNrqmneLaP8E1PHcGgSFAJaIR6Fn5D+xhROw8lqgAZXovz0xNpE8t9hi9qDoc81JkBX7S87BtPtEdqSWsv+iEITY5yrrPK8iwQk9UASsCmA4X7hJ38iwAH54uPvPw3LZipZRh8eAhHLx8T3W+Ds4SurX3n0Ogab/LKgbsrGk34641xQaLBfv/YqQvqy/3hz9FB+LJU6TCNH0rQHJKLKtTuEckUOTY9kNjyNC6728lrF1KRG0VSOK+hpDG0Mha8y6eWZnO+C8ZIExqcV83Gam8e9Mq5WyT3ZwTgx3iCrS4Z9VrpU44FFEoyrIADgPbLqvlCRGIH+FnXho9A+F2rYnfMgdB94DYlwtqENS85VHlEf95iTfz0N03AGC6ODiqDi31yS/xUAbqMbh9ZN/tqXBTlH/5rSeKhgeFSkKtPLwiDITUnPBpMevx8Zii5tsD3Sd7g5a7F3lC0FQMBTYbMpu4LAAgRbmeAO8USaM+6w761kpYnekPLKxVVBXdLEQ3f+VgYpWtRNqbTLloL4AC6WdPM7IKa5OtTw1RmJgJsg3CAgmi4E8S4T5Yh4+rCk63VqbdoU1fCydo01vWdGkkM2kNB+5cNkvNtJoFEs4CS3Ps0BqDab1DLrwJgHiUvddv6M+xsC8RNXz6USupi8PmXxHjR59awM+fEh4es5fv3qeB28VG6iNVK9WiLEh9EyAvkC48ig+gZLhb39RdftmTDKMRG8vPwCYrVW/N60a5Sc8tnF9kA4JaNkT1weP7vZ1NVQgxfqUjK4wVic6cVzoTjyH5UAoj61JKhOdXfNsiPYRjzA557oNkjwz/OKJO+E7hywOjWXLcJkHm41vXouFMvKbX9UhBDPoLBv1qH+pL5TWQco0X+eLoPMzGNtu6XnnLGEMDlVq4vNAi0fXSo2qjzr7xzKYX371BtN7n+rmzKNaY4crKFlhKkat5PiRJiRApSjue1K4CckQG4q5cDlWbUntMco9dc5H7AoKXUAQQSX0R4JJMqAKhDnq1cMXrcPzBtJj/pbVymrb7KqGxU6GXfP+dQGlXqR/eEZTAUACS2lFao+D+D7qZtvke88iGOJCtvsLRWa8biA5uzLX9p5BsukF+9gUcS5Zdk9clfVWzGou9rHZ7d9Dtc+eljeUdT4hDDc2Fr/3mFAy86+eyWBCAKpSQGIsXWIYFijt2W8lpGLy4gsAUaAROPKcnrr/KtUupuHc8pV3UloEo6mercC8SZ+PFX9NmyvFrKabBSwMGJrYCUSNxDptFhd95IbSb9yKHVAuwQchifxdxRQSRXWsihMKUsxXG0M7ROB4aGlbB8SqzLPVFGw5a2Cm3LJIk3sxCpG5/KpwyAU+kf5qlDVYp1LrS7DCW4k45sO2htrLwBROyxAPGEhBEFpcmJhZAK4d7XAluApOll2VqqlEVivWRq8G3PNiHiQYEU0WEvAYNt9m52tUfxAQW8zGMrhqO2SiCzS1lK/1EalasFS6CAze2hlkxE0SRGnR6oqe1j5ATgZYo2owzGxtxmWADVg5QucmjsRzjPS4PP74ixRr19Sno8oVKpZRoUmm2mfiuw5VCt2PpYuz7mXP+YK3+oHu54LeyoZn1GKgTVf3v6ttXQnoRc8pQvR1kMJ9cRYnT3XuCXTSFlRB5JLGyS53jS3uop0qhdXAfILJCfLYM721rEdq0UIQJE1OZjaWbc4p5Q7upRFXdrWZyovWbToRKeNEeNsaBEu0L7nQJZwDzg38e5hr/1giYTszIDKFhCV50iH8KjNsv454fa8PIlEfjA40XGhiZqqbgp/ScrimS4L1+4uDhZZVaIIP253jFlykAuca0HmovS/XSTw7Knga2++Z8uf4iAYtkn3cC8sCpiyV4IAF0V9u2r5G6HocYDbitkamQy8DpEQemfLv/4UZMOqrGosbgI3RsmxBsYVshCMAbLZLNsH2PBMiQTqwXy25ZDAD0SIw1mRtrxKO1Bh4ZWYHuxjPkmyfMiGiQTR2XW+Lx684eUpXJds+fW+jVWcTkagVVqgZirxLDShIXFjr8oJyLIWZXm5DhL1UluIgPcRFe5mdg5hHLQ2si7690KugWDtchFev+AotBO3QfZp7m41dyZoSPGLdKwZPmT8nPaAt2F8wj3dYS17B3mgcDhjDu0CcncSjXb+8v6moHOkh9lq9mTZOEiOY1M00GxXrQyTLFRAxqUEV4YbeyolVAoSXLVboEoLJjmGi6Pn/rAj9UXQWiI+XyWLHcrb8urLNCehlsceBJgCnNLPOcVodCpcOID+yT8aFzDScWsnKFnZ/26n7tHjkg5Pw93+APevE1bNcj9Ikv17A9UMxwcddjvPHlKaQt17fTnAG/kVAUSri0zi+xRFMsNjHHn4k8lBSRDi3h+YOQjBvPC62ySDBE4gaRxuSgj4qjjbmeY5F6d+PC3NiMw6y41Jm3onZr7QtTF6FxBjzBAhbYMLspwORzVg3TVcsCJv4cPwTdilRiTVBpBx4AtlpIvn3y0KxPbyB16w4DskdWUai65C98mmQVjGetJ0fC+qG8pp7UIzwLJEPTOQ7waI1Ek6DbGZ1HKuE6lJ+hkqI9667OblLi7y9VmDHwyUKtrOuZeFIOuUGueC/3xONeezON6om+ty3B3cUAuo+kfGbd5RKBW7n+wR0v5TfhHalB/geY5BeEx68k/65pJXtrKtJTfjeCFUFvcVukVBb/z6x2nYWmxS008fx6+o3T0IphIcB2nCgKgd1bOkZRar9Hj00dLuo6s+9D/7CqqXrUkOyvP+o6kPRRnPDAJEW0rZp0eFJPlpK18zaQMysV902uF03bI66FLyYtS9Jf/glPlDk1C8o+szJXG/ARRlXlOtGVADHRx5SVQs8SWfjRoP35bckqfgoouDSbWPhuEu0Hfbegx986FGDAZZtsJehF0fKqQnosdiZe80Y0HvPDpTo17vBMfUmrAWjnEJlY9nlSHjq3IQv8uQqhER/8plZLk28pi4MTooNgOJ14cuCXR54suqeyMfzbb1zHfMt0Z/f7aC5zapsYsS5b7hmLvh2J988TGJ9lDteipF9kPJd1kPAl8DbaX5Ex80Ynp+yj0IZX8mFROzngF6s5c7bSVzNcv29QuINhz0Od9AXOq9kcdmSmjZObM+AS+wANKkDrnYRC7LUq/vz/jCSzW3ENbihR8xyhL/SvRUr0DwGA1/7K89fNBQ5FqNSwbAMcpVYKmv1z1lNNcxqCpsPC3Io62D/J1wbuElrJUL3+v3ewS38NTLMMab0PPi7uzDcwir8g+vOrHwjBh8fHZ69aXatEHKyhuwigY+7MtVQ1GLWDlwv+ave4TzfrSBRJ8/JpgtYuBQakoyO7c40RRsJdVIbe+nyYHG0CrytMuOjwv4sQIL17+qlLR0RNun9BJgDwC5HZOBSNnBALAj7YdbTvzplBU+LipcSAKh8qa3j+CXb7wwqFEjwGiiy4omoanW3fBCvOoQOOvwTLCWqiTALe7ohV8uVKIA1xH+aqI1LQhVnipYfIlSw/k5D4ovISOlaDXfDfqvWcffXJguxf1mgzXacNK1lPJTRdrmtVIUYYSliKyWTvklTZ7YqxiatydXslHQw/6NZ388VTY6ZdTeOEWnP9l0mJZn5NkR+WuSTt529bunVvZi00FPGPRhq2nPsl2QkiSDImRI2WV/cKta6x9Y6JUdDVvo8b6804grMI2D0pXaGuQZRmYCnT0jhsF5WdnfLiYCa695K2y/DS8LwIhrVATKEzW03puqc/ZC3Bs81liXcl8DGdaMFR0Clj2rQpEPyCYd9BaWXzUMVhq7MtoyhXVD0PAe8wNKoeipQFaWuZ3Wzr6RW069rJUYRTDqos6/9UagpzeDqCAWY5rqOq34gynUuAOsFqSN1kq9OuE+LvsLFFZjs+WdU60aJPcPLe5vPEVCIS2hQID8Qif7g3tf/d1Z9hsmmWSJb2Y3WBVqN1GLRT0Kapasm3wvl9nuE/BY4c80aiMLb3tgagqpJ0ENNFQuU0vjBL1tlZcTzGW40YHwyAhbbTm/9LNaAOULUPkZHxnT7fv8lbhMvFv2Lt6QsDZpS1ex5S4QdPXuqtpBFFJyZtrvHxXeGR16R6ILMr+8DQ9lLrEgtYxiOONUV3o2zo++dsFiwZ0KXBG9mvTZXHQijv0Gxt79mg+PudNG8IQNhquWJ5gHIGt2jNmOJZy5RkfOph8JnhACfgeB38guMY03RjA904kJ2y74N8+Otwzoz/sbyBuVKGXgcrjxd8ZWHvwuSHSVG3T7JVHwFcmkU2xVwGwjOc9Cj3WNBNbyfwEmjKnVNG3f+zzITfHoRpdXM7R5WYPw8Kn838a4Re9kkfumlK/ByWLuZ8LiGcMbGaT7z1HvKz3YnC1Pillt/f1cMqqKrkgNDXuHgvR/d04VEyVka0mn6iEaLjFoW9P1zVHJby3rIrjr1i1zLJKhO4lgN8MFHueqb4JDXsdIbGHAEib+GQl4EBf+Roq/mNOEGBaBQoYi+aoppBX3bRnAI7YHWOUn9/vxFtqzVA8kMnWEowpQ15Gj6AajotpxdireqgsjijAj18fsTtwv4vehioXaqYSZWSmrHzmx8z2RmRUvQ+Otr1yrGVOgd90gAc8wBnNJc6zzNgqyGEkFKGA4bdcbGwv8hRiaFDuwEgOeLyxkcUqWnftam6BbR0HK72OadAvv6ptD+JNarimUQ7jzayVDdTVz1SEBnlckbslMb9ljtCqxRyokIcH2DT6/MXAZpELBaDL5eQTEtMSLYRbvCPUTwxEC0auDCf2FKWITPwdRL4JrdZi47bjtW6UfZJnR/W6TMpoXfPuAUry9HIKeqycSf7vBhG393w2IH+Zzud5hiUbmBP4f98leVKWP1j5aUnRsE15H+zySDd6ZCB6XaBO2GUOBsNjQvBlY75ko0M+pySgQM03fNgb+mbjDWSY90ChCeD/HtCaN53t0JIkKtDVmYuslI0dW5HOjzPaUZop3Mg94wa6beVRGd5ySkG7Wv7MGTTwIBnr5IET+lqeDq5/VSJDlYHxLE466zE8o99mDNP6SHlnj95noRCb9kmkIZcvGUyFIb+H82oH0F3UN1AMz1YjcIyCtwaGidFBBYwsjvXKcYOSC55yesq1aI4xSJdIIxttMJpiXGE/il8lJ8kzr42wGLPCTBJ/5fx3a8awMgbI1ssybneM8W7WThFvyv1aryBozMV5kdckWo/BF+QkQc6x3QB8uSq0/cVxVP2qXonq4iKg4rbJnSOO78k6f5yXSr0aBrmZqH33nMWCEYtXGIAeBMd95F4xGF8IM2p7bfiUSKkOqKhiH9nrfkLmrPRAdXv5V5OQvViYf2IpTM6R5xAD0s7aqvfZqvZLKDIP2tcXtBf/ZoimSKh1qeFMzemF9L4E1HTu1ui7QE4+n7uOOD4Y9bn0+plA1Uk7lukP+VHeCrerc1vvulZ1PTt1Yy09G8F8wF3mr4qd1hvMBn+hGlAVcnYDU/yJjTqrilERv8XZzMCl2dKCyPgKemiQjbU5BiEOqTvc3B4C2Oj6I2Ifeuy8qlMKdhP19seZD/0nuPfxQLISiS6LxL6aDPCWflq/1dkHB78PehN1UIRkwZfxIo9i+MUvNFyp09t3qnC1z71Hb76StkGn4NeAkiQSgKCpIYpUjbVvVBUsdw4QlZc+3VF6J32I1UfwplSuRmJfMMxi2Y2umONyrpxrkBfbqhJHbMNZwyNop+oHcgzWuIejNKvtd/L6peNHrEnYjdlpqwkELFCOOyLzHSCiV3GRPcVDV9Ex4qUCMciEeXPm50iU32Zv1TYV5ykcVaeg2Y5bWNEJA+acLnFAr+v50MVM9Urg7lfGojyIPzLwfTZhlb78tPO/RBPkFZEuo8lcMZ2FOtQ6KklvcBU3x0+xKW7DUzxDSiaYHLl3VIQ2PoIE7rLsPptn0m8NneKSlz2Fo96SNIAWDBIi2uCynylGmrazNjeGbvdMJ6lwCEVys2aQOnp1i8k/7OMLv+ke9BFd7cJrYdA2FRTdLkyu2gwDQe1q6aGoW105zUg5VUR8WzX7akb2yOe++usYAjBMcj8+RnJb1fi662I95JNR8Mk1RZCCQeYjfkES4/Ay5Sn2K7IjWqIniLsoylL+wVcLT1HygKMWzhUwYnlRaPOJPEseNGGvm8jJtB18GSE1qmdhGfHJS1aQ9g3Dc0DBsnCM3gTyJHaLxnRV3pPLdZNGcdMi+0fRAD4BbwhKoPOUAUw3OqAywchyEX2EVPA6rNhvM2PzG5ZpsEp4BnJAKhFn+tQZ71PrN5Q5eWchELpR5sp6JlY8AumPIYudrxPWfEJZp9i2gMCR9fiBvCXUel2hipRqwweAU4hjj47+Yobxr83ERH4KRCc4GvlJhI7s+281y45rnA4mjoh1eCMgjXugWRKmXStrwrHZN/lcY5t7N+ED/UUWJysAbo+PSeCgOrEMvakdoHfuoWzYRgJVxC+VA3QItZSR4RVf9PWHQIQBGSpfXwtqUx8fhmTX+STxq5XhBe/xrmLXKq4Mewr81nzdsR9DEb2PU+xkaSIQRJKiADiXCWJH2kDcKFjGTb6wDQoeJtEX/uxzpF1ms4LKpa+iD9Qd568mXcRs1YshrTXOtfuaCNog93G4nqJ5bEUtlpxboNLk8g5o5CTDOdwJHMOhkbLz0bpatDGq4Hun0tOkNaCNqybJSxQOKayiaVlSR8uekp32d4fVJSqG8QPYa9S0YkTcSAmG4ox9OR1M/GMn4jH0ensl0QBruQxVLMLEfzM4yZBLxnf9BKFVBK36AI5WvpXwTHdHfDu1pr/nVK7mnji6j87Sz/XzfySXchnqQepn5zVqCr9ve/jU+lJVVt8YfVnyNdzT2gE0s4Sa+dM98d5l+Z4HcOOjBNpi4F8mrnV+SpztIsvL7LXM/iTb3ivGT1Y1vgfU9QdPyleQj2bj5/9TuSRjTVKUJjkpm1NT46/tZM+ktgAFigxR3bfZsethOZS7djPBICO9yhVAAEQabSjfJL0P64rP3vezX5gosazkgTjSimHu2jojiVb2GE3jDaf/YFi2TrDEfL2nfK7sCBz53HsedR5v/UG8TxbcTMVlAfRmD+tZ1OpJrf2/HM4439hTBqd6an3M46pcTEjw9AHz1rBhbiW5FxBo2tFOtN+meIbpvMZgqonzstE8SMYyBkEBWUZf5QqYLwgeWeHDL+Iwxndi76P+wpmsuUAzNCjDzBcVUtGKRcZLljCtyXt8jRR8QRf1jpgKJknezJCCUfH7bDwKGv0iqMHaRn5PRvoSoCZF0YIOFBwHzdDsiYR9/AicsKH6klvQKPUVZ8c4j6IgJ5W7VFQOxcKpGzU4YcUPpglNuabXH9R17wENsEG/Pp5doHb6MQk01VHbTlAfG/OvUhTWUHQQMiSfiRguaAd9NlnkDeY2KQktI417yr7+vpmq290AKc9YmXwZM7j3y6EI/ApSoQ5bD78yJs7eT2VhbVh5XJEVuTi5dp5R5iU9DiLm2DRSUSWwSvCdS9YG9LtfQVpm95ni0zUOwq2A2NRHp5FEMjBDjE2vfvYsZ2pOaP2t92I5+rTThM8XcWJ0LJgyEwpD64LfFih09Yd9ad9Ov9XyMwwjmvMKUIaocno45wKbJBXqlj+Q7r10R9YbN8Rim2+dsvsMFmzTu/hkIv4qvn+IvP7ojA96yb/dAQyoH0RZvxx465EdE44MbpyU6fqvjPnCYJ42hEYohMlB2WFRb3JNWS/J4iAICPhmbInssn1/zqtU6znzBp7ev5kznjh5ZZf8ljUJd+Z796QeYgfTJ2McV2m4LVoxeCitsq+DQ4cDCR+KAlMp/0GUAmwwOI/DHI5Xxqfgzhw51pkVlLTs+SKMRkCVT6exY9stoiehpR7n6kSh+AQ5m92WcRjunM8UdQO2bX/1Nsm2aewSntwSZ3DadRLtwzR5xX85Tk6cT2JoNKneW/ex7nnJQt3KvPGBIHmuEjxqot0o8CyuH31PT4peMKsoJ5sIVuBUc4yCLHWo7TwdkiZw/3gyczoeCiPknVWU+c6yV6tsHNYzhoQmmV87KrrYPyzzefwDckktRITiqz6DO/60v+PvSZwSCOo5Pt8zaS3Vgg75bOMeKroEsYv5BP4hGkxJGuX/k0FBk4ns3SVn8mDn0NlCI/craXK7aYin0cnSJvMFSq9M+epA/NAejxMknKpecPeWZDMgFEgwauCcT9gvu2g/KOi12ziA9YsxVVQGu589BF5coNLRpsdiaBUNtGzKF9zyzBpzfbC+sIijQg8KuwNXk+8ZergKzLejLeT6h5FpCMmQwTXZeTdZk+WnaihQtEM63kfXv6dLtSJlqy9rvd4/ELJwBEUTBffN6GXhrH/p5hc/NuFR4M9Vz5hWlCRF/jnFIg5hQuZgJlZ+YedI4OlC4nJACK7Sq4vqw91b1Rl3woqg3VqKvgn0F+bsd9S0pCLVJKl8uv6PYVnu/t6JD5srkwfSkFS7oa1+zSvFtgZxObMmDSN0nq42Ec0YpKd6gBIquxEDvRA8VHhBgMQPIR2XdoGc9Ee/HqUAK8IkikJDCEoKWd7YFvdhkjjZhjPmWTCbmwrTr4HTKvwuC0dQvmn19z3EIzH+IAEha7L0BB8x9okXPcTvP9SaiSYICaTxKVr/gCKt+ZGyGtqHarO+4b23/ocBEZs0jfJMnGusgEt6iQmr0l82a0zjessFtz+mI79m28QlLRDwLlmgtgGK49a77XcMOV4MV8aVtr9wCBMVwFX0z/LxQ8PxZTxjmINlNnl2/yMYuaE7uMMfSC+smiiOHnkFFFKszVfE5aVBKWPxYLhNbUBOy3vtoDudTA9kxylm/PGK9/m0FwRS90JxHUId/T3fw2tY0rOBvrXrLXFpSGtcn5bLwuf/3Y1YnLZih+IUVpL7ZCHv9EDKk/qUBIkjqkFwV2OXsuhyBgzXYWebuUd6+0aXIaBqDoGoWvwuf2WDyWka4B4pkAJ2xJWl+wzOdVxQqRdf+3sNwpNCgs/7AWtllPrg4HIEFMSrDZYgBDOhYsdrlp1oT+/KFDwvuQmHj8c+D6HT4DNwu+Vz+yu79VqAn/Hd6QRqSGeXMfkn71kTLjbcXX0Ybn4yOPvxqXYV6s9WtlpfCXlYuAaJiXGELVQucd2j4usSkyLTeMZqwwIeMd5oOgCm3I3cQR7Kysr6zJdWW7MndiAZXY0zoPD2H/MlAUK1MCuMmGI/ucdRqYCeCpe9kj/whyIVY8pEf8bKvZrgJqNTk1HBgR4UO/Eb0Y4kB2VZRqZZ5TCWd8f+p7zECjUf27LmFd3QIwAJltpJ79MzZlbOW6jhvW654XlzpEQtQR9BtM3WbZXDMNkReqPLRpw7WnyWSemqTAZ2VHgjEmNehgzD7sKwfqP8k0bSA7hVJvJ+HqnZpiTPPRXiKgUGa15IlrgJwnTnuwhJVGq4KX7eRToSUrqVcfWXdVF1aBpAHSnT6WXS1/VT4Hw6NSb/YKcqII8yXYNXGbiDLiMFPGyCs1g9Nagpe5GCRCumhee8a/Y/x6DENKGs6kxQyOvbC+pFQBc3fBu/jeOAhirvyO1gZLGPYmH3kg/bnu3Ojd/uB0jkVadXpF8n8cQE29PVLEzhTxLu3HLmHaKpXrMX6+7GJAZpe66Hy5zc2T2CPrPRN8OtrBExglJxsewQRHYGSs2IT/6vRIFcb6YCfQ9NpT8k+A/crKgcOnOSggCx9rnJnFIgW6TD3ttf5qB9Y5Ge7Yg4QKCCSl3q80qKtrCrv5LfrRBAxvzo8Lw8HsYeXUZHQlKxkbystMT2/e5w14tvqQe5FPbDGM9412RpOlywFLjuWyp/P6jsNS2kBlNnsznNAwKzwlQQWPal6WfZf8UZiEsj8YFX5+C/fS/K8gtK4MVo3FP9S6HPJqpayDfEPA4I4BkK6VhYs+H7L4aTN/pUTSZ4DrcM29lAaC8io3ApHeAvRn4iu7PlNpqsgLRKHPerXtZS1BUwSOtwqUvbrHkTheOvVmfTrHeaeJF8HMHxRnuitLuPR3GY/MbEQa1x2ag1VZZMb0KOziJejog+SZH25IoSD5pusTELaqeiS5QwJy6ZiYHs1dzigJRtsj5WDMyFS0zHqPW3oMmmdu8mFmQ0HhMqjdo7dacWJ2cDBlrwOWw52BgpNS29X+cpt3NXWTW28VEXSnxs8Wt1fsQE3cEYxU38Z9BZqxbNSKBnZ3NJGdJkUVk6imSDDJxixIMc97K2STiJdsFbvvlP4VIjin6auYwMx1I8mv7LcPWXcLEjjkYW7ferZVCUd/7c74EqPlqPlM0u5Leb9yB1wxTGGGPXId5AdsAhdtdluRmmcYl4KuigSdNiJ2CD/BhUd+bx0MCrcU8ohjbFL6d2Zri40bsDpnBYduuc7Bmf/u/avhNxhtjrty2Vvl1kKJw7Ie62MYfWxAdyd01C4Qioi/vS55helR+I/gC3ZZ27uBPZhjcphcyvTeB12w0HINGmuYXg3fyYGOjQw0IGWi9WGdvemQCXrfLjwb2riDOeW8XFEPpaGqr1pbKcTsOcFhVu5Jnge9gcaNBlC5UA0tHbmOp9/VPdJ8YXaBdGHo131na/mdtbuHuDp1SjpCQp1TASsz9K+vtt3oXSHv6pW3DIB+kMmbJ2IG2aaYl8V1kIQPxeMBxrt1u4FiQ60/Cp8Unjv3/l7Dga3klab1/CDH9yi0hAzq3DjO5H62gHmF0et7NYKTmmCE/FFxvcR4alY0zTeWgC2Mo64SXJlAmV2J6BvzxJZCY37468eJFTInZPK4Z3HEZcPcZ9F4lxR8pO/cyeij9lLPToARxAnmPzFglK52t/b25RLarQMqtWaJbVDuRizMLrQ5fGZWud+HbacZTlyusnTLqw7Zsy0Z9PCuclPs7M3QMdXpFSh7yubcxnZhjWuqLYF/Zxnv/D+7jxucsP6pqBSnF2GY0FppVlBRjlefnUIv1o7QRqHqFPg1i1GluZsWITHNIFS88OebT//9SGcm6K3v/uLXDrlVzf+nKoc2jBJ1R7MCRHI0mMS2FOfks0pUl+80ldEAsKXxfHjxg9ZWtYyTNrDTg7L3HtG8uaKTJ6iPmOOmI78j7S8MbakTm4z/uWFyqBmyYKG0f1Ne8uLXkaizfXsqM+7k/qwNJbY99qfoAwXxujL6EU6pzl+UY8osPo+3Za5XzqNb71LANg74By49JsTLKzIh4xmTN3wCHNE5/os9qUSmJ6B7wY0bGnsdAhNanS5cai1GVM4dGdQG2rNV5Qu4g+1Nv6Qu9dHbgQPsBnMjky0u8bl8GNr+0UaKWWVi6+2Xk6ix2NG4QX0WwiWb2GK92f5CvTOSdGaP2qKpAe/7F5eM50cUxAnduU0YQeJEOPvX/Y5xPD4XxrOONwTlIEDGc9UapOmGsSWdsCUdF2Nj+NpqgbjZCWN2v3kI2miu5r1UTg0wQdEJAiawppzjma5bLzNHfFpZprcFNIaJOaCdYJbKlTCc4NIMHUpSPjMkOkm7cMgntQHptvLJuyaPzi1PvJBcT5Pu44pMZUlX0oT3WQ4KMKH5eYrv0gqhDGRikHsKtL981zguPcAerEosDz9HhAcrcaI5NE46Ckvy++ceHfN0ELLlmr8DLhg7DXTLM1D/GZMRZbAZe3f/l/iMl3WUOF1XZLE+O1LP5aDMsP0o+nk7mnpizWBnRtcbzWDG17yijuyaogZQsmblUx2tT/scZ8c1y4CxFlifTF0HVA9bsK5GNODUmEM3ihQgqRZFZlgPsfbzgbmRBXuY2WK4ifW/JhWJldeJFbwzQPZBZjlnjYcvDeKjDEvvkz6lklPvjTMCAt/Xm9rBlEB+SmyMG1liGg4p0MfqOi95pqKnf0q3+3rcQT8xMZcqVxZtT+uhzuTyypXT1hs6F9/+e7dVFnEwghQmcxqb1w+nTqAJuS+r2tiKJVg4ciKg5uID1KpX7oAe0qzhIng1Rl1aGIGk8AaulRrStYPlAV94WUyjM7zyQ+Ec+stWs9TWQFSHawwioHDEApu/tRPKOS5J3Zc+UQ3s1PQPaEpZZlCSCRe1Wp8EUT7mGIv+uWfzFc8KvvzdnI1x1lMBN6q6S+jxRfPDJv2hz7PB3G6O5SYdMLDbEDQ/muIttp51rlwHl6tdYo8Xww3iicIOjglxhp00mNMDrpVtaCDaPrA3/i0HkmNwv45zlq9t37/ozQTn8Bg/PeiatfyvzWcur+XZlpBerF8c0x5CMJBVJlyerdEhwalFByhMSC5yZSvxsN0+RTppj6F5r+QfyyCpmDblbkk/i6/9K6U2OKbL+NJ3fRMHcA/EoXi+gV1A22FWU5GlhotYnRD4JhgMNQ3bUYgrpyN8x+mbVkkD2SedVbquLiAmF7uGRGjyGsNOtsHsrIqX8I7Z+y85YYhneT7v5XwWU1TiEx/tpAI/JJG6DFSANYFyQFV1NkHR8G4sRdEdIwPxHvLqOHjIm2FUt1ISOEhWSTXUDLcNhXKH5pVZNW/bn7JCO0WRLjSe/nf7uW4JpcPOTNOKo6KX/KU8XuTjxJBGoW97r/OueeiIrdnE4fRQ9G0r536xYy+ZmQvAL2aFLdLQFRURsoJwM/CZS+EAv8kGnowhwjzaC4YWuYjfuDg6J+fkXR+tkC+fxwBKC8hTsdh+9Z16Z+vZOXeCwra3hrk7iOv89SXacPm1wBTxf6VCLhIHF79TnWdhD25mHcdvCI3alZ/Ue/FchxHYPpdY3HZAK8sncyo5ICNpd4bhXZE9pAp5LyyRzWrEtnQqa2/C5cqOSOAnZ9NPP5nPrA8Old5f7DUEwm1THg5mC31fXuZ3f8Ybc8uSFGK2NYP65dSI2IaNCZWvqKwOOM7t/7CwmRV4cO2Oe4vIEkSwazs82dtytMuvXE88UqA3zSfCpsvphranOFnn0gEjbEKhK4uF5X6PQZZbXL+HbS3bnbyhNfvmmPJhrvCYTp5a5FKiTg+HPHBrAo0T7T/oFW7SaItkhN9v2uEOALvNKL7Jx7l7rsfPvqpCd3Ho5UZVnsRcwze1m/QR1R1wpQlzZh2ElieNjtea73WoQtJLd7GTuWmtnpqMEjeTXIFiU0nhIEmvyp7yQK0pDrFAWYfFzinBAacxfY9D8W3atkZplTjs8GQYeEW020sMPretMKt+pTnRaVoQFQMZTBwLOeGweIMjSlQbq5DDhvYhah1Px7CRohDr4db/3wYz1ZUVqTdX60qrHHDlw4gMd3X6FMWnGe+Kit0RRk3L0q0gzdXsMc4bV0fDKYa7yilS27vYAbnoEfKVCKdq6XXQ9RqRtKAPGxB2pa2U8NCACs1rkJYozrZyoQAcJZ/iZiPl+x1Lvo8GzUMGt++Vkn9Orua7TSHVGSBp2KGReFga1rxFMRlHTNLCdlR0sAlhRPEKiy0NlzOk2kbPQ5e6Wg1Clno89t1P16JFfl6uRJ25dQ27y37WNxUBpf4QA51G3LKZMcTrJvh6g5A0C1RUN4192QafF0bGno13XB5LngUzTCkF4o/siQWh72p1hQL6Xt55NrECoHF1XlmPGieJZvK987j/y6P+zFJwlo+jQcMjy61MkU21Ks33/OkgFEJ2mBU4CJz+GKcJPPEdirS6NOP/XdfE4A+1eS6l4RDtsE2wagIWXzhBBPEz53dHprrbdagX/ZrBvqHPUHiBj+brZ2ZUrAMiK6gqahTYUIhVyaFxzzo9vjryj1Jyzw55yKsGn9e9U60opff9GT/4yTtIRneTSpTgrMFCf1NO2GyURBvvlRMRPH63S7cpoAPQ6gnu1xqgNQb0P4Pwz1OMPCyeus9DL3hdSLWbaCXWQcPx2G0fP2m2Ot3DZzZ3LCy6QWE4kEZCEk/xlJFs+ANKJo+v9FSqRxmTP+9uugeTe0pUbpI5tfte6qq3rPdl0Y5tufcvbEgZehYjnedv46Ru1DbuUDUFikuP8s3572JXzYNBX+4lEoLYnEFn3retfIzbVct1GWU9E52lf27Vha3QuQzT3dLNtywsFscRoe7/FZpnGxq8h/GocgJslNIEWre0WCtk83DJEAujdQrZAxwDnrjUd2hRsZGChRV4ELWdK1E9jXa2k6DYigmqyWwiK0fGCu/eaRT+5SBgBrmPixguSKlM7oxXmURdq39d0wSsj7JHeAlzS2NdMa2zNe6I57mohVcGpBuFb0rJCJPcokayXOD1vtzkbHEA/lRBxHFq0zszUTSsu96yqkeEWIIolMSLnbN450XzcUGWikQrS6firc8y6LcbjLnSD4EhPUCLxYlZUwZgBWcx174PLrjVJpbC1JLHqkdluLmmTmf9yiobs8bKFwBa0FoT74HHx5WrSSFZ313+wwMsGUV34mPxoV731ipkaxKDo97vL7jctdX/TUkzjWZ5EVNo5T15IgxDQr720X6EPEt2Cz7bjGEe2Mrh3rnQUL3XpbclVNhvorAVosuYoT+1ke05lWxjPIwQT438e+d3kKwenZl+/qzA+4tE8KNFa4vmXO+G4OdnUyOvocWf0yIpYbnvmr0RmzEVUYwhQ90atHdRQk3IpTDhYJa+MjjBehyAchY4/hxoUHk5gV6wZRtgeIUVRZh44UrRt99ajoVA08G7Zc9+Qzza16PZ3iFhYxObewAZkNO6PVqgoexZl2UM3qgku8Wa+JD7ebMmM6kUwzCDXnFPPgge4saQBzf3uilTFMksF6ov9jlw1R+K9IpVLEHxqxLtNnuRsRhKktCAt3wJcNUDThhZcrnTJ/w5mWQsp9optF2bdem+hcrK31FEY7Zxu4DCcB9+Vidb0emNuC7tidD5WsviTkQfIu2R1a1ufE4i2eZFbkhhdDzwn50mesccsa5fY3cuDaLB7kj0yXYRH8TKcoSBQzA/AYBzDdW7KNZgmrVyB+yQsWB+x4TtVsul2+GYQc6HH5FBsDhYfOnIDrbLaVWkDlehu8Q2htPyhgAu8fWAhIcG9JuovnzuEDQM4NB+xIQHifHiR1v8kCoOvnoUCoAYO9qK8YYCWFCDOX1s1n5e/sorLZNCIdjJCMQoARXsVIMDBAKaOxm+SKBWUhv4NCTVCQSlAlWORuA5KF0TikiMR/RMd+MTMY/75yla1Uxdsrv+PW83xRsJfznL9Ih92JDbEj62mjrgv9jhi/zKZQOXcm8k7dkCeM+F3WeAbFZ2weAIhpZ/paQbCF+U0Rc+dgA8WRGYB6xdfPYsKCEPRcLeu4T5SgPt44fZHQOyycCJkoZgz5f6g0f9WHvU4sDO6mpa3OX5ZRtDzKPyq8RnHTS356EghYRiUXZVgwRiP7toHDns4fwZLy4GIsXadqDBse+O0YIKi0FSrO9aRJpby4KH7DQeao1ZNpXLIHCfsb6ecfPBDoJCKgHnxwJu86RnBTXr+pIK6llDfS89n6Dv/MRI4yK57RaVheTHwR2ibAJPzttMPLCAgqsuHCpwrNu2kc8HhPIOGRh+NbSEGSM5neXUPmZH8FYWTGdZYlnr5FxpFMCQNXKK5QFNhZABJcJMOdyVW2h8BeCOJqJDh8UVdVy4y7Uz/zQLibg4rbuypGY3UrJzOy25u1dJFblr8Omx2WzI6p+KmMGle7gVQfTW1N57OOjEXp0ddshG9Z8kX0rw745yb4deUKQ9yFlIx7lR//FoQtA8jN+l3j/tl/HyZbT/gY+3duMOsfO82qZ1LmAm2slY9E5wljm0jQI+F/8C9oW+wXJQSXB6EQ2BbL9rx1GQhliBlg4Z9Snal2PFDMrma0oAiV8JodxuZ7gGnxPiJjaqwspPZ+MiTRBrdVqSPM80K17audsHkXQFbJ8C1qLMg+MVriWDmbilwNpG7/Q3Zs8nYNNyowOg5J+xI/xoMUvgUQzqHzgw5jlD7nnYaO3ZunjdoQG8Rd5RK4OaTcRYo8Zdu9ZgIUEAmA4x8aE/Q/oijI3AGH/SzHSHPLxw9i/L+wEPmiYvARJBqfoyOUiEaH3d82/+5XV6/5YZGI2f7rz+jQjIelTNjJjKpq3DkXrr58TYPnEB3LTfVO8c8BZbxfiPi/eCjGvYyOXdAi0lFxWeBkM3nWz/Ryzxle0Z0vVNisgK2HY3YnhsptSJqItG9gaXBdfvrPB8Wgwj9EdyFuD6be6Oh71Cnbm2HW564fqHtAESq+NeN9uO2kTg7C1iJxyNTlq1ZyhMdaoTnXux6imWhAbF/f7ryllcOmHvu70D7lIJHngHRKorF2hfHvoYxGdYrektx/a629NsmsFv4dVWxI5+ISFq8cOFd199OhrWeZVmUs4CZrrwPQD22FKg9yqptJCTwtVBl6FAE3KW4jBt9YS5AeGXjbRAQafi5DUcVIaMoLgleye8kJUR1N2K+MciGF+re4y9FmLTKDWLFAoU9/gyCE4ea5vE1ApVwMgWNFfJH2NSl69CkZOH9LeCFBO0tngQOxBnbAcKbD8ZHRZb8SQ6eqexEmwilvSbJSd8wpo2aHNqe32AEEKN+xIPN2AJpewHT18OrtTdulkv7rLF/jzr6e4Ioolvz8NqvrpK5CebjZZFStFcQNMi1Eqen7QzuFVB/9sHPkwGCEJjokVABrtFxfA3+Wr6tUuZaa4CO0TC6sk8ZOB4rAo4If2riRsNP00JaRjUO9mE1/1U2APRYX4LeVzDk6dUD6DsHivz9JxSPPDHb9WzjJzh1xwqRLtk4IoUaqTrvTweT+jI+Vo7QfRBLyefFXNHea6bwQLyRZnYJlagjuHmLGR9grcgLkOlIxwsISMMi+IiNbSG/cWCkhU1IZneSPP+MwYRc02JcNJR+T/T59XaMGxi43UHwB5ayXFzNyTNVT2HdqZCowl8xcD8AJb6cg5zPTjqjHrmzSLAUwGrR9e43vcgX8baMbNhCC0CEiJ7LMKEkQe+vPDL/469QY6Bu1Xs1L5+W0lM/xx8QykhqeaCVdLUce3XbLFgBLrQ+vU/m+/ttlS+Gv2h+fWtQGW0YNsuvEtDvrl4jKXqE1uvYyZK7yU02G63QRDY8gwjNlToW6I2ojnEX9PzYYcndaFWIHOd/40ff3Q4jzLuMbcWy2mlLDGJ9V0jMyfPMtCmUpxqsz0ByyiVC7WQIUxq39vURiIfkN/Y+RfcmG49SGDi3KLWVOgXL9i+tvxEBkmcKOJwtixOR0Xk8qqiCQn56VEnRmlnjz0bacHBx5one1oBIqeJuMFWfbUCMtp4q5MwQF6FjhEQSPbWEzr5Bs9IgUxZ5LBel4CbCtKFkTAIjeQ7Ndr4VIkMYR9eLUgd/EzfQwTA2DooXBOfUILMm0LJL41+Ovj2rAqUXx9Xy/nKQl6R5MjTGrUCd/5TQsXTTm4amb3TPSj4KUk3tjI0OTSvFZ6HvLdcSYyQLQB4pN8MXdayIJeoyIFvruNFlY0xwlbeXZ5Y8F8cVqsMh6EH9fweaGYMlsZbh6LwDhVz8WOEVmmZNfJzJUfcJZKwS3psuLZI+QljJUlAfDN2dd9VwnYGpXpKQVd26bJrEBRK9CHnYUNg+4QToWPE67o18MnDFr8nht3GLSHMYaMaNTfr9oZYPY+grwLcxszb5h+99QtGjkBbMjFYsb120abJOdiECtnJ4H5S2h2dk9ntpi42ujT7ybyoGF4ALM2hF6xMdTBOnCzNXIakQrsGLIGGSu4PE0zhJuRAXcwuxWYTpBFIs26Shn57OUxvVLVIAylakjW3GAMszYAL1N5milBKRyjpeW58KqYhIIFkqEZlKeWZdyMJi8ktV2jAZAZs4tKN27yLPHeIsUmali90DrMQxNH4WgRFpgDa8yBdux4PbuHL29SUCusvj0mPXLwpQj9CHUMmRrzDMDUC0VzT9HHTLoGNDDgkc2Mvf6vDQwNlqxnCAvKTZBsQbTQcObLYpHL8eN+3bjqi/c37camcm/QG1isVdCXpLhA6X09yxoo6iO2R+XJoeiDKdqom9q0xBN7hKGHETROrmNvdaIkqCc/nMw8uWVwdf5T1j4kvgfUbP7UftL3QhPD3vpI7ne5/6J8G/xTJDScGkIbgSTFMmcnOAcTMZGmIQOnowe/fElgsrmYjipBf1jwcdM1FA5RiHFe3tWDguJUAhcVav4HUvkxetTOFyS5+dpFSXtYecmnjJ3OEifmPshpGNYzdRvN3u7cDiodIUJNB5iEsV3w87WbeWj3h19jvBahtnVdr1Fakf+FSqszP+MJ2TCVm8L+qwQVc6hdx92cZeYxv81QGgqfS8zfsCtxAU0P9uvxhTSm8Bf6WJmBQXh88z9ZHM1daOeleRBcobjBNP9Sg/fITd5WW/QhgyuxnwmSAifsXg3QVUHg0UmswvbZJ+nD2TvtBFdWpQjskmAmf7PXtt6AzQmaGFTA2FwbgC0pFkl8W9aFEg1yql3NB5tNEQ5B3GizmhyXdwWRric8dwFYiqTAgDZs6rw8snQWll6LYuyqKEkUj97m0IR2WrJN2fvq8NjJ8qznE7yu+bpNzkl1Jsx9Sl03WVFWKnv2wA6NYWnmKEvwSvM0ZA3QikckVu/sy6oEOeFOwDMcaRN09oKCNPEPOZYNK0gJfA39S8rgPNvFiIlFhAh1zsMnVWbxlUXtlJ2DYVSIibHs6wOSkpj8ycCP/3TNvjBQMJ9s2fDCTHdLjK2EO+RLaw9kHFtQxFy/UTTbmW3B62OqRnwXULGBT1RMAjzUrTXR/MZ4V7sAT6iLgnZG7Wb+IYCxMBXqtJrNPkebYuK38dLn0Oj5e5q+jAPsu1akm+lT52ORgtriIgHjOYfCdc8WqvGDw/23tn7vCk52qEB1fZI1iXqEFYcDUuMywKziymIZ1miW1lzZdd6WEGmBvwglxFWRKH8yMTdM6lqfVwM9aDc1VnnQy9ZN3IRNltUjw/HXnMWcyRwE/48q6HkoVRn64pWxqnoVSgL93JpisgLtx412j96iNTIktyX6R7m0yluIB8Mwe1k5zTfPf1SqNPdBmiKMcJPLVxsOVUtsJBxvpSdE6t1jgLvZA4xn1FUu5F9yAI75yBMLYBsR51235qfwVHJBuwWbBLLJC6ey+5IE3KXU7b/3kdXvhqb6syNb79K/V/UwzSZ6FQ3DwlQbN6UAdmKhfhBrH4bU3uocgAmZm0fhNKvKBHcpXFGEyPV6JSwuKFJOMpuLyow04hXJ4WGskolzCzuT/Yhux4nu2bzdb9zeLwRX8MbrET7zHniywE40QYc2Uud8Uhmhi/7xbGXoPlFtjXtkuitIlg+Owch+worr3sPGNcnCQabDhfWns4bW5NNld0c+yRDGruzZo+gbZ/AsYfKxa0Ik5pNAhPOzIv1TAz1t92eaBdGHfhmYRw6zNdlcwYMulnebtBGKb4t9mNSnBrvxXs6aEvc+MTfolPw8jS7OQz5YRfzxL5vqx2+yb3c1kWY0kxdJGVsBknn5Pu4UWSWKMysqp1+zkj6uVp4jnmBRtFxDCDRN6B/4YO+iBosWsQ0qTaew9D6c9RgVMNUIUyO5VkzQhJP7tUesRilOqsCulhjzN2RjMynM+TQmbZtYRjarnXBYzuKsGC4HsDMxyBND11RyectMegt/gH3wR4YDqaOscblGWXZVRdPnKvJ66YISqUrCPX5YwlsYEMT4GI3Pj8bBAW5xh1gUGvDu2BTtY91ZFEnzUyjFUXIUj3hoS9Q1bllVQZJOibaJpBOXTuxqnryP24lXspjb1rS6VFZEIAr66VPUz8teKeQPglv6hX8jZk/TCm8iZZLY6GgQ1GY48YIVqYbGAcx77ZevcoL0f20qsoMnRq44hfA9ptwaJJoTwy23dUoLz9gyVkAlJhR+FjrgACOaneHbWLbozs/WL9aZM0Ryg8OmHpX0aeLX79NQ4W6dWaghbKYQ80A3cB/Hsmvd5wlwwhu+UGwDWZ9kaB22+UYMjcZI1woslWwgJe2UKsMzPvuxsWMx2C7PhffoAKv3RPZiyBSA4h+NlMfjuhOnBojSDexaaMFbeJjw3pW4/SNlrUzS3HehoNDtr1Gay+uQmE1ktZcrv/aZo9yMFac849uCXxzBmKtSMqU8nmcxlRmGnPbdG1Sso91b+0qInx/EXglfiYRSpDAhAV1CdvBZscb/y9Z/9Oegwrf+9z476DYuJum2BowAS520CIHokhVm5xikHdAC7av+tvXhJ8D6Pd6+v1+N6gbK1Ku9FR1aV1bsuzoPZKmeWh9EfJeC9PZpaPQBiXbZneNYTeuTtgJEEayaTrOeRFVs/mtRuWC6EDQGnlLpBgg6ZG7N9ULmB00k9Dp0zEhrmkdtBtYGLb0rlnGX7cJICoNBShbJk2p6z+2eVmmkq6CoA5xNe57+Ce/jlpRcpoCBBvV6X6poYdS72BD+8AVukrB8gp+QGICSJ7lZus5XyUYl2s1IDbNuzfC6uofiRl3kLL7xVgE0aGL12meAO3YF3inQd8BjHkWSS0qFJcND+p+p8GAt5KFnDUf4HtDONTBEt7Y+fiK2jbSsm2fhNv62iVEZs5JRN3EUUHv0h0zv9qm4qmmM5VhDXX1N4myC19LiL9RDd0PucAaGTVrucDPgYeoCqW/7zmP4YVlB5pS5cFe1Wcm80ODOC9Sy4ui/KFPJe32S6cpUPirqwS7BIe6jkH/BdpiVzjjUI3YOcqt5ZN9xMbwQbKnRN5oTOZ+vHEpjgyUXA3JlFGmvnihX/f0VlO3e5Q7s095FDIPClxpFuLhEoBblb5Yh+quDx1zr8QZqYXZ14vWPe3m3XVW2KEKbA1LxFrrRCj7uKqf5/M8nzVhqtaMWEgRupN36KekTG5HebCLSkuBEtDKIN5V/QK4+Zhz4LGOZsw1/Kq+eGJe6apB1MMmIM90PKxrc165w6bfUqavYO/Vg3yLNQs8NBAz8AJiH/vil7XFeP/fB4h6rPvFofYqE8IEBImeh9Vu8MODkfENW0u+ZTDfBWcXyhfFMJYlj5/6qL3zBkq2ZbwduIsNVxH1/qSHc3kWoq4vLRpXmUu8XPUTPqIYwXfknZv/e1PcFCtPjXbbc/6Re825EVcl9CA2Rdc8CmsqZ82scT7qU7vtvZDFqV07C02YOyR0aRmBIyjAqepimXGWIu/SLX1AUZ9wpPH++USsEvWDD+am8KjsIY0M7FH7zoeONM8sT9VaBasDfVKWt6sOOSQqrHF1avwnf57ZJ5s7eEpsuLcc/esySdExpX0MjWnAmRF+qs5Qou3sA8aLQMM6UeBJn/TJgt1ag/c94MKaVXuedKhai6tyWionAeULY0Y7jEmqQJ8t+BiJ9A3CN+TbKbBJD8PQdxea0T3yGsL2dFei5Irc0/zafeqondsbUedaJLGLnBfsCznN8lg1h4o7Cv4Q/dWKzKQSIBZFcRVbapp0HvVpu63jUdAZ4ylBGj/EK1vuZ/A9mHuiHfPeP3p6fhfAvu76RaiUEqYjN5hqaQi8LYuVCwpYolfYRxJbyjauiylz/VWQSRENDHSlAyxy73oXbBnIE/eQQ66xkqYFx36AVl2DG7uXD7oYjjYSbXHLzo6GYR4fpMG/DDb16zPVWZwn2qC/sIpUwFpnBoYJWEaVqM2GnVg9ai9gzl5xAt7DKtDBeNjIp7aefd3FYxjDQSan4Gw+CHhOojQ5Afm5S3cQ8z9JN1Y8d6rw3QrTPDP50NVR8MUmfBA647w5af2pO4aqDveNQlFQkAmgqBXwuI0JuMenA4vfwbqOEgswSgvFxs8DsKta0SQOA95Kniy6COkKhD5MFN84QXwMwogFefGorhroCekcUvEtbdNn1gZeXP5bXlvIrt0RPjgGPjHpklQODTZiTSuJYtiAowuCEvPnWcQGcdxO2tR07gRlGMieswfdDndz/venDY7Ikg7LckmNaZmxW2Dp0RRYRZxPU19VH08cF0GqYWhwloIGTdrcLK3buDsgI9BxGLtXkj+h7WO7LkxA88qFAIpoHPrPF9QjWO2wbeT7idEkrAvFHiAsGc2nGNwKmX1ftCQYLhK8XnyRVa3snEACkkS4isff9onueIN+18FIQulLWRB75SKIXaf8rH694H4XbKwqr21hjATRO4CZTPdMNG5nev+PMaFxAgJSafV3qJPVjBqx35wyEuJHHkRX3OdDHzAL3/UPIlQ8FsynA2cC0eYcwbgU4HTh4Gcq+ARUCGZONUPK29KmDdSEwCHFI+mjIBsLqAfR5foqBM6eS2ZsrqAFj4QzBqu+GvZ/RAra/PwW1iikeVxdK8JgyBnlVSbzVHhkhwhUf1bkp/t2bgJeSZMmHnWvSiv0yDrmdNBIUKaZP0eBIS+EdWA+TvgHcRcAKKgeSUcIkQczkYzyVAq0j1WyUSW260ulMUsb0c0tQgiBy+8t2rya/k/rpElH+THuUkg+KNsS/qrz7ovnYaehR/mCbqG5lIJaZQ167wsEmq9Tp0i56R8tVWwo+2MwGk0SxaGtG+AgsUCQegv7C+Ibwy9u8jGh2aXC6IWgUcBjqdIol9pLdL2mugVSXh3v4mZkeuySLtqiLGnSy6IwyCS4FK0zsx4zFhm6w885GddinPrAacLwEGO89yBbKY2Tgn1j+cddV3Bcva0X9RcHASMMKl6ZvzhS8b79YpUtWPb9cKbZNf5ex7pGDidv8J1oqnTfFYyZWR7aoTnK7n7aaEbjprRtssrvLrlSfX2AF/Nkm0ncEfr6rCq3Hfp2hrSJRKt27J0du5doBhbkN2e1kRzSaRIF91rqoPplRQG3ElRfZsOT6jtXrYEzQahPQfBKuVvXgSqOtEEIIc8qZFUcwgqA/8S/UnUIh8rCodRBXr8GIb0oaoRrpcIRqMzTbg97hVoD98MoDzowCVfQ7KzMYBalgrIL8ZEF5xr5n2USToWrq3QEoDK/9LxDnKOhrSt+TTde0iZVX7s7g2O0IumNx4gDfO+0OO2p7kl8tOmfizesdaW2qCwzZ9hAd9SRVip9w7B7nrCEYS/ijH3637VO4rNhIYwPGkoF6DlLI5AGe8Q3CHXsLce/p+1mU1E8ePJDZm7aiWF+bKBANkyGer54+HMSnvLWCcmgLbkQQi6TiPyPzKk3zxi936QCo74cG4QPZ3nDmqBGLwFnfatiKYfoVZNlQcq2aTlyXu/DhbsdAfMKT6B6HKj4aMA+7UEatlN7BwX6I+SaCwURDciErHukDYg6RP2EbPE+XTzZdfcfbuVhi1B9bYLuWUbKcmV4iAXaZ2rVPt65tw/MqlH8ovyAT5PqvWhSqYBkzti8ih6xXyyiRiDcb5NtRP6p+2MfbhPGTdNJ8xqjFOV3yfJoVdvUKwkWcPgG1L+Hn/mv21JJFw+b/MFfcmYlQqNrC+p76kd1GFOd6WyIHK61D2ObRhEjDBxtL3xPJA/huykuEVNejZSwyqOsKgkWpEemIy4t8OBj4bC/0Y4EiRnJIYnb+HbLMT6qPbVnqCcQP2DwIromuAIBcYBZxacqRu3W+V5xXGGWWQZ5b9dh59XyLWRaFDfMK1pG1QlHRysRPyomzswHAMXnXSYCgSv60PwEGQENhh1EXVyS2nu3VV3XsWn/K/Uh8uW40n+7B4VIdC6FgM0WzVBwbKZ3N0VfmleWys9FDwn7R/J3SOlgwLU9YFbZEf6/WRkLGrvHPf62UdBRDypemq40VEWFa2IuObZs2N63nF77crYu8fruVjCwkXD1sR4OsGrbfH0mTg+npJZyBA/rzGB6mylnpVnxK2Z1BvK9Q6+AnIgFv8q9WUzAABils2h6crBWYJuiexACCmagb57JUeuaqbiTBobjKc/Oz/7FS8HNKRv2+veW1chJFBIN5Gpc6Wgd7xjAbWbHepriYdgPnA113Nkr9htPGsoxgMgfY3MntzeSLjC5BQOWVfiJn7UH+Bv/UBOZhCBOwLdFf+o7SRuHVO3okBBt6dqRGhHMvQi/wkddKLNgvCPHfVQjxxtpt7+VJbEo+SiiFmI47dwOic/Nry3Chk1vJivuYKtbro1T02/7XGyY1nRoVWSIpwkYViM79h1oT2693n0JByJhg/5+Dm16QcT8js60zztgWDNpeAXlUawjO8qz8UVaFffsErWsqjYYGOYC6zAswnGZHtVJ/4Yzpck3A5bH6BH0+dle7l8RfMZkptBEdKyPyKiOxsQxdjbZGqUvVHL13M6yI4H0xw9zh7DXEm7PKoIK/YgpuF6Ddkg++Hug57FfXRkOSUUYzZsBVAxFOVImjK0auqkotZh6a6MhDjjdPAwcowYFMLXHPTlB0cDK4BADRgrVKLh6TaUb18FE8Isud9SLjWELFCGcMXq8Kb8WHM5vDZdlvXCQSAMh0vwF9KqpX+9UBo15g63B+edLWdLIlnX2h4vYeyVrD3yMVxImjyka/ohERuE7SyxdIqd0E+gEGgzlQmf0bdaRbH7ObwA/Mh6emfnhqNSAHKFGGLtOF5HD+bT96Rfe+HNcuS9E0UBqmJB0qP3mocO6ngG6UdW9Y1lT2Thw8APSIFhZgqWyZJmq99bZKljS2g+wIRv5fOGdZtG7xtAWbttCAUG/E3kGYAJKhwo0Be659ZZ9CYJraUsaIDmMPSyfsrCMSHwo1iC4XzN1j99ImSiIeanDV72hTJFgfAuJidRf1do2R6iHsztQtGAj597IdjmMi2lohrfLgKQSkg/qF7fEu8DWIGkmMm/7RzepTR/xnPAIZ1adA01on2VN3fZNJvOfPz16CkI9p9WS71EuZ5Fs0Fu/VZTGVtxnwUiJYDOUFKYIVx1fECNUIuhyor6VkMM8Btlut98dch9oQtU0h0LsPRl1HP7Wn46je7Hb9gNAD63pLNvSwIF2JM23DZ49BO//vvOT5gS3PjHMP8lsAdEiaOwx6jFJGTZuGsYw5YnJsf6EQB00FI/hr/EtHu0zscLEGs+gWF9MZHT28FYl/uFac1un7+mkgjy5Y14qNhi2B8ZpCk6uABP27tRzf1Tg57LglZ1vbOkYiPKCY2LDkICCGDh34tNK3J7e08vgN2pUfklchSQKrm7Z+KPLx1iIPSkKRY3SVHMDBa26JgUawDkRaPo7d8qYHj87HMUFU4L/JKO07NOCwwpwdabceHGAQqsOHg2Y7dumnA81qb/y8ypFbnmAr6gHxg1S2X/Nik4xlo7u9r7ompkc/DzCuDsUVIEHQ7doaAsHxbagPEUZ54yFC+ha3W5IyUl/VgMprilF1OyeUs0Uw/CKACiFstURAfvK8mmH2s2OqqLePnzBhSBGOuJEqPcbLw7Cb2wRlyxmlIzGSinqBbKaVBIs821GjCNPwdJkLTcUKjXADLhTaJM//0o385fZdU8n66goETidj/UzOXADqQ9xL8eQVc6XNeDZL7pnTlsKe3v8K4Jb4MhUIQ355fh9l31uOlDqBc1bvCuzDsukGaaK+RdEcLSaq4D3ArYqeWQbWfYvUheg7MaYa31jUiNQCf3579Xp9A0+0qYdM6EDq9WBsTDuLNJXftXW3E4KX4y1iWeglDG5srYflGungMsiZ7GUp/EmOKgw4uiGa5CGRfE7MTr9Z8R+7j/G7hAIumiMAcM2icGG325gXiFIG0ggVUrgMEWlLyN8EDFN2CQOl2Cnb1C4EhapmMnv6Vxw/dLFI9OIws8Lrp43WSd3OkiIHLFP2hXiIFqtr2tWWpXqfmQviLz6snY7JvvMDQDKiBQFz5wcVmp4d6xDU7b1E6rsiW/zcRgy6UQfb1d7znx+295pKXuILNNwa/Jy7aDQ8flt1R0v3SkMAZ6o6u55Ej+xYM6FOal9PySotXN36nEJ5uUqbqn/hVTkcEfqTTpJa17h1KoBmCZqAVm+0RIEc9AVyhHy4qTEzBg/1yEaDuWjc/9DOFZG8g9EF6aNGE1Gw2ahW1hp7kSzpYYcUSo9VYn6eN5TqeNLO7U1Q6Uc3Vq3YYTLVuqL4Y6uCEL55D10Vi+iw8nvI2CSjYMsoNxCqJQNHFS21SzORSqlex+IKbyFoKl72Lv/eMBcr+cCOY0A1+mB9UebVZhd8Z+6zA0zbIui2PWvJu0u35Fzt5uujWFOveMmwm89aHwx/3+UkSNyh87q20h767UIXYSnLvvsnnQ6J4R4RqZrEhOxls6LjZx8BF1uLpowUCkh48vdFTihAcQgyq8ikFp3dTJzEz0l+0mxZWm4FRa8G/P96cy3ZFo7plTj4RwkLf+Oftx4phBpp8/B8GgK8ugvg7VWY71Oy/quXXk7eZa08RC9w95mtOh7PDdmNQe7nLmGrtZhznVI0gZoW+lLhwAAmDckILZjHnRAK6UVyfnF8m6oEFFbmOmif06J+syWCDedQXkXSjwpQbLcw0vZUZ4JW2WNcvqJzteLkQxgaj7hfGqoiozlHiYPuWNY3uPeuzO7z+k1vsWeX/rHeWXCiwpBvl3Tvbgjy5vnFuT8QAL/5RuNrwxO2QjUpk45L5oMfvJjG/ENc8uGpt0fZEl65dOqs/r183l2YizQKYjMT0di29G3iqrrCKjS3GFIMQhR0X1996e5RRwkws99a7iQmDngD3QHI6vF6NsNdSsg0A+q97kx3dXQrhX8ikudOasz1f6sTBFgTqy1RdVh8HYkiYRGVjY41pvthHKUan6xZYUGwexEJn22utSKFSdPVeJfwFhNujgR5HNoupwNgPIJPJbgbuPO6QTuc9QMMSKU89odNN9xJmWF67lrCpXTWEOJy7hRcX8rcGYdEihIEx8d5HUG6JVZF/OEZ5gliKssQvP3HA/nmQ/82aKaZxaGMR9KiStkOx6F1C9SZG2u2zxINJRpW/Cj65S1N8pvlHaVQCMnZdoBrti0YRi8zilu1B14/vhIt+VUUlakfV8Yfy+/2YPZpeRHamHjqM4lMqLEJCUDvUrGXD61jkPaPcmqavOlHaKeKMglr3rtE0u0YtpCVxklJXHe/TvDNl8nk8qqmVHDoYFUu7CpxI6hJ5T4E4FcjCCTD9ExXi50voysvRz1l2MyRIAjStZO9sWQRKOenXPNAM8LjkbLf/XKDp+r1BiHKxSpb9JG1/qMRRUfEoQEccr8OAFsMcgq9HueFmwYHVyuQ8IH1/AT92J87ENPUuzilEiOKu8LkBA1OYkCCTITNQ0pk4O7kOi13POb5U9yav3cg2pV+hgBsuLgcBDSNAdJWlm9STX8HPs+WVgD8BTDypXHa/JpReZEvkcpda03Iw+mIIciMJOmfKmFBiltfNNXgEw/ehMpMoU2EDlKTFeeObnX22Irmy8KetK8BceT5J0v/Lp56ySUeZxU4M9TUqPYenYvWX4w5MJiSmOn2OSaGyaoaQW4HQ82Tu7FznlqJSBo0prikSio1gZRSy53WB7yrSPCLNUKfHC3YkhRze5rMF0Bq5uq6cCoCJkPACu/VwOiK+udud5bW2awlA3+nUfttV4EFVdt3ntS5abaGSXGaxXZO2cIsQelxRfjqdRA0Y+vXovYOaG3zLohasbH1g/cj2N8NeQWM60BcWHhoGl5lNLruz3P5+DY7N4MVAYv6uK2T3HZi4K08usyoWG7NKpZL+I1f2gzEkUppL7qGrB9RHAYGjMBk+SlbR5ECdA095KVpjEMPyV9BN2t6q0BEFSDgwtxilf+dh6+6xANTLMzSBBKbdv4c+rrOTN1LH5GtQENxCFKmt+Pf5I8gQfu1dYtfnjPwQqjqWs2y0pO9VOcQfQNqExXOg0MWufUZeogunVWxc/w7F0msIKkzaytMkYqBnzcIwsk3l3we0IVvoio+xn/aPYzl1G+ybo3ObcinrLb8kOoc9w1c8QpyYa3aK7ubF5Gw2lrRE5NOXf9HKcxePysPNRwtcWKE6aFb1MdZKuO/tGciTjlkNcFL3KEpw5qJ8UGqTtHTIU8wKbuDrrK9J8LaPMFucgVBjd+kG9tDgZuV6o0F+5Ia/H5Ne19q02NunQCU6PSN0OgxoX2xUga9BLC+53CXHhie1GpwaWvz3nKgm1m0aQeTqUpWb03q+gcVyj8d8RhrHqR22PAyvQ2+sVQEULkTmyo6NOfvCwT+YE0C6EclRtkHXxzBzNiJtus5ww6UQtyS2NHC1MpryeHOVNKI03QEqajIr6Sjeieolqi/9tKoOF4j1E1/L2WpHoTy1F4ya/e6Td5AoAS5y2U9SecfMW6THZSNiOJ+7/U2T5vSjcqDmr6/8VoMD3/ixwuu6dqf6hZdiii8g6+cwbftWE6g88/uYDeRf76fkX6MKi738zA3CJ7fe9Vq0Q305XkwYDZm0idYsV7EccEMRUETpOP0xGYBYjoPxo7cbJGBNSM4haoaaC7XbScu7WwYpR4HTFLFORz1Bwrolygi/H+6Z5EdM3DqqBBlrlbD3bbl4JsO+aMsZLCTQ67kNSv+14VR6Ijqqr/DN9W3q9kuKOKMIXBbLaUEEEFr6JCLdiIHp+P4euZIDnIxWjt6x8iGu3B4gRUL6V1V4WE1yfPWA+lYVMNl0IFFC2kDDtR1DSY1Gzuo9pmop7xYti2JHEjSJqlXSqUe8xku1yFlrghcUheUSan2s2Ed7elZ+Z+jIf5uIBJhKX2FU04KokHcRvwHzm5SWhIx+L1Eq/0eRBrgL8Njmiz5Hxw7it9nAN27eURpTsRBSHBTPTKn8cVqRNDXJoEBoWoChW5zFHdJ7ToeThGtnP3pWs3vpSqieviKz1GXnoQhd5Mi/FcsBAHV1gLH4tiFrsXNSdJRtZyArdkwVAcuRLfagW8NSasVRSSVYq2SOT9dnfmqJvQ27hryfJz2ghtSyFbBSkh/4TUAOMe570oR7iHHuzxHBcCS2XmHoO/lwF+AaRZBg35Wczqcz87RLSC08gq1YGnqvecQ6EskSAxrqMB4r5AROxcLpHHTIowP4Y0jhl74d7yiqJFneRbROsH798q/xgEiiObkSo3P8zK2Jf1EPgKmAPJtoQtQTGC3hcMr6eiEJQgYjE3htUWTF/6xuIyOSck8AN7eyyvYPS2pR06C3JBnbD5x+TiafTlbE7gxt6y7iGtiUGQB20XFXqMQrh1XU/I6i1Z15506l6+YRtUk2bAyReg/yBXdFDpJ9quLL7gHA54l/nwKYN4zFjPddSaLLditR6Y7qKZoZERfFS8h4ar/E1ExzBgoT2IddWA3NChIjrXKd3xL/IM2Ium7l2JgEB+aek3eKqwOcFdWRsECH8K3zV6OfVk7yy0+QN8bGaHpHi7CBDw5qtKDfORX/y16m7pb3jxsrYP62YOYAblS9Gbn9/GYZPzfhb2hIYpWEH8jvKcJ0i2p5SigmKZGHdBorh41bPfgVhE0Ojdgzun9vJJEXI8MsPfYmpAwfTR+TZaRZWeoVfKKovUgPDdwmu+HaZs3ZaVvjv9o+MR0/QZMgFZmDFRyGJfaRmxwcWW9gGp8225zlSs/TRfJvteAKCifFoE0Nm9QCW9xCYKIGXAVs7d/bCnVjeZrF1638exvvSpJ+yP9bFu9S1eaC12NUXD0t86nNOlrZiqvVspfBqkjSFcm+m9WdHz+g+3afI8lLQKpcAD23tNK5jcaFff8zdIbxOQs9Yi62MeeTOWsHrgIrnca42CQM65p0jJkMQ4WhdNmSE5n9EoE95USNUSOh0VdWSVErA0MEW6Tm1KEXnW1sZhPjse3Dg6Ls02gcx8jZ66muslyULjqTl2k31d1VRJ3EA630DIC1vT70Mds4p/RR5o+W0KlwoKuluFeDmNRUrBrmT8nFEEzwv7xerjSxW8dbKD44TadtkGGmOfZ6YaJ+GV3GlmXx84DWQxXQTKVuoupRhSqkJj7KFecosNR4CxG4UuvNtfCu/wVqrFRa78cSKCoiUWVImb5x+q2BDOr7EjcE044scetx4n61rj98y6D5y2M2tNGe9Ru0Gqt/ZNoOCaYupZO0MnvXQqAIBVTICGlQL+/u0DEPmsQBRKBc9yiOrX+SJobv8ezM5DhKXjjqqMJDVPi/ykB+YeDCrZqvHIoV+0xSLOkCChVaQRUSAxKzTlNxiUCM1ZgWjWYeJIPnr4f5TUHeL6DwjEaMdJ69ejX3ZVVJrGQ07fTzOZJj623qPcDyUpb7ZHfr/6xy/yyPOcY0oKMR2DpfXvoN7n7X8MdRASrtPEUb2puYfGtC/0epLDXNQ2yVJ+oXfet76ccDXArRzqJKxBaqPPTwZ9+kAJgD0reAOR/JrUFD189NTDwgBXhtS8XHkYYTcFc69iPYXw68QNNs+NGd0r+NEXxP5z6AMnLV3AYUi98nfxAfWzqYBSurSctb9avPlpnWtazz4PpV/CqrDdYiYy4X2dO+LPW5+WOQeeDST5n4D7hREDn2hV60dJm0GmrnTe1TdC27MHQbiPUCMd2JpPpdeC1UBT9hFWg7r1bqcNj59+6azTy71nuLIb8sb+bIwQxi0TXdG2si8zNUywd6PAvNpz567vsqFxNEoGCaxEAP9jIaxSI1SOCJmQYQ9PUldjocpkXuKdW3tfTpSRVkTlRYIgytREGKEASq9ssWsiy1GtZSIhG3BhanAkn+Yu4K+8Ov3KXoCtO/bev2B1qBZAmhd2WvdJn4oVjss9/Artehx6CmFRfcwsG8as3N2brP2Ct0K1fqd6QJTG87auWTzCgOAQG0C/V71RU8L+dkZ3+VS+5QSJHBZxDlpdqfMKm2ji/76GORfUjwib1BQC45FgHBx6WqnD7HneoaLLp+pJ52DxEyx4Kr3TT8mqMN8aWUyucLssO4xvRuLlBcgGkBOa175kMaXoxHtEAP2NT12HtgL5P9odImfo/dQ6+/LcX7SaYmCSp83obMmrYu6jS9QD9aDTpKL87xX4G+7toljZIpjqXdl8kuHBX8GeiVq11OGZK26Ik08xIHeHnfoa/zfOUp8l6JEIbOwzpKoPbQIZ1RwBVCaid0QwTm0fDOkCsRA9YrFPiQZVQtYcZq6BHIUq91DcuhApU6Q4oHq6ajTehmS3fyN9DjyIrr3gOtNJ7ZydebUo+z1WbiUCfe7xk6UpiNCZKSb2mr5oSGUweZb0VpWfl5ogpmbm3+PnBwTOdGKWINnMtgPf/txL+uGoN9bsWb4VO/vhAMdRSS3QjVsf5+K/5aBUdwFmiRvrF+5jpNDQRS8SrUt+NHSRbSXojB8IG31nNfpeWckmGI9gNb5H6Cdy8TQgsziOoEki7D4SoytTSr0+rOdOmy1hPKn7KDIecyGOvpE0fcxcv0aKPOHbr+q1V2uwYAIldKJssGZWXGg3QAIq/QBMQzZtrKM1ut2Xtld8ta+Ilv+6rwaNcPp8vagiYQo6PIP/Ut81DTmGmvMWcTFaqw6vVZwq03Mc+GiQsHCTKzL9F997hTqmMhknJAjCDZg4blHxGn6F7n0iKSd+dcdJP18A7wp6Xf+mqbygHPdQFDno3JsKknOxYyonOROz/g9ZJPJ7BWdOCYQ3ebASrHfVc6h7bydIGuK7l3IhecQjL35PhGHfB/tmsknB0H0H3ES403OqBITQJlCrw9vt5MRafGf1X73b1a8dE9Vwtk79L31YpVyXfIYwkNTiBeijkbYOITQ5QJ8HRk+t/n9pLSZ5lqto5B5TqpoZGCKMHtwNKThoISgclWmDAnD2OIsiGHH3sbVX7yejhHbBH9yjJZgFdE9fyYz70zZhb/9sxcKOuAajVSeooIfXsL4HD+ipJNXHfvhjzw6v4mPXSTpn5MBwTN4j4b+PhlHCCOr2SooZdiq6+ybz2A7ZRm4J5GgWpsxkd8wabLmAaGO+nIume2Pgg1M5W3J0ECG3PcYAfnukHwojgZ6+cZh3C8WTwIa1SJpZUa0zqnUPzGGjieRZ9j1WCazKFjhejnrDfdhlLY6Co2z8HQPP72j6TxsGC/pIfVBI45tvMzb3TY7+x2NB889bUx2dEx6M40WBEnroS4BJq528JQmVazFwm3/8kT9Pw9eUAj9UPW7efj4ISKwTHt5ryiUGJjqJETWAUq46LBx58QKaBN/aTcC8b8ngC0QYivQqfH7P0igq4yRJtm/sBHEtwEk/8ShIzH4eTVETREc+GnsGAWm9JY7WQDHa0r3VDjq3lew7SOkqcMcTJizurgTAGombFBXzyDaOQncDmxg0FoT25LD9JIcq1KmAROIfLmDVMm0tGBEWWCPYG7lP7ysabrSO6rQ5eX/m9lmmccC/3vFzw4zziC058XP39QeZX4LFYyEdL0lGtrIlN8GpepbVN68KctM0vOnw0e0JA05QJWB8qvne8nDHJxOkG08BLfji38smC6tyAG66n/wIr7GtS1zk41PFpXkT2lF0/R8jA7QKk7jQ1pRXpFyPrWG4OISY+AltueUsbVHpgJqmIc5rRFgjorNPNqVCmZnvAeViC6CYLhCsgjPq7Q2wmM1HRMs59QPIe1iDTj2ATeRdSw/WcWhac/EXKvRoPFR/fsjFnUaCGuOHlAkiLv8cUO93YQGdE/XZIiV9FBB5TMVAhvfwgE9MfpWwtxEiN/Dv2/1qo4XcI6ATEkIKcJdsg7cROkjn6e1j5QOjqWI0xXQ6H9WKQYg+IW5FpaxOUYXrPJE9qTCdf8Fuiewa8TEaIpA6PCccrrWS8mBcaWicbdfJukQ+1QrZ6IpaCFXrLznclFjZgrhHNOse1ujDBhvxNq9nDOyOfgAw0GTGDkJCg7uingeSlWNusBT2L1CuheR19LmrD70K6fhzn0Kkqrl29yZWXUIwy306BoOLA5dJROjBsWg/BT+RZ/myWwttRWtTt6LDLB9J/saSa2UtGwefS7bPPd56RjS7Pq/akwK0NxkOmc1Waa+PfGO0L2m96Xrj9YoTjbE5mdOKpTuiA3BU3oZPBKwG1eslh0D4g5cOOXi5xAb/mmaSho4gol9dxpFEr60b7/10287zlcU5yTMttyFGk+Wl/t9qA1m2Ku/Sih+3SRi3KXKUmTdySMUxwnQJQhOVLqqHbUQsIMWzlrk0TVcXwnUb3+dFrgMv0qqXz3Jj9b/or/DMg8xerLwdVeti85+J3M4vWg6AFBNpI4xhlKcw3OO1piLKHu78GkhdIlAIPZvCVZ9Wt0Z1KPt1JdkXkT9uf+/2vuvJaULU6O9MZYZV7PjyUGnQaLNNDcGld1eMaUV0aAh91p2t6tmIylbISQ+Kic9hoy+6huM3kmWLBkIuooYeLymPusYgbzsGh7Bt0LsmbutOq/053q9IyL1cB3sYpqYpGceE3I+4mKxOvB0kJVxvwd1zGXpS6yHPw0U46j5EoWpm5rBOjZhY0l2kwU2O0GJKJkbOC+HMNN0+9Kqoj4NKHPXgaKJWOhi/7O0n8bheEC7cgXTz1XpWoAqCj1AehvsnwTidbKz4lAUtX2sugbrRyZhPiCtAYxSG19U42MXPkCAsWWqajRSEZ0N08f/HgYs+OKeAyd5xttBaNiM7C2Xf5G1FSm08w88b0So4k8a5IAnIXQCrTJMMU8x1SKvDvZQmCIqlilROTsQzipx1jSK6boSzphdLVveKxL5U4YmgqsiBIizgjhyUAYnfUBDPMaqOLbD92264iNSEOvK141eWtfAcMnFQjDFLcKa0l7JCeG49PhckqH3q2U3q+ZHvoQhe3xS+WM9mx5zANQimA3HrKftcAgoBmsTcQe3Q4EdDFDBvy4qK1Dh7KvXwYRWREJ0SWm23Ke15wsb+6RNuHhRaAUj2lISjvXSAwhWO3LefRz/ylQdw2yw2gWz2LsoCI2r3JWMva0eErZUHU/bUsy8ppITjLH2LSioSP+WbP4Zk+QNemKzRWyTY6wghxL+/f1NKG6H92GPe5fmNmm8W/IctF69IzJ85vfTFgmEVHgTKAKOEDKK1XLmkTzA7ndwZsglPmVPp0iIBz/vOSA+lT+AduOvvJI73uparvAyPZk+IX3IQaW8veAV/Nk/w4Lr2qVIy0AHBn15UssjJ5PvohWpJRTwYfn8fNOahIMFsbl7ryFRklrqjpn43RjWtoQyTZ4uCBUzqhp71WT38KoRYJGdfcj++pKO9L/uDYv7rclsCqnm4o0AAxWzUj4AfrcE68z3hA9uYCncRVmSB5CSX0kXiSoW9jLD6aAnHodU7dU1AjtBsXE2qYu217gS+eLWu6BOgvV9e8b1DNChkZLKa8hviH4xQ+hhpeK4JbS2EmNOSHYZtpk/jSacmLSy4B0pIcHkh6pdudxXIC+GSNtM9odQEUo/JIRjFx74CExixrVBgn9lNXlXc51332t8b2FCOxh+ZZ0bHtHnv9+od6DScST2viN21+VHd4gw0Cv4GeCXsn3SXEz+Wv082waVBI8nFTMQ00az+KdbRQeSHlSIMrhW/iWZKFvjzOE3BMGVvCf6lU0peuEMHFw44g46dGxH2Ws49W/Xd/qPLw9rQjeK9KZ5ctmUBTJpMPkQRB6pe6WHVfuzSN4bTpN/VKq8omLqkMdUW+OSq13nWkZkhcD36Y56ggk+pMd4WfhT77bQMiQ1+XNUukKt/xiLgMHXJlHgGX4JvzYy6v8OkcO94sLht8QYuj6pZHb6sGmXfpU5JaKK9jI+fcJySmPcUT5K2Ht06LR21YbVxPkVbEJmiy4kiFnUWmZmFoYCPYGRS3oDR4JLU67NUIYElh9McQzp9g89DqtkUB7XszoF6i6gVrefEMJZuLLUP/BvZAsFltYxoE3N6bsToejIsTX4IL8Pzd7VEjMh0q9rumjdMKubr0eme0Xbf+PeJTHhjOqV4NAmo9ZHjc+RokfCGn+P3Y2bbCAlI8iVrdCc9jUCXrBQIsR2JbhmCdqwEYFFiyvnFO7ND1kGvWG5QlfoFqpNgz7R18dOqW3lI0yiu463fbCS2j/HecxLFAuJlMdM1VSUciNnKX1vLifFCLxmwxgcuGS5msV207Ch2iMFGclragg+2edcpa+4gYlVPnaEwq2gtiaOWcCku9rUN01mC2EqZ7eYpgfrcoJ6RudPVyKpb19f+/4uJ3EM4UxTJdgJq6c0pjapSbnvrMunIuSDDqmLMbEFauDX9p78DUdLDjlxVwpObrV/D5sJX87T1yZq7ptMtKkY6G1fIHcp28ctm1Lg8E0e8kCGDXeSNe6XBxzbUhIRgLzP4Sd8FT/RZ5zRICEXpyTbEVo7GdyuIn6jb/pNYy5jxxV5zsjsuq3YiVXXasvPECiCzLpT2x8+M/vJULHYjaXyqFKKWOLhDoAfRGvZgEhq9iJS4rU26jFm1LsdtMaPDBAtlmCIovjAnXEfK3wpAcunw/Sba2d+kuvguDEvdSEwWttdnzSCW3/hdVVFd3zifDFz5eFtFLnMMsmmmLvI64gfpaajzVXlu70MjQap5VtVrREdjti31O58hOa8q8fiQ0GlGJYt1yqqrPtJeTzE4FenQy7U0Bpf1DsDcu2r+F24Vekhh2K9QrYiX+gJr+/2bV2/XrLbq6gB6WqOr+GAcYam2A7QUT5bAAWc7r7X/kIAc18ZLXk14lJxClFnYD0apNz27Uxd+EfPscikvhW85qOmRCif0bs1pnEM977Yz61aWNoLmgRlrKIQajKIKOinU+0jBvOmrHoHdlmyvhfXcMsCGIVQVocXHtH+drHVq+FYQJ3sjP/FTLCyO5CZYHmr9bXcuSOoNO2C8an9nQvtodVNLh4ljxQrymZVchCSSAB/fHwMERzQj/1Yh/21kJXUbT51PMUU3L1r0NYo40jkPfMJ+P0OJgvRSuQ0QMCsNCjQIdsbvsjNFr7cdJ1iFWAwuZmnNzB00XanRDbdgeta2MC79txesSHNxQA+V+09RsIvTOuucBoqc9fy26aSXgrUjkYbe21lpLB8YahbH6ZTtW7zLLP0lW1PwzKpS3s9LtPEYux8dpv6m/qXLiUVJquWLMApHGGejQ11q8eldWF+7mmAmKTnrkbofxBlJ+0BHyeYysK+CyYHM9b/84p76NCE8ZOCZKgnzrCnRPToPAtznEJ9NgJNDxzOhKaAIk1+6yO5sJ4ZhJdsVFqorTsvwg2EOI8BVXfiK0SuYf37KC4dWTBF9q/I7OiV+9QAjgk79PRR719dEMOxbKjJMXiaH8B6TVQZ6RGgo8FBrxREM6JFuEWgXN64NPGGGol0U0FYs2VufArvIM364plQkhDz5wA/3Rhe9IXVG/COF9QynrkW96NVKlK/NDXV95hsQt+WAqK9fd1d/q4RHsd+kal40+PXtj+m9euIcD8n8u4A+9LQkOzzyt51ThYIvCoQMhYPQmQNqZxupJEPhnq4gSfKxbcDd6Cy6AL6H9YRnYkyrm2gDKnClbuvpieVcOPQWug3yOaQ7MvytMY6sSp7G7doamexBnrO+vV5FzlYpsolKTByUGOZc2V4UiGsMTBCO30udXK2wqxuPLzFLuTf2zHPvKKF4du3J4VQkNCmxzamE4pDzSc6rAehRy7MAHtRRmusiTCG7Vbw6xOlmIyJfOoEXsO5XAb/HQJecXdC3jpPYqS3Nxt97g4q2YI8y53QKL05Wo8QvvgAUqxHqC5TIjbE9EperyS6oKTAmcXxA7mRhy+jquqfQIkAiSueuNo1ULQGK2B0pUm4t8rOeUpilrbQIx5A5z/vZq+fXfdrri7FRg8J+SYiOTwjEwr11yQwgnRPnLkHBcRE3SiVrDXY8ckzrrO5/DwjFnLUGdCm5ASFStlXFrh7Kc6jec84ZcPaQphIrHmmGayLfz+pPXGCiem3m/zOzx+JG88MMJia7TcsrgPQFkeFU5g3UIkVWRy/U5x0H56t63Fkwdb/J2rXvSmzaCU9d1INcIebg+UkGD4vz9Nb2qGHpjZZaA8PKQjGIhJjateyIx1achB2nkUlTHOAg44U7v2/1jThNm70N6ri+gFm4PtAWuhkr/0b9t+HaP0yD5rnD37hEJ+XH4zTXkEbbdlHBVJ+zm7QdVJN90u1y4xhRkCKvsUQ5in6KK+IQp3sQAAu1Yt6OXmP2XKvlRpJ4k7MTPIJtbQuggjUxj7/psgzIWI6mLljEUiAD+afvW5k3WKM0bB4Oh5kMNNFNiFI6zpFf5vX+bGVDgmtHndtHz042tEzORs0fOvtuNqXlywpc4TbzpgaR8/xmc+KmQ4hGgg29TiSV+1BA9VFjjT0hvFoob8tRCu+WtuX6Nd8zXzzzI7d3n80dv99Bsm116EgCniVNlqNVf8friEZG6wzucqBO4wp1wP7+EwEJ5oWMEK3H2rMHqd4m0aW7QgmfYSqlfSZgchpMye2iIL6cy5bWaaRRVIBk6Ua+lof8OJzH8uZ2aDF7eKshS3SRg4BNsnqbAaBbFEL/Sd7rfuq7qqlyFvgXDH1J1OeB98nJB+v7qrc7PfJW8UxR2eYWl+FQmqv7DuPEPynjOQ952OtoTxF+Vj1BwSVXeKI22AFGGuAFcD7Jg9ikty8hsoyWX0Gdxi+COR0gpTefk2HIIoHAZUJA8dZCyiuIZpUHHBArsfkHXwiJ6ExL1DTr9/xkco2JeIsFndUUQGZK4q+f/57UxuUaR/G9O/ZUjGUJezY3gKIbfwZ88Drvy/dFOatyC91eDS0ieik7BwKySf9gpUDiG7gT49GG0Odeu+RKvqPGispAK5pv+AjrSvrh77sEdDuuYU6Z0Ze4ihv37CvmFzarvYjHXtnTp/TkLxJ+Lom9NqpafaAeVCT2j+1XE/EQG3FvB4mIGHiZbfH7d2Yf7lxk4J5GbFM2EOkA/P5uCpQGMOVw90G/1Igr5A/uCpyKgv3bm5L29Fruy0PlPOTuUtYY1hsncVR/duTqgyZdjZ4LFlluiUzeW2kW2IUMjs2fAleIq0mc8zcjeb1fC8MRbFxw5xuJ85GL3RFCa9p2/AjnPpa1I0sUo0kIypL/dAQu+rjYVfS8/wbWExX7GbKPbYGoYnAveUl3+GklqSEe3tDsiTtxSwsnCDqWohPo5NQpQ4O1b5c1gzpwuioemswErgbxUW8zeosRUMLUirj585LQQljzBCO3xtreUOvdhKkL0YvdF51tp/AdA5XQJmO0SvYEybrzMaCzr/Cx0rM0R/j/YOtefb6iN5zBzPSCQ65uSDFiyD1g/Eeh5u+0uI/BQ4rxU7DRMeCExXWYcOH1/Rb5apaJcnNQx6Mih59UTybEhLfWKfqABiO4hdvJfAoEkGuSF11SYXO/Uc3ta/+2MvlrWuhLWQzCHWZVycYuLOEN602rCbtMZrj38cCi3pFVpFdwlxXu9hVB8SdivIlBTz+z7lvoKMfGLh4Pd/94cSsUUdtAKF2XHEktt26MWqaYgWobjrEQXg8YDnyTc+vu0Uyr4WGRUUEaYdv5lqbmF7Y6NYSBKxmjuygA13C063va8LRmaSpOOrnjJUFgOHOgJNLU/xJ6RdBw79UvkuJUnm43XCcjrS1AgjWwmkOd9uPeooyuoy8VMl/8lFY7+BO7PzPfe2MnIQ/ZgufFAy/wUPdgn2QnmP+ac/lSrInAr3AX/3eBYDLmyoFn9znMFV5hQgkBjd4w2sQCy0C41AbVEAgpMuJr05o8DnMPUTVJYpUS9BlTfYbIT+Dp2q4BxdCXADJoZfv8Q3x8tzxZyDQDLTe8oVggNGqAQmEeqPcFwkFSPCmA5inXj4HD1AC2/D3g+eB5Mx1jwnzCzlNspEbJBLE5eeJ0w3Yte/ufrKNZFup9cxZ7pQsDevLf/XzAWj7NlKIpB0r+DLWB80k4r6z9u7ryu0SJZmUwowcWylTllBVjSZ36g+BL9T4WBGlypTxXkagK+tZ+lPirHRKaLYBUpy+k7QzcE47wjwhopa5Rpqcqb+uGqonotrk6VbfrQM/rv2AamFmuwQf6mMp1RWMRYoYkuOu5PtBRk0OOmjH/ftAQpyPg5dNULxfz/2d3vWsUXoBCqVAzEN/Ai7jwGpz9NsXQZGHM7z3LUeZ6CoWNiRP6eyS8IJVgvc7n0XYhgqD9lslU911XWuO7Twkim+Fdz07Elh5/ESzf5ITBRSNkFvTNIOGsqvnbdLUAUIBdp/KgfkI1ffc8J88qgsRyycoMsdUUgxd6YdccuKr/RbVsK7fThj1Tp95zmdodG6p8DwxVYCMqoHYQOu0ZZZGbvTm5SCHVYfzgkjtQVf9aw4qjNwgvU37xegl+RySUm6QC1pfnBJs8Yt+GXxgxF7kit6kJo8btGobDvZaDBjBJ5Lc8jF4iiFnlY+9GouUUYw6y9ggYQ4yUeyghFhoesrpPTcA99j6RBWemEZ/X80PybV9sZisosGVzzMJX8MklGtr39SWirOPx0NJUMn7gof3VZ/bC2m+BrmALd48u/2ihdhgfr299YhOwLjHgA3a9E2FHzCkVVPpIg0XCHFJi4Bzb6TQlmtPSQWtdjw4km0JuVolHWZQ6wxNRH9TjjxmXeDJiIGcvxLD96XKgdRmrffEuiiYN6UoCN2Awcls72bUo0dVQCnt2jf3oyuCI06q5vH4+wcCwMJrD8GCRDOf6jGTUIBXMzQ2skxKyebUDqx9vy1YESiz83cISfTTaUYURhbQy5RqfvxYQ1OBDoUhIwf0I1yzxBj4VBMlJ2eAvwroY1Lor3ZxG5+1ltNn7B6/vLXGN+KsO/i2ohDbUkJaP8KwUkacyWykvNuXseH2VRYusp9c+PMOsBkp8qyCxSahEjRJeT+HO5msHS/MYxHbKkrUa5y7CfJJS1vizTRibUyWuh7Vi4pZsuMH806eIBm54xlkr3HpnOi9AD9oIF31M9O/7ZDRUKRSynAytqR92VMkgnJ4/Awknr5KPmcJBysBTOZ40xrYBxpuqUwLtb9v19k/+11u0ZdMv9jfsvAxe8ht2qrt8g1DxbMiQX/mR1D9fEALkgxpogEcggzgaNmBeqb5CTBhRqxDC7KhfwF7z9mo0WBy9NuCJndW/1kPkWrM5hJ173ValaSTD7h2R0pKmNufxERd9Mfi1tQMwD/enu94yEtgpuh8fQQXuVNc9ao2jcyccL1hGhG5C5/BGYmUX7cNxyW1Xqk6axSvYha3YfR0xCMJ7a0iNefPrRD9Qcq88Y4QcfCSVNT3p8xffTX5OtHvYzJfNM+fEfiRO9Sw+sr/AQAUctqAojH4sxuXLrtgMAAWIgFkXDk58vvEB13a8TDE7uwr7bBxVcddPOfpFN3Ja9NzmGKyhDw6TG0yjbPMAJkMuT+qgkLguJaUyN0ouCHFO0Q+f8LIkOhmWwk0P8lVDovb02DFp+t7yfWkEW8/GThOtJevIt7xqwqLZ4ZRFasE9SatwdeYawzyc8pxT0AWrRfFKEDuERSPeeCi/PZF7fLosV0kToiezoT/mcLuFt4uplVCDf7LRYJn6y6LIuLcaEG1j3WGgZ+pu/gOtjFTOazaQ2FX8TGExBpsE/6ZrK1Ojnd12P/6NB9HKOfSOEDJENTiI9MMVlXxBhjc2fcI/ajm/QSsye4ihY4E/t5WxPKzY0ZGIwCIbbxQ6gRO5qq7bOWtzYF0HynRw3S4V3egiJQUC4e5Ss90JzWBzWyE1s4d89xhMiE63MwyWsE3XzcrsBMmLqpX3BX13CGz1LhRm8a8EqNuN7DsPDmnb1wED+i1k9v9L8j6MBnX9MqVy9fwxv9rJNH5Ju6Hk5ABORi6sJtXZS6Dc8xPQpAGehzk+nX9E/7Pi8zeFnAgD3PNIj8u7hp9zTq1KHUn+/cFLFWXMA5uEgUEd6ki63wN24Vo8xei9vOQExw0uiNPa0hc7E/G1Yo1PoXoKJXzRSssK99dDWxiniiXhxL9+H7si+r7tN7j15tXF0GcwxLLUMRaoYoXOcWty4+kt0k5IZlZp56bbkQXKl82jCaIJ3qLzraZ/m6msasxiGWUida4aaWslltIiaeIltVt6jxFs5xG9Ub2eQzwgcOyE5OFiKAldC2xB2Z9SK1CKut34sth0xi1U9xEgACrNrrxG5IQeQ9cecZDqV42GyaYbY5MCQZ7pbDh34HXBjNb+kPzH9PGKZvKBHIU6pbzME3NtA13vymCLKqIg86oiE2fd+mEk/40ISNqywOBgE0dJatDdQDL2KIQcHIr9fiJxq7IncoqkqttUqF+32j2mf6TFR1lPmti18bkbGXS//IIjElmIksfyGTTSQQVi+SrtC+HhlpNZDM0V3HGMDipEvo8OyKKOiH+Xh8Dc7HpU542L7LKDamLrQVP+JWOuJA8O6Q1Wb017fH3ctl7/FgupVuVAWPdzC/pbj1Uctz0Eyp2w7fZ3jjA3tx+v+Q2L+jljjLzGCfRmT9aDRtD/S+SawE0rYXFUSmOiHTzWgVOpSUWug6DANYXXdImq2AGGCNqsOgXwhyYbO/e1W43SxzSSmo6hFLDNQps9jMdkIe0xoGrkYU7GIPe33bawGezqwHEi+quPsBMoRjnhgx4xbI/H5cVo6A+n/D5BbaZo8r6DFtyiA/iFVUTSLVC3NLlBllVmwrhQ3s+7RaLtH6J4zfzo5am08Nd+XvfdUm5WTRM11q1iL7FuUfxyHk/OcDShDut0UxXIzB4/v2n3RsbUlWgNR3okVkPYoX2cVqHTNM2waZkJYE3lpWrvlpeqIUiI1Ifat5vs2rUOlq3CDrAZ12uDU0zClQ0dsG1o7OEN7fVXBhNLjIQ8w4trAFr88T6hd2qudcd/rZ1bAyxrll21AdCgTfhJrRvGoDfEAJRzg3cphK+2rBq51W6u0DjtC+L0F7i/xynxPSdgN6SnrDdJ6/ek9XzjtOhx/0r3Ncrpw6cF1Qep5GnJubwKlwgyC4G3PwsGLLhjRlrYg+3v4VBMeVIMxL9gKXp4bBUSHeiZNyv7RxuD1l4UdkN+QpVpN70IzpYZVSnx6Xd2olWmIATXnz5HUysNuvj+GY2H5Rd8U/inEkrGYLb7U4IZXxxkk2zl4ggCRiEcJCsvgU1eizLINIHlu0iRT5dZA+qnA77xCO5iqG+SZR0H+2myHM3cQnMFl8qtfvuCmnozHgPrQ9yDQIgMdt/CuiAohyDIUoqLSF7QjnfoC15mB7mpyKsHFff6rjeLNg5L7OgyQdkiRZf/dScKn+0tCWfLm3Zfv9zs+URRj7cpnb8XIoW8hBXafvBenZYIgHeU7kgRvCkuONLvO9PxIh+ioaoV+cCPL9swQtgLrIK8hSSbaha2qVojRMqJ/L7RD3qqbGSQVonzP0Y8/VlNI7IpA4TsYVT82zV0/xzHxLb1eFjSRKSCPzEgzr6+nAFyO7CddrJHVTxv6OI+bSRr33RxjKXaa+SHz38NTmX9oBsCypPB2KgaLVFn5NNwOseSaW46VVUt1+IZfX3RHgBLFzXjWh/FCeJBGcYbnKEHj64P8uFkE/e6sIU8kr7cc2wyvewbW8ckL2/NmAi8GtRrLzp7lcgaAsUbx+L7nKyWNFClyCEVv1vEFyVIYUimpYFYZd/3gEhElwaL/XzwivrCv1T5+HLjUoR5IJ5kysdQGwRn3Q6HSAee3F9OFkh93zeV+SdEHSNhweKxXt6eXNbUshq3eg9CkxLOqX1uJFDCo6+qpKGY137mLJaSFPA1igeIqvGpTsOMdsnRaUhTVCrvVlx87tyksI7Oj6LD6DE8hjGnI4x5GmaMSeKi40pK2HDu+Is+rc8/6QaYVBLsgTIVIOnxKZMSeXhcU+VUxA/7iFbMB/9TInmFPnGzGUL5AQ4GNHsLFw6U3vfIKvhPNrcRlNb60GOgZ68h4MAXzq7zFsL6ZlEVPil115ryEUTh/tsOtLu0YQhR21Y9KaRSg8Wv6gsKRAu4WiZuGz2Y7hFUuSAQzJa6AMgD26E9gUJABXKU5uZhglDQQU/chslIxvg399d/C2p94P3El5cqfCMdJ5yu+YqeuogPm1anFzBcU8lC2/Z7hCEjmQ/LXPvzKBepXj3e0Th82cvjNGWIccPtXAKY52WilzjxqQSk0CceQdsK6o9odgU0fu2mYo3X6v6FMG9QHqV8ObR2K32BPI6wtuA0ze6HaKL+LyhKqDHlZ84zCyxuOEezIPblUnJGRxme9uVymS9TeyWt/AyaCwA0j5wOcVVWi0d4yrPntzuYEHa6f1rhPahLnZjmNVIpzxvrYroxJ358zzLpllWmk+LeYFWrpAoGBhQBYyOmpy+OxDC/MkSjALlZroraZe0i6juW/6xW4zhBcvj+Jbdwz+XXeo9AmAh+5Z90F5gM2Yb987iU8pc/RfQ871KscMRllOHVlAr6q4kqEG4SnwrEDZnjSOaiWPB1hcohO670OsM4vxreL5FWBue6CmHJ60/1zRbCXjaDSN6J2kmmxS0wibjeLHBXfWkX4RuUfNY+5a8WrldjJIYSn2DUX6KYHBzmwh/ax1Dt40lIj5Y6aylRS1mPkZrewQmm3WWkN/c+1cRMu87ri3yZQyUB0A7EdK9BE5L6WKuJvhlMmIG+bkWdpJsWtsVUPUPGB2x0LnD14dte/TRmGOyt0ehUM+HXU6Tv4yoUy8w7ObfhfpHL39V/mX9f4oTPCUe6vwIzViX7pcL9CglRXjjryZOPDfQmjx2VvhMYpls4Nzyxjv5JK2WaXNo+n2zoH4+fubgfoYVmYbOBsE+O1wNaHzaatCnW/ezECBK9CBXOXzncnHiLubB6uxJZXhHSUnL0il74T4Z28tKMd2L0mnFOgtQmN92l+CjTRhbpIYMIYjLC09HfP44d1xJscGwILV+TMMqUTVpme3ZvUTikqJf7lvQ+cjaRIXmixUyXrTjqOUL7dNLU1VjzDFCfKkKPtVniMx1kQYMMTxuZc3Z97k5coSkiJWm1P9lcBZ5EqgVmxQG+OgKx/dtAyPK9hJHlSmaqCgbFUxl8o9//7d9nEj7AHB0MxTaMnY49nVg+n600PgBx7/0iDel3cdFWax9n29UhT4r5kaG2kt1ihOaYkdJ5zPA3yInZ/eLZ95mrdz9aOAjCs2t05IUq9/dR6AZdf3aT3I4YdstkkL+xs/fc3b7yGziU17j6iomPsVnzBdbY5ZaN+y13dytsW9E4Wltz6Zr9zNnfW3QKz88DI2tGUKQ6xgZ4tMAtg0KYSAunew1jJPqnQe/oTmmuMuF4TUNA2M9Z1aKtAcAGofVWy3K3/O0k2RVevpq+uwYdhW1cLOuKHdVOxxfaC0nwT9Xnnss/5DQlv0PP/W3u/XL7tyO4zXBIJMU8y4+rJT814KMRBxBLxBn3CodOVtrq9vYA58nO8W1MoqBnBxEh2eFhOvJLr/iE69mqo6cpOt/jf36eGP9RrVmSc/Jer8R69ruf008OcQ6zMFrR6QMuGS05u15q1XxrrwgdRBvzxR/KREetOV28cWRemleKFyW9ZOIdJcCX3RwTl6E5oMSMhDCCcohp583ttWqxeBPTx8tg3m3fRi2g424h4T8mol5PaQUuiaRnXQaYxMiYu1pyW0qkyHezoDzhG91QriqcpQ7mSHVjKWikl9BYY8b1mB3Q54dXao1rL44ZOvmL6ZAO/NMREA0XI9qH6kPPIzCr9I75gfhk0UtBCF8gi5C4H+JmQ3M6/1a+Db4vE9PjljLS3/ppOnwtD/zFU3G0/91IPM7je3G5I6TmeKUiosjl94gQPNRauVnuhl+EnVQsht0TESN9b+wlDIqDfhlgn+lmaFcU0Sr72Hc+CwqidCZlMHhuXsAYM0AG7sgEY4drqwAmkM8drBdNmr9ttAlMmZreVvCGn+L9IIRAwt7eHrEvnU9CWI86p9Nif3Ow0PkEVM7GT3A6ruYGCT68a4GbpXQ7HbcIB1PbCpgEAadANUPGdXE3riJ2WkbkjbP8Y8QDcLjuYeYCVEhbyBottNV5SgPBbmDgX5ubs49pMOsvVFh8HuMELw1Cobx7vnmBNH1CQkY9kgZf3NAp4b8I3QcxTIWtTjmY2crZEeChthyKI+smpzr2TzwqtwsYKVo+ZfiR65UF4jt9SR4a2AHeEeVIV2bENaFKUOshDJO5yMklOTp9dLtesCUmgiI/+RbyGgxYs50IaVGZK0X16oQ6bDBtc2T0ctdgyZ0ZE6r3kmjjYKoMiRrRahrmPy/ZZgNigcWS4eKW22FvhcUf49WyI6ZyCp0GV4FUEhQuL1wE33oNC/H/CywaBDGvHxJs04RXYJ2IQhserDpz7us+eLbhNYoi61kDjvV6vYfmamlcbd71gtKGSe/EM6OkqcuIux7Xi+EXCEe2IvglD/PXVI3xFHgSHCkI9ET9uGRha4A6Q5QwWbaicOKXhCdlzjmfmz+d44BhL5F1RPnefhzTTBXxcV9Oa3CEVkq/6EOAErEDRzQ2ipwglLmTf2vYBe7P7BETtdYNoELJHxcLbf35OCBIj4tXZCmzBd2aiKhBm8ijlyHyDZ1Ooa9NEctfwj2LrXTwoz3MDyPnTtBBRMel/jNAoczHPJ0iGgwOEKrwv3iEJAaRuPoxXQLXsaiX/eMKlfdAlK7pxtlG+IiHUW1rpiP2zn7fCqDyJvCNtQ9oFQODJWIg8M/Fhq1aH3N4e2Qb4aHO5QmeSlssGcE2oGSpF5f4oyYHrfjrZsXZrZ1yG/1l3NByMm6/pTr8WcUVhNLDwJl/tjE02fWbWELWMItPyToUDk0nCLygQN+6X251oQ9AWUNDJvEU+5VCJaqsWu5hr7dX0P7jdeip642KfC75otQQNoNC2KX+TzlYGPocm7VICrMDkQXJcfNWnx6yLql+IcbSo7BkoFd9jMiiffROYVZBESWTW8d/vQGTLXUzKqQPV2mJSk8DQdPEifUHf6fJCr/yzCqJLPR/Xegd4aWalmYLWmHqvXet1mtBzze9jhT77gL2ntYA5FwdTD6QtBzLpIuLfFhHvIF5KKp8+kA5LNtJ5wLYyoLZQ4b26a8VeuFWcvthUQddZ/ptwLyJZryakuIp2t+oi+lI9csh8VhsfenWmzhen2L8qG1lgbJff5xLEFaAabWIbY9YvnvgHkGXmqjixDQR+ziJ7ucV9Rtc3voBzj1IWxTi/1DAtXT5iJdXZk7m/8G5esjwrm5SDE88qIUaZl07l6OdWlMngcrBjFCXxvGPofIb2sj4cdneSH1yRnnG8hm0AT6/kzIWI3+YJAxAEPFZMkdUSgFCrv4o2a4LFEhvoE1DsrjvTrJZ1Da/JJ8XwxadzQLkpNYSwqn/B0vLsW/wH7GXJiiAUxtbW6YkUGkuDJsI2i7A6zjWVZ6NkdENIkwV8SRG20zxCcOfpLulwmD+QsTnOlYJ38u/G3r8sl3sk8ubklr3GXfqyA/03oy4kJjdQBcOkc63WKorlZ8nS0af/BmjiQuKYjpXIBHXiNrGHpI2enuD2fWSTMvmfnw8GwTm8iiIIYApP5/qvflwVgDkOr8CSYnXX0+kt/f4a8p3BaP60OoBVItlrN1uW7Ic7moDWNuR+/ZE/825zq+2eU2ltNsamY0H8M/bq17Br9VCUHKfTtT8gnttLok45GVuHnLXe2fU+/7qeruusxF5JDgfukIZmtqIKAaOCcWTM8aFmt1xv8IuHhqxpIbEgmSCGsX7SEs6Uz/l4t/UWy608P6e95wOiu2I4lI3fu/WjrRs7LyVNP1tdZ/t55v5iMxPxsk9Pyl61migLUJkxiXdLTweapWEdBFie63G/q7hVBYYq1ePtGquyhPDUvlHmV9qt9yf5656gFcTjbWVvd123uCrXP7AmDuBZhUt7ajicsFb7otewfa5pnoLhyOnjoH35V6hjwyik/Y84HbrMonLzyzp4U3U8mxSLmQIRTmKxShem37M+ouc48ujCY2JN1Y7jJPeViMaRctzFHUOkKQdIgeD9QUcSYwWKobONIybwhoM/TlLrQ0+jqwVZ2/gd3ilkD3wxPc/U/TfQanzZkKzFkLsB/P+mkHqLuQohCSd8CBElvDnDWs5Te4P2M2IKVAV56oRjTy69Jtb9SpJVygxXcN1mj7ij0Nzp6paWyYHOEQUe+rXCuhGYTKs+ODGuOpwBIdPHcVSjBbVqrj1xCAcibgsuctMc5C6/K3YEGIIPkHRD7q8rYP6kyUZY3mQFT++cED/btE01La/8L2mfhWAluFIXS2twzU7ZwopyDc66gz4cIq2yEM9mui/TKn6fSkRu2S9HxegpYx/PKIC1b7R3BzS2QVyroXYz45zZgHAASI4d/15p1PuybBIpI4Dg/VkzcpwNiA5ol/ANSMPtiARDrNsb1ldk3aTzW8L1T+dcIzsL8RvzlkfFRJ+aD5F3wUK2Kt8BqQbWVImRV620TaNl5MWTOc89vUpCaZ1rNry/UbzOXmfcoXVWbKggguUg/9qf8PORbJabk3ugA5yEGPzf6OoVWHY6GSnwtpDgvIvpdvwZK7ZtKwOslowvlknjccGdU5RChg/3kRRpmhYdx3sQHWcaoym5e5wNNhFL3UfQ2XaVVj0KCHG90qj+P/DAcjcIjf2wwHo5zZVOryLCead86qM1oF0Fn4ju6NFpdIpfFBxQZrm/cUpoa3epuXFIEJRoPZYh8soCKoevhjC49AE4rut5UajFry1nHab2BeDTJcPaHEgGVmy0r8W24ntgmag9xrvjzsQ8N/MYYI5XCFP48epFoViItFIxkjdF/1h1ZOyMb5l8OMiwSgoMAcx/oJlifJiuBK2jmTHUSWiKQC4yALhYVc5BbtPj3Douf9KJMtAqAEiDj2SUwsDmFUYNVJz0y/7CJdvyMOB028bpBcRkos1b3Y4qV7NjWgg0ySyswHT8X7UKG7JbK8WaLTEGOXh8cCJzJkn2qfVuPL3JOIzzTHlZWA8KLtGexGpyizb1VgGWgOLr0N+7ffqgRumTfkVj5VCHSFo/Mh96b1zplv5pV5n0XwC5cIJll7KuJnpWsHIc4dvkf4VOIczkXw+Blnc+u7IBxbpg1PT3h/KZfClaqKMJHgmfd8VcAVOXmmTA6R50YCcqEYHgji2vcm4JQ+tRBUssEyKLSZ1K0bj6+k6gApzlaruVQ9zcZ4q+a1ca3tjF5E87nftg4Jlx7hG+mKINP9V3WKht7AeCQ5JeRMC1mqkvv0V44t32p0E6GNXyFmHO1SxonTRxVLmDt/CnIJJ3Dd1ccGWRlA844wBn6p7m4gH0hVJIUtoQ6oXuHX2cUeIa1ezClHGfsr/e0/Xz8V13PxkRWo8ehrKVbofdRe3Wjg3iR++N4hgTVIrnXC7qnW0jBx9R+vK4sJuP+4WYq4nmrOQ/ypNZaNmiqrSPD+8di2nY+t6PF92exvdNE47Yrm+4KXlwGeZP70FzS5W8KH1p4WhD57KWEdSupBWNCQo7fTnzj54lN1av5p7H44TEXk4dsAsTUXCHJ5wuyy7bc4ggUkv8JAo8AdP/dDHjNHyUQ2EzMP+EFV0PRp1AJxu75xU0MRRvi6STnauXFZDZy4i0No2C9Wkn9ykDadO0Wq5/cxlJYmFbs299NdS5CT0+BE5uE7W4WueimycuWWe77q8L6JbR2wWDoazDeG949N+UJptw7/pOAbpjlRP/GKAAGpcwYlTf53HB/p8g11Ynvzs8k540YXPqz0un+73UprbZMqh1sYTA0X4IJota5zjHJEvdzZicmC3eBgYeTzBDPGGxbpmC307prx54bvSsTfDWOWFuJf382ueErAq51YAlIAfuFwyA7f7rnj0wqDyrlj5DhikVCfO0ACZxWjZFuXoZySntZo8aEgBDFSAI99V/ZXO7s3RVPC3yzwD5bgNSp6XfOk4lk+4URWZKqY8J+ON86xfGlhzZd5okJGoNVTFTFckI+RllAagK+DXASTxiD0U5H2Kati7miAiB6IWpsLHQsi5BVf/bWZ9zhUwd/ilM+9BQvsQU8VpdA6nm8Ff6EJZrLmPw133brI+w0lUtvPH9e6WNiaI6yJ1LFS56ZSqfh5UASlj5NJ8lE42BBX+SZ0Uf4Rmr9/C6yuZkNxUpdwelfRsdS35TI4VLG77K3I28/mw0wVtTCSFj1p296xM4vo9KejEvZmC6CVQwbvr5EiJrGTkOEC7lJ9F4Tz6YR1EnA/ArOSvqkS0NdIY8vspoZqXyvXsxdQ7ISD97zygRClqLazDFouqCLglmb9SNfMh2tFENTWmQosMDwm6quFoChU2V/bb8pFAg9ta3BnK/vDJULBNrYfoF0w9ji7FaH0iqjJP4uMnwABvv7dTmP3mu5rn89LjXGBTCH/49lobquK/K/UYUaRv2ryAvwym10l5xeHjUEayMEkQ+UeJukIHUqprawQVkpf5f0As2Xxe93rKFw1q8Yn9Vo6moK2OMvwZ2nwGwrzWgorDtRngBbTS69TpCEToWq0deBmAdT+/YhRo4PF32BN3zceiazVBwgunmObhUhqAwHKKOCSatKtM+uNGBiWY7PUQA6TgJFx+9bQgB08awSiQxfUGyRk/Y77FqZFQeLBXQABGNvNfuTi0ON/1WpEA16eOINZV3SioW6qd4bvfPADb+a3Gr0TUU3QDya0eWpBSXsNE3Gb28b9USqQZZXQElG2aIaxnyOAmq8bRVsviTF3mmZ88SpOyz4G3hrpN5mBqE3DeMp9F/bTPEbgm2aeYO4HlWNISw4w/SV9yh/Tdb0JiM03LaR20H/Y3gajYKlgGMrKs5vWwKJ12/1/KgPWuSFxtX7+7PhHJ4Hy29t3BC3xyRLEnfuHzaqyTe6jGgTevtOs41y4zyVZqI511qF7R8/Jq40ITwAChWFrOhEGZ87uAIQ3N8P16fTWhg8Nlslji7PQrzxvNi1xrvf1TvYUyxEkoteYBDfYxbvp7g9sYTaEWSU5VRxIw2HQlAPEzUyTVPPKaDMvO6XYbwu+cpXf2JNyYvLZDfh9BL4ITwaWnAv0MaLSL1D6iSahzjZpfRaqpBmB+Wxedxq1zdJwpHa3NBJbvZsz1zoLel26hXIa/4aKRWQD8dADSH8fF3pCHMH11kdcX3qieKVIpXpaPG4/upZEp4rhmOILKHS+kilt9WB87qq+tEeUgYg12zzIl90Skb4ne3LM2g34AG5Euy3YrTSXHrBZYyRwWLt4yqKYdKQnqZfQTJ4hQaKk9xRbIrdAq7ebND56rjc0StolVDZKzubkyM7iR423XkLHgr92qSoFj+f1PtzfnPdPnmAZ/eId1R1D806/9Y3N69loyihIidsEWOcCG1jequhJsRZ0zby4Mo61CQbrLbP3xrdcGzHPgDhg0lEIVvHaSd25Jn1gbitwr/fqX3enj6cH3Pj5f0PhDjQW3Av3eah9aowRb1N7Xtmu8xlaS8H6qbm0UcaZhMmlSK/cV0cIaTvf2sCqyxyVJ2vXdTEJespYrE1rNk+xOvy8Sn5TUMHIC/165kH7qhF7bmFqAtw5kTYQ+UNNKdWcmTj4vCJDamBO50oZIOjy6fHwjucXe9C9q19EKU8a9r1rVMhdYat1cK4SXSPTxNqsric7wHBjZCBF82dAaiVgOHsSWBsB6Z5vH2HoytaPTSxpouc3nhuf8aZelXnDKUTW1fWXc8qz2v3HeyK+amQkmgfpkBpyDttlRJQJ61VBnqu3nmcK5bi7oL3NQSwFJpp1I8E5OcMLij4rgTKlsI78VLEf/aMRX6+e15uOBRKwx3xzV4f5HIvMakSLF2H5jzQXlurrocaWdFb1DgTvdl3SuwYyL4TtxikhQmaD9M0Q8H9uYRK/XY/AHchzOJRJwbUPM9PQ8MsvLecdJS9aq+pPQg3SQ7SxBTaM/hIVEd2U8N25UAQxf+uATBkauT3se+9mbs6RI5vY9/eA+hil248GicJ2iUR6rYt7iLt3lHMmQNH9ze82+TuSoEj2bZJrTdNXGfCtAveyfjvFOsyzx3QOC5bzJgx8bA1qfpJ3Bu9rkrar4GXpXIIoUrLxLtAQVkuinQnoPmlR1Hf6P1XlvYXX2l/jhEk0fEydpIiEKE7D4lROtKy0ZuCk11BK94o/E4H5Peohnx9UXvK/w7CXglmLU3EMZon+VknBhqkWr4gWY8asdQhKxIyNzsEq7j/6Mr/jS+6BVF/Pf+dJuiFwBfMG7eCVYA8xuWxbLexb4QZlNWYOA97ITHIrsZDWWmSeTUpxvSaooX5lnS018G09WkA8Di0tNJ/YakUh2x6VvG0KP6h9sSnS9mZRlE9PgFdn2HRE1HaOtAXALlFr56VVsE6FQBZzWvozmfL8Ok7L27ceU1BWeNjrhHRthaAokuhUcZnoMIjdW9kcR574JtCqKet/Dyr/BQEfZ7XD6xbZnCl0g/owgaOpcI1IMRTDMG9LmP9JTSEs2m3p5F1PiI9aZ0upcdZXoHQ87Q0rYY14aBDqfv1KOIfcaNt3ac6DlmhTd09KEN7m5waFosTVSYuBJ1O1LlI9l6+RvmOXCiD7ikFFerBStbY9vvtbsTF02cewwuFsXUIhUspQp7qim+Q3KxM+qA4oivemTjN0U+W4WqayGdxvpBdwNhyg0sqZHQdkdsHfvTyQ59ac0KyrDhtVgSo7/UCP2ViHi0UUbLSFsIcN4lMVavn9nIhw1zs5KfsLr40KNebzBqpvhfS+3v86XRiPGYnOB952hnvqy9r2yvXuZKHGG8aYRNAaypIta1S+DoEA3yAwf6ne8ADsADyeg3bcCvNnO5NG1dkjv2KBsuFpU7mYZM67JBkVFW7NwOlMj593Wf6pFFRIoJlN7JFMQqSLwJ0dNT4PC73Cq8HDS2LPV+pI4wl+kul5tIFeS9tHh7PSSk1FIWNROxlGJWIrqc7OLE3hn4UhQS2PtQySoEVzao9eltzdWj6Bl7S9IBxm+uDCcsTTCfCEmxnfjDNNbkkgbN3p5neEEWOQeMpiyufmGgIKFhUj/hmnq3/kbcfb2NUseFjSjJnjjBwssouruI0XktxbWTmbbPi3tcF4zc7RVEinA9cADyxFACFpqC0F73h9JHzQC9k7mj5hCqynL2YTXlqYBuics/67YpH0RqKpiXETreO8aOgBhlHUQZ83Fj/sq4tFAgB6B1tvX5g85GqxYYyuEMckd9dVh41jVAOi+GXlWS65UgC1Xy43Lhgyqjd8O6WRepeTNekxSgUCCdA0LNLdwWz0ug9c91pQLZYCILivrPBsRZdYXY3J65ugeRs7qBo4n1OT2nw1HJ/w4l8iSb2nPfc67hCGDnEIVXAhCZf6sp6sh/h8s4WnDbiBejDsw1VYqBZY+6ExHzWRU6ZoycLfqirSYo8oVrprIcGdymdGurn3EYpPWij0srqsPQ7tm1IVw6o88JCu9g06LHhPjHY4P9qgY9cl/DSTcX/acw/kQkw2ari61dyDFS16L8NKln+88vS0lEDo6bjwAo8qULBVu/IYFfdcINt4pB6ENM5dVdenB8Chk3mC9ZxBC3DP4ZSCI2UzkxFsziqJjY3AAyGhB4plROx2dGgCmC0K2bhO5IbIQBmisC+K8pXUb1zRwPzCn8mGuxGocqFtVVVnzsvSfyasUc7JpCEgZ2PJk6zC2ieTbYpXGqN581ZGEKVf6T/qBkfNCV5bKdgxkyj/X1nVraNpKkgt/pC6CKXnb3jpFcfPHkVXCF9bEk5yXp20D9ELzfoIwZTgbkM7EWjoYZdnqUiBGAAXkZDvetfyYY1RTlrgX39vw3Mcjka1twogStEeiVrT9NFnsHcSg38q9D3r295qubomGiQciTZe5r7YRjFYKOGjnOPMkoGOJadTPJVv3xFYvP2dx/7Hh1wJEXx3+pa+ePxBMwp0vS/Y/CXe75B8VpG9t8hUu/r85ma8Y3ETf13MMgzfaiX8okvRyuvKho4fCtVmdgygu1xbHybe23ze9+fM/QJWY0kKecFSu4Fen1bp2YCDW0efpOpti2ntyKGd7h9/6vNohbnTdrtrpdeH7fAqXTSexGMXruN9g7XJ9REvtw5f2+PNvkaOE9X25cKwivqdufF+i4OpIgovbaU8/CCLDL+1Klv19HXQEKMEM7RstknUZ2yuUFB3nMQ1spqYMmrNiQYyUcsmrkvR7YHOKaQun/AD7UB6+e3a5VLrtiIody5HG4U4Y2R0Es+nfa8WtZIDnwiy5TLlykNXPOseQxd14qcvio0YJKnccsjp/HEzEYm+l6D+A5VU9OJlCbDzg4q2SlnVnrXCXuDolyVOhge48jEw+M6Yt46xbjAecB7sxFLTgoaeb0cFPSM05yStb314XkFnzzCuxWFgsE4wJ3U7p7xPBTQWAskqj21Z4wGPwuHPsEYYqEZ1+JIlRhW1rKUb3RGUwCQ0AfHuDKW58JaxCkJlP8s6qm7nz+c1QEOxKGPsewHnYPpxKV/BzFHJNGX+gzDc3tIQfc6XnelA5e69Q4pEqrHX61x+wP9J2EuKHBNQd519ii+V4Bo3WBNZ6QFxAfgeYUSSG6VFzLsl6EtVkAG+0K5EVyM04gVdaQ0xJmz+bo8HaOuRK7xY7ga4CpNutIQcQEJGlP7X0KLP5+0DJUh/usoFwmQX5NgXSAy4QRT4qE0u++EayjbMA6djicFVIcFuApspCNn398Prbq2FiYNAnUroUDu07s7giVkdlMIdhunTLNUVWNkIqA9b5YmwwJtzplELs2ObntbYRHYzWcN0gSG4AucTWgZfP0bjebq6Jl9mo1TZx9wv+eC1QBbtj6nWeCkuSIQjyZ7wbEqFevu+yWag73Cg1BXkIJ1PMfPLrgn1A1LUHSw2TNVPIvgHbphC8fHlsZGtemhi/CAr4Z3/vpv+w/c8bzQimtzVg9qA/zyee3o92lL/1FFJj1kHdyfX7cH1gu6VV0qNtz49YGQqwZ3EAPi6LkgFCG0u52chwYHTxsRseRWGV5h/515LWqrztVYztujNYo1ZV5eHImRu7FvWnGa5X/1M+Q8zU0GOU4LDozAa1nkxLN0NWNgdKc+tiNqr++nwdif3ppjnnuUjfzfQqg14aPLLdEi4lQMHxAWfzJQXrPpSSxr8sQp0NhUUDnVeKbtziVImaVWXiPEvhEfxu82/3RYZN5lUnDZ+YB+M55pKmQxrZvXNQTHRteLCTh3gvwt6DoBkJf00qSHopPAEGLIYL4ineRaEy1SVXSTryoAzhP1sIqVdiJeNehn37UrwZJ+wDzUCDVpre+17cF5mWiW/g++Dyk8ICXQjfthaPTd6X4WVkhIOFgejF1w9KgP/K62k0MvlB+wqez+LgKiNXuF+d7vM068aKOIT1j2+LzalAi56jAg3UdneJRQeAiVrXhEbVuzRvyZgBDzl6XvAU9NE5mfdCnbyw2UDQ5cO0k/XxqxnZ6kHD6NEtadnHza/CcJkh4GD8PxXfvfz5+zbdLWtnFkTF2rcVFYIe+m6OGG5vubkEdiQz9PuSXZC6fFlIfMbRyUmR4zZuxJnnZtbO6K0GRfb8vVjUF756217F482FyhhYTJPmp0FNihQ0MTR25A8b0WJ0uaqwdkqkADe5xibVB3+44MXW7grEXfBw470O21NayP2XFha3cd7Lu+yPH+yW5Sv7qBSyGMzttvStX99HU2UBRrGvGsoCRALpDV9Z3+ZoDoYQTG9ORyOxoP1Aze6fT8YeWWoqyT6W0ohGeOTVOOIawQNzy0dVvmwl1Hx95RSiuARs+ktwpmadlZVkSi+QMcV0DjhmOTkh42eX1s33YQdUfJIUsOceyPbIejsshpc0GpJS896fMCIMtAQBNeZ5ZJFPFJDomtI2zZvf8p+yIbpjpYEDJvJGZr+kjAU5rH7mS+Sbt3kYkQUdLafevOSmh+MPVygbW5XCtyhBKk7t5Lidf1/xKOqJiWkenSdS8oT/DfgJHKXyxF8JpXi+AxL6a3bHGKnOiwPXa/XB3vQf5OjKObFkz9dcQT5X5KafF0OqXfVDJEqXL3BYkc2b3GOBzK9LwSb73u8n6TakEmg+Hsxsg9uRB0T2fgxm7TvgtaimQ1IzvMGpGZEg/hWbVofTR6G4bRN1QD3F14YmBsNfr2/lBTxpzhKhEEajkYBi3lzA87cd//LNUh4kjdKPcLbDPkJQ/gh5E/ujaYnhOy8UEe++47kBXBKCrFsCatj9RHg58bpAVUD/VLDfrwG5wRjLSbg6DMtrhw2KgAhouVBSHadSqhzXIsaUq8EaGPgueonazu6QaHNxR7rHalPP/Q//gM0C79npuk+Mpk+C9jbSQ0DdZxlJOVywm/yRWPgaGlYA01yOz+YUaL/isaXBj4yUrSmEpSpK5ZQ7IMv0ECpmEBVIbOXOOCj2QBJQL7KVXzoRBdcO6m9j499t7m+G5repfsFiwe5/3H6bAQcQPW6lKK75/kbYbE0Q2+P5mJN+5WvgvQwpi8hV0bAOhXpe5Ul42yWnSsrVipbMjYvtuagtJGf2AOG+4KJNX6AN6wXTuCUO1+qdNWLF8xqjfnnqOBOl2+NaV6AqehKf194VBXCL7Yv1b4BZRDlGZEnf5Fufn2u+h7WMjJUgZekWNQrI6DSbw2S7TBJ0Q3+X7cmYrZyQDTeE+ud2Nx6SF8PLSxq3ZhXwmAg23Bys6eC59me5gA84qR7Jwd60hC5xCH/PZX6J69X1NW+7iWxQvJuUyAjw1H2X80Y/ZBrox450vzd6XZsN4WVy4spQtazH1jo2pFjS3AQ4zzF5lXS4t1gBXJ3LSEn7zf4GqHweYiEJrhmkfgjySo1unxctq/DSKFAdPbRIoW4DwbOystyJe7uzYGPtZyPGiQ7OS/GW0NtPPfkMZEGSDFJMnnqMOfn1A5bHvTjvHtITVV34MdVfcBBwaQso5Eg7qBqPW+XCyCUKZ5/JmnXYMAgbQKjNAAo6Q+XSfg1ds9u8ogP9EbGDxf2FgrHLdpBx9U61BmJl9/0Y7TVeZfSY4VanI6zxlIscAnwysij+AOjv79qcMfmsbzIQu85HjwJB2RGziQ5Be6/tjEZDVQ+O1Yf7hYhkW7KRmOMddui2WyTAnZTzSi4ggavRTCzFDkLGg8mTIxxJfToepMwwJS0Hr6Mw/SNg9wVzZ4fzgwXY/RJBrSPEvzDhfKtXG29vuPSrNsBb7srZiZsJrjBX0XuhuIDdfWIMVoRbxrm2bCc/WcQFwxK2IRktCnvzw7+7tCvWqa4V9sADZ/c/C48cIR4eLwbXtxFxPUmvoEpWE4nlMd6e1bfnhoJRnBt2kE8AGa5Jas5OcQ8mEtF0P363ug7Ccgm48l/+sqydwGPdWqIKq/+eTQyKHMlq7ThQ4VoBPXVWEa7QQVrABnDwCgsWq3cO8fu2KzmKvbWAC0doqj5mqNvGawg1GB8ibgezySmUgc2aUP/Xa16TKLsub9xIkVy9VgM6B14o/P+NEVBQf7fyFjhGF8eqTZkUluwlRqqQCAEuFV1uYwTKTDwW1tFy3zkMLjMRuETSjvR7HEjG0NwrGxIXRpttlDBvU4/Jz7mCJkAUnyDa4VlJkFjGZAsPQjQZdU7a7AcbOCpBnmWVpwhxbYBBjd4+BQ8LxZo4ecCNBzUi31LBi3psqXhKWz6el3oy95ykLQPqBRygSI3oOv771fL9K1GuafNRpz1cYa8j9mOVVdrwo8HUxt9mpbDn4JbhkkwVuCmJEwUdBJTGJM0yDbhCKw/b+Blw4fph75qr91OZFKiFYLxHPiyY42y7Lxeb3VAcTcA6AbC1QyoEwEKrOVxm5y5WoT6kxDPdqqErNyFb1mH2X/UM4bnxgPo9/1ZGyp41AlgroYLXNVq13lZVs6d/W3sxNDvvXRcY/tA4kmlBrHlouKtamt6loNlHr5iszhvf73a8LeNoTOTeK/txhW2CTxxaRqFmhrCDLo3ixMdAoyryb1quGDUzSN6SDtUw9U4ouEBwME8i/AR0srx+qmyf+D6rxcUeEdz2A0Y22e31ZmgfgJsU45ti9h7yQFWQcgjPeh2BaB1NwXeSYXbZ9pXLBDsd17LiftBpVpoXCMxMCXEWxC13uCHWuEiz4vbUDCXkWf2l52qNEdcH6Egz5J/Wzx+YcpYhZDBhze2LVbzRQMg4duEqq2EMdMCVbDWKy1PC8fglvCzWM44/zT3tHJh+ClaOo23gCgen1kdTriQ+85I3LYMmIwb3/7SpAcuA1W2d66PAAsckSLbi0Ax8APDJi/EcMSzwTRW3RSxLrRZXOmU/mUdhAHN0/dTYNw8e9pZCzRXUjDftRykQAD4UvbZjntoPpXuGs+/MsI59SIKRIKKIQzt+/biOc66Nm6gsm+pONvnlWtaZRrE6NueMGt8/sKcjJAMQ8J8ig8z9OKL6DQOIUfRER/xs/KsLmT8RvWGbPlDR24wrR0bL2Gtz9a2y3I6s6+uDPVc5h2V94Ex6s4RtftS6X0AF5OPhe7Wyn2Zz0DLsqoKcL9BfXLTXkVVP5qt3015SVV1XIY+1m0qHeZywCb2WSHMyhJ01DpI3qgnMOZQ7RHbDsyqfRTd1h9C2Xs3eiksBkoJOOLtOdJdsUAxXz4vsZ1YlcVc/nibMuAiTkZa/xk8NkRNE3jFJlYwyiV9JhAQBsQFcihCUW4koaoq5DesuoLmftm/IaCvLw6WOAnMBxBOwDWIG5zoEwuELSmS92pYGIEEDmYnWTwMOLvJTmxumwfFAt5paj2uMqi47nTJLiDkQxsfVnS2nIcaktHAsmnFyoCuQQG1wfy32lEPqsTFFEVOdD2vXwarZ+z3rT/565yZAZp3pJ6spH0ebPehaMpWM9BZgc1pOt7YqqJJG+2D+Vmx5sOedChmEfTsZ/ogdHaJ+C5umL8/cQsytRlywFdr3l9FhO0nXK0SqKeP3L8qnshWmA8IWH4BKGbv2D8++4lwXC77PZRu6krEYd/vyulx0r6Q++YeMozlOEOJUZYap7/dmUbM8rQ+Hj+oa1UECBSdXi7FWiR5V7ygMihe+YDff3vdVJzouC3KM486obuqU9uXJhZOCSnFntiiH3BuV5EONP7gC8oA3DUSvaPw7EsTXgW/18o2MamfjKgVvstDR1qfMrdwb+U8xZKcqWK4re2s0akB3eDN6DC7PgM+HKhioEDLrvxxtZctTAgDJ3H+1b9/zIYp3ysJ4Msn+r/X8cpUJLzHk01t1Egn56/nz9j/bQ93Tyc3tjFXtbyngxQZQ5VZG10/esmJNgneLIl0ewgGGQ+UHGYHXndHxHDw4ZfBOmm5T3qRvhi9ZHvadoxLEJ980A0s5oCS7OewNr0zjtDZexiIVt2Q2XppTQaheAujJrMZVBAh/HEhYU1K22g8CBU/8y1XRNFx05g8DwGsbvwV1M1R6aAWz1VwI65jnzmX5q6IrxMrAVrNp9T2DQ3MSx8HBYJ041LQOa7YtkeJzsEkXiExc2RZiIPd3yp5GAQ2okAjzt567hP0p/Vb+lbhC6xgh/lymbr1Qj/ARgO6N1SkYUmVa5fKhFuMCrUil7aAg3msVKir2bJtjjiX96NHd7PBheXM5WtgL9cnV8I4nCw48YAz4qdxxGhCQFk7Or+fYkbV6MZyAqnWGIMebY3JTJlrpAxyOkLxjYrij+4ROVSBMjzB+oTsmnYOkKs96ErR2JrdPElzTr6OvfitAZcjpKcgU2qGtLBH0Mq3GgaONKsyzsSMyxudNVFcin+67oms+VlatthIXdxYjx0j1rF0K6cJ8p1WOJ+ytm26blwfhQHEeZuQYl8eKVyNOKPgNNt/fzlC4lZNrMQcmFBelrUEqHBfhzsEqFRcFJMqrxm0CV9r6koKuDX69n75UheeEAzCVCR121bY1UUkjaXIuYasWuV4zsxrBauI5G9jR9SfFaKmcYiGWwg7Ogcv/rkmVJr/fbB4tcyb1LUzd3vl0cMJZtAbVnhatPqJzxjsUd3JuoDuWiz99UYbWiInAzotAq4OgIr+n5t4LZciyzjjuSrt//EteEcVSjVW2lcUSfSfYf7MWqiJ6XSpFG9SQLSSSwSXnBf8lWCaY0tQhd0vJKN1YHeTfgSW0rhR4lhcf80YT4WQsfbYcLZR4QyGuhkawR7fue+RDZ+pHI2RTOFe+AWI4FtmWKPC8cDn1l1kuslYc+sr+leN75+XA94w1yHYsr8b2Nya6MMldV1w60Dnojpryoj653EVDcEPtV6ZuDxUnXEh4N1MeR4zDsOa4lVG7+bgHztADBUH5bo26+GU5Sjpi/EJvmZiWaRs/mxvEpw/FBUxuacaJfTvVSzyQDZn+FaTyAHd2AB6KLiMzpdHMCQkHvici2UQZJ38EQ9iSEdEfIesTCdioReRY0DdAgGQ2T17EA+h7iWnF+Dj6FdCAzkvG3CDQXoAuKeQaiKTmufEVNYAyTuBJcLBwcZbZQ250F1shdM5BlrXCo9JGuMwmqLqBFU/1fQaZAwYZ8DAx0Cn0z9J87iBwpwjBPyb66tteR7RT4DK5M+O3lW6h9O2VcaHFhbHdejFy1ftE8kyzjaCthi/T9JaKxMHa3iy98TedXV2Sf8hF/pqcI//3TmBkkeDJAD9SiVrjRKJ5Rho+hIyUMw2TOetXyFkIpiwTrx199+sZU54T7fdrf2Pzu77MuRRP7pxwRzs8CwVvDdYTsnRKCVmVWUG8CtkfF9mXOPxGpSaSFW/h6hevIfyPvKZh9SWIi8iPoo4QVhuYw4nSJEfOq0FCQGVAZwcue5+YwfJefE3vUjuFzS/aDBmT8oI/imsOYsEU20tpt0YhIAob4ZJ0ND5XTgC9wkFs8GnTHLDEvZO7dXw8/wRX2kOzJju5VqOV3i5FuW8pFRLTv6heRZQydFXF5psFREBxPpkghinR6+zKqOGvrOb8Wa8cWbwWl52cfXB94BcbI090Kpll9FmImQSGokU3d7gtUPUEN68LIWpPFeySQgTBgvTjb805LVpjqN86Ord3uIJvTSB9hl9kifsQBa72vHtoXIFxRTo8om95LcOvbq9Gn/DlIp5HG9YKLlacotOu4Cd76msYPtQTUi3fra6c7AhxVksYYqgxe9CopcAbwU8uVQnoxl7sx1IjETrNQ/CbpOjRwOsi5VGoBus5aRFCw1582VeCWgR0GCdGIGkh0Jbk87fFAW8WpDSEjDCpOcM0mZdMc04CPG+gL/H3vUWz5XTPKHOY1BmznFqMLulAiwiTaSIs+tBqY5OC1nRGqH+WgEwCK81LaxnA8O51iHzAFmJAp097cn00b+EPgNtQg1pEb0BSCrbV0WLfGX/zxqzhaEZmUzwVnrDxvziZdyaWw7lvJ+xpP0JsBdPBW+MDzxYOV9GoWnVp+x9zhmMSLBSuJrvTBHYerUhyyRUB+y4qh+4Dp00EBwUj5nbIcDJfSQOjncgD2YNS7busmJyXiGCAVFJP5+6y1Hm7plKO1awzl/6n3Cuqp9E5UYryihrY+PoSog7D55kQOzOrOxjJuWZV31X2pTOPC5RAJjmIZLcMghNqYrE4Yg94KUdBfeLNQff7sEGybzrERyuS7L1uPNI+ATKPHnnKvLdpezzdoP0XdDQ2tvOX0licb87U/ugb+p34Lifj8Yrj5Zc89QOyeRVUKwlLZNNEnqqGl2iE8YWZwutUlK5xc1F23s7KPHyUF4FtwzWnX0Rf3edA/xHCMCX3QMHaDGLvjlQoaoN2u0DuN4N4cihWi061o6V6AclPY0AhTB1D8IIIWRJ0Z4JNHVuco" title="Mekko Graphics Chart">
            <a:extLst>
              <a:ext uri="{FF2B5EF4-FFF2-40B4-BE49-F238E27FC236}">
                <a16:creationId xmlns:a16="http://schemas.microsoft.com/office/drawing/2014/main" id="{2B57BA16-FFE9-4149-AC6C-B95029AF724E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 bwMode="gray">
          <a:xfrm>
            <a:off x="340256" y="1998995"/>
            <a:ext cx="11515489" cy="4210650"/>
          </a:xfrm>
          <a:prstGeom prst="rect">
            <a:avLst/>
          </a:prstGeom>
          <a:blipFill>
            <a:blip r:embed="rId8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4FA5F76-713A-4D60-80FD-D6EC450CED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/>
              <a:t>Reasons to use:</a:t>
            </a:r>
            <a:r>
              <a:rPr lang="en-GB"/>
              <a:t> X and Y </a:t>
            </a:r>
            <a:r>
              <a:rPr lang="en-GB">
                <a:solidFill>
                  <a:srgbClr val="000000"/>
                </a:solidFill>
              </a:rPr>
              <a:t>key</a:t>
            </a:r>
            <a:r>
              <a:rPr lang="en-GB" b="1">
                <a:solidFill>
                  <a:srgbClr val="000000"/>
                </a:solidFill>
              </a:rPr>
              <a:t> </a:t>
            </a:r>
            <a:r>
              <a:rPr lang="en-GB"/>
              <a:t>factors influencing vendor selection; Z relatively more important for [target brand] customers </a:t>
            </a:r>
          </a:p>
        </p:txBody>
      </p:sp>
      <p:sp>
        <p:nvSpPr>
          <p:cNvPr id="30" name="btfpNotesBox117783">
            <a:extLst>
              <a:ext uri="{FF2B5EF4-FFF2-40B4-BE49-F238E27FC236}">
                <a16:creationId xmlns:a16="http://schemas.microsoft.com/office/drawing/2014/main" id="{691CD911-5D68-4252-B6B9-A8EC26BAB7E5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 : ‘I don't know / Prefer not to answer’ answers not shown</a:t>
            </a:r>
          </a:p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</a:t>
            </a:r>
          </a:p>
        </p:txBody>
      </p:sp>
      <p:grpSp>
        <p:nvGrpSpPr>
          <p:cNvPr id="31" name="btfpStatusSticker893700">
            <a:extLst>
              <a:ext uri="{FF2B5EF4-FFF2-40B4-BE49-F238E27FC236}">
                <a16:creationId xmlns:a16="http://schemas.microsoft.com/office/drawing/2014/main" id="{402C0AD2-140C-4D60-A2B0-38B533186F39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100356" y="955344"/>
            <a:ext cx="1761444" cy="235611"/>
            <a:chOff x="-2280176" y="876300"/>
            <a:chExt cx="1761444" cy="235611"/>
          </a:xfrm>
        </p:grpSpPr>
        <p:sp>
          <p:nvSpPr>
            <p:cNvPr id="32" name="btfpStatusStickerText893700">
              <a:extLst>
                <a:ext uri="{FF2B5EF4-FFF2-40B4-BE49-F238E27FC236}">
                  <a16:creationId xmlns:a16="http://schemas.microsoft.com/office/drawing/2014/main" id="{7C0EBE75-4862-4944-8F26-5B6A3D7C787E}"/>
                </a:ext>
              </a:extLst>
            </p:cNvPr>
            <p:cNvSpPr txBox="1"/>
            <p:nvPr/>
          </p:nvSpPr>
          <p:spPr bwMode="gray">
            <a:xfrm>
              <a:off x="-2280176" y="876300"/>
              <a:ext cx="17614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LIMINARY</a:t>
              </a:r>
            </a:p>
          </p:txBody>
        </p:sp>
        <p:cxnSp>
          <p:nvCxnSpPr>
            <p:cNvPr id="33" name="btfpStatusStickerLine893700">
              <a:extLst>
                <a:ext uri="{FF2B5EF4-FFF2-40B4-BE49-F238E27FC236}">
                  <a16:creationId xmlns:a16="http://schemas.microsoft.com/office/drawing/2014/main" id="{9E4B104A-8F54-4EE8-9277-882E5046C76C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80176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1" name="Rectangle 50">
            <a:extLst>
              <a:ext uri="{FF2B5EF4-FFF2-40B4-BE49-F238E27FC236}">
                <a16:creationId xmlns:a16="http://schemas.microsoft.com/office/drawing/2014/main" id="{A20AED9F-6458-4335-B60D-A5142C0E385A}"/>
              </a:ext>
            </a:extLst>
          </p:cNvPr>
          <p:cNvSpPr/>
          <p:nvPr/>
        </p:nvSpPr>
        <p:spPr bwMode="gray">
          <a:xfrm>
            <a:off x="340699" y="1350954"/>
            <a:ext cx="11510599" cy="54965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 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ease select and rank up to 3 </a:t>
            </a: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asons for choosing &lt;provider&gt;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6DCEFCA-412E-4291-BD29-4E017A7CF6D5}"/>
              </a:ext>
            </a:extLst>
          </p:cNvPr>
          <p:cNvSpPr txBox="1"/>
          <p:nvPr/>
        </p:nvSpPr>
        <p:spPr bwMode="gray">
          <a:xfrm>
            <a:off x="10737797" y="2112940"/>
            <a:ext cx="615014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w N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965C2DBF-5BEA-4164-B027-150821325E2F}"/>
              </a:ext>
            </a:extLst>
          </p:cNvPr>
          <p:cNvSpPr txBox="1"/>
          <p:nvPr/>
        </p:nvSpPr>
        <p:spPr bwMode="gray">
          <a:xfrm>
            <a:off x="9157095" y="2112940"/>
            <a:ext cx="615014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w N</a:t>
            </a:r>
          </a:p>
        </p:txBody>
      </p:sp>
      <p:grpSp>
        <p:nvGrpSpPr>
          <p:cNvPr id="8" name="btfpRunningAgenda2Level289651">
            <a:extLst>
              <a:ext uri="{FF2B5EF4-FFF2-40B4-BE49-F238E27FC236}">
                <a16:creationId xmlns:a16="http://schemas.microsoft.com/office/drawing/2014/main" id="{A2D1CB9E-6931-46DF-9D9B-3E02E102789C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0" y="944429"/>
            <a:ext cx="4447428" cy="257442"/>
            <a:chOff x="0" y="876300"/>
            <a:chExt cx="4447428" cy="257442"/>
          </a:xfrm>
        </p:grpSpPr>
        <p:sp>
          <p:nvSpPr>
            <p:cNvPr id="5" name="btfpRunningAgenda2LevelBarLeft289651">
              <a:extLst>
                <a:ext uri="{FF2B5EF4-FFF2-40B4-BE49-F238E27FC236}">
                  <a16:creationId xmlns:a16="http://schemas.microsoft.com/office/drawing/2014/main" id="{075E82F5-0E12-4D19-B4CD-ADBF2158D0D9}"/>
                </a:ext>
              </a:extLst>
            </p:cNvPr>
            <p:cNvSpPr/>
            <p:nvPr/>
          </p:nvSpPr>
          <p:spPr bwMode="gray">
            <a:xfrm>
              <a:off x="1" y="876300"/>
              <a:ext cx="1617650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79416 w 1279416"/>
                <a:gd name="connsiteY0" fmla="*/ 0 h 257442"/>
                <a:gd name="connsiteX1" fmla="*/ 1056380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4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457351 w 1457351"/>
                <a:gd name="connsiteY0" fmla="*/ 0 h 257442"/>
                <a:gd name="connsiteX1" fmla="*/ 1224695 w 1457351"/>
                <a:gd name="connsiteY1" fmla="*/ 257442 h 257442"/>
                <a:gd name="connsiteX2" fmla="*/ 0 w 1457351"/>
                <a:gd name="connsiteY2" fmla="*/ 257442 h 257442"/>
                <a:gd name="connsiteX3" fmla="*/ 1 w 1457351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0 w 1457351"/>
                <a:gd name="connsiteY2" fmla="*/ 257442 h 257442"/>
                <a:gd name="connsiteX3" fmla="*/ 1 w 1457351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1 w 1457351"/>
                <a:gd name="connsiteY2" fmla="*/ 257442 h 257442"/>
                <a:gd name="connsiteX3" fmla="*/ 0 w 1457351"/>
                <a:gd name="connsiteY3" fmla="*/ 0 h 257442"/>
                <a:gd name="connsiteX0" fmla="*/ 1617651 w 1617651"/>
                <a:gd name="connsiteY0" fmla="*/ 0 h 257442"/>
                <a:gd name="connsiteX1" fmla="*/ 1402630 w 1617651"/>
                <a:gd name="connsiteY1" fmla="*/ 257442 h 257442"/>
                <a:gd name="connsiteX2" fmla="*/ 1 w 1617651"/>
                <a:gd name="connsiteY2" fmla="*/ 257442 h 257442"/>
                <a:gd name="connsiteX3" fmla="*/ 0 w 1617651"/>
                <a:gd name="connsiteY3" fmla="*/ 0 h 257442"/>
                <a:gd name="connsiteX0" fmla="*/ 1617651 w 1617651"/>
                <a:gd name="connsiteY0" fmla="*/ 0 h 257442"/>
                <a:gd name="connsiteX1" fmla="*/ 1562930 w 1617651"/>
                <a:gd name="connsiteY1" fmla="*/ 257442 h 257442"/>
                <a:gd name="connsiteX2" fmla="*/ 1 w 1617651"/>
                <a:gd name="connsiteY2" fmla="*/ 257442 h 257442"/>
                <a:gd name="connsiteX3" fmla="*/ 0 w 1617651"/>
                <a:gd name="connsiteY3" fmla="*/ 0 h 257442"/>
                <a:gd name="connsiteX0" fmla="*/ 1617651 w 1617651"/>
                <a:gd name="connsiteY0" fmla="*/ 0 h 257442"/>
                <a:gd name="connsiteX1" fmla="*/ 1562930 w 1617651"/>
                <a:gd name="connsiteY1" fmla="*/ 257442 h 257442"/>
                <a:gd name="connsiteX2" fmla="*/ 1 w 1617651"/>
                <a:gd name="connsiteY2" fmla="*/ 257442 h 257442"/>
                <a:gd name="connsiteX3" fmla="*/ 0 w 1617651"/>
                <a:gd name="connsiteY3" fmla="*/ 0 h 257442"/>
                <a:gd name="connsiteX0" fmla="*/ 1617650 w 1617650"/>
                <a:gd name="connsiteY0" fmla="*/ 0 h 257442"/>
                <a:gd name="connsiteX1" fmla="*/ 1562929 w 1617650"/>
                <a:gd name="connsiteY1" fmla="*/ 257442 h 257442"/>
                <a:gd name="connsiteX2" fmla="*/ 0 w 1617650"/>
                <a:gd name="connsiteY2" fmla="*/ 257442 h 257442"/>
                <a:gd name="connsiteX3" fmla="*/ 0 w 1617650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17650" h="257442">
                  <a:moveTo>
                    <a:pt x="1617650" y="0"/>
                  </a:moveTo>
                  <a:lnTo>
                    <a:pt x="1562929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" name="btfpRunningAgenda2LevelTextLeft289651">
              <a:extLst>
                <a:ext uri="{FF2B5EF4-FFF2-40B4-BE49-F238E27FC236}">
                  <a16:creationId xmlns:a16="http://schemas.microsoft.com/office/drawing/2014/main" id="{E4583DCC-0C47-49E7-9007-7C1BB18ED14A}"/>
                </a:ext>
              </a:extLst>
            </p:cNvPr>
            <p:cNvSpPr txBox="1"/>
            <p:nvPr/>
          </p:nvSpPr>
          <p:spPr bwMode="gray">
            <a:xfrm>
              <a:off x="0" y="876300"/>
              <a:ext cx="1562929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sage</a:t>
              </a:r>
            </a:p>
          </p:txBody>
        </p:sp>
        <p:sp>
          <p:nvSpPr>
            <p:cNvPr id="7" name="btfpRunningAgenda2LevelBarRight289651">
              <a:extLst>
                <a:ext uri="{FF2B5EF4-FFF2-40B4-BE49-F238E27FC236}">
                  <a16:creationId xmlns:a16="http://schemas.microsoft.com/office/drawing/2014/main" id="{FC5C330A-3FC1-4C5D-9428-3C2F46363467}"/>
                </a:ext>
              </a:extLst>
            </p:cNvPr>
            <p:cNvSpPr/>
            <p:nvPr/>
          </p:nvSpPr>
          <p:spPr bwMode="gray">
            <a:xfrm>
              <a:off x="1482807" y="876300"/>
              <a:ext cx="2964621" cy="257442"/>
            </a:xfrm>
            <a:custGeom>
              <a:avLst/>
              <a:gdLst>
                <a:gd name="connsiteX0" fmla="*/ 95080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50801 w 2313135"/>
                <a:gd name="connsiteY0" fmla="*/ 0 h 257442"/>
                <a:gd name="connsiteX1" fmla="*/ 89608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1 w 950800"/>
                <a:gd name="connsiteY3" fmla="*/ 0 h 257442"/>
                <a:gd name="connsiteX0" fmla="*/ 1111100 w 1111100"/>
                <a:gd name="connsiteY0" fmla="*/ 0 h 257442"/>
                <a:gd name="connsiteX1" fmla="*/ 896079 w 1111100"/>
                <a:gd name="connsiteY1" fmla="*/ 257442 h 257442"/>
                <a:gd name="connsiteX2" fmla="*/ 0 w 1111100"/>
                <a:gd name="connsiteY2" fmla="*/ 257442 h 257442"/>
                <a:gd name="connsiteX3" fmla="*/ 54721 w 1111100"/>
                <a:gd name="connsiteY3" fmla="*/ 0 h 257442"/>
                <a:gd name="connsiteX0" fmla="*/ 1111100 w 1111100"/>
                <a:gd name="connsiteY0" fmla="*/ 0 h 257442"/>
                <a:gd name="connsiteX1" fmla="*/ 1056379 w 1111100"/>
                <a:gd name="connsiteY1" fmla="*/ 257442 h 257442"/>
                <a:gd name="connsiteX2" fmla="*/ 0 w 1111100"/>
                <a:gd name="connsiteY2" fmla="*/ 257442 h 257442"/>
                <a:gd name="connsiteX3" fmla="*/ 54721 w 1111100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2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2 w 1111101"/>
                <a:gd name="connsiteY3" fmla="*/ 0 h 257442"/>
                <a:gd name="connsiteX0" fmla="*/ 1279417 w 1279417"/>
                <a:gd name="connsiteY0" fmla="*/ 0 h 257442"/>
                <a:gd name="connsiteX1" fmla="*/ 1056380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279417 w 1279417"/>
                <a:gd name="connsiteY0" fmla="*/ 0 h 257442"/>
                <a:gd name="connsiteX1" fmla="*/ 1224696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54720 w 1279416"/>
                <a:gd name="connsiteY3" fmla="*/ 0 h 257442"/>
                <a:gd name="connsiteX0" fmla="*/ 1439716 w 1439716"/>
                <a:gd name="connsiteY0" fmla="*/ 0 h 257442"/>
                <a:gd name="connsiteX1" fmla="*/ 1224695 w 1439716"/>
                <a:gd name="connsiteY1" fmla="*/ 257442 h 257442"/>
                <a:gd name="connsiteX2" fmla="*/ 0 w 1439716"/>
                <a:gd name="connsiteY2" fmla="*/ 257442 h 257442"/>
                <a:gd name="connsiteX3" fmla="*/ 54720 w 1439716"/>
                <a:gd name="connsiteY3" fmla="*/ 0 h 257442"/>
                <a:gd name="connsiteX0" fmla="*/ 1439716 w 1439716"/>
                <a:gd name="connsiteY0" fmla="*/ 0 h 257442"/>
                <a:gd name="connsiteX1" fmla="*/ 1384995 w 1439716"/>
                <a:gd name="connsiteY1" fmla="*/ 257442 h 257442"/>
                <a:gd name="connsiteX2" fmla="*/ 0 w 1439716"/>
                <a:gd name="connsiteY2" fmla="*/ 257442 h 257442"/>
                <a:gd name="connsiteX3" fmla="*/ 54720 w 1439716"/>
                <a:gd name="connsiteY3" fmla="*/ 0 h 257442"/>
                <a:gd name="connsiteX0" fmla="*/ 1439717 w 1439717"/>
                <a:gd name="connsiteY0" fmla="*/ 0 h 257442"/>
                <a:gd name="connsiteX1" fmla="*/ 1384996 w 1439717"/>
                <a:gd name="connsiteY1" fmla="*/ 257442 h 257442"/>
                <a:gd name="connsiteX2" fmla="*/ 0 w 1439717"/>
                <a:gd name="connsiteY2" fmla="*/ 257442 h 257442"/>
                <a:gd name="connsiteX3" fmla="*/ 54721 w 1439717"/>
                <a:gd name="connsiteY3" fmla="*/ 0 h 257442"/>
                <a:gd name="connsiteX0" fmla="*/ 1439717 w 1439717"/>
                <a:gd name="connsiteY0" fmla="*/ 0 h 257442"/>
                <a:gd name="connsiteX1" fmla="*/ 1384996 w 1439717"/>
                <a:gd name="connsiteY1" fmla="*/ 257442 h 257442"/>
                <a:gd name="connsiteX2" fmla="*/ 0 w 1439717"/>
                <a:gd name="connsiteY2" fmla="*/ 257442 h 257442"/>
                <a:gd name="connsiteX3" fmla="*/ 54722 w 1439717"/>
                <a:gd name="connsiteY3" fmla="*/ 0 h 257442"/>
                <a:gd name="connsiteX0" fmla="*/ 1617651 w 1617651"/>
                <a:gd name="connsiteY0" fmla="*/ 0 h 257442"/>
                <a:gd name="connsiteX1" fmla="*/ 1384996 w 1617651"/>
                <a:gd name="connsiteY1" fmla="*/ 257442 h 257442"/>
                <a:gd name="connsiteX2" fmla="*/ 0 w 1617651"/>
                <a:gd name="connsiteY2" fmla="*/ 257442 h 257442"/>
                <a:gd name="connsiteX3" fmla="*/ 54722 w 1617651"/>
                <a:gd name="connsiteY3" fmla="*/ 0 h 257442"/>
                <a:gd name="connsiteX0" fmla="*/ 1617651 w 1617651"/>
                <a:gd name="connsiteY0" fmla="*/ 0 h 257442"/>
                <a:gd name="connsiteX1" fmla="*/ 1562930 w 1617651"/>
                <a:gd name="connsiteY1" fmla="*/ 257442 h 257442"/>
                <a:gd name="connsiteX2" fmla="*/ 0 w 1617651"/>
                <a:gd name="connsiteY2" fmla="*/ 257442 h 257442"/>
                <a:gd name="connsiteX3" fmla="*/ 54722 w 1617651"/>
                <a:gd name="connsiteY3" fmla="*/ 0 h 257442"/>
                <a:gd name="connsiteX0" fmla="*/ 1617650 w 1617650"/>
                <a:gd name="connsiteY0" fmla="*/ 0 h 257442"/>
                <a:gd name="connsiteX1" fmla="*/ 1562929 w 1617650"/>
                <a:gd name="connsiteY1" fmla="*/ 257442 h 257442"/>
                <a:gd name="connsiteX2" fmla="*/ 0 w 1617650"/>
                <a:gd name="connsiteY2" fmla="*/ 257442 h 257442"/>
                <a:gd name="connsiteX3" fmla="*/ 54721 w 1617650"/>
                <a:gd name="connsiteY3" fmla="*/ 0 h 257442"/>
                <a:gd name="connsiteX0" fmla="*/ 1617650 w 1617650"/>
                <a:gd name="connsiteY0" fmla="*/ 0 h 257442"/>
                <a:gd name="connsiteX1" fmla="*/ 1562929 w 1617650"/>
                <a:gd name="connsiteY1" fmla="*/ 257442 h 257442"/>
                <a:gd name="connsiteX2" fmla="*/ 0 w 1617650"/>
                <a:gd name="connsiteY2" fmla="*/ 257442 h 257442"/>
                <a:gd name="connsiteX3" fmla="*/ 54720 w 1617650"/>
                <a:gd name="connsiteY3" fmla="*/ 0 h 257442"/>
                <a:gd name="connsiteX0" fmla="*/ 1785964 w 1785964"/>
                <a:gd name="connsiteY0" fmla="*/ 0 h 257442"/>
                <a:gd name="connsiteX1" fmla="*/ 1562929 w 1785964"/>
                <a:gd name="connsiteY1" fmla="*/ 257442 h 257442"/>
                <a:gd name="connsiteX2" fmla="*/ 0 w 1785964"/>
                <a:gd name="connsiteY2" fmla="*/ 257442 h 257442"/>
                <a:gd name="connsiteX3" fmla="*/ 54720 w 1785964"/>
                <a:gd name="connsiteY3" fmla="*/ 0 h 257442"/>
                <a:gd name="connsiteX0" fmla="*/ 1785964 w 1785964"/>
                <a:gd name="connsiteY0" fmla="*/ 0 h 257442"/>
                <a:gd name="connsiteX1" fmla="*/ 1731243 w 1785964"/>
                <a:gd name="connsiteY1" fmla="*/ 257442 h 257442"/>
                <a:gd name="connsiteX2" fmla="*/ 0 w 1785964"/>
                <a:gd name="connsiteY2" fmla="*/ 257442 h 257442"/>
                <a:gd name="connsiteX3" fmla="*/ 54720 w 1785964"/>
                <a:gd name="connsiteY3" fmla="*/ 0 h 257442"/>
                <a:gd name="connsiteX0" fmla="*/ 1785965 w 1785965"/>
                <a:gd name="connsiteY0" fmla="*/ 0 h 257442"/>
                <a:gd name="connsiteX1" fmla="*/ 1731244 w 1785965"/>
                <a:gd name="connsiteY1" fmla="*/ 257442 h 257442"/>
                <a:gd name="connsiteX2" fmla="*/ 0 w 1785965"/>
                <a:gd name="connsiteY2" fmla="*/ 257442 h 257442"/>
                <a:gd name="connsiteX3" fmla="*/ 54721 w 1785965"/>
                <a:gd name="connsiteY3" fmla="*/ 0 h 257442"/>
                <a:gd name="connsiteX0" fmla="*/ 1785965 w 1785965"/>
                <a:gd name="connsiteY0" fmla="*/ 0 h 257442"/>
                <a:gd name="connsiteX1" fmla="*/ 1731244 w 1785965"/>
                <a:gd name="connsiteY1" fmla="*/ 257442 h 257442"/>
                <a:gd name="connsiteX2" fmla="*/ 0 w 1785965"/>
                <a:gd name="connsiteY2" fmla="*/ 257442 h 257442"/>
                <a:gd name="connsiteX3" fmla="*/ 54722 w 1785965"/>
                <a:gd name="connsiteY3" fmla="*/ 0 h 257442"/>
                <a:gd name="connsiteX0" fmla="*/ 1946266 w 1946266"/>
                <a:gd name="connsiteY0" fmla="*/ 0 h 257442"/>
                <a:gd name="connsiteX1" fmla="*/ 1731244 w 1946266"/>
                <a:gd name="connsiteY1" fmla="*/ 257442 h 257442"/>
                <a:gd name="connsiteX2" fmla="*/ 0 w 1946266"/>
                <a:gd name="connsiteY2" fmla="*/ 257442 h 257442"/>
                <a:gd name="connsiteX3" fmla="*/ 54722 w 1946266"/>
                <a:gd name="connsiteY3" fmla="*/ 0 h 257442"/>
                <a:gd name="connsiteX0" fmla="*/ 1946266 w 1946266"/>
                <a:gd name="connsiteY0" fmla="*/ 0 h 257442"/>
                <a:gd name="connsiteX1" fmla="*/ 1891544 w 1946266"/>
                <a:gd name="connsiteY1" fmla="*/ 257442 h 257442"/>
                <a:gd name="connsiteX2" fmla="*/ 0 w 1946266"/>
                <a:gd name="connsiteY2" fmla="*/ 257442 h 257442"/>
                <a:gd name="connsiteX3" fmla="*/ 54722 w 1946266"/>
                <a:gd name="connsiteY3" fmla="*/ 0 h 257442"/>
                <a:gd name="connsiteX0" fmla="*/ 1946266 w 1946266"/>
                <a:gd name="connsiteY0" fmla="*/ 0 h 257442"/>
                <a:gd name="connsiteX1" fmla="*/ 1891544 w 1946266"/>
                <a:gd name="connsiteY1" fmla="*/ 257442 h 257442"/>
                <a:gd name="connsiteX2" fmla="*/ 0 w 1946266"/>
                <a:gd name="connsiteY2" fmla="*/ 257442 h 257442"/>
                <a:gd name="connsiteX3" fmla="*/ 54722 w 1946266"/>
                <a:gd name="connsiteY3" fmla="*/ 0 h 257442"/>
                <a:gd name="connsiteX0" fmla="*/ 1946266 w 1946266"/>
                <a:gd name="connsiteY0" fmla="*/ 0 h 257442"/>
                <a:gd name="connsiteX1" fmla="*/ 1891544 w 1946266"/>
                <a:gd name="connsiteY1" fmla="*/ 257442 h 257442"/>
                <a:gd name="connsiteX2" fmla="*/ 0 w 1946266"/>
                <a:gd name="connsiteY2" fmla="*/ 257442 h 257442"/>
                <a:gd name="connsiteX3" fmla="*/ 54721 w 1946266"/>
                <a:gd name="connsiteY3" fmla="*/ 0 h 257442"/>
                <a:gd name="connsiteX0" fmla="*/ 2199540 w 2199540"/>
                <a:gd name="connsiteY0" fmla="*/ 0 h 257442"/>
                <a:gd name="connsiteX1" fmla="*/ 1891544 w 2199540"/>
                <a:gd name="connsiteY1" fmla="*/ 257442 h 257442"/>
                <a:gd name="connsiteX2" fmla="*/ 0 w 2199540"/>
                <a:gd name="connsiteY2" fmla="*/ 257442 h 257442"/>
                <a:gd name="connsiteX3" fmla="*/ 54721 w 2199540"/>
                <a:gd name="connsiteY3" fmla="*/ 0 h 257442"/>
                <a:gd name="connsiteX0" fmla="*/ 2199540 w 2199540"/>
                <a:gd name="connsiteY0" fmla="*/ 0 h 257442"/>
                <a:gd name="connsiteX1" fmla="*/ 2144819 w 2199540"/>
                <a:gd name="connsiteY1" fmla="*/ 257442 h 257442"/>
                <a:gd name="connsiteX2" fmla="*/ 0 w 2199540"/>
                <a:gd name="connsiteY2" fmla="*/ 257442 h 257442"/>
                <a:gd name="connsiteX3" fmla="*/ 54721 w 2199540"/>
                <a:gd name="connsiteY3" fmla="*/ 0 h 257442"/>
                <a:gd name="connsiteX0" fmla="*/ 2199540 w 2199540"/>
                <a:gd name="connsiteY0" fmla="*/ 0 h 257442"/>
                <a:gd name="connsiteX1" fmla="*/ 2144819 w 2199540"/>
                <a:gd name="connsiteY1" fmla="*/ 257442 h 257442"/>
                <a:gd name="connsiteX2" fmla="*/ 0 w 2199540"/>
                <a:gd name="connsiteY2" fmla="*/ 257442 h 257442"/>
                <a:gd name="connsiteX3" fmla="*/ 54721 w 2199540"/>
                <a:gd name="connsiteY3" fmla="*/ 0 h 257442"/>
                <a:gd name="connsiteX0" fmla="*/ 2199540 w 2199540"/>
                <a:gd name="connsiteY0" fmla="*/ 0 h 257442"/>
                <a:gd name="connsiteX1" fmla="*/ 2144819 w 2199540"/>
                <a:gd name="connsiteY1" fmla="*/ 257442 h 257442"/>
                <a:gd name="connsiteX2" fmla="*/ 0 w 2199540"/>
                <a:gd name="connsiteY2" fmla="*/ 257442 h 257442"/>
                <a:gd name="connsiteX3" fmla="*/ 54721 w 2199540"/>
                <a:gd name="connsiteY3" fmla="*/ 0 h 257442"/>
                <a:gd name="connsiteX0" fmla="*/ 2374716 w 2374716"/>
                <a:gd name="connsiteY0" fmla="*/ 0 h 257442"/>
                <a:gd name="connsiteX1" fmla="*/ 2144819 w 2374716"/>
                <a:gd name="connsiteY1" fmla="*/ 257442 h 257442"/>
                <a:gd name="connsiteX2" fmla="*/ 0 w 2374716"/>
                <a:gd name="connsiteY2" fmla="*/ 257442 h 257442"/>
                <a:gd name="connsiteX3" fmla="*/ 54721 w 2374716"/>
                <a:gd name="connsiteY3" fmla="*/ 0 h 257442"/>
                <a:gd name="connsiteX0" fmla="*/ 2374716 w 2374716"/>
                <a:gd name="connsiteY0" fmla="*/ 0 h 257442"/>
                <a:gd name="connsiteX1" fmla="*/ 2319995 w 2374716"/>
                <a:gd name="connsiteY1" fmla="*/ 257442 h 257442"/>
                <a:gd name="connsiteX2" fmla="*/ 0 w 2374716"/>
                <a:gd name="connsiteY2" fmla="*/ 257442 h 257442"/>
                <a:gd name="connsiteX3" fmla="*/ 54721 w 2374716"/>
                <a:gd name="connsiteY3" fmla="*/ 0 h 257442"/>
                <a:gd name="connsiteX0" fmla="*/ 2374716 w 2374716"/>
                <a:gd name="connsiteY0" fmla="*/ 0 h 257442"/>
                <a:gd name="connsiteX1" fmla="*/ 2319995 w 2374716"/>
                <a:gd name="connsiteY1" fmla="*/ 257442 h 257442"/>
                <a:gd name="connsiteX2" fmla="*/ 0 w 2374716"/>
                <a:gd name="connsiteY2" fmla="*/ 257442 h 257442"/>
                <a:gd name="connsiteX3" fmla="*/ 54721 w 2374716"/>
                <a:gd name="connsiteY3" fmla="*/ 0 h 257442"/>
                <a:gd name="connsiteX0" fmla="*/ 2374716 w 2374716"/>
                <a:gd name="connsiteY0" fmla="*/ 0 h 257442"/>
                <a:gd name="connsiteX1" fmla="*/ 2319995 w 2374716"/>
                <a:gd name="connsiteY1" fmla="*/ 257442 h 257442"/>
                <a:gd name="connsiteX2" fmla="*/ 0 w 2374716"/>
                <a:gd name="connsiteY2" fmla="*/ 257442 h 257442"/>
                <a:gd name="connsiteX3" fmla="*/ 54721 w 2374716"/>
                <a:gd name="connsiteY3" fmla="*/ 0 h 257442"/>
                <a:gd name="connsiteX0" fmla="*/ 2644021 w 2644021"/>
                <a:gd name="connsiteY0" fmla="*/ 0 h 257442"/>
                <a:gd name="connsiteX1" fmla="*/ 2319995 w 2644021"/>
                <a:gd name="connsiteY1" fmla="*/ 257442 h 257442"/>
                <a:gd name="connsiteX2" fmla="*/ 0 w 2644021"/>
                <a:gd name="connsiteY2" fmla="*/ 257442 h 257442"/>
                <a:gd name="connsiteX3" fmla="*/ 54721 w 2644021"/>
                <a:gd name="connsiteY3" fmla="*/ 0 h 257442"/>
                <a:gd name="connsiteX0" fmla="*/ 2644021 w 2644021"/>
                <a:gd name="connsiteY0" fmla="*/ 0 h 257442"/>
                <a:gd name="connsiteX1" fmla="*/ 2589300 w 2644021"/>
                <a:gd name="connsiteY1" fmla="*/ 257442 h 257442"/>
                <a:gd name="connsiteX2" fmla="*/ 0 w 2644021"/>
                <a:gd name="connsiteY2" fmla="*/ 257442 h 257442"/>
                <a:gd name="connsiteX3" fmla="*/ 54721 w 2644021"/>
                <a:gd name="connsiteY3" fmla="*/ 0 h 257442"/>
                <a:gd name="connsiteX0" fmla="*/ 2644021 w 2644021"/>
                <a:gd name="connsiteY0" fmla="*/ 0 h 257442"/>
                <a:gd name="connsiteX1" fmla="*/ 2589300 w 2644021"/>
                <a:gd name="connsiteY1" fmla="*/ 257442 h 257442"/>
                <a:gd name="connsiteX2" fmla="*/ 0 w 2644021"/>
                <a:gd name="connsiteY2" fmla="*/ 257442 h 257442"/>
                <a:gd name="connsiteX3" fmla="*/ 54721 w 2644021"/>
                <a:gd name="connsiteY3" fmla="*/ 0 h 257442"/>
                <a:gd name="connsiteX0" fmla="*/ 2644021 w 2644021"/>
                <a:gd name="connsiteY0" fmla="*/ 0 h 257442"/>
                <a:gd name="connsiteX1" fmla="*/ 2589300 w 2644021"/>
                <a:gd name="connsiteY1" fmla="*/ 257442 h 257442"/>
                <a:gd name="connsiteX2" fmla="*/ 0 w 2644021"/>
                <a:gd name="connsiteY2" fmla="*/ 257442 h 257442"/>
                <a:gd name="connsiteX3" fmla="*/ 54721 w 2644021"/>
                <a:gd name="connsiteY3" fmla="*/ 0 h 257442"/>
                <a:gd name="connsiteX0" fmla="*/ 2804321 w 2804321"/>
                <a:gd name="connsiteY0" fmla="*/ 0 h 257442"/>
                <a:gd name="connsiteX1" fmla="*/ 2589300 w 2804321"/>
                <a:gd name="connsiteY1" fmla="*/ 257442 h 257442"/>
                <a:gd name="connsiteX2" fmla="*/ 0 w 2804321"/>
                <a:gd name="connsiteY2" fmla="*/ 257442 h 257442"/>
                <a:gd name="connsiteX3" fmla="*/ 54721 w 2804321"/>
                <a:gd name="connsiteY3" fmla="*/ 0 h 257442"/>
                <a:gd name="connsiteX0" fmla="*/ 2804321 w 2804321"/>
                <a:gd name="connsiteY0" fmla="*/ 0 h 257442"/>
                <a:gd name="connsiteX1" fmla="*/ 2749600 w 2804321"/>
                <a:gd name="connsiteY1" fmla="*/ 257442 h 257442"/>
                <a:gd name="connsiteX2" fmla="*/ 0 w 2804321"/>
                <a:gd name="connsiteY2" fmla="*/ 257442 h 257442"/>
                <a:gd name="connsiteX3" fmla="*/ 54721 w 2804321"/>
                <a:gd name="connsiteY3" fmla="*/ 0 h 257442"/>
                <a:gd name="connsiteX0" fmla="*/ 2804321 w 2804321"/>
                <a:gd name="connsiteY0" fmla="*/ 0 h 257442"/>
                <a:gd name="connsiteX1" fmla="*/ 2749600 w 2804321"/>
                <a:gd name="connsiteY1" fmla="*/ 257442 h 257442"/>
                <a:gd name="connsiteX2" fmla="*/ 0 w 2804321"/>
                <a:gd name="connsiteY2" fmla="*/ 257442 h 257442"/>
                <a:gd name="connsiteX3" fmla="*/ 54721 w 2804321"/>
                <a:gd name="connsiteY3" fmla="*/ 0 h 257442"/>
                <a:gd name="connsiteX0" fmla="*/ 2804321 w 2804321"/>
                <a:gd name="connsiteY0" fmla="*/ 0 h 257442"/>
                <a:gd name="connsiteX1" fmla="*/ 2749600 w 2804321"/>
                <a:gd name="connsiteY1" fmla="*/ 257442 h 257442"/>
                <a:gd name="connsiteX2" fmla="*/ 0 w 2804321"/>
                <a:gd name="connsiteY2" fmla="*/ 257442 h 257442"/>
                <a:gd name="connsiteX3" fmla="*/ 54721 w 2804321"/>
                <a:gd name="connsiteY3" fmla="*/ 0 h 257442"/>
                <a:gd name="connsiteX0" fmla="*/ 2964621 w 2964621"/>
                <a:gd name="connsiteY0" fmla="*/ 0 h 257442"/>
                <a:gd name="connsiteX1" fmla="*/ 2749600 w 2964621"/>
                <a:gd name="connsiteY1" fmla="*/ 257442 h 257442"/>
                <a:gd name="connsiteX2" fmla="*/ 0 w 2964621"/>
                <a:gd name="connsiteY2" fmla="*/ 257442 h 257442"/>
                <a:gd name="connsiteX3" fmla="*/ 54721 w 2964621"/>
                <a:gd name="connsiteY3" fmla="*/ 0 h 257442"/>
                <a:gd name="connsiteX0" fmla="*/ 2964621 w 2964621"/>
                <a:gd name="connsiteY0" fmla="*/ 0 h 257442"/>
                <a:gd name="connsiteX1" fmla="*/ 2909900 w 2964621"/>
                <a:gd name="connsiteY1" fmla="*/ 257442 h 257442"/>
                <a:gd name="connsiteX2" fmla="*/ 0 w 2964621"/>
                <a:gd name="connsiteY2" fmla="*/ 257442 h 257442"/>
                <a:gd name="connsiteX3" fmla="*/ 54721 w 2964621"/>
                <a:gd name="connsiteY3" fmla="*/ 0 h 257442"/>
                <a:gd name="connsiteX0" fmla="*/ 2964621 w 2964621"/>
                <a:gd name="connsiteY0" fmla="*/ 0 h 257442"/>
                <a:gd name="connsiteX1" fmla="*/ 2909900 w 2964621"/>
                <a:gd name="connsiteY1" fmla="*/ 257442 h 257442"/>
                <a:gd name="connsiteX2" fmla="*/ 0 w 2964621"/>
                <a:gd name="connsiteY2" fmla="*/ 257442 h 257442"/>
                <a:gd name="connsiteX3" fmla="*/ 54721 w 2964621"/>
                <a:gd name="connsiteY3" fmla="*/ 0 h 257442"/>
                <a:gd name="connsiteX0" fmla="*/ 2964621 w 2964621"/>
                <a:gd name="connsiteY0" fmla="*/ 0 h 257442"/>
                <a:gd name="connsiteX1" fmla="*/ 2909900 w 2964621"/>
                <a:gd name="connsiteY1" fmla="*/ 257442 h 257442"/>
                <a:gd name="connsiteX2" fmla="*/ 0 w 2964621"/>
                <a:gd name="connsiteY2" fmla="*/ 257442 h 257442"/>
                <a:gd name="connsiteX3" fmla="*/ 54721 w 2964621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64621" h="257442">
                  <a:moveTo>
                    <a:pt x="2964621" y="0"/>
                  </a:moveTo>
                  <a:lnTo>
                    <a:pt x="2909900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" name="btfpRunningAgenda2LevelTextRight289651">
              <a:extLst>
                <a:ext uri="{FF2B5EF4-FFF2-40B4-BE49-F238E27FC236}">
                  <a16:creationId xmlns:a16="http://schemas.microsoft.com/office/drawing/2014/main" id="{98CCCA3E-625A-4F5B-AB85-41D3112C3777}"/>
                </a:ext>
              </a:extLst>
            </p:cNvPr>
            <p:cNvSpPr txBox="1"/>
            <p:nvPr/>
          </p:nvSpPr>
          <p:spPr bwMode="gray">
            <a:xfrm>
              <a:off x="1482807" y="876300"/>
              <a:ext cx="2909900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asons to use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414602524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btfpColumnIndicatorGroup2">
            <a:extLst>
              <a:ext uri="{FF2B5EF4-FFF2-40B4-BE49-F238E27FC236}">
                <a16:creationId xmlns:a16="http://schemas.microsoft.com/office/drawing/2014/main" id="{8A546247-FAE9-48D6-A12C-5ED84A8FB858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7" name="btfpColumnGapBlocker717942">
              <a:extLst>
                <a:ext uri="{FF2B5EF4-FFF2-40B4-BE49-F238E27FC236}">
                  <a16:creationId xmlns:a16="http://schemas.microsoft.com/office/drawing/2014/main" id="{FBBF987E-178B-4299-8D23-7A737E2196E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3" name="btfpColumnGapBlocker879323">
              <a:extLst>
                <a:ext uri="{FF2B5EF4-FFF2-40B4-BE49-F238E27FC236}">
                  <a16:creationId xmlns:a16="http://schemas.microsoft.com/office/drawing/2014/main" id="{CA3A522A-2A6B-42ED-9B2C-A61DD33D5A23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1" name="btfpColumnIndicator596148">
              <a:extLst>
                <a:ext uri="{FF2B5EF4-FFF2-40B4-BE49-F238E27FC236}">
                  <a16:creationId xmlns:a16="http://schemas.microsoft.com/office/drawing/2014/main" id="{D1651392-B460-4234-9053-E6241EBBE567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btfpColumnIndicator558622">
              <a:extLst>
                <a:ext uri="{FF2B5EF4-FFF2-40B4-BE49-F238E27FC236}">
                  <a16:creationId xmlns:a16="http://schemas.microsoft.com/office/drawing/2014/main" id="{F2847362-F443-4248-A748-1A628F8F3DC0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btfpColumnIndicatorGroup1">
            <a:extLst>
              <a:ext uri="{FF2B5EF4-FFF2-40B4-BE49-F238E27FC236}">
                <a16:creationId xmlns:a16="http://schemas.microsoft.com/office/drawing/2014/main" id="{68CE209A-01B8-48C2-B40A-31D7FC6D36BA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4" name="btfpColumnGapBlocker337366">
              <a:extLst>
                <a:ext uri="{FF2B5EF4-FFF2-40B4-BE49-F238E27FC236}">
                  <a16:creationId xmlns:a16="http://schemas.microsoft.com/office/drawing/2014/main" id="{4E85E93C-C3A5-4F70-9E61-DD5AFC26A8A3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2" name="btfpColumnGapBlocker588751">
              <a:extLst>
                <a:ext uri="{FF2B5EF4-FFF2-40B4-BE49-F238E27FC236}">
                  <a16:creationId xmlns:a16="http://schemas.microsoft.com/office/drawing/2014/main" id="{7BB2EBD5-D3CF-4A6B-AD09-9FE23BE2AB15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0" name="btfpColumnIndicator905137">
              <a:extLst>
                <a:ext uri="{FF2B5EF4-FFF2-40B4-BE49-F238E27FC236}">
                  <a16:creationId xmlns:a16="http://schemas.microsoft.com/office/drawing/2014/main" id="{CFDA51AB-0C77-4FEF-AD01-39A4E9D1B426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486845">
              <a:extLst>
                <a:ext uri="{FF2B5EF4-FFF2-40B4-BE49-F238E27FC236}">
                  <a16:creationId xmlns:a16="http://schemas.microsoft.com/office/drawing/2014/main" id="{EBCC63FC-4CD4-43D9-BB3C-3D716120C09E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BD05633-818A-4050-9F16-0E9919DF6E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/>
              <a:t>Use cases: </a:t>
            </a:r>
            <a:r>
              <a:rPr lang="en-GB"/>
              <a:t>Target used primarily for Channel XX and XX</a:t>
            </a:r>
          </a:p>
        </p:txBody>
      </p:sp>
      <p:graphicFrame>
        <p:nvGraphicFramePr>
          <p:cNvPr id="15" name="btfpTable516243">
            <a:extLst>
              <a:ext uri="{FF2B5EF4-FFF2-40B4-BE49-F238E27FC236}">
                <a16:creationId xmlns:a16="http://schemas.microsoft.com/office/drawing/2014/main" id="{ADC2572F-684B-46E1-9388-2C0379415A67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20674" y="1943930"/>
          <a:ext cx="11510597" cy="4167208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796947">
                  <a:extLst>
                    <a:ext uri="{9D8B030D-6E8A-4147-A177-3AD203B41FA5}">
                      <a16:colId xmlns:a16="http://schemas.microsoft.com/office/drawing/2014/main" val="3718533098"/>
                    </a:ext>
                  </a:extLst>
                </a:gridCol>
                <a:gridCol w="1491795">
                  <a:extLst>
                    <a:ext uri="{9D8B030D-6E8A-4147-A177-3AD203B41FA5}">
                      <a16:colId xmlns:a16="http://schemas.microsoft.com/office/drawing/2014/main" val="1495286223"/>
                    </a:ext>
                  </a:extLst>
                </a:gridCol>
                <a:gridCol w="1644371">
                  <a:extLst>
                    <a:ext uri="{9D8B030D-6E8A-4147-A177-3AD203B41FA5}">
                      <a16:colId xmlns:a16="http://schemas.microsoft.com/office/drawing/2014/main" val="503382743"/>
                    </a:ext>
                  </a:extLst>
                </a:gridCol>
                <a:gridCol w="1644371">
                  <a:extLst>
                    <a:ext uri="{9D8B030D-6E8A-4147-A177-3AD203B41FA5}">
                      <a16:colId xmlns:a16="http://schemas.microsoft.com/office/drawing/2014/main" val="1402709331"/>
                    </a:ext>
                  </a:extLst>
                </a:gridCol>
                <a:gridCol w="1644371">
                  <a:extLst>
                    <a:ext uri="{9D8B030D-6E8A-4147-A177-3AD203B41FA5}">
                      <a16:colId xmlns:a16="http://schemas.microsoft.com/office/drawing/2014/main" val="3438790920"/>
                    </a:ext>
                  </a:extLst>
                </a:gridCol>
                <a:gridCol w="1644371">
                  <a:extLst>
                    <a:ext uri="{9D8B030D-6E8A-4147-A177-3AD203B41FA5}">
                      <a16:colId xmlns:a16="http://schemas.microsoft.com/office/drawing/2014/main" val="1335461218"/>
                    </a:ext>
                  </a:extLst>
                </a:gridCol>
                <a:gridCol w="1644371">
                  <a:extLst>
                    <a:ext uri="{9D8B030D-6E8A-4147-A177-3AD203B41FA5}">
                      <a16:colId xmlns:a16="http://schemas.microsoft.com/office/drawing/2014/main" val="2148792749"/>
                    </a:ext>
                  </a:extLst>
                </a:gridCol>
              </a:tblGrid>
              <a:tr h="443108"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Channels/sources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arget</a:t>
                      </a:r>
                    </a:p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 = XX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mpetitor 1</a:t>
                      </a:r>
                    </a:p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 = XX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mpetitor 2</a:t>
                      </a:r>
                    </a:p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 = XX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mpetitor 4</a:t>
                      </a:r>
                    </a:p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 = XX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mpetitor 5</a:t>
                      </a:r>
                    </a:p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 = XX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mpetitor 6</a:t>
                      </a:r>
                    </a:p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 = XX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809163749"/>
                  </a:ext>
                </a:extLst>
              </a:tr>
              <a:tr h="372410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Channel 1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38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5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8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5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33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5078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005430"/>
                  </a:ext>
                </a:extLst>
              </a:tr>
              <a:tr h="372410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hannel 2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5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33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7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858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858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5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6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4403837"/>
                  </a:ext>
                </a:extLst>
              </a:tr>
              <a:tr h="372410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hannel 3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solidFill>
                            <a:schemeClr val="bg1"/>
                          </a:solidFill>
                          <a:latin typeface="+mn-lt"/>
                        </a:rPr>
                        <a:t>88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50786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solidFill>
                            <a:schemeClr val="tx1"/>
                          </a:solidFill>
                          <a:latin typeface="+mn-lt"/>
                        </a:rPr>
                        <a:t>83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67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BBCAB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solidFill>
                            <a:schemeClr val="bg1"/>
                          </a:solidFill>
                          <a:latin typeface="+mn-lt"/>
                        </a:rPr>
                        <a:t>10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50786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67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BBCAB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solidFill>
                            <a:schemeClr val="bg1"/>
                          </a:solidFill>
                          <a:latin typeface="+mn-lt"/>
                        </a:rPr>
                        <a:t>10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5078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3015488"/>
                  </a:ext>
                </a:extLst>
              </a:tr>
              <a:tr h="372410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hannel 4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63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BBCAB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5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17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8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5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33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8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6572931"/>
                  </a:ext>
                </a:extLst>
              </a:tr>
              <a:tr h="372410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hannel 5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7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 b="0">
                          <a:solidFill>
                            <a:schemeClr val="tx1"/>
                          </a:solidFill>
                          <a:latin typeface="+mn-lt"/>
                        </a:rPr>
                        <a:t>83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solidFill>
                            <a:schemeClr val="tx1"/>
                          </a:solidFill>
                          <a:latin typeface="+mn-lt"/>
                        </a:rPr>
                        <a:t>83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7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858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5078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9250379"/>
                  </a:ext>
                </a:extLst>
              </a:tr>
              <a:tr h="372410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hannel 6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63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BBCAB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67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BBCAB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3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solidFill>
                            <a:schemeClr val="bg1"/>
                          </a:solidFill>
                          <a:latin typeface="+mn-lt"/>
                        </a:rPr>
                        <a:t>10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50786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33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5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6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2146510"/>
                  </a:ext>
                </a:extLst>
              </a:tr>
              <a:tr h="372410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hannel 7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7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solidFill>
                            <a:schemeClr val="tx1"/>
                          </a:solidFill>
                          <a:latin typeface="+mn-lt"/>
                        </a:rPr>
                        <a:t>83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7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8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solidFill>
                            <a:schemeClr val="bg1"/>
                          </a:solidFill>
                          <a:latin typeface="+mn-lt"/>
                        </a:rPr>
                        <a:t>10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50786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solidFill>
                            <a:schemeClr val="bg1"/>
                          </a:solidFill>
                          <a:latin typeface="+mn-lt"/>
                        </a:rPr>
                        <a:t>10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50786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5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6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1125345"/>
                  </a:ext>
                </a:extLst>
              </a:tr>
              <a:tr h="372410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hannel 8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7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solidFill>
                            <a:schemeClr val="bg1"/>
                          </a:solidFill>
                          <a:latin typeface="+mn-lt"/>
                        </a:rPr>
                        <a:t>10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50786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5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solidFill>
                            <a:schemeClr val="bg1"/>
                          </a:solidFill>
                          <a:latin typeface="+mn-lt"/>
                        </a:rPr>
                        <a:t>10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50786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8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solidFill>
                            <a:schemeClr val="bg1"/>
                          </a:solidFill>
                          <a:latin typeface="+mn-lt"/>
                        </a:rPr>
                        <a:t>10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5078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8041605"/>
                  </a:ext>
                </a:extLst>
              </a:tr>
              <a:tr h="372410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hannel 9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5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5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5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5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67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BBCAB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8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0895048"/>
                  </a:ext>
                </a:extLst>
              </a:tr>
              <a:tr h="372410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hannel 10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63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BBCAB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solidFill>
                            <a:schemeClr val="tx1"/>
                          </a:solidFill>
                          <a:latin typeface="+mn-lt"/>
                        </a:rPr>
                        <a:t>83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5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7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33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solidFill>
                            <a:schemeClr val="bg1"/>
                          </a:solidFill>
                          <a:latin typeface="+mn-lt"/>
                        </a:rPr>
                        <a:t>10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5078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5994752"/>
                  </a:ext>
                </a:extLst>
              </a:tr>
            </a:tbl>
          </a:graphicData>
        </a:graphic>
      </p:graphicFrame>
      <p:sp>
        <p:nvSpPr>
          <p:cNvPr id="26" name="btfpNotesBox117783">
            <a:extLst>
              <a:ext uri="{FF2B5EF4-FFF2-40B4-BE49-F238E27FC236}">
                <a16:creationId xmlns:a16="http://schemas.microsoft.com/office/drawing/2014/main" id="{E32F397A-CC19-4E04-9145-132FCBD089F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 Table values represent % of respondents selecting each channel option</a:t>
            </a:r>
          </a:p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B7413267-3B0D-4BD6-A08B-F7580E6A6C6A}"/>
              </a:ext>
            </a:extLst>
          </p:cNvPr>
          <p:cNvSpPr/>
          <p:nvPr/>
        </p:nvSpPr>
        <p:spPr bwMode="gray">
          <a:xfrm>
            <a:off x="340699" y="1350954"/>
            <a:ext cx="11510599" cy="54965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 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each of your top (up to) 5 Programmatic Advertising managed services provider(s) by % of spend, can you please select the channels and capabilities that you are using them for?</a:t>
            </a:r>
            <a:endParaRPr kumimoji="0" lang="en-GB" sz="10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FE388BC5-F8BC-4E50-A5DD-AC0B065D0346}"/>
              </a:ext>
            </a:extLst>
          </p:cNvPr>
          <p:cNvSpPr txBox="1"/>
          <p:nvPr/>
        </p:nvSpPr>
        <p:spPr bwMode="gray">
          <a:xfrm>
            <a:off x="8010252" y="6240610"/>
            <a:ext cx="486120" cy="195814"/>
          </a:xfrm>
          <a:prstGeom prst="rect">
            <a:avLst/>
          </a:prstGeom>
          <a:solidFill>
            <a:srgbClr val="FFFFFF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gend</a:t>
            </a:r>
          </a:p>
        </p:txBody>
      </p:sp>
      <p:graphicFrame>
        <p:nvGraphicFramePr>
          <p:cNvPr id="61" name="Table 60">
            <a:extLst>
              <a:ext uri="{FF2B5EF4-FFF2-40B4-BE49-F238E27FC236}">
                <a16:creationId xmlns:a16="http://schemas.microsoft.com/office/drawing/2014/main" id="{6F6356D9-7EE0-4195-B00C-473AD65E2BC1}"/>
              </a:ext>
            </a:extLst>
          </p:cNvPr>
          <p:cNvGraphicFramePr>
            <a:graphicFrameLocks noGrp="1"/>
          </p:cNvGraphicFramePr>
          <p:nvPr/>
        </p:nvGraphicFramePr>
        <p:xfrm>
          <a:off x="8496372" y="6241220"/>
          <a:ext cx="3360666" cy="21057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60111">
                  <a:extLst>
                    <a:ext uri="{9D8B030D-6E8A-4147-A177-3AD203B41FA5}">
                      <a16:colId xmlns:a16="http://schemas.microsoft.com/office/drawing/2014/main" val="3933447932"/>
                    </a:ext>
                  </a:extLst>
                </a:gridCol>
                <a:gridCol w="560111">
                  <a:extLst>
                    <a:ext uri="{9D8B030D-6E8A-4147-A177-3AD203B41FA5}">
                      <a16:colId xmlns:a16="http://schemas.microsoft.com/office/drawing/2014/main" val="2817919543"/>
                    </a:ext>
                  </a:extLst>
                </a:gridCol>
                <a:gridCol w="560111">
                  <a:extLst>
                    <a:ext uri="{9D8B030D-6E8A-4147-A177-3AD203B41FA5}">
                      <a16:colId xmlns:a16="http://schemas.microsoft.com/office/drawing/2014/main" val="1360854354"/>
                    </a:ext>
                  </a:extLst>
                </a:gridCol>
                <a:gridCol w="560111">
                  <a:extLst>
                    <a:ext uri="{9D8B030D-6E8A-4147-A177-3AD203B41FA5}">
                      <a16:colId xmlns:a16="http://schemas.microsoft.com/office/drawing/2014/main" val="954812982"/>
                    </a:ext>
                  </a:extLst>
                </a:gridCol>
                <a:gridCol w="560111">
                  <a:extLst>
                    <a:ext uri="{9D8B030D-6E8A-4147-A177-3AD203B41FA5}">
                      <a16:colId xmlns:a16="http://schemas.microsoft.com/office/drawing/2014/main" val="3303214137"/>
                    </a:ext>
                  </a:extLst>
                </a:gridCol>
                <a:gridCol w="560111">
                  <a:extLst>
                    <a:ext uri="{9D8B030D-6E8A-4147-A177-3AD203B41FA5}">
                      <a16:colId xmlns:a16="http://schemas.microsoft.com/office/drawing/2014/main" val="89983032"/>
                    </a:ext>
                  </a:extLst>
                </a:gridCol>
              </a:tblGrid>
              <a:tr h="210573"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GB" sz="8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0-20%</a:t>
                      </a:r>
                    </a:p>
                  </a:txBody>
                  <a:tcPr marL="7620" marR="7620" marT="7620" marB="0" anchor="ctr">
                    <a:solidFill>
                      <a:srgbClr val="FF8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-40%</a:t>
                      </a:r>
                    </a:p>
                  </a:txBody>
                  <a:tcPr marL="7620" marR="7620" marT="7620" marB="0" anchor="ctr"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-60%</a:t>
                      </a:r>
                    </a:p>
                  </a:txBody>
                  <a:tcPr marL="7620" marR="7620" marT="7620" marB="0" anchor="ctr"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-70%</a:t>
                      </a:r>
                    </a:p>
                  </a:txBody>
                  <a:tcPr marL="7620" marR="7620" marT="7620" marB="0" anchor="ctr">
                    <a:solidFill>
                      <a:srgbClr val="BBCAB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GB" sz="8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1%-85%</a:t>
                      </a:r>
                    </a:p>
                  </a:txBody>
                  <a:tcPr marL="7620" marR="7620" marT="7620" marB="0" anchor="ctr"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GB" sz="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86-100%</a:t>
                      </a:r>
                    </a:p>
                  </a:txBody>
                  <a:tcPr marL="7620" marR="7620" marT="7620" marB="0" anchor="ctr">
                    <a:solidFill>
                      <a:srgbClr val="5078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8342306"/>
                  </a:ext>
                </a:extLst>
              </a:tr>
            </a:tbl>
          </a:graphicData>
        </a:graphic>
      </p:graphicFrame>
      <p:grpSp>
        <p:nvGrpSpPr>
          <p:cNvPr id="7" name="btfpRunningAgenda2Level737640">
            <a:extLst>
              <a:ext uri="{FF2B5EF4-FFF2-40B4-BE49-F238E27FC236}">
                <a16:creationId xmlns:a16="http://schemas.microsoft.com/office/drawing/2014/main" id="{482642AA-A2A5-4818-B439-CD10F6D5DA3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0" y="944429"/>
            <a:ext cx="3579755" cy="257442"/>
            <a:chOff x="0" y="876300"/>
            <a:chExt cx="3579755" cy="257442"/>
          </a:xfrm>
        </p:grpSpPr>
        <p:sp>
          <p:nvSpPr>
            <p:cNvPr id="4" name="btfpRunningAgenda2LevelBarLeft737640">
              <a:extLst>
                <a:ext uri="{FF2B5EF4-FFF2-40B4-BE49-F238E27FC236}">
                  <a16:creationId xmlns:a16="http://schemas.microsoft.com/office/drawing/2014/main" id="{42C6623F-2DAF-4400-9A77-542EBF5B0321}"/>
                </a:ext>
              </a:extLst>
            </p:cNvPr>
            <p:cNvSpPr/>
            <p:nvPr/>
          </p:nvSpPr>
          <p:spPr bwMode="gray">
            <a:xfrm>
              <a:off x="1" y="876300"/>
              <a:ext cx="1617650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79416 w 1279416"/>
                <a:gd name="connsiteY0" fmla="*/ 0 h 257442"/>
                <a:gd name="connsiteX1" fmla="*/ 1056380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4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457351 w 1457351"/>
                <a:gd name="connsiteY0" fmla="*/ 0 h 257442"/>
                <a:gd name="connsiteX1" fmla="*/ 1224695 w 1457351"/>
                <a:gd name="connsiteY1" fmla="*/ 257442 h 257442"/>
                <a:gd name="connsiteX2" fmla="*/ 0 w 1457351"/>
                <a:gd name="connsiteY2" fmla="*/ 257442 h 257442"/>
                <a:gd name="connsiteX3" fmla="*/ 1 w 1457351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0 w 1457351"/>
                <a:gd name="connsiteY2" fmla="*/ 257442 h 257442"/>
                <a:gd name="connsiteX3" fmla="*/ 1 w 1457351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1 w 1457351"/>
                <a:gd name="connsiteY2" fmla="*/ 257442 h 257442"/>
                <a:gd name="connsiteX3" fmla="*/ 0 w 1457351"/>
                <a:gd name="connsiteY3" fmla="*/ 0 h 257442"/>
                <a:gd name="connsiteX0" fmla="*/ 1617651 w 1617651"/>
                <a:gd name="connsiteY0" fmla="*/ 0 h 257442"/>
                <a:gd name="connsiteX1" fmla="*/ 1402630 w 1617651"/>
                <a:gd name="connsiteY1" fmla="*/ 257442 h 257442"/>
                <a:gd name="connsiteX2" fmla="*/ 1 w 1617651"/>
                <a:gd name="connsiteY2" fmla="*/ 257442 h 257442"/>
                <a:gd name="connsiteX3" fmla="*/ 0 w 1617651"/>
                <a:gd name="connsiteY3" fmla="*/ 0 h 257442"/>
                <a:gd name="connsiteX0" fmla="*/ 1617651 w 1617651"/>
                <a:gd name="connsiteY0" fmla="*/ 0 h 257442"/>
                <a:gd name="connsiteX1" fmla="*/ 1562930 w 1617651"/>
                <a:gd name="connsiteY1" fmla="*/ 257442 h 257442"/>
                <a:gd name="connsiteX2" fmla="*/ 1 w 1617651"/>
                <a:gd name="connsiteY2" fmla="*/ 257442 h 257442"/>
                <a:gd name="connsiteX3" fmla="*/ 0 w 1617651"/>
                <a:gd name="connsiteY3" fmla="*/ 0 h 257442"/>
                <a:gd name="connsiteX0" fmla="*/ 1617651 w 1617651"/>
                <a:gd name="connsiteY0" fmla="*/ 0 h 257442"/>
                <a:gd name="connsiteX1" fmla="*/ 1562930 w 1617651"/>
                <a:gd name="connsiteY1" fmla="*/ 257442 h 257442"/>
                <a:gd name="connsiteX2" fmla="*/ 1 w 1617651"/>
                <a:gd name="connsiteY2" fmla="*/ 257442 h 257442"/>
                <a:gd name="connsiteX3" fmla="*/ 0 w 1617651"/>
                <a:gd name="connsiteY3" fmla="*/ 0 h 257442"/>
                <a:gd name="connsiteX0" fmla="*/ 1617650 w 1617650"/>
                <a:gd name="connsiteY0" fmla="*/ 0 h 257442"/>
                <a:gd name="connsiteX1" fmla="*/ 1562929 w 1617650"/>
                <a:gd name="connsiteY1" fmla="*/ 257442 h 257442"/>
                <a:gd name="connsiteX2" fmla="*/ 0 w 1617650"/>
                <a:gd name="connsiteY2" fmla="*/ 257442 h 257442"/>
                <a:gd name="connsiteX3" fmla="*/ 0 w 1617650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17650" h="257442">
                  <a:moveTo>
                    <a:pt x="1617650" y="0"/>
                  </a:moveTo>
                  <a:lnTo>
                    <a:pt x="1562929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" name="btfpRunningAgenda2LevelTextLeft737640">
              <a:extLst>
                <a:ext uri="{FF2B5EF4-FFF2-40B4-BE49-F238E27FC236}">
                  <a16:creationId xmlns:a16="http://schemas.microsoft.com/office/drawing/2014/main" id="{20E12829-F5CF-4ACA-A8C2-1004CC3EC5AB}"/>
                </a:ext>
              </a:extLst>
            </p:cNvPr>
            <p:cNvSpPr txBox="1"/>
            <p:nvPr/>
          </p:nvSpPr>
          <p:spPr bwMode="gray">
            <a:xfrm>
              <a:off x="0" y="876300"/>
              <a:ext cx="1562929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sage</a:t>
              </a:r>
            </a:p>
          </p:txBody>
        </p:sp>
        <p:sp>
          <p:nvSpPr>
            <p:cNvPr id="6" name="btfpRunningAgenda2LevelBarRight737640">
              <a:extLst>
                <a:ext uri="{FF2B5EF4-FFF2-40B4-BE49-F238E27FC236}">
                  <a16:creationId xmlns:a16="http://schemas.microsoft.com/office/drawing/2014/main" id="{102282AE-A75E-433A-A956-5B76C8F3F799}"/>
                </a:ext>
              </a:extLst>
            </p:cNvPr>
            <p:cNvSpPr/>
            <p:nvPr/>
          </p:nvSpPr>
          <p:spPr bwMode="gray">
            <a:xfrm>
              <a:off x="1482807" y="876300"/>
              <a:ext cx="2096948" cy="257442"/>
            </a:xfrm>
            <a:custGeom>
              <a:avLst/>
              <a:gdLst>
                <a:gd name="connsiteX0" fmla="*/ 95080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50801 w 2313135"/>
                <a:gd name="connsiteY0" fmla="*/ 0 h 257442"/>
                <a:gd name="connsiteX1" fmla="*/ 89608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1 w 950800"/>
                <a:gd name="connsiteY3" fmla="*/ 0 h 257442"/>
                <a:gd name="connsiteX0" fmla="*/ 1119115 w 1119115"/>
                <a:gd name="connsiteY0" fmla="*/ 0 h 257442"/>
                <a:gd name="connsiteX1" fmla="*/ 896079 w 1119115"/>
                <a:gd name="connsiteY1" fmla="*/ 257442 h 257442"/>
                <a:gd name="connsiteX2" fmla="*/ 0 w 1119115"/>
                <a:gd name="connsiteY2" fmla="*/ 257442 h 257442"/>
                <a:gd name="connsiteX3" fmla="*/ 54721 w 1119115"/>
                <a:gd name="connsiteY3" fmla="*/ 0 h 257442"/>
                <a:gd name="connsiteX0" fmla="*/ 1119115 w 1119115"/>
                <a:gd name="connsiteY0" fmla="*/ 0 h 257442"/>
                <a:gd name="connsiteX1" fmla="*/ 1064394 w 1119115"/>
                <a:gd name="connsiteY1" fmla="*/ 257442 h 257442"/>
                <a:gd name="connsiteX2" fmla="*/ 0 w 1119115"/>
                <a:gd name="connsiteY2" fmla="*/ 257442 h 257442"/>
                <a:gd name="connsiteX3" fmla="*/ 54721 w 1119115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2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287432 w 1287432"/>
                <a:gd name="connsiteY0" fmla="*/ 0 h 257442"/>
                <a:gd name="connsiteX1" fmla="*/ 1064395 w 1287432"/>
                <a:gd name="connsiteY1" fmla="*/ 257442 h 257442"/>
                <a:gd name="connsiteX2" fmla="*/ 0 w 1287432"/>
                <a:gd name="connsiteY2" fmla="*/ 257442 h 257442"/>
                <a:gd name="connsiteX3" fmla="*/ 54721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54721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54721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54721 w 1287432"/>
                <a:gd name="connsiteY3" fmla="*/ 0 h 257442"/>
                <a:gd name="connsiteX0" fmla="*/ 1455747 w 1455747"/>
                <a:gd name="connsiteY0" fmla="*/ 0 h 257442"/>
                <a:gd name="connsiteX1" fmla="*/ 1232711 w 1455747"/>
                <a:gd name="connsiteY1" fmla="*/ 257442 h 257442"/>
                <a:gd name="connsiteX2" fmla="*/ 0 w 1455747"/>
                <a:gd name="connsiteY2" fmla="*/ 257442 h 257442"/>
                <a:gd name="connsiteX3" fmla="*/ 54721 w 1455747"/>
                <a:gd name="connsiteY3" fmla="*/ 0 h 257442"/>
                <a:gd name="connsiteX0" fmla="*/ 1455747 w 1455747"/>
                <a:gd name="connsiteY0" fmla="*/ 0 h 257442"/>
                <a:gd name="connsiteX1" fmla="*/ 1401026 w 1455747"/>
                <a:gd name="connsiteY1" fmla="*/ 257442 h 257442"/>
                <a:gd name="connsiteX2" fmla="*/ 0 w 1455747"/>
                <a:gd name="connsiteY2" fmla="*/ 257442 h 257442"/>
                <a:gd name="connsiteX3" fmla="*/ 54721 w 1455747"/>
                <a:gd name="connsiteY3" fmla="*/ 0 h 257442"/>
                <a:gd name="connsiteX0" fmla="*/ 1455747 w 1455747"/>
                <a:gd name="connsiteY0" fmla="*/ 0 h 257442"/>
                <a:gd name="connsiteX1" fmla="*/ 1401026 w 1455747"/>
                <a:gd name="connsiteY1" fmla="*/ 257442 h 257442"/>
                <a:gd name="connsiteX2" fmla="*/ 0 w 1455747"/>
                <a:gd name="connsiteY2" fmla="*/ 257442 h 257442"/>
                <a:gd name="connsiteX3" fmla="*/ 54721 w 1455747"/>
                <a:gd name="connsiteY3" fmla="*/ 0 h 257442"/>
                <a:gd name="connsiteX0" fmla="*/ 1455747 w 1455747"/>
                <a:gd name="connsiteY0" fmla="*/ 0 h 257442"/>
                <a:gd name="connsiteX1" fmla="*/ 1401026 w 1455747"/>
                <a:gd name="connsiteY1" fmla="*/ 257442 h 257442"/>
                <a:gd name="connsiteX2" fmla="*/ 0 w 1455747"/>
                <a:gd name="connsiteY2" fmla="*/ 257442 h 257442"/>
                <a:gd name="connsiteX3" fmla="*/ 54721 w 1455747"/>
                <a:gd name="connsiteY3" fmla="*/ 0 h 257442"/>
                <a:gd name="connsiteX0" fmla="*/ 1624062 w 1624062"/>
                <a:gd name="connsiteY0" fmla="*/ 0 h 257442"/>
                <a:gd name="connsiteX1" fmla="*/ 1401026 w 1624062"/>
                <a:gd name="connsiteY1" fmla="*/ 257442 h 257442"/>
                <a:gd name="connsiteX2" fmla="*/ 0 w 1624062"/>
                <a:gd name="connsiteY2" fmla="*/ 257442 h 257442"/>
                <a:gd name="connsiteX3" fmla="*/ 54721 w 1624062"/>
                <a:gd name="connsiteY3" fmla="*/ 0 h 257442"/>
                <a:gd name="connsiteX0" fmla="*/ 1624062 w 1624062"/>
                <a:gd name="connsiteY0" fmla="*/ 0 h 257442"/>
                <a:gd name="connsiteX1" fmla="*/ 1569340 w 1624062"/>
                <a:gd name="connsiteY1" fmla="*/ 257442 h 257442"/>
                <a:gd name="connsiteX2" fmla="*/ 0 w 1624062"/>
                <a:gd name="connsiteY2" fmla="*/ 257442 h 257442"/>
                <a:gd name="connsiteX3" fmla="*/ 54721 w 1624062"/>
                <a:gd name="connsiteY3" fmla="*/ 0 h 257442"/>
                <a:gd name="connsiteX0" fmla="*/ 1624063 w 1624063"/>
                <a:gd name="connsiteY0" fmla="*/ 0 h 257442"/>
                <a:gd name="connsiteX1" fmla="*/ 1569341 w 1624063"/>
                <a:gd name="connsiteY1" fmla="*/ 257442 h 257442"/>
                <a:gd name="connsiteX2" fmla="*/ 0 w 1624063"/>
                <a:gd name="connsiteY2" fmla="*/ 257442 h 257442"/>
                <a:gd name="connsiteX3" fmla="*/ 54722 w 1624063"/>
                <a:gd name="connsiteY3" fmla="*/ 0 h 257442"/>
                <a:gd name="connsiteX0" fmla="*/ 1624063 w 1624063"/>
                <a:gd name="connsiteY0" fmla="*/ 0 h 257442"/>
                <a:gd name="connsiteX1" fmla="*/ 1569341 w 1624063"/>
                <a:gd name="connsiteY1" fmla="*/ 257442 h 257442"/>
                <a:gd name="connsiteX2" fmla="*/ 0 w 1624063"/>
                <a:gd name="connsiteY2" fmla="*/ 257442 h 257442"/>
                <a:gd name="connsiteX3" fmla="*/ 54722 w 1624063"/>
                <a:gd name="connsiteY3" fmla="*/ 0 h 257442"/>
                <a:gd name="connsiteX0" fmla="*/ 1784364 w 1784364"/>
                <a:gd name="connsiteY0" fmla="*/ 0 h 257442"/>
                <a:gd name="connsiteX1" fmla="*/ 1569341 w 1784364"/>
                <a:gd name="connsiteY1" fmla="*/ 257442 h 257442"/>
                <a:gd name="connsiteX2" fmla="*/ 0 w 1784364"/>
                <a:gd name="connsiteY2" fmla="*/ 257442 h 257442"/>
                <a:gd name="connsiteX3" fmla="*/ 54722 w 1784364"/>
                <a:gd name="connsiteY3" fmla="*/ 0 h 257442"/>
                <a:gd name="connsiteX0" fmla="*/ 1784364 w 1784364"/>
                <a:gd name="connsiteY0" fmla="*/ 0 h 257442"/>
                <a:gd name="connsiteX1" fmla="*/ 1729642 w 1784364"/>
                <a:gd name="connsiteY1" fmla="*/ 257442 h 257442"/>
                <a:gd name="connsiteX2" fmla="*/ 0 w 1784364"/>
                <a:gd name="connsiteY2" fmla="*/ 257442 h 257442"/>
                <a:gd name="connsiteX3" fmla="*/ 54722 w 1784364"/>
                <a:gd name="connsiteY3" fmla="*/ 0 h 257442"/>
                <a:gd name="connsiteX0" fmla="*/ 1784364 w 1784364"/>
                <a:gd name="connsiteY0" fmla="*/ 0 h 257442"/>
                <a:gd name="connsiteX1" fmla="*/ 1729642 w 1784364"/>
                <a:gd name="connsiteY1" fmla="*/ 257442 h 257442"/>
                <a:gd name="connsiteX2" fmla="*/ 0 w 1784364"/>
                <a:gd name="connsiteY2" fmla="*/ 257442 h 257442"/>
                <a:gd name="connsiteX3" fmla="*/ 54722 w 1784364"/>
                <a:gd name="connsiteY3" fmla="*/ 0 h 257442"/>
                <a:gd name="connsiteX0" fmla="*/ 1784364 w 1784364"/>
                <a:gd name="connsiteY0" fmla="*/ 0 h 257442"/>
                <a:gd name="connsiteX1" fmla="*/ 1729642 w 1784364"/>
                <a:gd name="connsiteY1" fmla="*/ 257442 h 257442"/>
                <a:gd name="connsiteX2" fmla="*/ 0 w 1784364"/>
                <a:gd name="connsiteY2" fmla="*/ 257442 h 257442"/>
                <a:gd name="connsiteX3" fmla="*/ 54721 w 1784364"/>
                <a:gd name="connsiteY3" fmla="*/ 0 h 257442"/>
                <a:gd name="connsiteX0" fmla="*/ 2096948 w 2096948"/>
                <a:gd name="connsiteY0" fmla="*/ 0 h 257442"/>
                <a:gd name="connsiteX1" fmla="*/ 1729642 w 2096948"/>
                <a:gd name="connsiteY1" fmla="*/ 257442 h 257442"/>
                <a:gd name="connsiteX2" fmla="*/ 0 w 2096948"/>
                <a:gd name="connsiteY2" fmla="*/ 257442 h 257442"/>
                <a:gd name="connsiteX3" fmla="*/ 54721 w 2096948"/>
                <a:gd name="connsiteY3" fmla="*/ 0 h 257442"/>
                <a:gd name="connsiteX0" fmla="*/ 2096948 w 2096948"/>
                <a:gd name="connsiteY0" fmla="*/ 0 h 257442"/>
                <a:gd name="connsiteX1" fmla="*/ 2042227 w 2096948"/>
                <a:gd name="connsiteY1" fmla="*/ 257442 h 257442"/>
                <a:gd name="connsiteX2" fmla="*/ 0 w 2096948"/>
                <a:gd name="connsiteY2" fmla="*/ 257442 h 257442"/>
                <a:gd name="connsiteX3" fmla="*/ 54721 w 2096948"/>
                <a:gd name="connsiteY3" fmla="*/ 0 h 257442"/>
                <a:gd name="connsiteX0" fmla="*/ 2096948 w 2096948"/>
                <a:gd name="connsiteY0" fmla="*/ 0 h 257442"/>
                <a:gd name="connsiteX1" fmla="*/ 2042227 w 2096948"/>
                <a:gd name="connsiteY1" fmla="*/ 257442 h 257442"/>
                <a:gd name="connsiteX2" fmla="*/ 0 w 2096948"/>
                <a:gd name="connsiteY2" fmla="*/ 257442 h 257442"/>
                <a:gd name="connsiteX3" fmla="*/ 54721 w 2096948"/>
                <a:gd name="connsiteY3" fmla="*/ 0 h 257442"/>
                <a:gd name="connsiteX0" fmla="*/ 2096948 w 2096948"/>
                <a:gd name="connsiteY0" fmla="*/ 0 h 257442"/>
                <a:gd name="connsiteX1" fmla="*/ 2042227 w 2096948"/>
                <a:gd name="connsiteY1" fmla="*/ 257442 h 257442"/>
                <a:gd name="connsiteX2" fmla="*/ 0 w 2096948"/>
                <a:gd name="connsiteY2" fmla="*/ 257442 h 257442"/>
                <a:gd name="connsiteX3" fmla="*/ 54721 w 2096948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96948" h="257442">
                  <a:moveTo>
                    <a:pt x="2096948" y="0"/>
                  </a:moveTo>
                  <a:lnTo>
                    <a:pt x="2042227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" name="btfpRunningAgenda2LevelTextRight737640">
              <a:extLst>
                <a:ext uri="{FF2B5EF4-FFF2-40B4-BE49-F238E27FC236}">
                  <a16:creationId xmlns:a16="http://schemas.microsoft.com/office/drawing/2014/main" id="{064A5C9F-DFA0-445D-9376-89C561157696}"/>
                </a:ext>
              </a:extLst>
            </p:cNvPr>
            <p:cNvSpPr txBox="1"/>
            <p:nvPr/>
          </p:nvSpPr>
          <p:spPr bwMode="gray">
            <a:xfrm>
              <a:off x="1482807" y="876300"/>
              <a:ext cx="2042227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hannels</a:t>
              </a:r>
            </a:p>
          </p:txBody>
        </p:sp>
      </p:grpSp>
      <p:grpSp>
        <p:nvGrpSpPr>
          <p:cNvPr id="44" name="btfpStatusSticker352718">
            <a:extLst>
              <a:ext uri="{FF2B5EF4-FFF2-40B4-BE49-F238E27FC236}">
                <a16:creationId xmlns:a16="http://schemas.microsoft.com/office/drawing/2014/main" id="{F7A61601-7150-4339-B32E-EB5FF657F64F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0100356" y="955344"/>
            <a:ext cx="1761444" cy="235611"/>
            <a:chOff x="-2280176" y="876300"/>
            <a:chExt cx="1761444" cy="235611"/>
          </a:xfrm>
        </p:grpSpPr>
        <p:sp>
          <p:nvSpPr>
            <p:cNvPr id="45" name="btfpStatusStickerText352718">
              <a:extLst>
                <a:ext uri="{FF2B5EF4-FFF2-40B4-BE49-F238E27FC236}">
                  <a16:creationId xmlns:a16="http://schemas.microsoft.com/office/drawing/2014/main" id="{003EE87D-812A-4FBF-A32A-21EB68AEF996}"/>
                </a:ext>
              </a:extLst>
            </p:cNvPr>
            <p:cNvSpPr txBox="1"/>
            <p:nvPr/>
          </p:nvSpPr>
          <p:spPr bwMode="gray">
            <a:xfrm>
              <a:off x="-2280176" y="876300"/>
              <a:ext cx="17614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liminary</a:t>
              </a:r>
            </a:p>
          </p:txBody>
        </p:sp>
        <p:cxnSp>
          <p:nvCxnSpPr>
            <p:cNvPr id="46" name="btfpStatusStickerLine352718">
              <a:extLst>
                <a:ext uri="{FF2B5EF4-FFF2-40B4-BE49-F238E27FC236}">
                  <a16:creationId xmlns:a16="http://schemas.microsoft.com/office/drawing/2014/main" id="{5F1B0F64-93EA-4521-A1D9-87C8493634D6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80176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229184602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btfpColumnIndicatorGroup2">
            <a:extLst>
              <a:ext uri="{FF2B5EF4-FFF2-40B4-BE49-F238E27FC236}">
                <a16:creationId xmlns:a16="http://schemas.microsoft.com/office/drawing/2014/main" id="{575CEFDF-08A9-4859-B307-01BDBAE2DCB9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9" name="btfpColumnGapBlocker971765">
              <a:extLst>
                <a:ext uri="{FF2B5EF4-FFF2-40B4-BE49-F238E27FC236}">
                  <a16:creationId xmlns:a16="http://schemas.microsoft.com/office/drawing/2014/main" id="{C650F062-D089-41FB-93DF-7408491B163D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7" name="btfpColumnGapBlocker199611">
              <a:extLst>
                <a:ext uri="{FF2B5EF4-FFF2-40B4-BE49-F238E27FC236}">
                  <a16:creationId xmlns:a16="http://schemas.microsoft.com/office/drawing/2014/main" id="{3F30C665-F163-4343-923F-2FED63A806E4}"/>
                </a:ext>
              </a:extLst>
            </p:cNvPr>
            <p:cNvSpPr/>
            <p:nvPr/>
          </p:nvSpPr>
          <p:spPr bwMode="gray">
            <a:xfrm>
              <a:off x="884376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5" name="btfpColumnIndicator376075">
              <a:extLst>
                <a:ext uri="{FF2B5EF4-FFF2-40B4-BE49-F238E27FC236}">
                  <a16:creationId xmlns:a16="http://schemas.microsoft.com/office/drawing/2014/main" id="{0B2EFC20-94B9-48CA-8053-6775756A1C4D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btfpColumnIndicator567106">
              <a:extLst>
                <a:ext uri="{FF2B5EF4-FFF2-40B4-BE49-F238E27FC236}">
                  <a16:creationId xmlns:a16="http://schemas.microsoft.com/office/drawing/2014/main" id="{0041ACCC-02FF-4270-A737-3DCD9B38861B}"/>
                </a:ext>
              </a:extLst>
            </p:cNvPr>
            <p:cNvCxnSpPr/>
            <p:nvPr/>
          </p:nvCxnSpPr>
          <p:spPr bwMode="gray">
            <a:xfrm flipV="1">
              <a:off x="938430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btfpColumnGapBlocker762843">
              <a:extLst>
                <a:ext uri="{FF2B5EF4-FFF2-40B4-BE49-F238E27FC236}">
                  <a16:creationId xmlns:a16="http://schemas.microsoft.com/office/drawing/2014/main" id="{43D68376-7EFD-46F0-8EC3-D908C7CDFF9B}"/>
                </a:ext>
              </a:extLst>
            </p:cNvPr>
            <p:cNvSpPr/>
            <p:nvPr/>
          </p:nvSpPr>
          <p:spPr bwMode="gray">
            <a:xfrm>
              <a:off x="5825728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9" name="btfpColumnIndicator497078">
              <a:extLst>
                <a:ext uri="{FF2B5EF4-FFF2-40B4-BE49-F238E27FC236}">
                  <a16:creationId xmlns:a16="http://schemas.microsoft.com/office/drawing/2014/main" id="{199A6AED-2F79-477A-803F-CA4DAC31066C}"/>
                </a:ext>
              </a:extLst>
            </p:cNvPr>
            <p:cNvCxnSpPr/>
            <p:nvPr/>
          </p:nvCxnSpPr>
          <p:spPr bwMode="gray">
            <a:xfrm flipV="1">
              <a:off x="884376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btfpColumnIndicator154103">
              <a:extLst>
                <a:ext uri="{FF2B5EF4-FFF2-40B4-BE49-F238E27FC236}">
                  <a16:creationId xmlns:a16="http://schemas.microsoft.com/office/drawing/2014/main" id="{023D1356-267E-42D6-AB6F-D318F1EAEAFD}"/>
                </a:ext>
              </a:extLst>
            </p:cNvPr>
            <p:cNvCxnSpPr/>
            <p:nvPr/>
          </p:nvCxnSpPr>
          <p:spPr bwMode="gray">
            <a:xfrm flipV="1">
              <a:off x="636627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btfpColumnGapBlocker323360">
              <a:extLst>
                <a:ext uri="{FF2B5EF4-FFF2-40B4-BE49-F238E27FC236}">
                  <a16:creationId xmlns:a16="http://schemas.microsoft.com/office/drawing/2014/main" id="{736A7C12-86D9-47B9-A8C7-9004CC4D700F}"/>
                </a:ext>
              </a:extLst>
            </p:cNvPr>
            <p:cNvSpPr/>
            <p:nvPr/>
          </p:nvSpPr>
          <p:spPr bwMode="gray">
            <a:xfrm>
              <a:off x="280769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3" name="btfpColumnIndicator246428">
              <a:extLst>
                <a:ext uri="{FF2B5EF4-FFF2-40B4-BE49-F238E27FC236}">
                  <a16:creationId xmlns:a16="http://schemas.microsoft.com/office/drawing/2014/main" id="{86334880-3E83-414E-BDDA-32464301DF0A}"/>
                </a:ext>
              </a:extLst>
            </p:cNvPr>
            <p:cNvCxnSpPr/>
            <p:nvPr/>
          </p:nvCxnSpPr>
          <p:spPr bwMode="gray">
            <a:xfrm flipV="1">
              <a:off x="582572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btfpColumnIndicator123253">
              <a:extLst>
                <a:ext uri="{FF2B5EF4-FFF2-40B4-BE49-F238E27FC236}">
                  <a16:creationId xmlns:a16="http://schemas.microsoft.com/office/drawing/2014/main" id="{03780B9E-52A9-446F-9D4F-273CD683B4E8}"/>
                </a:ext>
              </a:extLst>
            </p:cNvPr>
            <p:cNvCxnSpPr/>
            <p:nvPr/>
          </p:nvCxnSpPr>
          <p:spPr bwMode="gray">
            <a:xfrm flipV="1">
              <a:off x="334823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btfpColumnGapBlocker550123">
              <a:extLst>
                <a:ext uri="{FF2B5EF4-FFF2-40B4-BE49-F238E27FC236}">
                  <a16:creationId xmlns:a16="http://schemas.microsoft.com/office/drawing/2014/main" id="{CA5A85A5-BB38-4EB1-A507-2796E065FC60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7" name="btfpColumnIndicator534962">
              <a:extLst>
                <a:ext uri="{FF2B5EF4-FFF2-40B4-BE49-F238E27FC236}">
                  <a16:creationId xmlns:a16="http://schemas.microsoft.com/office/drawing/2014/main" id="{2FA3E5A4-FFE7-4415-AA79-CA22B6D4A07A}"/>
                </a:ext>
              </a:extLst>
            </p:cNvPr>
            <p:cNvCxnSpPr/>
            <p:nvPr/>
          </p:nvCxnSpPr>
          <p:spPr bwMode="gray">
            <a:xfrm flipV="1">
              <a:off x="280769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btfpColumnIndicator239655">
              <a:extLst>
                <a:ext uri="{FF2B5EF4-FFF2-40B4-BE49-F238E27FC236}">
                  <a16:creationId xmlns:a16="http://schemas.microsoft.com/office/drawing/2014/main" id="{1AB13A16-71A3-4044-92F9-C1AF2547F3AB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btfpColumnIndicatorGroup1">
            <a:extLst>
              <a:ext uri="{FF2B5EF4-FFF2-40B4-BE49-F238E27FC236}">
                <a16:creationId xmlns:a16="http://schemas.microsoft.com/office/drawing/2014/main" id="{329F5CC5-9DDE-4CBF-BEE2-658AA8425651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8" name="btfpColumnGapBlocker591820">
              <a:extLst>
                <a:ext uri="{FF2B5EF4-FFF2-40B4-BE49-F238E27FC236}">
                  <a16:creationId xmlns:a16="http://schemas.microsoft.com/office/drawing/2014/main" id="{0E4FAA05-4C07-4830-9B32-3653822C0E86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6" name="btfpColumnGapBlocker423329">
              <a:extLst>
                <a:ext uri="{FF2B5EF4-FFF2-40B4-BE49-F238E27FC236}">
                  <a16:creationId xmlns:a16="http://schemas.microsoft.com/office/drawing/2014/main" id="{D6043464-93F7-4CF6-B15B-42E5D257728C}"/>
                </a:ext>
              </a:extLst>
            </p:cNvPr>
            <p:cNvSpPr/>
            <p:nvPr/>
          </p:nvSpPr>
          <p:spPr bwMode="gray">
            <a:xfrm>
              <a:off x="884376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4" name="btfpColumnIndicator469542">
              <a:extLst>
                <a:ext uri="{FF2B5EF4-FFF2-40B4-BE49-F238E27FC236}">
                  <a16:creationId xmlns:a16="http://schemas.microsoft.com/office/drawing/2014/main" id="{0022EBA3-54BF-4021-AF4B-294955675385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btfpColumnIndicator383063">
              <a:extLst>
                <a:ext uri="{FF2B5EF4-FFF2-40B4-BE49-F238E27FC236}">
                  <a16:creationId xmlns:a16="http://schemas.microsoft.com/office/drawing/2014/main" id="{BECAB0AF-E348-4FDE-87D3-52F4F7407ED3}"/>
                </a:ext>
              </a:extLst>
            </p:cNvPr>
            <p:cNvCxnSpPr/>
            <p:nvPr/>
          </p:nvCxnSpPr>
          <p:spPr bwMode="gray">
            <a:xfrm flipV="1">
              <a:off x="938430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btfpColumnGapBlocker560748">
              <a:extLst>
                <a:ext uri="{FF2B5EF4-FFF2-40B4-BE49-F238E27FC236}">
                  <a16:creationId xmlns:a16="http://schemas.microsoft.com/office/drawing/2014/main" id="{36336573-26EF-4BF6-AF00-74FF2F2B8FED}"/>
                </a:ext>
              </a:extLst>
            </p:cNvPr>
            <p:cNvSpPr/>
            <p:nvPr/>
          </p:nvSpPr>
          <p:spPr bwMode="gray">
            <a:xfrm>
              <a:off x="5825728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8" name="btfpColumnIndicator623948">
              <a:extLst>
                <a:ext uri="{FF2B5EF4-FFF2-40B4-BE49-F238E27FC236}">
                  <a16:creationId xmlns:a16="http://schemas.microsoft.com/office/drawing/2014/main" id="{92067CAE-143A-410A-8CD5-DAA57A839930}"/>
                </a:ext>
              </a:extLst>
            </p:cNvPr>
            <p:cNvCxnSpPr/>
            <p:nvPr/>
          </p:nvCxnSpPr>
          <p:spPr bwMode="gray">
            <a:xfrm flipV="1">
              <a:off x="884376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btfpColumnIndicator408214">
              <a:extLst>
                <a:ext uri="{FF2B5EF4-FFF2-40B4-BE49-F238E27FC236}">
                  <a16:creationId xmlns:a16="http://schemas.microsoft.com/office/drawing/2014/main" id="{729F32CC-3CFD-4FB9-B6FD-F35FECC7DC46}"/>
                </a:ext>
              </a:extLst>
            </p:cNvPr>
            <p:cNvCxnSpPr/>
            <p:nvPr/>
          </p:nvCxnSpPr>
          <p:spPr bwMode="gray">
            <a:xfrm flipV="1">
              <a:off x="636627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btfpColumnGapBlocker958864">
              <a:extLst>
                <a:ext uri="{FF2B5EF4-FFF2-40B4-BE49-F238E27FC236}">
                  <a16:creationId xmlns:a16="http://schemas.microsoft.com/office/drawing/2014/main" id="{EE11FBD5-4D27-4C13-A677-13FC346C17DC}"/>
                </a:ext>
              </a:extLst>
            </p:cNvPr>
            <p:cNvSpPr/>
            <p:nvPr/>
          </p:nvSpPr>
          <p:spPr bwMode="gray">
            <a:xfrm>
              <a:off x="280769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2" name="btfpColumnIndicator707099">
              <a:extLst>
                <a:ext uri="{FF2B5EF4-FFF2-40B4-BE49-F238E27FC236}">
                  <a16:creationId xmlns:a16="http://schemas.microsoft.com/office/drawing/2014/main" id="{C2C57F82-6AFF-43B9-8C57-040CF9A82024}"/>
                </a:ext>
              </a:extLst>
            </p:cNvPr>
            <p:cNvCxnSpPr/>
            <p:nvPr/>
          </p:nvCxnSpPr>
          <p:spPr bwMode="gray">
            <a:xfrm flipV="1">
              <a:off x="582572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btfpColumnIndicator555590">
              <a:extLst>
                <a:ext uri="{FF2B5EF4-FFF2-40B4-BE49-F238E27FC236}">
                  <a16:creationId xmlns:a16="http://schemas.microsoft.com/office/drawing/2014/main" id="{17992F4A-C25B-4856-87C5-CFDD63BFD1CB}"/>
                </a:ext>
              </a:extLst>
            </p:cNvPr>
            <p:cNvCxnSpPr/>
            <p:nvPr/>
          </p:nvCxnSpPr>
          <p:spPr bwMode="gray">
            <a:xfrm flipV="1">
              <a:off x="334823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btfpColumnGapBlocker873060">
              <a:extLst>
                <a:ext uri="{FF2B5EF4-FFF2-40B4-BE49-F238E27FC236}">
                  <a16:creationId xmlns:a16="http://schemas.microsoft.com/office/drawing/2014/main" id="{F234EA5C-9FE1-4FFE-910A-B3538899E4F9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" name="btfpColumnIndicator305053">
              <a:extLst>
                <a:ext uri="{FF2B5EF4-FFF2-40B4-BE49-F238E27FC236}">
                  <a16:creationId xmlns:a16="http://schemas.microsoft.com/office/drawing/2014/main" id="{D81364A9-0846-44BA-B819-3B7EA443B357}"/>
                </a:ext>
              </a:extLst>
            </p:cNvPr>
            <p:cNvCxnSpPr/>
            <p:nvPr/>
          </p:nvCxnSpPr>
          <p:spPr bwMode="gray">
            <a:xfrm flipV="1">
              <a:off x="280769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475930">
              <a:extLst>
                <a:ext uri="{FF2B5EF4-FFF2-40B4-BE49-F238E27FC236}">
                  <a16:creationId xmlns:a16="http://schemas.microsoft.com/office/drawing/2014/main" id="{B8D140F7-0547-445C-BF0C-83B52079E607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3633B12-3CD4-41B3-8D42-7C174A576B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/>
              <a:t>Non-users: </a:t>
            </a:r>
            <a:r>
              <a:rPr lang="pl-PL"/>
              <a:t>x</a:t>
            </a:r>
            <a:r>
              <a:rPr lang="en-US"/>
              <a:t>% non-users likely to begin use </a:t>
            </a:r>
            <a:r>
              <a:rPr lang="pl-PL"/>
              <a:t>X</a:t>
            </a:r>
            <a:r>
              <a:rPr lang="en-US"/>
              <a:t> in 3 years; Non-</a:t>
            </a:r>
            <a:r>
              <a:rPr lang="pl-PL"/>
              <a:t>X</a:t>
            </a:r>
            <a:r>
              <a:rPr lang="en-US"/>
              <a:t> users cite </a:t>
            </a:r>
            <a:r>
              <a:rPr lang="pl-PL"/>
              <a:t>x </a:t>
            </a:r>
            <a:r>
              <a:rPr lang="en-US"/>
              <a:t>and </a:t>
            </a:r>
            <a:r>
              <a:rPr lang="pl-PL"/>
              <a:t>y </a:t>
            </a:r>
            <a:r>
              <a:rPr lang="en-US"/>
              <a:t>as the </a:t>
            </a:r>
            <a:r>
              <a:rPr lang="en-GB"/>
              <a:t>main</a:t>
            </a:r>
            <a:r>
              <a:rPr lang="pl-PL"/>
              <a:t> </a:t>
            </a:r>
            <a:r>
              <a:rPr lang="en-US"/>
              <a:t>reasons for non-usage</a:t>
            </a:r>
          </a:p>
        </p:txBody>
      </p:sp>
      <p:grpSp>
        <p:nvGrpSpPr>
          <p:cNvPr id="40" name="btfpRunningAgenda2Level128532">
            <a:extLst>
              <a:ext uri="{FF2B5EF4-FFF2-40B4-BE49-F238E27FC236}">
                <a16:creationId xmlns:a16="http://schemas.microsoft.com/office/drawing/2014/main" id="{B4C6E124-66D6-48A4-9423-1275C4EB516E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944429"/>
            <a:ext cx="3706392" cy="257442"/>
            <a:chOff x="0" y="876300"/>
            <a:chExt cx="3706392" cy="257442"/>
          </a:xfrm>
        </p:grpSpPr>
        <p:sp>
          <p:nvSpPr>
            <p:cNvPr id="37" name="btfpRunningAgenda2LevelBarLeft128532">
              <a:extLst>
                <a:ext uri="{FF2B5EF4-FFF2-40B4-BE49-F238E27FC236}">
                  <a16:creationId xmlns:a16="http://schemas.microsoft.com/office/drawing/2014/main" id="{2A8590CB-4A95-4801-8826-DB1D4AEADA41}"/>
                </a:ext>
              </a:extLst>
            </p:cNvPr>
            <p:cNvSpPr/>
            <p:nvPr/>
          </p:nvSpPr>
          <p:spPr bwMode="gray">
            <a:xfrm>
              <a:off x="1" y="876300"/>
              <a:ext cx="1617650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28734 w 1128734"/>
                <a:gd name="connsiteY0" fmla="*/ 0 h 257442"/>
                <a:gd name="connsiteX1" fmla="*/ 896080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44526 w 1444526"/>
                <a:gd name="connsiteY0" fmla="*/ 0 h 257442"/>
                <a:gd name="connsiteX1" fmla="*/ 1242329 w 1444526"/>
                <a:gd name="connsiteY1" fmla="*/ 257442 h 257442"/>
                <a:gd name="connsiteX2" fmla="*/ 0 w 1444526"/>
                <a:gd name="connsiteY2" fmla="*/ 257442 h 257442"/>
                <a:gd name="connsiteX3" fmla="*/ 0 w 1444526"/>
                <a:gd name="connsiteY3" fmla="*/ 0 h 257442"/>
                <a:gd name="connsiteX0" fmla="*/ 1444526 w 1444526"/>
                <a:gd name="connsiteY0" fmla="*/ 0 h 257442"/>
                <a:gd name="connsiteX1" fmla="*/ 1389805 w 1444526"/>
                <a:gd name="connsiteY1" fmla="*/ 257442 h 257442"/>
                <a:gd name="connsiteX2" fmla="*/ 0 w 1444526"/>
                <a:gd name="connsiteY2" fmla="*/ 257442 h 257442"/>
                <a:gd name="connsiteX3" fmla="*/ 0 w 1444526"/>
                <a:gd name="connsiteY3" fmla="*/ 0 h 257442"/>
                <a:gd name="connsiteX0" fmla="*/ 1444526 w 1444526"/>
                <a:gd name="connsiteY0" fmla="*/ 0 h 257442"/>
                <a:gd name="connsiteX1" fmla="*/ 1389805 w 1444526"/>
                <a:gd name="connsiteY1" fmla="*/ 257442 h 257442"/>
                <a:gd name="connsiteX2" fmla="*/ 0 w 1444526"/>
                <a:gd name="connsiteY2" fmla="*/ 257442 h 257442"/>
                <a:gd name="connsiteX3" fmla="*/ 0 w 1444526"/>
                <a:gd name="connsiteY3" fmla="*/ 0 h 257442"/>
                <a:gd name="connsiteX0" fmla="*/ 1444526 w 1444526"/>
                <a:gd name="connsiteY0" fmla="*/ 0 h 257442"/>
                <a:gd name="connsiteX1" fmla="*/ 1389805 w 1444526"/>
                <a:gd name="connsiteY1" fmla="*/ 257442 h 257442"/>
                <a:gd name="connsiteX2" fmla="*/ 0 w 1444526"/>
                <a:gd name="connsiteY2" fmla="*/ 257442 h 257442"/>
                <a:gd name="connsiteX3" fmla="*/ 0 w 1444526"/>
                <a:gd name="connsiteY3" fmla="*/ 0 h 257442"/>
                <a:gd name="connsiteX0" fmla="*/ 1612841 w 1612841"/>
                <a:gd name="connsiteY0" fmla="*/ 0 h 257442"/>
                <a:gd name="connsiteX1" fmla="*/ 1389805 w 1612841"/>
                <a:gd name="connsiteY1" fmla="*/ 257442 h 257442"/>
                <a:gd name="connsiteX2" fmla="*/ 0 w 1612841"/>
                <a:gd name="connsiteY2" fmla="*/ 257442 h 257442"/>
                <a:gd name="connsiteX3" fmla="*/ 0 w 1612841"/>
                <a:gd name="connsiteY3" fmla="*/ 0 h 257442"/>
                <a:gd name="connsiteX0" fmla="*/ 1612841 w 1612841"/>
                <a:gd name="connsiteY0" fmla="*/ 0 h 257442"/>
                <a:gd name="connsiteX1" fmla="*/ 1558120 w 1612841"/>
                <a:gd name="connsiteY1" fmla="*/ 257442 h 257442"/>
                <a:gd name="connsiteX2" fmla="*/ 0 w 1612841"/>
                <a:gd name="connsiteY2" fmla="*/ 257442 h 257442"/>
                <a:gd name="connsiteX3" fmla="*/ 0 w 1612841"/>
                <a:gd name="connsiteY3" fmla="*/ 0 h 257442"/>
                <a:gd name="connsiteX0" fmla="*/ 1612841 w 1612841"/>
                <a:gd name="connsiteY0" fmla="*/ 0 h 257442"/>
                <a:gd name="connsiteX1" fmla="*/ 1558120 w 1612841"/>
                <a:gd name="connsiteY1" fmla="*/ 257442 h 257442"/>
                <a:gd name="connsiteX2" fmla="*/ 0 w 1612841"/>
                <a:gd name="connsiteY2" fmla="*/ 257442 h 257442"/>
                <a:gd name="connsiteX3" fmla="*/ 0 w 1612841"/>
                <a:gd name="connsiteY3" fmla="*/ 0 h 257442"/>
                <a:gd name="connsiteX0" fmla="*/ 1612841 w 1612841"/>
                <a:gd name="connsiteY0" fmla="*/ 0 h 257442"/>
                <a:gd name="connsiteX1" fmla="*/ 1558120 w 1612841"/>
                <a:gd name="connsiteY1" fmla="*/ 257442 h 257442"/>
                <a:gd name="connsiteX2" fmla="*/ 0 w 1612841"/>
                <a:gd name="connsiteY2" fmla="*/ 257442 h 257442"/>
                <a:gd name="connsiteX3" fmla="*/ 0 w 1612841"/>
                <a:gd name="connsiteY3" fmla="*/ 0 h 257442"/>
                <a:gd name="connsiteX0" fmla="*/ 1444526 w 1558120"/>
                <a:gd name="connsiteY0" fmla="*/ 0 h 257442"/>
                <a:gd name="connsiteX1" fmla="*/ 1558120 w 1558120"/>
                <a:gd name="connsiteY1" fmla="*/ 257442 h 257442"/>
                <a:gd name="connsiteX2" fmla="*/ 0 w 1558120"/>
                <a:gd name="connsiteY2" fmla="*/ 257442 h 257442"/>
                <a:gd name="connsiteX3" fmla="*/ 0 w 1558120"/>
                <a:gd name="connsiteY3" fmla="*/ 0 h 257442"/>
                <a:gd name="connsiteX0" fmla="*/ 1444526 w 1444526"/>
                <a:gd name="connsiteY0" fmla="*/ 0 h 257442"/>
                <a:gd name="connsiteX1" fmla="*/ 1389805 w 1444526"/>
                <a:gd name="connsiteY1" fmla="*/ 257442 h 257442"/>
                <a:gd name="connsiteX2" fmla="*/ 0 w 1444526"/>
                <a:gd name="connsiteY2" fmla="*/ 257442 h 257442"/>
                <a:gd name="connsiteX3" fmla="*/ 0 w 1444526"/>
                <a:gd name="connsiteY3" fmla="*/ 0 h 257442"/>
                <a:gd name="connsiteX0" fmla="*/ 1444526 w 1444526"/>
                <a:gd name="connsiteY0" fmla="*/ 0 h 257442"/>
                <a:gd name="connsiteX1" fmla="*/ 1389805 w 1444526"/>
                <a:gd name="connsiteY1" fmla="*/ 257442 h 257442"/>
                <a:gd name="connsiteX2" fmla="*/ 0 w 1444526"/>
                <a:gd name="connsiteY2" fmla="*/ 257442 h 257442"/>
                <a:gd name="connsiteX3" fmla="*/ 0 w 1444526"/>
                <a:gd name="connsiteY3" fmla="*/ 0 h 257442"/>
                <a:gd name="connsiteX0" fmla="*/ 1444526 w 1444526"/>
                <a:gd name="connsiteY0" fmla="*/ 0 h 257442"/>
                <a:gd name="connsiteX1" fmla="*/ 1389805 w 1444526"/>
                <a:gd name="connsiteY1" fmla="*/ 257442 h 257442"/>
                <a:gd name="connsiteX2" fmla="*/ 0 w 1444526"/>
                <a:gd name="connsiteY2" fmla="*/ 257442 h 257442"/>
                <a:gd name="connsiteX3" fmla="*/ 0 w 1444526"/>
                <a:gd name="connsiteY3" fmla="*/ 0 h 257442"/>
                <a:gd name="connsiteX0" fmla="*/ 1297050 w 1389805"/>
                <a:gd name="connsiteY0" fmla="*/ 0 h 257442"/>
                <a:gd name="connsiteX1" fmla="*/ 1389805 w 1389805"/>
                <a:gd name="connsiteY1" fmla="*/ 257442 h 257442"/>
                <a:gd name="connsiteX2" fmla="*/ 0 w 1389805"/>
                <a:gd name="connsiteY2" fmla="*/ 257442 h 257442"/>
                <a:gd name="connsiteX3" fmla="*/ 0 w 1389805"/>
                <a:gd name="connsiteY3" fmla="*/ 0 h 257442"/>
                <a:gd name="connsiteX0" fmla="*/ 1297050 w 1297050"/>
                <a:gd name="connsiteY0" fmla="*/ 0 h 257442"/>
                <a:gd name="connsiteX1" fmla="*/ 1242330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30 w 1297050"/>
                <a:gd name="connsiteY1" fmla="*/ 257442 h 257442"/>
                <a:gd name="connsiteX2" fmla="*/ 1 w 1297050"/>
                <a:gd name="connsiteY2" fmla="*/ 257442 h 257442"/>
                <a:gd name="connsiteX3" fmla="*/ 0 w 1297050"/>
                <a:gd name="connsiteY3" fmla="*/ 0 h 257442"/>
                <a:gd name="connsiteX0" fmla="*/ 1297049 w 1297049"/>
                <a:gd name="connsiteY0" fmla="*/ 0 h 257442"/>
                <a:gd name="connsiteX1" fmla="*/ 1242329 w 1297049"/>
                <a:gd name="connsiteY1" fmla="*/ 257442 h 257442"/>
                <a:gd name="connsiteX2" fmla="*/ 0 w 1297049"/>
                <a:gd name="connsiteY2" fmla="*/ 257442 h 257442"/>
                <a:gd name="connsiteX3" fmla="*/ 0 w 1297049"/>
                <a:gd name="connsiteY3" fmla="*/ 0 h 257442"/>
                <a:gd name="connsiteX0" fmla="*/ 1406054 w 1406054"/>
                <a:gd name="connsiteY0" fmla="*/ 0 h 257442"/>
                <a:gd name="connsiteX1" fmla="*/ 1242329 w 1406054"/>
                <a:gd name="connsiteY1" fmla="*/ 257442 h 257442"/>
                <a:gd name="connsiteX2" fmla="*/ 0 w 1406054"/>
                <a:gd name="connsiteY2" fmla="*/ 257442 h 257442"/>
                <a:gd name="connsiteX3" fmla="*/ 0 w 1406054"/>
                <a:gd name="connsiteY3" fmla="*/ 0 h 257442"/>
                <a:gd name="connsiteX0" fmla="*/ 1406054 w 1406054"/>
                <a:gd name="connsiteY0" fmla="*/ 0 h 257442"/>
                <a:gd name="connsiteX1" fmla="*/ 1351332 w 1406054"/>
                <a:gd name="connsiteY1" fmla="*/ 257442 h 257442"/>
                <a:gd name="connsiteX2" fmla="*/ 0 w 1406054"/>
                <a:gd name="connsiteY2" fmla="*/ 257442 h 257442"/>
                <a:gd name="connsiteX3" fmla="*/ 0 w 1406054"/>
                <a:gd name="connsiteY3" fmla="*/ 0 h 257442"/>
                <a:gd name="connsiteX0" fmla="*/ 1406055 w 1406055"/>
                <a:gd name="connsiteY0" fmla="*/ 0 h 257442"/>
                <a:gd name="connsiteX1" fmla="*/ 1351333 w 1406055"/>
                <a:gd name="connsiteY1" fmla="*/ 257442 h 257442"/>
                <a:gd name="connsiteX2" fmla="*/ 0 w 1406055"/>
                <a:gd name="connsiteY2" fmla="*/ 257442 h 257442"/>
                <a:gd name="connsiteX3" fmla="*/ 1 w 1406055"/>
                <a:gd name="connsiteY3" fmla="*/ 0 h 257442"/>
                <a:gd name="connsiteX0" fmla="*/ 1406055 w 1406055"/>
                <a:gd name="connsiteY0" fmla="*/ 0 h 257442"/>
                <a:gd name="connsiteX1" fmla="*/ 1351333 w 1406055"/>
                <a:gd name="connsiteY1" fmla="*/ 257442 h 257442"/>
                <a:gd name="connsiteX2" fmla="*/ 0 w 1406055"/>
                <a:gd name="connsiteY2" fmla="*/ 257442 h 257442"/>
                <a:gd name="connsiteX3" fmla="*/ 1 w 1406055"/>
                <a:gd name="connsiteY3" fmla="*/ 0 h 257442"/>
                <a:gd name="connsiteX0" fmla="*/ 1553531 w 1553531"/>
                <a:gd name="connsiteY0" fmla="*/ 0 h 257442"/>
                <a:gd name="connsiteX1" fmla="*/ 1351333 w 1553531"/>
                <a:gd name="connsiteY1" fmla="*/ 257442 h 257442"/>
                <a:gd name="connsiteX2" fmla="*/ 0 w 1553531"/>
                <a:gd name="connsiteY2" fmla="*/ 257442 h 257442"/>
                <a:gd name="connsiteX3" fmla="*/ 1 w 1553531"/>
                <a:gd name="connsiteY3" fmla="*/ 0 h 257442"/>
                <a:gd name="connsiteX0" fmla="*/ 1553531 w 1553531"/>
                <a:gd name="connsiteY0" fmla="*/ 0 h 257442"/>
                <a:gd name="connsiteX1" fmla="*/ 1498810 w 1553531"/>
                <a:gd name="connsiteY1" fmla="*/ 257442 h 257442"/>
                <a:gd name="connsiteX2" fmla="*/ 0 w 1553531"/>
                <a:gd name="connsiteY2" fmla="*/ 257442 h 257442"/>
                <a:gd name="connsiteX3" fmla="*/ 1 w 1553531"/>
                <a:gd name="connsiteY3" fmla="*/ 0 h 257442"/>
                <a:gd name="connsiteX0" fmla="*/ 1553530 w 1553530"/>
                <a:gd name="connsiteY0" fmla="*/ 0 h 257442"/>
                <a:gd name="connsiteX1" fmla="*/ 1498809 w 1553530"/>
                <a:gd name="connsiteY1" fmla="*/ 257442 h 257442"/>
                <a:gd name="connsiteX2" fmla="*/ 0 w 1553530"/>
                <a:gd name="connsiteY2" fmla="*/ 257442 h 257442"/>
                <a:gd name="connsiteX3" fmla="*/ 0 w 1553530"/>
                <a:gd name="connsiteY3" fmla="*/ 0 h 257442"/>
                <a:gd name="connsiteX0" fmla="*/ 1553531 w 1553531"/>
                <a:gd name="connsiteY0" fmla="*/ 0 h 257442"/>
                <a:gd name="connsiteX1" fmla="*/ 1498810 w 1553531"/>
                <a:gd name="connsiteY1" fmla="*/ 257442 h 257442"/>
                <a:gd name="connsiteX2" fmla="*/ 1 w 1553531"/>
                <a:gd name="connsiteY2" fmla="*/ 257442 h 257442"/>
                <a:gd name="connsiteX3" fmla="*/ 0 w 1553531"/>
                <a:gd name="connsiteY3" fmla="*/ 0 h 257442"/>
                <a:gd name="connsiteX0" fmla="*/ 1406055 w 1498810"/>
                <a:gd name="connsiteY0" fmla="*/ 0 h 257442"/>
                <a:gd name="connsiteX1" fmla="*/ 1498810 w 1498810"/>
                <a:gd name="connsiteY1" fmla="*/ 257442 h 257442"/>
                <a:gd name="connsiteX2" fmla="*/ 1 w 1498810"/>
                <a:gd name="connsiteY2" fmla="*/ 257442 h 257442"/>
                <a:gd name="connsiteX3" fmla="*/ 0 w 1498810"/>
                <a:gd name="connsiteY3" fmla="*/ 0 h 257442"/>
                <a:gd name="connsiteX0" fmla="*/ 1406055 w 1406055"/>
                <a:gd name="connsiteY0" fmla="*/ 0 h 257442"/>
                <a:gd name="connsiteX1" fmla="*/ 1351334 w 1406055"/>
                <a:gd name="connsiteY1" fmla="*/ 257442 h 257442"/>
                <a:gd name="connsiteX2" fmla="*/ 1 w 1406055"/>
                <a:gd name="connsiteY2" fmla="*/ 257442 h 257442"/>
                <a:gd name="connsiteX3" fmla="*/ 0 w 1406055"/>
                <a:gd name="connsiteY3" fmla="*/ 0 h 257442"/>
                <a:gd name="connsiteX0" fmla="*/ 1406055 w 1406055"/>
                <a:gd name="connsiteY0" fmla="*/ 0 h 257442"/>
                <a:gd name="connsiteX1" fmla="*/ 1351334 w 1406055"/>
                <a:gd name="connsiteY1" fmla="*/ 257442 h 257442"/>
                <a:gd name="connsiteX2" fmla="*/ 2 w 1406055"/>
                <a:gd name="connsiteY2" fmla="*/ 257442 h 257442"/>
                <a:gd name="connsiteX3" fmla="*/ 0 w 1406055"/>
                <a:gd name="connsiteY3" fmla="*/ 0 h 257442"/>
                <a:gd name="connsiteX0" fmla="*/ 1406053 w 1406053"/>
                <a:gd name="connsiteY0" fmla="*/ 0 h 257442"/>
                <a:gd name="connsiteX1" fmla="*/ 1351332 w 1406053"/>
                <a:gd name="connsiteY1" fmla="*/ 257442 h 257442"/>
                <a:gd name="connsiteX2" fmla="*/ 0 w 1406053"/>
                <a:gd name="connsiteY2" fmla="*/ 257442 h 257442"/>
                <a:gd name="connsiteX3" fmla="*/ 0 w 1406053"/>
                <a:gd name="connsiteY3" fmla="*/ 0 h 257442"/>
                <a:gd name="connsiteX0" fmla="*/ 1574369 w 1574369"/>
                <a:gd name="connsiteY0" fmla="*/ 0 h 257442"/>
                <a:gd name="connsiteX1" fmla="*/ 1351332 w 1574369"/>
                <a:gd name="connsiteY1" fmla="*/ 257442 h 257442"/>
                <a:gd name="connsiteX2" fmla="*/ 0 w 1574369"/>
                <a:gd name="connsiteY2" fmla="*/ 257442 h 257442"/>
                <a:gd name="connsiteX3" fmla="*/ 0 w 1574369"/>
                <a:gd name="connsiteY3" fmla="*/ 0 h 257442"/>
                <a:gd name="connsiteX0" fmla="*/ 1574369 w 1574369"/>
                <a:gd name="connsiteY0" fmla="*/ 0 h 257442"/>
                <a:gd name="connsiteX1" fmla="*/ 1519648 w 1574369"/>
                <a:gd name="connsiteY1" fmla="*/ 257442 h 257442"/>
                <a:gd name="connsiteX2" fmla="*/ 0 w 1574369"/>
                <a:gd name="connsiteY2" fmla="*/ 257442 h 257442"/>
                <a:gd name="connsiteX3" fmla="*/ 0 w 1574369"/>
                <a:gd name="connsiteY3" fmla="*/ 0 h 257442"/>
                <a:gd name="connsiteX0" fmla="*/ 1574369 w 1574369"/>
                <a:gd name="connsiteY0" fmla="*/ 0 h 257442"/>
                <a:gd name="connsiteX1" fmla="*/ 1519648 w 1574369"/>
                <a:gd name="connsiteY1" fmla="*/ 257442 h 257442"/>
                <a:gd name="connsiteX2" fmla="*/ 0 w 1574369"/>
                <a:gd name="connsiteY2" fmla="*/ 257442 h 257442"/>
                <a:gd name="connsiteX3" fmla="*/ 0 w 1574369"/>
                <a:gd name="connsiteY3" fmla="*/ 0 h 257442"/>
                <a:gd name="connsiteX0" fmla="*/ 1574369 w 1574369"/>
                <a:gd name="connsiteY0" fmla="*/ 0 h 257442"/>
                <a:gd name="connsiteX1" fmla="*/ 1519648 w 1574369"/>
                <a:gd name="connsiteY1" fmla="*/ 257442 h 257442"/>
                <a:gd name="connsiteX2" fmla="*/ 0 w 1574369"/>
                <a:gd name="connsiteY2" fmla="*/ 257442 h 257442"/>
                <a:gd name="connsiteX3" fmla="*/ 0 w 1574369"/>
                <a:gd name="connsiteY3" fmla="*/ 0 h 257442"/>
                <a:gd name="connsiteX0" fmla="*/ 1742685 w 1742685"/>
                <a:gd name="connsiteY0" fmla="*/ 0 h 257442"/>
                <a:gd name="connsiteX1" fmla="*/ 1519648 w 1742685"/>
                <a:gd name="connsiteY1" fmla="*/ 257442 h 257442"/>
                <a:gd name="connsiteX2" fmla="*/ 0 w 1742685"/>
                <a:gd name="connsiteY2" fmla="*/ 257442 h 257442"/>
                <a:gd name="connsiteX3" fmla="*/ 0 w 1742685"/>
                <a:gd name="connsiteY3" fmla="*/ 0 h 257442"/>
                <a:gd name="connsiteX0" fmla="*/ 1742685 w 1742685"/>
                <a:gd name="connsiteY0" fmla="*/ 0 h 257442"/>
                <a:gd name="connsiteX1" fmla="*/ 1687964 w 1742685"/>
                <a:gd name="connsiteY1" fmla="*/ 257442 h 257442"/>
                <a:gd name="connsiteX2" fmla="*/ 0 w 1742685"/>
                <a:gd name="connsiteY2" fmla="*/ 257442 h 257442"/>
                <a:gd name="connsiteX3" fmla="*/ 0 w 1742685"/>
                <a:gd name="connsiteY3" fmla="*/ 0 h 257442"/>
                <a:gd name="connsiteX0" fmla="*/ 1742685 w 1742685"/>
                <a:gd name="connsiteY0" fmla="*/ 0 h 257442"/>
                <a:gd name="connsiteX1" fmla="*/ 1687964 w 1742685"/>
                <a:gd name="connsiteY1" fmla="*/ 257442 h 257442"/>
                <a:gd name="connsiteX2" fmla="*/ 0 w 1742685"/>
                <a:gd name="connsiteY2" fmla="*/ 257442 h 257442"/>
                <a:gd name="connsiteX3" fmla="*/ 0 w 1742685"/>
                <a:gd name="connsiteY3" fmla="*/ 0 h 257442"/>
                <a:gd name="connsiteX0" fmla="*/ 1742685 w 1742685"/>
                <a:gd name="connsiteY0" fmla="*/ 0 h 257442"/>
                <a:gd name="connsiteX1" fmla="*/ 1687964 w 1742685"/>
                <a:gd name="connsiteY1" fmla="*/ 257442 h 257442"/>
                <a:gd name="connsiteX2" fmla="*/ 0 w 1742685"/>
                <a:gd name="connsiteY2" fmla="*/ 257442 h 257442"/>
                <a:gd name="connsiteX3" fmla="*/ 0 w 1742685"/>
                <a:gd name="connsiteY3" fmla="*/ 0 h 257442"/>
                <a:gd name="connsiteX0" fmla="*/ 1910999 w 1910999"/>
                <a:gd name="connsiteY0" fmla="*/ 0 h 257442"/>
                <a:gd name="connsiteX1" fmla="*/ 1687964 w 1910999"/>
                <a:gd name="connsiteY1" fmla="*/ 257442 h 257442"/>
                <a:gd name="connsiteX2" fmla="*/ 0 w 1910999"/>
                <a:gd name="connsiteY2" fmla="*/ 257442 h 257442"/>
                <a:gd name="connsiteX3" fmla="*/ 0 w 1910999"/>
                <a:gd name="connsiteY3" fmla="*/ 0 h 257442"/>
                <a:gd name="connsiteX0" fmla="*/ 1910999 w 1910999"/>
                <a:gd name="connsiteY0" fmla="*/ 0 h 257442"/>
                <a:gd name="connsiteX1" fmla="*/ 1856278 w 1910999"/>
                <a:gd name="connsiteY1" fmla="*/ 257442 h 257442"/>
                <a:gd name="connsiteX2" fmla="*/ 0 w 1910999"/>
                <a:gd name="connsiteY2" fmla="*/ 257442 h 257442"/>
                <a:gd name="connsiteX3" fmla="*/ 0 w 1910999"/>
                <a:gd name="connsiteY3" fmla="*/ 0 h 257442"/>
                <a:gd name="connsiteX0" fmla="*/ 1910999 w 1910999"/>
                <a:gd name="connsiteY0" fmla="*/ 0 h 257442"/>
                <a:gd name="connsiteX1" fmla="*/ 1856278 w 1910999"/>
                <a:gd name="connsiteY1" fmla="*/ 257442 h 257442"/>
                <a:gd name="connsiteX2" fmla="*/ 0 w 1910999"/>
                <a:gd name="connsiteY2" fmla="*/ 257442 h 257442"/>
                <a:gd name="connsiteX3" fmla="*/ 0 w 1910999"/>
                <a:gd name="connsiteY3" fmla="*/ 0 h 257442"/>
                <a:gd name="connsiteX0" fmla="*/ 1910999 w 1910999"/>
                <a:gd name="connsiteY0" fmla="*/ 0 h 257442"/>
                <a:gd name="connsiteX1" fmla="*/ 1856278 w 1910999"/>
                <a:gd name="connsiteY1" fmla="*/ 257442 h 257442"/>
                <a:gd name="connsiteX2" fmla="*/ 0 w 1910999"/>
                <a:gd name="connsiteY2" fmla="*/ 257442 h 257442"/>
                <a:gd name="connsiteX3" fmla="*/ 0 w 1910999"/>
                <a:gd name="connsiteY3" fmla="*/ 0 h 257442"/>
                <a:gd name="connsiteX0" fmla="*/ 2011989 w 2011989"/>
                <a:gd name="connsiteY0" fmla="*/ 0 h 257442"/>
                <a:gd name="connsiteX1" fmla="*/ 1856278 w 2011989"/>
                <a:gd name="connsiteY1" fmla="*/ 257442 h 257442"/>
                <a:gd name="connsiteX2" fmla="*/ 0 w 2011989"/>
                <a:gd name="connsiteY2" fmla="*/ 257442 h 257442"/>
                <a:gd name="connsiteX3" fmla="*/ 0 w 2011989"/>
                <a:gd name="connsiteY3" fmla="*/ 0 h 257442"/>
                <a:gd name="connsiteX0" fmla="*/ 2011989 w 2011989"/>
                <a:gd name="connsiteY0" fmla="*/ 0 h 257442"/>
                <a:gd name="connsiteX1" fmla="*/ 1957268 w 2011989"/>
                <a:gd name="connsiteY1" fmla="*/ 257442 h 257442"/>
                <a:gd name="connsiteX2" fmla="*/ 0 w 2011989"/>
                <a:gd name="connsiteY2" fmla="*/ 257442 h 257442"/>
                <a:gd name="connsiteX3" fmla="*/ 0 w 2011989"/>
                <a:gd name="connsiteY3" fmla="*/ 0 h 257442"/>
                <a:gd name="connsiteX0" fmla="*/ 2011989 w 2011989"/>
                <a:gd name="connsiteY0" fmla="*/ 0 h 257442"/>
                <a:gd name="connsiteX1" fmla="*/ 1957268 w 2011989"/>
                <a:gd name="connsiteY1" fmla="*/ 257442 h 257442"/>
                <a:gd name="connsiteX2" fmla="*/ 0 w 2011989"/>
                <a:gd name="connsiteY2" fmla="*/ 257442 h 257442"/>
                <a:gd name="connsiteX3" fmla="*/ 0 w 2011989"/>
                <a:gd name="connsiteY3" fmla="*/ 0 h 257442"/>
                <a:gd name="connsiteX0" fmla="*/ 2011989 w 2011989"/>
                <a:gd name="connsiteY0" fmla="*/ 0 h 257442"/>
                <a:gd name="connsiteX1" fmla="*/ 1957268 w 2011989"/>
                <a:gd name="connsiteY1" fmla="*/ 257442 h 257442"/>
                <a:gd name="connsiteX2" fmla="*/ 0 w 2011989"/>
                <a:gd name="connsiteY2" fmla="*/ 257442 h 257442"/>
                <a:gd name="connsiteX3" fmla="*/ 0 w 2011989"/>
                <a:gd name="connsiteY3" fmla="*/ 0 h 257442"/>
                <a:gd name="connsiteX0" fmla="*/ 2180304 w 2180304"/>
                <a:gd name="connsiteY0" fmla="*/ 0 h 257442"/>
                <a:gd name="connsiteX1" fmla="*/ 1957268 w 2180304"/>
                <a:gd name="connsiteY1" fmla="*/ 257442 h 257442"/>
                <a:gd name="connsiteX2" fmla="*/ 0 w 2180304"/>
                <a:gd name="connsiteY2" fmla="*/ 257442 h 257442"/>
                <a:gd name="connsiteX3" fmla="*/ 0 w 2180304"/>
                <a:gd name="connsiteY3" fmla="*/ 0 h 257442"/>
                <a:gd name="connsiteX0" fmla="*/ 2180304 w 2180304"/>
                <a:gd name="connsiteY0" fmla="*/ 0 h 257442"/>
                <a:gd name="connsiteX1" fmla="*/ 2125582 w 2180304"/>
                <a:gd name="connsiteY1" fmla="*/ 257442 h 257442"/>
                <a:gd name="connsiteX2" fmla="*/ 0 w 2180304"/>
                <a:gd name="connsiteY2" fmla="*/ 257442 h 257442"/>
                <a:gd name="connsiteX3" fmla="*/ 0 w 2180304"/>
                <a:gd name="connsiteY3" fmla="*/ 0 h 257442"/>
                <a:gd name="connsiteX0" fmla="*/ 2180305 w 2180305"/>
                <a:gd name="connsiteY0" fmla="*/ 0 h 257442"/>
                <a:gd name="connsiteX1" fmla="*/ 2125583 w 2180305"/>
                <a:gd name="connsiteY1" fmla="*/ 257442 h 257442"/>
                <a:gd name="connsiteX2" fmla="*/ 0 w 2180305"/>
                <a:gd name="connsiteY2" fmla="*/ 257442 h 257442"/>
                <a:gd name="connsiteX3" fmla="*/ 1 w 2180305"/>
                <a:gd name="connsiteY3" fmla="*/ 0 h 257442"/>
                <a:gd name="connsiteX0" fmla="*/ 2180305 w 2180305"/>
                <a:gd name="connsiteY0" fmla="*/ 0 h 257442"/>
                <a:gd name="connsiteX1" fmla="*/ 2125583 w 2180305"/>
                <a:gd name="connsiteY1" fmla="*/ 257442 h 257442"/>
                <a:gd name="connsiteX2" fmla="*/ 0 w 2180305"/>
                <a:gd name="connsiteY2" fmla="*/ 257442 h 257442"/>
                <a:gd name="connsiteX3" fmla="*/ 1 w 2180305"/>
                <a:gd name="connsiteY3" fmla="*/ 0 h 257442"/>
                <a:gd name="connsiteX0" fmla="*/ 2340605 w 2340605"/>
                <a:gd name="connsiteY0" fmla="*/ 0 h 257442"/>
                <a:gd name="connsiteX1" fmla="*/ 2125583 w 2340605"/>
                <a:gd name="connsiteY1" fmla="*/ 257442 h 257442"/>
                <a:gd name="connsiteX2" fmla="*/ 0 w 2340605"/>
                <a:gd name="connsiteY2" fmla="*/ 257442 h 257442"/>
                <a:gd name="connsiteX3" fmla="*/ 1 w 2340605"/>
                <a:gd name="connsiteY3" fmla="*/ 0 h 257442"/>
                <a:gd name="connsiteX0" fmla="*/ 2340605 w 2340605"/>
                <a:gd name="connsiteY0" fmla="*/ 0 h 257442"/>
                <a:gd name="connsiteX1" fmla="*/ 2285884 w 2340605"/>
                <a:gd name="connsiteY1" fmla="*/ 257442 h 257442"/>
                <a:gd name="connsiteX2" fmla="*/ 0 w 2340605"/>
                <a:gd name="connsiteY2" fmla="*/ 257442 h 257442"/>
                <a:gd name="connsiteX3" fmla="*/ 1 w 2340605"/>
                <a:gd name="connsiteY3" fmla="*/ 0 h 257442"/>
                <a:gd name="connsiteX0" fmla="*/ 2340604 w 2340604"/>
                <a:gd name="connsiteY0" fmla="*/ 0 h 257442"/>
                <a:gd name="connsiteX1" fmla="*/ 2285883 w 2340604"/>
                <a:gd name="connsiteY1" fmla="*/ 257442 h 257442"/>
                <a:gd name="connsiteX2" fmla="*/ 0 w 2340604"/>
                <a:gd name="connsiteY2" fmla="*/ 257442 h 257442"/>
                <a:gd name="connsiteX3" fmla="*/ 0 w 2340604"/>
                <a:gd name="connsiteY3" fmla="*/ 0 h 257442"/>
                <a:gd name="connsiteX0" fmla="*/ 2340605 w 2340605"/>
                <a:gd name="connsiteY0" fmla="*/ 0 h 257442"/>
                <a:gd name="connsiteX1" fmla="*/ 2285884 w 2340605"/>
                <a:gd name="connsiteY1" fmla="*/ 257442 h 257442"/>
                <a:gd name="connsiteX2" fmla="*/ 1 w 2340605"/>
                <a:gd name="connsiteY2" fmla="*/ 257442 h 257442"/>
                <a:gd name="connsiteX3" fmla="*/ 0 w 2340605"/>
                <a:gd name="connsiteY3" fmla="*/ 0 h 257442"/>
                <a:gd name="connsiteX0" fmla="*/ 2500905 w 2500905"/>
                <a:gd name="connsiteY0" fmla="*/ 0 h 257442"/>
                <a:gd name="connsiteX1" fmla="*/ 2285884 w 2500905"/>
                <a:gd name="connsiteY1" fmla="*/ 257442 h 257442"/>
                <a:gd name="connsiteX2" fmla="*/ 1 w 2500905"/>
                <a:gd name="connsiteY2" fmla="*/ 257442 h 257442"/>
                <a:gd name="connsiteX3" fmla="*/ 0 w 2500905"/>
                <a:gd name="connsiteY3" fmla="*/ 0 h 257442"/>
                <a:gd name="connsiteX0" fmla="*/ 2500905 w 2500905"/>
                <a:gd name="connsiteY0" fmla="*/ 0 h 257442"/>
                <a:gd name="connsiteX1" fmla="*/ 2446184 w 2500905"/>
                <a:gd name="connsiteY1" fmla="*/ 257442 h 257442"/>
                <a:gd name="connsiteX2" fmla="*/ 1 w 2500905"/>
                <a:gd name="connsiteY2" fmla="*/ 257442 h 257442"/>
                <a:gd name="connsiteX3" fmla="*/ 0 w 2500905"/>
                <a:gd name="connsiteY3" fmla="*/ 0 h 257442"/>
                <a:gd name="connsiteX0" fmla="*/ 2500905 w 2500905"/>
                <a:gd name="connsiteY0" fmla="*/ 0 h 257442"/>
                <a:gd name="connsiteX1" fmla="*/ 2446184 w 2500905"/>
                <a:gd name="connsiteY1" fmla="*/ 257442 h 257442"/>
                <a:gd name="connsiteX2" fmla="*/ 1 w 2500905"/>
                <a:gd name="connsiteY2" fmla="*/ 257442 h 257442"/>
                <a:gd name="connsiteX3" fmla="*/ 0 w 2500905"/>
                <a:gd name="connsiteY3" fmla="*/ 0 h 257442"/>
                <a:gd name="connsiteX0" fmla="*/ 2500904 w 2500904"/>
                <a:gd name="connsiteY0" fmla="*/ 0 h 257442"/>
                <a:gd name="connsiteX1" fmla="*/ 2446183 w 2500904"/>
                <a:gd name="connsiteY1" fmla="*/ 257442 h 257442"/>
                <a:gd name="connsiteX2" fmla="*/ 0 w 2500904"/>
                <a:gd name="connsiteY2" fmla="*/ 257442 h 257442"/>
                <a:gd name="connsiteX3" fmla="*/ 0 w 2500904"/>
                <a:gd name="connsiteY3" fmla="*/ 0 h 257442"/>
                <a:gd name="connsiteX0" fmla="*/ 2669219 w 2669219"/>
                <a:gd name="connsiteY0" fmla="*/ 0 h 257442"/>
                <a:gd name="connsiteX1" fmla="*/ 2446183 w 2669219"/>
                <a:gd name="connsiteY1" fmla="*/ 257442 h 257442"/>
                <a:gd name="connsiteX2" fmla="*/ 0 w 2669219"/>
                <a:gd name="connsiteY2" fmla="*/ 257442 h 257442"/>
                <a:gd name="connsiteX3" fmla="*/ 0 w 2669219"/>
                <a:gd name="connsiteY3" fmla="*/ 0 h 257442"/>
                <a:gd name="connsiteX0" fmla="*/ 2669219 w 2669219"/>
                <a:gd name="connsiteY0" fmla="*/ 0 h 257442"/>
                <a:gd name="connsiteX1" fmla="*/ 2614498 w 2669219"/>
                <a:gd name="connsiteY1" fmla="*/ 257442 h 257442"/>
                <a:gd name="connsiteX2" fmla="*/ 0 w 2669219"/>
                <a:gd name="connsiteY2" fmla="*/ 257442 h 257442"/>
                <a:gd name="connsiteX3" fmla="*/ 0 w 2669219"/>
                <a:gd name="connsiteY3" fmla="*/ 0 h 257442"/>
                <a:gd name="connsiteX0" fmla="*/ 2669220 w 2669220"/>
                <a:gd name="connsiteY0" fmla="*/ 0 h 257442"/>
                <a:gd name="connsiteX1" fmla="*/ 2614499 w 2669220"/>
                <a:gd name="connsiteY1" fmla="*/ 257442 h 257442"/>
                <a:gd name="connsiteX2" fmla="*/ 0 w 2669220"/>
                <a:gd name="connsiteY2" fmla="*/ 257442 h 257442"/>
                <a:gd name="connsiteX3" fmla="*/ 1 w 2669220"/>
                <a:gd name="connsiteY3" fmla="*/ 0 h 257442"/>
                <a:gd name="connsiteX0" fmla="*/ 2669220 w 2669220"/>
                <a:gd name="connsiteY0" fmla="*/ 0 h 257442"/>
                <a:gd name="connsiteX1" fmla="*/ 2614499 w 2669220"/>
                <a:gd name="connsiteY1" fmla="*/ 257442 h 257442"/>
                <a:gd name="connsiteX2" fmla="*/ 0 w 2669220"/>
                <a:gd name="connsiteY2" fmla="*/ 257442 h 257442"/>
                <a:gd name="connsiteX3" fmla="*/ 0 w 2669220"/>
                <a:gd name="connsiteY3" fmla="*/ 0 h 257442"/>
                <a:gd name="connsiteX0" fmla="*/ 2500904 w 2614499"/>
                <a:gd name="connsiteY0" fmla="*/ 0 h 257442"/>
                <a:gd name="connsiteX1" fmla="*/ 2614499 w 2614499"/>
                <a:gd name="connsiteY1" fmla="*/ 257442 h 257442"/>
                <a:gd name="connsiteX2" fmla="*/ 0 w 2614499"/>
                <a:gd name="connsiteY2" fmla="*/ 257442 h 257442"/>
                <a:gd name="connsiteX3" fmla="*/ 0 w 2614499"/>
                <a:gd name="connsiteY3" fmla="*/ 0 h 257442"/>
                <a:gd name="connsiteX0" fmla="*/ 2500904 w 2500904"/>
                <a:gd name="connsiteY0" fmla="*/ 0 h 257442"/>
                <a:gd name="connsiteX1" fmla="*/ 2446184 w 2500904"/>
                <a:gd name="connsiteY1" fmla="*/ 257442 h 257442"/>
                <a:gd name="connsiteX2" fmla="*/ 0 w 2500904"/>
                <a:gd name="connsiteY2" fmla="*/ 257442 h 257442"/>
                <a:gd name="connsiteX3" fmla="*/ 0 w 2500904"/>
                <a:gd name="connsiteY3" fmla="*/ 0 h 257442"/>
                <a:gd name="connsiteX0" fmla="*/ 2500904 w 2500904"/>
                <a:gd name="connsiteY0" fmla="*/ 0 h 257442"/>
                <a:gd name="connsiteX1" fmla="*/ 2446184 w 2500904"/>
                <a:gd name="connsiteY1" fmla="*/ 257442 h 257442"/>
                <a:gd name="connsiteX2" fmla="*/ 1 w 2500904"/>
                <a:gd name="connsiteY2" fmla="*/ 257442 h 257442"/>
                <a:gd name="connsiteX3" fmla="*/ 0 w 2500904"/>
                <a:gd name="connsiteY3" fmla="*/ 0 h 257442"/>
                <a:gd name="connsiteX0" fmla="*/ 2500903 w 2500903"/>
                <a:gd name="connsiteY0" fmla="*/ 0 h 257442"/>
                <a:gd name="connsiteX1" fmla="*/ 2446183 w 2500903"/>
                <a:gd name="connsiteY1" fmla="*/ 257442 h 257442"/>
                <a:gd name="connsiteX2" fmla="*/ 0 w 2500903"/>
                <a:gd name="connsiteY2" fmla="*/ 257442 h 257442"/>
                <a:gd name="connsiteX3" fmla="*/ 0 w 2500903"/>
                <a:gd name="connsiteY3" fmla="*/ 0 h 257442"/>
                <a:gd name="connsiteX0" fmla="*/ 2332590 w 2446183"/>
                <a:gd name="connsiteY0" fmla="*/ 0 h 257442"/>
                <a:gd name="connsiteX1" fmla="*/ 2446183 w 2446183"/>
                <a:gd name="connsiteY1" fmla="*/ 257442 h 257442"/>
                <a:gd name="connsiteX2" fmla="*/ 0 w 2446183"/>
                <a:gd name="connsiteY2" fmla="*/ 257442 h 257442"/>
                <a:gd name="connsiteX3" fmla="*/ 0 w 2446183"/>
                <a:gd name="connsiteY3" fmla="*/ 0 h 257442"/>
                <a:gd name="connsiteX0" fmla="*/ 2332590 w 2332590"/>
                <a:gd name="connsiteY0" fmla="*/ 0 h 257442"/>
                <a:gd name="connsiteX1" fmla="*/ 2277869 w 2332590"/>
                <a:gd name="connsiteY1" fmla="*/ 257442 h 257442"/>
                <a:gd name="connsiteX2" fmla="*/ 0 w 2332590"/>
                <a:gd name="connsiteY2" fmla="*/ 257442 h 257442"/>
                <a:gd name="connsiteX3" fmla="*/ 0 w 2332590"/>
                <a:gd name="connsiteY3" fmla="*/ 0 h 257442"/>
                <a:gd name="connsiteX0" fmla="*/ 2332590 w 2332590"/>
                <a:gd name="connsiteY0" fmla="*/ 0 h 257442"/>
                <a:gd name="connsiteX1" fmla="*/ 2277869 w 2332590"/>
                <a:gd name="connsiteY1" fmla="*/ 257442 h 257442"/>
                <a:gd name="connsiteX2" fmla="*/ 0 w 2332590"/>
                <a:gd name="connsiteY2" fmla="*/ 257442 h 257442"/>
                <a:gd name="connsiteX3" fmla="*/ 0 w 2332590"/>
                <a:gd name="connsiteY3" fmla="*/ 0 h 257442"/>
                <a:gd name="connsiteX0" fmla="*/ 2332590 w 2332590"/>
                <a:gd name="connsiteY0" fmla="*/ 0 h 257442"/>
                <a:gd name="connsiteX1" fmla="*/ 2277869 w 2332590"/>
                <a:gd name="connsiteY1" fmla="*/ 257442 h 257442"/>
                <a:gd name="connsiteX2" fmla="*/ 0 w 2332590"/>
                <a:gd name="connsiteY2" fmla="*/ 257442 h 257442"/>
                <a:gd name="connsiteX3" fmla="*/ 0 w 2332590"/>
                <a:gd name="connsiteY3" fmla="*/ 0 h 257442"/>
                <a:gd name="connsiteX0" fmla="*/ 2164274 w 2277869"/>
                <a:gd name="connsiteY0" fmla="*/ 0 h 257442"/>
                <a:gd name="connsiteX1" fmla="*/ 2277869 w 2277869"/>
                <a:gd name="connsiteY1" fmla="*/ 257442 h 257442"/>
                <a:gd name="connsiteX2" fmla="*/ 0 w 2277869"/>
                <a:gd name="connsiteY2" fmla="*/ 257442 h 257442"/>
                <a:gd name="connsiteX3" fmla="*/ 0 w 2277869"/>
                <a:gd name="connsiteY3" fmla="*/ 0 h 257442"/>
                <a:gd name="connsiteX0" fmla="*/ 2164274 w 2164274"/>
                <a:gd name="connsiteY0" fmla="*/ 0 h 257442"/>
                <a:gd name="connsiteX1" fmla="*/ 2109554 w 2164274"/>
                <a:gd name="connsiteY1" fmla="*/ 257442 h 257442"/>
                <a:gd name="connsiteX2" fmla="*/ 0 w 2164274"/>
                <a:gd name="connsiteY2" fmla="*/ 257442 h 257442"/>
                <a:gd name="connsiteX3" fmla="*/ 0 w 2164274"/>
                <a:gd name="connsiteY3" fmla="*/ 0 h 257442"/>
                <a:gd name="connsiteX0" fmla="*/ 2164274 w 2164274"/>
                <a:gd name="connsiteY0" fmla="*/ 0 h 257442"/>
                <a:gd name="connsiteX1" fmla="*/ 2109554 w 2164274"/>
                <a:gd name="connsiteY1" fmla="*/ 257442 h 257442"/>
                <a:gd name="connsiteX2" fmla="*/ 1 w 2164274"/>
                <a:gd name="connsiteY2" fmla="*/ 257442 h 257442"/>
                <a:gd name="connsiteX3" fmla="*/ 0 w 2164274"/>
                <a:gd name="connsiteY3" fmla="*/ 0 h 257442"/>
                <a:gd name="connsiteX0" fmla="*/ 2164273 w 2164273"/>
                <a:gd name="connsiteY0" fmla="*/ 0 h 257442"/>
                <a:gd name="connsiteX1" fmla="*/ 2109553 w 2164273"/>
                <a:gd name="connsiteY1" fmla="*/ 257442 h 257442"/>
                <a:gd name="connsiteX2" fmla="*/ 0 w 2164273"/>
                <a:gd name="connsiteY2" fmla="*/ 257442 h 257442"/>
                <a:gd name="connsiteX3" fmla="*/ 0 w 2164273"/>
                <a:gd name="connsiteY3" fmla="*/ 0 h 257442"/>
                <a:gd name="connsiteX0" fmla="*/ 2324574 w 2324574"/>
                <a:gd name="connsiteY0" fmla="*/ 0 h 257442"/>
                <a:gd name="connsiteX1" fmla="*/ 2109553 w 2324574"/>
                <a:gd name="connsiteY1" fmla="*/ 257442 h 257442"/>
                <a:gd name="connsiteX2" fmla="*/ 0 w 2324574"/>
                <a:gd name="connsiteY2" fmla="*/ 257442 h 257442"/>
                <a:gd name="connsiteX3" fmla="*/ 0 w 2324574"/>
                <a:gd name="connsiteY3" fmla="*/ 0 h 257442"/>
                <a:gd name="connsiteX0" fmla="*/ 2324574 w 2324574"/>
                <a:gd name="connsiteY0" fmla="*/ 0 h 257442"/>
                <a:gd name="connsiteX1" fmla="*/ 2269852 w 2324574"/>
                <a:gd name="connsiteY1" fmla="*/ 257442 h 257442"/>
                <a:gd name="connsiteX2" fmla="*/ 0 w 2324574"/>
                <a:gd name="connsiteY2" fmla="*/ 257442 h 257442"/>
                <a:gd name="connsiteX3" fmla="*/ 0 w 2324574"/>
                <a:gd name="connsiteY3" fmla="*/ 0 h 257442"/>
                <a:gd name="connsiteX0" fmla="*/ 2324575 w 2324575"/>
                <a:gd name="connsiteY0" fmla="*/ 0 h 257442"/>
                <a:gd name="connsiteX1" fmla="*/ 2269853 w 2324575"/>
                <a:gd name="connsiteY1" fmla="*/ 257442 h 257442"/>
                <a:gd name="connsiteX2" fmla="*/ 0 w 2324575"/>
                <a:gd name="connsiteY2" fmla="*/ 257442 h 257442"/>
                <a:gd name="connsiteX3" fmla="*/ 1 w 2324575"/>
                <a:gd name="connsiteY3" fmla="*/ 0 h 257442"/>
                <a:gd name="connsiteX0" fmla="*/ 2324575 w 2324575"/>
                <a:gd name="connsiteY0" fmla="*/ 0 h 257442"/>
                <a:gd name="connsiteX1" fmla="*/ 2269853 w 2324575"/>
                <a:gd name="connsiteY1" fmla="*/ 257442 h 257442"/>
                <a:gd name="connsiteX2" fmla="*/ 0 w 2324575"/>
                <a:gd name="connsiteY2" fmla="*/ 257442 h 257442"/>
                <a:gd name="connsiteX3" fmla="*/ 1 w 2324575"/>
                <a:gd name="connsiteY3" fmla="*/ 0 h 257442"/>
                <a:gd name="connsiteX0" fmla="*/ 950802 w 2269853"/>
                <a:gd name="connsiteY0" fmla="*/ 0 h 257442"/>
                <a:gd name="connsiteX1" fmla="*/ 2269853 w 2269853"/>
                <a:gd name="connsiteY1" fmla="*/ 257442 h 257442"/>
                <a:gd name="connsiteX2" fmla="*/ 0 w 2269853"/>
                <a:gd name="connsiteY2" fmla="*/ 257442 h 257442"/>
                <a:gd name="connsiteX3" fmla="*/ 1 w 2269853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0 w 950802"/>
                <a:gd name="connsiteY2" fmla="*/ 257442 h 257442"/>
                <a:gd name="connsiteX3" fmla="*/ 1 w 95080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79416 w 1279416"/>
                <a:gd name="connsiteY0" fmla="*/ 0 h 257442"/>
                <a:gd name="connsiteX1" fmla="*/ 1056380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4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457351 w 1457351"/>
                <a:gd name="connsiteY0" fmla="*/ 0 h 257442"/>
                <a:gd name="connsiteX1" fmla="*/ 1224695 w 1457351"/>
                <a:gd name="connsiteY1" fmla="*/ 257442 h 257442"/>
                <a:gd name="connsiteX2" fmla="*/ 0 w 1457351"/>
                <a:gd name="connsiteY2" fmla="*/ 257442 h 257442"/>
                <a:gd name="connsiteX3" fmla="*/ 1 w 1457351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0 w 1457351"/>
                <a:gd name="connsiteY2" fmla="*/ 257442 h 257442"/>
                <a:gd name="connsiteX3" fmla="*/ 1 w 1457351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1 w 1457351"/>
                <a:gd name="connsiteY2" fmla="*/ 257442 h 257442"/>
                <a:gd name="connsiteX3" fmla="*/ 0 w 1457351"/>
                <a:gd name="connsiteY3" fmla="*/ 0 h 257442"/>
                <a:gd name="connsiteX0" fmla="*/ 1617651 w 1617651"/>
                <a:gd name="connsiteY0" fmla="*/ 0 h 257442"/>
                <a:gd name="connsiteX1" fmla="*/ 1402630 w 1617651"/>
                <a:gd name="connsiteY1" fmla="*/ 257442 h 257442"/>
                <a:gd name="connsiteX2" fmla="*/ 1 w 1617651"/>
                <a:gd name="connsiteY2" fmla="*/ 257442 h 257442"/>
                <a:gd name="connsiteX3" fmla="*/ 0 w 1617651"/>
                <a:gd name="connsiteY3" fmla="*/ 0 h 257442"/>
                <a:gd name="connsiteX0" fmla="*/ 1617651 w 1617651"/>
                <a:gd name="connsiteY0" fmla="*/ 0 h 257442"/>
                <a:gd name="connsiteX1" fmla="*/ 1562930 w 1617651"/>
                <a:gd name="connsiteY1" fmla="*/ 257442 h 257442"/>
                <a:gd name="connsiteX2" fmla="*/ 1 w 1617651"/>
                <a:gd name="connsiteY2" fmla="*/ 257442 h 257442"/>
                <a:gd name="connsiteX3" fmla="*/ 0 w 1617651"/>
                <a:gd name="connsiteY3" fmla="*/ 0 h 257442"/>
                <a:gd name="connsiteX0" fmla="*/ 1617651 w 1617651"/>
                <a:gd name="connsiteY0" fmla="*/ 0 h 257442"/>
                <a:gd name="connsiteX1" fmla="*/ 1562930 w 1617651"/>
                <a:gd name="connsiteY1" fmla="*/ 257442 h 257442"/>
                <a:gd name="connsiteX2" fmla="*/ 1 w 1617651"/>
                <a:gd name="connsiteY2" fmla="*/ 257442 h 257442"/>
                <a:gd name="connsiteX3" fmla="*/ 0 w 1617651"/>
                <a:gd name="connsiteY3" fmla="*/ 0 h 257442"/>
                <a:gd name="connsiteX0" fmla="*/ 1617650 w 1617650"/>
                <a:gd name="connsiteY0" fmla="*/ 0 h 257442"/>
                <a:gd name="connsiteX1" fmla="*/ 1562929 w 1617650"/>
                <a:gd name="connsiteY1" fmla="*/ 257442 h 257442"/>
                <a:gd name="connsiteX2" fmla="*/ 0 w 1617650"/>
                <a:gd name="connsiteY2" fmla="*/ 257442 h 257442"/>
                <a:gd name="connsiteX3" fmla="*/ 0 w 1617650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17650" h="257442">
                  <a:moveTo>
                    <a:pt x="1617650" y="0"/>
                  </a:moveTo>
                  <a:lnTo>
                    <a:pt x="1562929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btfpRunningAgenda2LevelTextLeft128532">
              <a:extLst>
                <a:ext uri="{FF2B5EF4-FFF2-40B4-BE49-F238E27FC236}">
                  <a16:creationId xmlns:a16="http://schemas.microsoft.com/office/drawing/2014/main" id="{6B5BC11D-79CC-4DE8-9EFF-8628005F53D6}"/>
                </a:ext>
              </a:extLst>
            </p:cNvPr>
            <p:cNvSpPr txBox="1"/>
            <p:nvPr/>
          </p:nvSpPr>
          <p:spPr bwMode="gray">
            <a:xfrm>
              <a:off x="0" y="876300"/>
              <a:ext cx="1562929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sage</a:t>
              </a:r>
              <a:endParaRPr kumimoji="0" lang="en-US" sz="1200" b="1" i="0" u="none" strike="noStrike" kern="1200" cap="all" spc="4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btfpRunningAgenda2LevelBarRight128532">
              <a:extLst>
                <a:ext uri="{FF2B5EF4-FFF2-40B4-BE49-F238E27FC236}">
                  <a16:creationId xmlns:a16="http://schemas.microsoft.com/office/drawing/2014/main" id="{8A45DB5B-C81C-44E7-BA02-40081F6003FB}"/>
                </a:ext>
              </a:extLst>
            </p:cNvPr>
            <p:cNvSpPr/>
            <p:nvPr/>
          </p:nvSpPr>
          <p:spPr bwMode="gray">
            <a:xfrm>
              <a:off x="1482807" y="876300"/>
              <a:ext cx="2223585" cy="257442"/>
            </a:xfrm>
            <a:custGeom>
              <a:avLst/>
              <a:gdLst>
                <a:gd name="connsiteX0" fmla="*/ 95080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50801 w 2313135"/>
                <a:gd name="connsiteY0" fmla="*/ 0 h 257442"/>
                <a:gd name="connsiteX1" fmla="*/ 89608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1 w 950800"/>
                <a:gd name="connsiteY3" fmla="*/ 0 h 257442"/>
                <a:gd name="connsiteX0" fmla="*/ 1111100 w 1111100"/>
                <a:gd name="connsiteY0" fmla="*/ 0 h 257442"/>
                <a:gd name="connsiteX1" fmla="*/ 896079 w 1111100"/>
                <a:gd name="connsiteY1" fmla="*/ 257442 h 257442"/>
                <a:gd name="connsiteX2" fmla="*/ 0 w 1111100"/>
                <a:gd name="connsiteY2" fmla="*/ 257442 h 257442"/>
                <a:gd name="connsiteX3" fmla="*/ 54721 w 1111100"/>
                <a:gd name="connsiteY3" fmla="*/ 0 h 257442"/>
                <a:gd name="connsiteX0" fmla="*/ 1111100 w 1111100"/>
                <a:gd name="connsiteY0" fmla="*/ 0 h 257442"/>
                <a:gd name="connsiteX1" fmla="*/ 1056379 w 1111100"/>
                <a:gd name="connsiteY1" fmla="*/ 257442 h 257442"/>
                <a:gd name="connsiteX2" fmla="*/ 0 w 1111100"/>
                <a:gd name="connsiteY2" fmla="*/ 257442 h 257442"/>
                <a:gd name="connsiteX3" fmla="*/ 54721 w 1111100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2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2 w 1111101"/>
                <a:gd name="connsiteY3" fmla="*/ 0 h 257442"/>
                <a:gd name="connsiteX0" fmla="*/ 1279417 w 1279417"/>
                <a:gd name="connsiteY0" fmla="*/ 0 h 257442"/>
                <a:gd name="connsiteX1" fmla="*/ 1056380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279417 w 1279417"/>
                <a:gd name="connsiteY0" fmla="*/ 0 h 257442"/>
                <a:gd name="connsiteX1" fmla="*/ 1224696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54720 w 1279416"/>
                <a:gd name="connsiteY3" fmla="*/ 0 h 257442"/>
                <a:gd name="connsiteX0" fmla="*/ 1111100 w 1224695"/>
                <a:gd name="connsiteY0" fmla="*/ 0 h 257442"/>
                <a:gd name="connsiteX1" fmla="*/ 1224695 w 1224695"/>
                <a:gd name="connsiteY1" fmla="*/ 257442 h 257442"/>
                <a:gd name="connsiteX2" fmla="*/ 0 w 1224695"/>
                <a:gd name="connsiteY2" fmla="*/ 257442 h 257442"/>
                <a:gd name="connsiteX3" fmla="*/ 54720 w 1224695"/>
                <a:gd name="connsiteY3" fmla="*/ 0 h 257442"/>
                <a:gd name="connsiteX0" fmla="*/ 1111100 w 1111100"/>
                <a:gd name="connsiteY0" fmla="*/ 0 h 257442"/>
                <a:gd name="connsiteX1" fmla="*/ 1056380 w 1111100"/>
                <a:gd name="connsiteY1" fmla="*/ 257442 h 257442"/>
                <a:gd name="connsiteX2" fmla="*/ 0 w 1111100"/>
                <a:gd name="connsiteY2" fmla="*/ 257442 h 257442"/>
                <a:gd name="connsiteX3" fmla="*/ 54720 w 1111100"/>
                <a:gd name="connsiteY3" fmla="*/ 0 h 257442"/>
                <a:gd name="connsiteX0" fmla="*/ 1111100 w 1111100"/>
                <a:gd name="connsiteY0" fmla="*/ 0 h 257442"/>
                <a:gd name="connsiteX1" fmla="*/ 1056380 w 1111100"/>
                <a:gd name="connsiteY1" fmla="*/ 257442 h 257442"/>
                <a:gd name="connsiteX2" fmla="*/ 0 w 1111100"/>
                <a:gd name="connsiteY2" fmla="*/ 257442 h 257442"/>
                <a:gd name="connsiteX3" fmla="*/ 54720 w 1111100"/>
                <a:gd name="connsiteY3" fmla="*/ 0 h 257442"/>
                <a:gd name="connsiteX0" fmla="*/ 1111100 w 1111100"/>
                <a:gd name="connsiteY0" fmla="*/ 0 h 257442"/>
                <a:gd name="connsiteX1" fmla="*/ 1056380 w 1111100"/>
                <a:gd name="connsiteY1" fmla="*/ 257442 h 257442"/>
                <a:gd name="connsiteX2" fmla="*/ 0 w 1111100"/>
                <a:gd name="connsiteY2" fmla="*/ 257442 h 257442"/>
                <a:gd name="connsiteX3" fmla="*/ 54721 w 1111100"/>
                <a:gd name="connsiteY3" fmla="*/ 0 h 257442"/>
                <a:gd name="connsiteX0" fmla="*/ 950801 w 1056380"/>
                <a:gd name="connsiteY0" fmla="*/ 0 h 257442"/>
                <a:gd name="connsiteX1" fmla="*/ 1056380 w 1056380"/>
                <a:gd name="connsiteY1" fmla="*/ 257442 h 257442"/>
                <a:gd name="connsiteX2" fmla="*/ 0 w 1056380"/>
                <a:gd name="connsiteY2" fmla="*/ 257442 h 257442"/>
                <a:gd name="connsiteX3" fmla="*/ 54721 w 1056380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782549 w 896079"/>
                <a:gd name="connsiteY0" fmla="*/ 0 h 257442"/>
                <a:gd name="connsiteX1" fmla="*/ 896079 w 896079"/>
                <a:gd name="connsiteY1" fmla="*/ 257442 h 257442"/>
                <a:gd name="connsiteX2" fmla="*/ 0 w 896079"/>
                <a:gd name="connsiteY2" fmla="*/ 257442 h 257442"/>
                <a:gd name="connsiteX3" fmla="*/ 54720 w 896079"/>
                <a:gd name="connsiteY3" fmla="*/ 0 h 257442"/>
                <a:gd name="connsiteX0" fmla="*/ 782549 w 782549"/>
                <a:gd name="connsiteY0" fmla="*/ 0 h 257442"/>
                <a:gd name="connsiteX1" fmla="*/ 727829 w 782549"/>
                <a:gd name="connsiteY1" fmla="*/ 257442 h 257442"/>
                <a:gd name="connsiteX2" fmla="*/ 0 w 782549"/>
                <a:gd name="connsiteY2" fmla="*/ 257442 h 257442"/>
                <a:gd name="connsiteX3" fmla="*/ 54720 w 782549"/>
                <a:gd name="connsiteY3" fmla="*/ 0 h 257442"/>
                <a:gd name="connsiteX0" fmla="*/ 782549 w 782549"/>
                <a:gd name="connsiteY0" fmla="*/ 0 h 257442"/>
                <a:gd name="connsiteX1" fmla="*/ 727829 w 782549"/>
                <a:gd name="connsiteY1" fmla="*/ 257442 h 257442"/>
                <a:gd name="connsiteX2" fmla="*/ 0 w 782549"/>
                <a:gd name="connsiteY2" fmla="*/ 257442 h 257442"/>
                <a:gd name="connsiteX3" fmla="*/ 54720 w 782549"/>
                <a:gd name="connsiteY3" fmla="*/ 0 h 257442"/>
                <a:gd name="connsiteX0" fmla="*/ 782549 w 782549"/>
                <a:gd name="connsiteY0" fmla="*/ 0 h 257442"/>
                <a:gd name="connsiteX1" fmla="*/ 727829 w 782549"/>
                <a:gd name="connsiteY1" fmla="*/ 257442 h 257442"/>
                <a:gd name="connsiteX2" fmla="*/ 0 w 782549"/>
                <a:gd name="connsiteY2" fmla="*/ 257442 h 257442"/>
                <a:gd name="connsiteX3" fmla="*/ 54721 w 782549"/>
                <a:gd name="connsiteY3" fmla="*/ 0 h 257442"/>
                <a:gd name="connsiteX0" fmla="*/ 950801 w 950801"/>
                <a:gd name="connsiteY0" fmla="*/ 0 h 257442"/>
                <a:gd name="connsiteX1" fmla="*/ 727829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279416 w 1279416"/>
                <a:gd name="connsiteY0" fmla="*/ 0 h 257442"/>
                <a:gd name="connsiteX1" fmla="*/ 1056380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4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439718 w 1439718"/>
                <a:gd name="connsiteY0" fmla="*/ 0 h 257442"/>
                <a:gd name="connsiteX1" fmla="*/ 1224695 w 1439718"/>
                <a:gd name="connsiteY1" fmla="*/ 257442 h 257442"/>
                <a:gd name="connsiteX2" fmla="*/ 0 w 1439718"/>
                <a:gd name="connsiteY2" fmla="*/ 257442 h 257442"/>
                <a:gd name="connsiteX3" fmla="*/ 54722 w 1439718"/>
                <a:gd name="connsiteY3" fmla="*/ 0 h 257442"/>
                <a:gd name="connsiteX0" fmla="*/ 1439718 w 1439718"/>
                <a:gd name="connsiteY0" fmla="*/ 0 h 257442"/>
                <a:gd name="connsiteX1" fmla="*/ 1384996 w 1439718"/>
                <a:gd name="connsiteY1" fmla="*/ 257442 h 257442"/>
                <a:gd name="connsiteX2" fmla="*/ 0 w 1439718"/>
                <a:gd name="connsiteY2" fmla="*/ 257442 h 257442"/>
                <a:gd name="connsiteX3" fmla="*/ 54722 w 1439718"/>
                <a:gd name="connsiteY3" fmla="*/ 0 h 257442"/>
                <a:gd name="connsiteX0" fmla="*/ 1439718 w 1439718"/>
                <a:gd name="connsiteY0" fmla="*/ 0 h 257442"/>
                <a:gd name="connsiteX1" fmla="*/ 1384996 w 1439718"/>
                <a:gd name="connsiteY1" fmla="*/ 257442 h 257442"/>
                <a:gd name="connsiteX2" fmla="*/ 0 w 1439718"/>
                <a:gd name="connsiteY2" fmla="*/ 257442 h 257442"/>
                <a:gd name="connsiteX3" fmla="*/ 54722 w 1439718"/>
                <a:gd name="connsiteY3" fmla="*/ 0 h 257442"/>
                <a:gd name="connsiteX0" fmla="*/ 1439718 w 1439718"/>
                <a:gd name="connsiteY0" fmla="*/ 0 h 257442"/>
                <a:gd name="connsiteX1" fmla="*/ 1384996 w 1439718"/>
                <a:gd name="connsiteY1" fmla="*/ 257442 h 257442"/>
                <a:gd name="connsiteX2" fmla="*/ 0 w 1439718"/>
                <a:gd name="connsiteY2" fmla="*/ 257442 h 257442"/>
                <a:gd name="connsiteX3" fmla="*/ 54721 w 1439718"/>
                <a:gd name="connsiteY3" fmla="*/ 0 h 257442"/>
                <a:gd name="connsiteX0" fmla="*/ 1617650 w 1617650"/>
                <a:gd name="connsiteY0" fmla="*/ 0 h 257442"/>
                <a:gd name="connsiteX1" fmla="*/ 1384996 w 1617650"/>
                <a:gd name="connsiteY1" fmla="*/ 257442 h 257442"/>
                <a:gd name="connsiteX2" fmla="*/ 0 w 1617650"/>
                <a:gd name="connsiteY2" fmla="*/ 257442 h 257442"/>
                <a:gd name="connsiteX3" fmla="*/ 54721 w 1617650"/>
                <a:gd name="connsiteY3" fmla="*/ 0 h 257442"/>
                <a:gd name="connsiteX0" fmla="*/ 1617650 w 1617650"/>
                <a:gd name="connsiteY0" fmla="*/ 0 h 257442"/>
                <a:gd name="connsiteX1" fmla="*/ 1562929 w 1617650"/>
                <a:gd name="connsiteY1" fmla="*/ 257442 h 257442"/>
                <a:gd name="connsiteX2" fmla="*/ 0 w 1617650"/>
                <a:gd name="connsiteY2" fmla="*/ 257442 h 257442"/>
                <a:gd name="connsiteX3" fmla="*/ 54721 w 1617650"/>
                <a:gd name="connsiteY3" fmla="*/ 0 h 257442"/>
                <a:gd name="connsiteX0" fmla="*/ 1617650 w 1617650"/>
                <a:gd name="connsiteY0" fmla="*/ 0 h 257442"/>
                <a:gd name="connsiteX1" fmla="*/ 1562929 w 1617650"/>
                <a:gd name="connsiteY1" fmla="*/ 257442 h 257442"/>
                <a:gd name="connsiteX2" fmla="*/ 0 w 1617650"/>
                <a:gd name="connsiteY2" fmla="*/ 257442 h 257442"/>
                <a:gd name="connsiteX3" fmla="*/ 54721 w 1617650"/>
                <a:gd name="connsiteY3" fmla="*/ 0 h 257442"/>
                <a:gd name="connsiteX0" fmla="*/ 1617650 w 1617650"/>
                <a:gd name="connsiteY0" fmla="*/ 0 h 257442"/>
                <a:gd name="connsiteX1" fmla="*/ 1562929 w 1617650"/>
                <a:gd name="connsiteY1" fmla="*/ 257442 h 257442"/>
                <a:gd name="connsiteX2" fmla="*/ 0 w 1617650"/>
                <a:gd name="connsiteY2" fmla="*/ 257442 h 257442"/>
                <a:gd name="connsiteX3" fmla="*/ 54721 w 1617650"/>
                <a:gd name="connsiteY3" fmla="*/ 0 h 257442"/>
                <a:gd name="connsiteX0" fmla="*/ 1785965 w 1785965"/>
                <a:gd name="connsiteY0" fmla="*/ 0 h 257442"/>
                <a:gd name="connsiteX1" fmla="*/ 1562929 w 1785965"/>
                <a:gd name="connsiteY1" fmla="*/ 257442 h 257442"/>
                <a:gd name="connsiteX2" fmla="*/ 0 w 1785965"/>
                <a:gd name="connsiteY2" fmla="*/ 257442 h 257442"/>
                <a:gd name="connsiteX3" fmla="*/ 54721 w 1785965"/>
                <a:gd name="connsiteY3" fmla="*/ 0 h 257442"/>
                <a:gd name="connsiteX0" fmla="*/ 1785965 w 1785965"/>
                <a:gd name="connsiteY0" fmla="*/ 0 h 257442"/>
                <a:gd name="connsiteX1" fmla="*/ 1731244 w 1785965"/>
                <a:gd name="connsiteY1" fmla="*/ 257442 h 257442"/>
                <a:gd name="connsiteX2" fmla="*/ 0 w 1785965"/>
                <a:gd name="connsiteY2" fmla="*/ 257442 h 257442"/>
                <a:gd name="connsiteX3" fmla="*/ 54721 w 1785965"/>
                <a:gd name="connsiteY3" fmla="*/ 0 h 257442"/>
                <a:gd name="connsiteX0" fmla="*/ 1785965 w 1785965"/>
                <a:gd name="connsiteY0" fmla="*/ 0 h 257442"/>
                <a:gd name="connsiteX1" fmla="*/ 1731244 w 1785965"/>
                <a:gd name="connsiteY1" fmla="*/ 257442 h 257442"/>
                <a:gd name="connsiteX2" fmla="*/ 0 w 1785965"/>
                <a:gd name="connsiteY2" fmla="*/ 257442 h 257442"/>
                <a:gd name="connsiteX3" fmla="*/ 54721 w 1785965"/>
                <a:gd name="connsiteY3" fmla="*/ 0 h 257442"/>
                <a:gd name="connsiteX0" fmla="*/ 1785965 w 1785965"/>
                <a:gd name="connsiteY0" fmla="*/ 0 h 257442"/>
                <a:gd name="connsiteX1" fmla="*/ 1731244 w 1785965"/>
                <a:gd name="connsiteY1" fmla="*/ 257442 h 257442"/>
                <a:gd name="connsiteX2" fmla="*/ 0 w 1785965"/>
                <a:gd name="connsiteY2" fmla="*/ 257442 h 257442"/>
                <a:gd name="connsiteX3" fmla="*/ 54721 w 1785965"/>
                <a:gd name="connsiteY3" fmla="*/ 0 h 257442"/>
                <a:gd name="connsiteX0" fmla="*/ 2055270 w 2055270"/>
                <a:gd name="connsiteY0" fmla="*/ 0 h 257442"/>
                <a:gd name="connsiteX1" fmla="*/ 1731244 w 2055270"/>
                <a:gd name="connsiteY1" fmla="*/ 257442 h 257442"/>
                <a:gd name="connsiteX2" fmla="*/ 0 w 2055270"/>
                <a:gd name="connsiteY2" fmla="*/ 257442 h 257442"/>
                <a:gd name="connsiteX3" fmla="*/ 54721 w 2055270"/>
                <a:gd name="connsiteY3" fmla="*/ 0 h 257442"/>
                <a:gd name="connsiteX0" fmla="*/ 2055270 w 2055270"/>
                <a:gd name="connsiteY0" fmla="*/ 0 h 257442"/>
                <a:gd name="connsiteX1" fmla="*/ 2000548 w 2055270"/>
                <a:gd name="connsiteY1" fmla="*/ 257442 h 257442"/>
                <a:gd name="connsiteX2" fmla="*/ 0 w 2055270"/>
                <a:gd name="connsiteY2" fmla="*/ 257442 h 257442"/>
                <a:gd name="connsiteX3" fmla="*/ 54721 w 2055270"/>
                <a:gd name="connsiteY3" fmla="*/ 0 h 257442"/>
                <a:gd name="connsiteX0" fmla="*/ 2055271 w 2055271"/>
                <a:gd name="connsiteY0" fmla="*/ 0 h 257442"/>
                <a:gd name="connsiteX1" fmla="*/ 2000549 w 2055271"/>
                <a:gd name="connsiteY1" fmla="*/ 257442 h 257442"/>
                <a:gd name="connsiteX2" fmla="*/ 0 w 2055271"/>
                <a:gd name="connsiteY2" fmla="*/ 257442 h 257442"/>
                <a:gd name="connsiteX3" fmla="*/ 54722 w 2055271"/>
                <a:gd name="connsiteY3" fmla="*/ 0 h 257442"/>
                <a:gd name="connsiteX0" fmla="*/ 2055271 w 2055271"/>
                <a:gd name="connsiteY0" fmla="*/ 0 h 257442"/>
                <a:gd name="connsiteX1" fmla="*/ 2000549 w 2055271"/>
                <a:gd name="connsiteY1" fmla="*/ 257442 h 257442"/>
                <a:gd name="connsiteX2" fmla="*/ 0 w 2055271"/>
                <a:gd name="connsiteY2" fmla="*/ 257442 h 257442"/>
                <a:gd name="connsiteX3" fmla="*/ 54722 w 2055271"/>
                <a:gd name="connsiteY3" fmla="*/ 0 h 257442"/>
                <a:gd name="connsiteX0" fmla="*/ 2233204 w 2233204"/>
                <a:gd name="connsiteY0" fmla="*/ 0 h 257442"/>
                <a:gd name="connsiteX1" fmla="*/ 2000549 w 2233204"/>
                <a:gd name="connsiteY1" fmla="*/ 257442 h 257442"/>
                <a:gd name="connsiteX2" fmla="*/ 0 w 2233204"/>
                <a:gd name="connsiteY2" fmla="*/ 257442 h 257442"/>
                <a:gd name="connsiteX3" fmla="*/ 54722 w 2233204"/>
                <a:gd name="connsiteY3" fmla="*/ 0 h 257442"/>
                <a:gd name="connsiteX0" fmla="*/ 2233204 w 2233204"/>
                <a:gd name="connsiteY0" fmla="*/ 0 h 257442"/>
                <a:gd name="connsiteX1" fmla="*/ 2178482 w 2233204"/>
                <a:gd name="connsiteY1" fmla="*/ 257442 h 257442"/>
                <a:gd name="connsiteX2" fmla="*/ 0 w 2233204"/>
                <a:gd name="connsiteY2" fmla="*/ 257442 h 257442"/>
                <a:gd name="connsiteX3" fmla="*/ 54722 w 2233204"/>
                <a:gd name="connsiteY3" fmla="*/ 0 h 257442"/>
                <a:gd name="connsiteX0" fmla="*/ 2233204 w 2233204"/>
                <a:gd name="connsiteY0" fmla="*/ 0 h 257442"/>
                <a:gd name="connsiteX1" fmla="*/ 2178482 w 2233204"/>
                <a:gd name="connsiteY1" fmla="*/ 257442 h 257442"/>
                <a:gd name="connsiteX2" fmla="*/ 0 w 2233204"/>
                <a:gd name="connsiteY2" fmla="*/ 257442 h 257442"/>
                <a:gd name="connsiteX3" fmla="*/ 54722 w 2233204"/>
                <a:gd name="connsiteY3" fmla="*/ 0 h 257442"/>
                <a:gd name="connsiteX0" fmla="*/ 2233204 w 2233204"/>
                <a:gd name="connsiteY0" fmla="*/ 0 h 257442"/>
                <a:gd name="connsiteX1" fmla="*/ 2178482 w 2233204"/>
                <a:gd name="connsiteY1" fmla="*/ 257442 h 257442"/>
                <a:gd name="connsiteX2" fmla="*/ 0 w 2233204"/>
                <a:gd name="connsiteY2" fmla="*/ 257442 h 257442"/>
                <a:gd name="connsiteX3" fmla="*/ 54721 w 2233204"/>
                <a:gd name="connsiteY3" fmla="*/ 0 h 257442"/>
                <a:gd name="connsiteX0" fmla="*/ 950801 w 2178482"/>
                <a:gd name="connsiteY0" fmla="*/ 0 h 257442"/>
                <a:gd name="connsiteX1" fmla="*/ 2178482 w 2178482"/>
                <a:gd name="connsiteY1" fmla="*/ 257442 h 257442"/>
                <a:gd name="connsiteX2" fmla="*/ 0 w 2178482"/>
                <a:gd name="connsiteY2" fmla="*/ 257442 h 257442"/>
                <a:gd name="connsiteX3" fmla="*/ 54721 w 217848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1128733 w 1128733"/>
                <a:gd name="connsiteY0" fmla="*/ 0 h 257442"/>
                <a:gd name="connsiteX1" fmla="*/ 896079 w 1128733"/>
                <a:gd name="connsiteY1" fmla="*/ 257442 h 257442"/>
                <a:gd name="connsiteX2" fmla="*/ 0 w 1128733"/>
                <a:gd name="connsiteY2" fmla="*/ 257442 h 257442"/>
                <a:gd name="connsiteX3" fmla="*/ 54720 w 1128733"/>
                <a:gd name="connsiteY3" fmla="*/ 0 h 257442"/>
                <a:gd name="connsiteX0" fmla="*/ 1128733 w 1128733"/>
                <a:gd name="connsiteY0" fmla="*/ 0 h 257442"/>
                <a:gd name="connsiteX1" fmla="*/ 1074012 w 1128733"/>
                <a:gd name="connsiteY1" fmla="*/ 257442 h 257442"/>
                <a:gd name="connsiteX2" fmla="*/ 0 w 1128733"/>
                <a:gd name="connsiteY2" fmla="*/ 257442 h 257442"/>
                <a:gd name="connsiteX3" fmla="*/ 54720 w 1128733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574369 w 1574369"/>
                <a:gd name="connsiteY0" fmla="*/ 0 h 257442"/>
                <a:gd name="connsiteX1" fmla="*/ 1242329 w 1574369"/>
                <a:gd name="connsiteY1" fmla="*/ 257442 h 257442"/>
                <a:gd name="connsiteX2" fmla="*/ 0 w 1574369"/>
                <a:gd name="connsiteY2" fmla="*/ 257442 h 257442"/>
                <a:gd name="connsiteX3" fmla="*/ 54721 w 1574369"/>
                <a:gd name="connsiteY3" fmla="*/ 0 h 257442"/>
                <a:gd name="connsiteX0" fmla="*/ 1574369 w 1574369"/>
                <a:gd name="connsiteY0" fmla="*/ 0 h 257442"/>
                <a:gd name="connsiteX1" fmla="*/ 1519648 w 1574369"/>
                <a:gd name="connsiteY1" fmla="*/ 257442 h 257442"/>
                <a:gd name="connsiteX2" fmla="*/ 0 w 1574369"/>
                <a:gd name="connsiteY2" fmla="*/ 257442 h 257442"/>
                <a:gd name="connsiteX3" fmla="*/ 54721 w 1574369"/>
                <a:gd name="connsiteY3" fmla="*/ 0 h 257442"/>
                <a:gd name="connsiteX0" fmla="*/ 1574369 w 1574369"/>
                <a:gd name="connsiteY0" fmla="*/ 0 h 257442"/>
                <a:gd name="connsiteX1" fmla="*/ 1519648 w 1574369"/>
                <a:gd name="connsiteY1" fmla="*/ 257442 h 257442"/>
                <a:gd name="connsiteX2" fmla="*/ 0 w 1574369"/>
                <a:gd name="connsiteY2" fmla="*/ 257442 h 257442"/>
                <a:gd name="connsiteX3" fmla="*/ 54721 w 1574369"/>
                <a:gd name="connsiteY3" fmla="*/ 0 h 257442"/>
                <a:gd name="connsiteX0" fmla="*/ 1574369 w 1574369"/>
                <a:gd name="connsiteY0" fmla="*/ 0 h 257442"/>
                <a:gd name="connsiteX1" fmla="*/ 1519648 w 1574369"/>
                <a:gd name="connsiteY1" fmla="*/ 257442 h 257442"/>
                <a:gd name="connsiteX2" fmla="*/ 0 w 1574369"/>
                <a:gd name="connsiteY2" fmla="*/ 257442 h 257442"/>
                <a:gd name="connsiteX3" fmla="*/ 54721 w 1574369"/>
                <a:gd name="connsiteY3" fmla="*/ 0 h 257442"/>
                <a:gd name="connsiteX0" fmla="*/ 1734669 w 1734669"/>
                <a:gd name="connsiteY0" fmla="*/ 0 h 257442"/>
                <a:gd name="connsiteX1" fmla="*/ 1519648 w 1734669"/>
                <a:gd name="connsiteY1" fmla="*/ 257442 h 257442"/>
                <a:gd name="connsiteX2" fmla="*/ 0 w 1734669"/>
                <a:gd name="connsiteY2" fmla="*/ 257442 h 257442"/>
                <a:gd name="connsiteX3" fmla="*/ 54721 w 1734669"/>
                <a:gd name="connsiteY3" fmla="*/ 0 h 257442"/>
                <a:gd name="connsiteX0" fmla="*/ 1734669 w 1734669"/>
                <a:gd name="connsiteY0" fmla="*/ 0 h 257442"/>
                <a:gd name="connsiteX1" fmla="*/ 1679948 w 1734669"/>
                <a:gd name="connsiteY1" fmla="*/ 257442 h 257442"/>
                <a:gd name="connsiteX2" fmla="*/ 0 w 1734669"/>
                <a:gd name="connsiteY2" fmla="*/ 257442 h 257442"/>
                <a:gd name="connsiteX3" fmla="*/ 54721 w 1734669"/>
                <a:gd name="connsiteY3" fmla="*/ 0 h 257442"/>
                <a:gd name="connsiteX0" fmla="*/ 1734669 w 1734669"/>
                <a:gd name="connsiteY0" fmla="*/ 0 h 257442"/>
                <a:gd name="connsiteX1" fmla="*/ 1679948 w 1734669"/>
                <a:gd name="connsiteY1" fmla="*/ 257442 h 257442"/>
                <a:gd name="connsiteX2" fmla="*/ 0 w 1734669"/>
                <a:gd name="connsiteY2" fmla="*/ 257442 h 257442"/>
                <a:gd name="connsiteX3" fmla="*/ 54721 w 1734669"/>
                <a:gd name="connsiteY3" fmla="*/ 0 h 257442"/>
                <a:gd name="connsiteX0" fmla="*/ 1734669 w 1734669"/>
                <a:gd name="connsiteY0" fmla="*/ 0 h 257442"/>
                <a:gd name="connsiteX1" fmla="*/ 1679948 w 1734669"/>
                <a:gd name="connsiteY1" fmla="*/ 257442 h 257442"/>
                <a:gd name="connsiteX2" fmla="*/ 0 w 1734669"/>
                <a:gd name="connsiteY2" fmla="*/ 257442 h 257442"/>
                <a:gd name="connsiteX3" fmla="*/ 54721 w 1734669"/>
                <a:gd name="connsiteY3" fmla="*/ 0 h 257442"/>
                <a:gd name="connsiteX0" fmla="*/ 1894969 w 1894969"/>
                <a:gd name="connsiteY0" fmla="*/ 0 h 257442"/>
                <a:gd name="connsiteX1" fmla="*/ 1679948 w 1894969"/>
                <a:gd name="connsiteY1" fmla="*/ 257442 h 257442"/>
                <a:gd name="connsiteX2" fmla="*/ 0 w 1894969"/>
                <a:gd name="connsiteY2" fmla="*/ 257442 h 257442"/>
                <a:gd name="connsiteX3" fmla="*/ 54721 w 1894969"/>
                <a:gd name="connsiteY3" fmla="*/ 0 h 257442"/>
                <a:gd name="connsiteX0" fmla="*/ 1894969 w 1894969"/>
                <a:gd name="connsiteY0" fmla="*/ 0 h 257442"/>
                <a:gd name="connsiteX1" fmla="*/ 1840248 w 1894969"/>
                <a:gd name="connsiteY1" fmla="*/ 257442 h 257442"/>
                <a:gd name="connsiteX2" fmla="*/ 0 w 1894969"/>
                <a:gd name="connsiteY2" fmla="*/ 257442 h 257442"/>
                <a:gd name="connsiteX3" fmla="*/ 54721 w 1894969"/>
                <a:gd name="connsiteY3" fmla="*/ 0 h 257442"/>
                <a:gd name="connsiteX0" fmla="*/ 1894969 w 1894969"/>
                <a:gd name="connsiteY0" fmla="*/ 0 h 257442"/>
                <a:gd name="connsiteX1" fmla="*/ 1840248 w 1894969"/>
                <a:gd name="connsiteY1" fmla="*/ 257442 h 257442"/>
                <a:gd name="connsiteX2" fmla="*/ 0 w 1894969"/>
                <a:gd name="connsiteY2" fmla="*/ 257442 h 257442"/>
                <a:gd name="connsiteX3" fmla="*/ 54721 w 1894969"/>
                <a:gd name="connsiteY3" fmla="*/ 0 h 257442"/>
                <a:gd name="connsiteX0" fmla="*/ 1894969 w 1894969"/>
                <a:gd name="connsiteY0" fmla="*/ 0 h 257442"/>
                <a:gd name="connsiteX1" fmla="*/ 1840248 w 1894969"/>
                <a:gd name="connsiteY1" fmla="*/ 257442 h 257442"/>
                <a:gd name="connsiteX2" fmla="*/ 0 w 1894969"/>
                <a:gd name="connsiteY2" fmla="*/ 257442 h 257442"/>
                <a:gd name="connsiteX3" fmla="*/ 54721 w 1894969"/>
                <a:gd name="connsiteY3" fmla="*/ 0 h 257442"/>
                <a:gd name="connsiteX0" fmla="*/ 2063285 w 2063285"/>
                <a:gd name="connsiteY0" fmla="*/ 0 h 257442"/>
                <a:gd name="connsiteX1" fmla="*/ 1840248 w 2063285"/>
                <a:gd name="connsiteY1" fmla="*/ 257442 h 257442"/>
                <a:gd name="connsiteX2" fmla="*/ 0 w 2063285"/>
                <a:gd name="connsiteY2" fmla="*/ 257442 h 257442"/>
                <a:gd name="connsiteX3" fmla="*/ 54721 w 2063285"/>
                <a:gd name="connsiteY3" fmla="*/ 0 h 257442"/>
                <a:gd name="connsiteX0" fmla="*/ 2063285 w 2063285"/>
                <a:gd name="connsiteY0" fmla="*/ 0 h 257442"/>
                <a:gd name="connsiteX1" fmla="*/ 2008564 w 2063285"/>
                <a:gd name="connsiteY1" fmla="*/ 257442 h 257442"/>
                <a:gd name="connsiteX2" fmla="*/ 0 w 2063285"/>
                <a:gd name="connsiteY2" fmla="*/ 257442 h 257442"/>
                <a:gd name="connsiteX3" fmla="*/ 54721 w 2063285"/>
                <a:gd name="connsiteY3" fmla="*/ 0 h 257442"/>
                <a:gd name="connsiteX0" fmla="*/ 2063285 w 2063285"/>
                <a:gd name="connsiteY0" fmla="*/ 0 h 257442"/>
                <a:gd name="connsiteX1" fmla="*/ 2008564 w 2063285"/>
                <a:gd name="connsiteY1" fmla="*/ 257442 h 257442"/>
                <a:gd name="connsiteX2" fmla="*/ 0 w 2063285"/>
                <a:gd name="connsiteY2" fmla="*/ 257442 h 257442"/>
                <a:gd name="connsiteX3" fmla="*/ 54721 w 2063285"/>
                <a:gd name="connsiteY3" fmla="*/ 0 h 257442"/>
                <a:gd name="connsiteX0" fmla="*/ 2063285 w 2063285"/>
                <a:gd name="connsiteY0" fmla="*/ 0 h 257442"/>
                <a:gd name="connsiteX1" fmla="*/ 2008564 w 2063285"/>
                <a:gd name="connsiteY1" fmla="*/ 257442 h 257442"/>
                <a:gd name="connsiteX2" fmla="*/ 0 w 2063285"/>
                <a:gd name="connsiteY2" fmla="*/ 257442 h 257442"/>
                <a:gd name="connsiteX3" fmla="*/ 54721 w 2063285"/>
                <a:gd name="connsiteY3" fmla="*/ 0 h 257442"/>
                <a:gd name="connsiteX0" fmla="*/ 2223585 w 2223585"/>
                <a:gd name="connsiteY0" fmla="*/ 0 h 257442"/>
                <a:gd name="connsiteX1" fmla="*/ 2008564 w 2223585"/>
                <a:gd name="connsiteY1" fmla="*/ 257442 h 257442"/>
                <a:gd name="connsiteX2" fmla="*/ 0 w 2223585"/>
                <a:gd name="connsiteY2" fmla="*/ 257442 h 257442"/>
                <a:gd name="connsiteX3" fmla="*/ 54721 w 2223585"/>
                <a:gd name="connsiteY3" fmla="*/ 0 h 257442"/>
                <a:gd name="connsiteX0" fmla="*/ 2223585 w 2223585"/>
                <a:gd name="connsiteY0" fmla="*/ 0 h 257442"/>
                <a:gd name="connsiteX1" fmla="*/ 2168864 w 2223585"/>
                <a:gd name="connsiteY1" fmla="*/ 257442 h 257442"/>
                <a:gd name="connsiteX2" fmla="*/ 0 w 2223585"/>
                <a:gd name="connsiteY2" fmla="*/ 257442 h 257442"/>
                <a:gd name="connsiteX3" fmla="*/ 54721 w 2223585"/>
                <a:gd name="connsiteY3" fmla="*/ 0 h 257442"/>
                <a:gd name="connsiteX0" fmla="*/ 2223585 w 2223585"/>
                <a:gd name="connsiteY0" fmla="*/ 0 h 257442"/>
                <a:gd name="connsiteX1" fmla="*/ 2168864 w 2223585"/>
                <a:gd name="connsiteY1" fmla="*/ 257442 h 257442"/>
                <a:gd name="connsiteX2" fmla="*/ 0 w 2223585"/>
                <a:gd name="connsiteY2" fmla="*/ 257442 h 257442"/>
                <a:gd name="connsiteX3" fmla="*/ 54721 w 2223585"/>
                <a:gd name="connsiteY3" fmla="*/ 0 h 257442"/>
                <a:gd name="connsiteX0" fmla="*/ 2223585 w 2223585"/>
                <a:gd name="connsiteY0" fmla="*/ 0 h 257442"/>
                <a:gd name="connsiteX1" fmla="*/ 2168864 w 2223585"/>
                <a:gd name="connsiteY1" fmla="*/ 257442 h 257442"/>
                <a:gd name="connsiteX2" fmla="*/ 0 w 2223585"/>
                <a:gd name="connsiteY2" fmla="*/ 257442 h 257442"/>
                <a:gd name="connsiteX3" fmla="*/ 54721 w 222358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23585" h="257442">
                  <a:moveTo>
                    <a:pt x="2223585" y="0"/>
                  </a:moveTo>
                  <a:lnTo>
                    <a:pt x="2168864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" name="btfpRunningAgenda2LevelTextRight128532">
              <a:extLst>
                <a:ext uri="{FF2B5EF4-FFF2-40B4-BE49-F238E27FC236}">
                  <a16:creationId xmlns:a16="http://schemas.microsoft.com/office/drawing/2014/main" id="{A25A8DB2-1C4D-4DA8-B02F-FCF8E1A49071}"/>
                </a:ext>
              </a:extLst>
            </p:cNvPr>
            <p:cNvSpPr txBox="1"/>
            <p:nvPr/>
          </p:nvSpPr>
          <p:spPr bwMode="gray">
            <a:xfrm>
              <a:off x="1482807" y="876300"/>
              <a:ext cx="2168864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n-users</a:t>
              </a:r>
            </a:p>
          </p:txBody>
        </p:sp>
      </p:grpSp>
      <p:grpSp>
        <p:nvGrpSpPr>
          <p:cNvPr id="41" name="btfpStatusSticker631408">
            <a:extLst>
              <a:ext uri="{FF2B5EF4-FFF2-40B4-BE49-F238E27FC236}">
                <a16:creationId xmlns:a16="http://schemas.microsoft.com/office/drawing/2014/main" id="{6219C130-5ADB-4E36-9AD9-9B39AE15FC33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100355" y="955344"/>
            <a:ext cx="1761445" cy="235611"/>
            <a:chOff x="-2280177" y="876300"/>
            <a:chExt cx="1761445" cy="235611"/>
          </a:xfrm>
        </p:grpSpPr>
        <p:sp>
          <p:nvSpPr>
            <p:cNvPr id="42" name="btfpStatusStickerText631408">
              <a:extLst>
                <a:ext uri="{FF2B5EF4-FFF2-40B4-BE49-F238E27FC236}">
                  <a16:creationId xmlns:a16="http://schemas.microsoft.com/office/drawing/2014/main" id="{4632AEF9-D74D-4145-A7CC-DB4F7EA4761B}"/>
                </a:ext>
              </a:extLst>
            </p:cNvPr>
            <p:cNvSpPr txBox="1"/>
            <p:nvPr/>
          </p:nvSpPr>
          <p:spPr bwMode="gray">
            <a:xfrm>
              <a:off x="-2280177" y="876300"/>
              <a:ext cx="1761445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preliminary</a:t>
              </a:r>
            </a:p>
          </p:txBody>
        </p:sp>
        <p:cxnSp>
          <p:nvCxnSpPr>
            <p:cNvPr id="43" name="btfpStatusStickerLine631408">
              <a:extLst>
                <a:ext uri="{FF2B5EF4-FFF2-40B4-BE49-F238E27FC236}">
                  <a16:creationId xmlns:a16="http://schemas.microsoft.com/office/drawing/2014/main" id="{ADA486AE-51F2-46AD-9EAF-AE728DCC35A5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80177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btfpStatusSticker538999">
            <a:extLst>
              <a:ext uri="{FF2B5EF4-FFF2-40B4-BE49-F238E27FC236}">
                <a16:creationId xmlns:a16="http://schemas.microsoft.com/office/drawing/2014/main" id="{E91B8DE0-92AF-4683-BA35-13DFF0BD74A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8214219" y="955344"/>
            <a:ext cx="1759136" cy="235611"/>
            <a:chOff x="-2269853" y="876300"/>
            <a:chExt cx="1759136" cy="235611"/>
          </a:xfrm>
        </p:grpSpPr>
        <p:sp>
          <p:nvSpPr>
            <p:cNvPr id="45" name="btfpStatusStickerText538999">
              <a:extLst>
                <a:ext uri="{FF2B5EF4-FFF2-40B4-BE49-F238E27FC236}">
                  <a16:creationId xmlns:a16="http://schemas.microsoft.com/office/drawing/2014/main" id="{50301B24-EFF6-4F54-B8AC-54160F3FAB8F}"/>
                </a:ext>
              </a:extLst>
            </p:cNvPr>
            <p:cNvSpPr txBox="1"/>
            <p:nvPr/>
          </p:nvSpPr>
          <p:spPr bwMode="gray">
            <a:xfrm>
              <a:off x="-2269853" y="876300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directional</a:t>
              </a:r>
            </a:p>
          </p:txBody>
        </p:sp>
        <p:cxnSp>
          <p:nvCxnSpPr>
            <p:cNvPr id="46" name="btfpStatusStickerLine538999">
              <a:extLst>
                <a:ext uri="{FF2B5EF4-FFF2-40B4-BE49-F238E27FC236}">
                  <a16:creationId xmlns:a16="http://schemas.microsoft.com/office/drawing/2014/main" id="{1D734B05-3429-4C93-925D-57CED99595DC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69853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3" name="btfpColumnHeaderBox311408">
            <a:extLst>
              <a:ext uri="{FF2B5EF4-FFF2-40B4-BE49-F238E27FC236}">
                <a16:creationId xmlns:a16="http://schemas.microsoft.com/office/drawing/2014/main" id="{BC1015F0-440B-4D19-9032-A4337AEE443C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384309" y="1270000"/>
            <a:ext cx="2477492" cy="318997"/>
            <a:chOff x="9987915" y="1270000"/>
            <a:chExt cx="1873885" cy="318997"/>
          </a:xfrm>
        </p:grpSpPr>
        <p:sp>
          <p:nvSpPr>
            <p:cNvPr id="81" name="btfpColumnHeaderBoxText311408">
              <a:extLst>
                <a:ext uri="{FF2B5EF4-FFF2-40B4-BE49-F238E27FC236}">
                  <a16:creationId xmlns:a16="http://schemas.microsoft.com/office/drawing/2014/main" id="{BF5D05C1-2DF5-421F-BD4D-85243A7DDEDC}"/>
                </a:ext>
              </a:extLst>
            </p:cNvPr>
            <p:cNvSpPr txBox="1"/>
            <p:nvPr/>
          </p:nvSpPr>
          <p:spPr bwMode="gray">
            <a:xfrm>
              <a:off x="9987915" y="1270000"/>
              <a:ext cx="1873885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ikelihood to ever adopt</a:t>
              </a:r>
            </a:p>
          </p:txBody>
        </p:sp>
        <p:cxnSp>
          <p:nvCxnSpPr>
            <p:cNvPr id="82" name="btfpColumnHeaderBoxLine311408">
              <a:extLst>
                <a:ext uri="{FF2B5EF4-FFF2-40B4-BE49-F238E27FC236}">
                  <a16:creationId xmlns:a16="http://schemas.microsoft.com/office/drawing/2014/main" id="{8B2E6CB0-26F9-44D9-BF6B-61ACC9B9D5E0}"/>
                </a:ext>
              </a:extLst>
            </p:cNvPr>
            <p:cNvCxnSpPr/>
            <p:nvPr/>
          </p:nvCxnSpPr>
          <p:spPr bwMode="gray">
            <a:xfrm>
              <a:off x="9987915" y="1588997"/>
              <a:ext cx="187388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6" name="btfpColumnHeaderBox497268">
            <a:extLst>
              <a:ext uri="{FF2B5EF4-FFF2-40B4-BE49-F238E27FC236}">
                <a16:creationId xmlns:a16="http://schemas.microsoft.com/office/drawing/2014/main" id="{9049DBA9-5601-47CE-B505-500A42CBC801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3348236" y="1270000"/>
            <a:ext cx="5495528" cy="318997"/>
            <a:chOff x="7573487" y="1270000"/>
            <a:chExt cx="1873885" cy="318997"/>
          </a:xfrm>
        </p:grpSpPr>
        <p:sp>
          <p:nvSpPr>
            <p:cNvPr id="84" name="btfpColumnHeaderBoxText497268">
              <a:extLst>
                <a:ext uri="{FF2B5EF4-FFF2-40B4-BE49-F238E27FC236}">
                  <a16:creationId xmlns:a16="http://schemas.microsoft.com/office/drawing/2014/main" id="{41E76E52-9E7A-400B-9177-3E6036DB88BC}"/>
                </a:ext>
              </a:extLst>
            </p:cNvPr>
            <p:cNvSpPr txBox="1"/>
            <p:nvPr/>
          </p:nvSpPr>
          <p:spPr bwMode="gray">
            <a:xfrm>
              <a:off x="7573487" y="1270000"/>
              <a:ext cx="1873885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ikelihood to use in the next 3 years</a:t>
              </a:r>
            </a:p>
          </p:txBody>
        </p:sp>
        <p:cxnSp>
          <p:nvCxnSpPr>
            <p:cNvPr id="85" name="btfpColumnHeaderBoxLine497268">
              <a:extLst>
                <a:ext uri="{FF2B5EF4-FFF2-40B4-BE49-F238E27FC236}">
                  <a16:creationId xmlns:a16="http://schemas.microsoft.com/office/drawing/2014/main" id="{EFF5A2B6-BB59-450D-92F4-64B17D096CF3}"/>
                </a:ext>
              </a:extLst>
            </p:cNvPr>
            <p:cNvCxnSpPr/>
            <p:nvPr/>
          </p:nvCxnSpPr>
          <p:spPr bwMode="gray">
            <a:xfrm>
              <a:off x="7573487" y="1588997"/>
              <a:ext cx="187388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5" name="btfpColumnHeaderBox379382">
            <a:extLst>
              <a:ext uri="{FF2B5EF4-FFF2-40B4-BE49-F238E27FC236}">
                <a16:creationId xmlns:a16="http://schemas.microsoft.com/office/drawing/2014/main" id="{934BA53C-1087-4A2B-A747-1FCF834872DF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330200" y="1270000"/>
            <a:ext cx="2477492" cy="318997"/>
            <a:chOff x="330200" y="1270000"/>
            <a:chExt cx="1873885" cy="318997"/>
          </a:xfrm>
        </p:grpSpPr>
        <p:sp>
          <p:nvSpPr>
            <p:cNvPr id="93" name="btfpColumnHeaderBoxText379382">
              <a:extLst>
                <a:ext uri="{FF2B5EF4-FFF2-40B4-BE49-F238E27FC236}">
                  <a16:creationId xmlns:a16="http://schemas.microsoft.com/office/drawing/2014/main" id="{1E591EB1-0C53-48C1-8D7A-5203C10E9C2F}"/>
                </a:ext>
              </a:extLst>
            </p:cNvPr>
            <p:cNvSpPr txBox="1"/>
            <p:nvPr/>
          </p:nvSpPr>
          <p:spPr bwMode="gray">
            <a:xfrm>
              <a:off x="330200" y="1270000"/>
              <a:ext cx="1873885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ason for not using</a:t>
              </a:r>
            </a:p>
          </p:txBody>
        </p:sp>
        <p:cxnSp>
          <p:nvCxnSpPr>
            <p:cNvPr id="94" name="btfpColumnHeaderBoxLine379382">
              <a:extLst>
                <a:ext uri="{FF2B5EF4-FFF2-40B4-BE49-F238E27FC236}">
                  <a16:creationId xmlns:a16="http://schemas.microsoft.com/office/drawing/2014/main" id="{4622C6E5-010A-4EA2-801D-A54379E5E03A}"/>
                </a:ext>
              </a:extLst>
            </p:cNvPr>
            <p:cNvCxnSpPr/>
            <p:nvPr/>
          </p:nvCxnSpPr>
          <p:spPr bwMode="gray">
            <a:xfrm>
              <a:off x="330200" y="1588997"/>
              <a:ext cx="187388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4" name="Rectangle 123">
            <a:extLst>
              <a:ext uri="{FF2B5EF4-FFF2-40B4-BE49-F238E27FC236}">
                <a16:creationId xmlns:a16="http://schemas.microsoft.com/office/drawing/2014/main" id="{D1B50C68-EF81-4309-B8E1-4A407A983594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330200" y="1650634"/>
            <a:ext cx="2477492" cy="43705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</a:t>
            </a:r>
            <a:r>
              <a:rPr kumimoji="0" lang="pl-PL" sz="10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  <a:r>
              <a:rPr kumimoji="0" lang="en-US" sz="10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Why does your company not currently use </a:t>
            </a:r>
            <a:r>
              <a:rPr kumimoji="0" lang="pl-PL" sz="10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</a:t>
            </a:r>
            <a:r>
              <a:rPr kumimoji="0" lang="en-US" sz="10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olution? Select up to 3 options.</a:t>
            </a:r>
            <a:endParaRPr kumimoji="0" lang="en-US" sz="105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13ACE52A-29A5-4290-8D6F-11B75D34231B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3348235" y="1650634"/>
            <a:ext cx="5495519" cy="43705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</a:t>
            </a:r>
            <a:r>
              <a:rPr kumimoji="0" lang="en-GB" sz="10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  <a:r>
              <a:rPr kumimoji="0" lang="pl-PL" sz="10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0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ow likely is your company to begin using </a:t>
            </a:r>
            <a:r>
              <a:rPr kumimoji="0" lang="pl-PL" sz="10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</a:t>
            </a:r>
            <a:r>
              <a:rPr kumimoji="0" lang="en-US" sz="10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olution in the next 3 years? Why likely? Why unlikely?</a:t>
            </a:r>
            <a:endParaRPr kumimoji="0" lang="en-US" sz="105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45E21F7C-C156-4DFD-98F7-5B17714F9EF2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9379546" y="1650634"/>
            <a:ext cx="2477492" cy="43705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</a:t>
            </a:r>
            <a:r>
              <a:rPr kumimoji="0" lang="pl-PL" sz="10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kumimoji="0" lang="en-US" sz="10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ow likely is your company to ever adopt </a:t>
            </a:r>
            <a:r>
              <a:rPr kumimoji="0" lang="pl-PL" sz="10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</a:t>
            </a:r>
            <a:r>
              <a:rPr kumimoji="0" lang="en-US" sz="10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olution?  </a:t>
            </a:r>
          </a:p>
        </p:txBody>
      </p:sp>
      <p:sp>
        <p:nvSpPr>
          <p:cNvPr id="127" name="btfpMGChart834952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nDqnRi2rF3dC7/3vzSMoeWc7pCKX0F+d942NXGsvNxutEpLBc34F4BrTQ6G4zsIKosRoVu5KBV8s3E2/qe92MZOYboHlILOFcCwXXd4tUBO+XvZWVvUsSf20rFz2ZwFhnL1v6+F2N/kwfngH0FerW2FTqrghRmJH/APqPnHHLVvaopGdW34KJBfVpXQ4nWghHyk+9PM6YDE6Ox3x9Q8dUs1wsarYsjIKqmEMcnBQ2Iro5rTk6F/qCWrGK464VufoxPE4+dX+4rMzoXixGvThjcSVBwQcrGbGwNg21gDG8Xz7lWHAfspKy7SB3hEFo/xKzDLcBh7OuvkqLXgFDWQ0rB5QNd6uBcrPJdVWnu9zWXyLb/wq+G/JCd36mn8+iKCNG7OUG35ApA70k19CEh6uU65iNZz8TAR7u8x+NJ/T76hhV2UylAejJaFfLLRNIHSvfJW/Zfp/L6me5cUx2a63C8+oWj85BDCqn42Dd4jJbRWUjK8aRJ5eZNqbq7Ur6QlklTRm4wy31+VMW4JXrdg6Ig2JkxotVrOHfK9FXFTEdfg/t3SNHRL6yrj4Ym7cW9z8WAPC2SRkO/ljsEV6X84DzUDjdIVLSCBiiAW3lc/XziU+yUGwVzHcmbXHVbQHEJnJPSL+jevYUTC4/yIPstuQHteVXCaX3/5/jp8kXEkCzhrXq3SMkcsgcEh3sipViKjVV70/GE4I4zrSnXSbtko4Q8rKfR+DGktodAYgmsZRAYqH840EeelKhAzLtTLWntcVkoQeqzzdPaqea7yXZd+KyLjg1m/ULRHzhyLNvUZrFBzPiCIvm6VMB5TielaqMm5ZAOuBhg3X0BZRyYvOvG6iQrT5mRi8hU+FsdL+XCEFDpsru43fCNca2isRaivsluOCkB3jZLnl9SsOT9jBnFgXzHlyqUkLSuJmXk5bSfbLQoGhEERZGb6ySgiDuQ+D3sdwOcs+iUVwzcQEjvAyBBK/2NwIJHkKoPfS09AbdauyDjW39eapnHPVBlcD+YTJscmmPqfMTuGJswlR1wXuKWQMwHR4a3r07L0h/a0vTE2eH1aq9k2Nuj5qMoOD9sOOPuwbOMDCcaxqxVTa3cpvTyW9SVOKqN0zDHbL6UPDfe6HKL5Ld8qwEa29Re7Q30mnquSxtnWeGjAPygowaeLkQH/pdLOXkxGBX0j/GfWrzTd2PvlVEFfscOoO8nPEBIwoY8SGgilOMJbv2+BrV3NQMJdFNgm9maVSA2sFJPbOkYtfV/tXVVh+oZxUaN5mzaHa7n5M8B5dFLnQzfGJoU+zEKcqVmgLnOxRkDax10VYR0v9ZlSBhf1OLMB1aKUyVFIzqXjw9ESy7fi6elFb2dq/XIXXlHx9QS/+NuEMnPCFPHdJ/2jA9+FUWHgBlY4LU10hOwOZGotjJ6QOpCCQLMTFBcyYYIcqpqVmKuAK8WBBbwT8T9AqItsLaap5kIFOKxL4PFrJxupthf5/g6X3GOR34HsfxFySszvQ+Cl5MBAbSv31NgZUS/BATnpA7SW/S1hvyI7AFOOWygUPnn1Nrwg5mhuX1EVAhVxu46LPq3yikIiMZ7bXH71/HqrNN+w3LEAbzaa9ib+9+ijEV0J+UoRTe1uHi7V9UcbFgj45nWvUfXY+MtX/uavXZywcTLB2KtRTbdLim/jflRHYAShhbYRwK/2MZ30K5J8gvL9f69loXh8PCgt++Yks2vY6f4P9i+HRb0EbwAL0/AbKDKYh51aL95oYc38gQXqK6sICuekk3S93/eXpMrbtuQ7+g+f9D5A9NH2uKKVJWNAXJqLnHrteMhiAUt08c1BArOJyepW5oKTT6VJx21AEXydvCQuDdRlZJrTKuK3DpZtFSni3Oqif0iJfGLLP7xBKBC+wGTwrUEhQb4/+aSrNrNwTkmnKkUrJ+gU5hjdvOn/uASd15JkdoH/Luja0KfKd3GG7yFxmt7PSEacBcsBjzBCbmUtAdexbfCY0qFfaM/1H/ibrwVPieTdfQW0nProNP/skwVWhe7MV2USnenVpLmfKoIVrsvrRbjjUYZfPOj/t4Bv3hKHF/kLYx31P3W+bZE2EOUjaR6UUiU9flu59r1YKp3/GSV6QBjmnCOZ/H8ya3qhcZ9U6jGNUDHJ/jIQYnI6Ce3tqEXSvgq3tbeU2vY036XVv1BUEtN0u4BxpcUaFximJgKmHsyiDLPd70Bif7HCuMRse+bgxyQGPC9BOGEPI3dx7oseAqoZvERHlKsxx8gHnjPFFReLQ7R2HtpQBOTn+OYlWX8AmED+5QbKkacPDn/SNgMirbQrek3ohutxCBa2MnD+REJve6hFUap+gjPcGhSSgWFHN82QsKMwibL2a+cVNJ45pDKvqLBkO15jsbpEKQnPNbyJB8nTpBo6i1kJyrfBZrukC3nySIwASrdzyngnRLQnIQkeCzV7yTCeHaQc9C/FfRaF7Udn2LJ7wAoM6wegFP7liqNapX8OtqsvASv2ouUHvAUnt1A5gs8UzkZ1ykIHSFCfq7CSzALyHELRmNjpB04PDqPauCOdI5ujxn6JyDo+3V/mgRgyODBHCJiOLkgpQKi2GOyEf6e4cmKtWj5UFDhRSNK0XaSIFiUp6c0Sl+DqmYZcZ34t9qg171Lt5eTM3Ftkjrb4raRob8TGLgEMRFB0nPrD4JpS4pK1UeEyelWESRw9EGo4kgga2VbIAxelCJGg5F73N3JRT/Ncgx5+N+Es5S2OUNWnZUGnHqGSgMXSUPKdJ9zjQPPZAgUaTELF0DbZ7G71fWEEuQDsfm3cQF7a4nc1X9MeRVNtIeF6Nq2J2ROcwS4R96L1ZbMMKSpac9t4QtqUSW75agOGOHtKHxUQXvnvJ3ZKT5MtLV+SachXMQ/IYSu6Cgtj83XwSDtZohCtoQwkk1OsAjD+sHY5pX5LMeDq8qfJrifKumxCp4sBlz+XPjx6BXHAMFL0QurGIX+hnnOahd13mV/7/RywcAIxz7wSMqGTPDdEX80q7GBvfXbY6+z3c51LakUkkdEIwueRrqQYrYa0/jBQH0IPmguzVHakFcr46mQOV/jr8ohIwZyD7vRHxPpBMQUqOHJYiPJ7PpJCqG3CK+sBeQ9QrgCivLDmhE4/9BsCjXvqWftlF4u82Vi7UVlbwYY3xJkS74zcucqpVL4WofnJhb/jamYJHXRLJIDdTEmlypXbk7Ut4dIlP4dxORoDyQycXZEnXRnClVTnlnYJrRYEMSYtDo6CQrLQPtUJe0Bvt18I6vTr/tZvnwSml+FgZin2THCJyHjOPCrwNEJY/wpZBebOeIwGG+8ihaWxocq4Y3NB+moVhCLQ1rJ+IsuinMt08dC4yvDToAtjnGlW1ZSGiL8+WIPCT8zKwdFYM+yxI7looI1idCSIuGUPLGRe28fbexPo+83oa2Xe//xCGKT2rPBl1e+TyEUFi+8uasrqAIWWapYs8BHbMJWl3OPK78NylMc8gn+J828aiDs1mHuhaKjOWPOTgZlrolP1lKxUGxtTUY2c4zQl3EshRRv+Lx7f2CjOJUtB+mGVWDZjYw++DSi+Kq67ky6vHDa78eMWKiMw0IOae1UwrYHzURLfs2Qz9BN6kNPFOeXnRi4R4Y34W2mIUbXqPY+kXMsaIBD40csl3KqDDB01EZd/VOu+a3Z+mY/J1WRHvE9/E+1h4+rQp7+PyQFav1HdcdA1FemCXMTWhRu+VAtp53Iv8ZfedEeePpzAuA7mhoxTF7bMr5cjgCU+sNlGwp18DbolpMJGpKNLJlNw20bSahI5RTE6w+bVSLZo9XG94JgG0ls9h3AMOYbpuNrBZujxUynEdov6RVeuaqDDRuJ7ch6NFLmyXXiBFKh8FFMg2r40TM54LXL8p5oCO1HEtDl49tXi7en/cRMky9KaLr5Tgu6hFWhMB/lbNAiQwBaesA2WFZ0nW6JBnbFb9yIDDTtRX/zouBLMpkCJ4kxqUch6jIiDgyBP2yZjHorEVhXm0j4z6nlYwXhxsnGE/hhz8NLQFubGtK27oWZuUduNmyIKhduWbcP80srJHmCkLioqXWysG7fpRJLrOHyqnbFQ7e1JA3IRFgha2wtODGEVtwKeuWEIcfq5hF6dLCkgElti8wu4FxF9+YYmI1YPzd7HPa7CDP76TnAsdS8EiCm97dlOrmWNAEt5PwZ6r9czNdwLhUJu1T/8qbO9tu4k2nClar/EQdMgR0wrN7oCXYmfbiZWMbe2S1DHoi6jID9ZctJCpEmmMH8EumGRN6lmtvRMudjFAJIvfzKkFrHbvkZSbfdcpWh8xD3jeJYmcRqUZ3lTMrm7avOGm2CN8i+45U+w10sysmM3LWpctUn6Kit5SJEzGljSTNZftdV0WB48NwqNK1f50EB5Bd/hGsGuGz5miEgTdMUult6bdIeLEIzsGU83XH5D54uP9g9n21EP2qnx59yhRjoohqD5ZOygz3rdd7H7jquef3vn9/YP81LUYVUSZzUfklAjXsn6Zf1hI9BsOFJbn3cIE1ACIpVOSrcfmLD8r+eMdUCmJXAjlXA1NmHAoLuM4AQkUBgp47LW7sAplyBaaMRyd7jWlNa8398md6cIvPA5etKjIEDHFUVLCYDcVynbG1s0a8C/JwdGDTY/4ToFA9N+QGPQAaQoUlDTs9HVB6Oahw0KwUvRJ5gRG8OGRVNZVnhXclAvr8vtCwYsEJFytP+5hUcnpLwe+r4w3OOqSDTisD9nJJHDCXf32LZc7ivkwXJXnhXrrQ7dqqGFqaE/pyuuczgjVFpqJZ8bUI7fQ/mHNb5sdvjnvYzOEwf289PNV2XEMZryK3aIK/WdbHbhNrJq+aXt2Ozms2c1OXn5wIQmYphqaKNbgFFpEpc6vLEddBElcAhz7SFe7cRNWtQQ5gAUfh5zf1t0M5rxr6oRsGn9z5qW6lizs/dLmE3gF34GbJz+7mYYmnXqaLwO3Je6xMDxvRTNAxQVcTO4wAp30cKbbzakgyB6mB4kg3Pe494pNm++PtGaNi/NIEtNrws7Um0yzCO7m7UN8TkNTEmdcsT90EQqGkdAa6ggHvgGbeBF1hcP1TQvYCvnjdyvwhGeWf8sWuRDewwaxqmYLUeJKwlHDcP4erds2vtCU7/eVzAFESTQNVlRo1g9uZ+z0pSEMjcTio5uBjm52n+ifg5QgTxOtSxenOmEK7OZLqEf/HUnKONVC1KMM8dm3MYYPofADgz+lbEj/AxUBGaeO0N9BWLMeI/I1g61GZDu6iZ3K8gb//GvrLxXbS7KZv9URvIcyjx49uyd3hUMVGuzz4v6vPSlMRsGd3aEwriDF5Ja37KX2lwp/OknLFAH70347TUPBRVnqVLao6nON/opudAZTkwuUV+dSOjzael0fjlQDFyHlfZB1gWsBnJAanEnR9vr+Y0KXTqJwVTjzbcsHc88zzErS/5M4u97GRpiTda9F/dJxlOVkO79F2/Uvcez80o7qIEsJ0EeltsiIFQB8R5taCGrE70SVeM3q3Xi2+W0OdeNwgbNPEtrW3Neelr4MB0nWkCd0yBEh4I7D6Fq2AvtvRTf6rGE7hMlQKV/gXWv94rPE1iqcxfVnNmksK90fCYG3Kb/SfO7OIRVFviguvOmEqRmKvO3CbUez8rQdNXssUxNUW5KlMU+oSMilILOZz+We5n0OOeGRuaKcpYCKOl5Bw/TKGiVhqxNqFxydkBqeTwXizQYkUoHvogenyn09f2RLz5xSepSHIgjhHy3IZxfDfNbvc7fQyiXQ2yUQvfLiuhw9ffmIlV29YXL/LfgtLTlDzQKA3TkYtes51dUQQgbqe+bz1xb3cSN1T+CEy9uUq7NPMa8uhghdqUbaYK4WvabfYLjeEMFSP+izcwL5mxyleL1NRL4EzEhYyeVDUjZb42MvbHiKOKq7zXR3IjBcuH+h2PlYAvw6f2Nri0+807pVuyR2auoZQipytT38cve3DcC8MjSJWdJEbyLbrf2AoyktKc+DlkX4AgjAbGACS52s41FWGRLc5RiKtYsXYNiwxWHRbj6lGbzKE/8MAo7A7y31shaUMvIlUdvfLKvtsKu7ru7mB18iCoF6fNfry5EjOxvYqy/KoblqCiQMIQlfFNxICQdxrZq/lPlOWX8BZnPqt+2uX/NHBCmpk+LbTkOVpBjBtGuEIxXum3Q/aN9wv0+H9ZEkteDqTuB5aayD6rBJPkUXrVVRq18PbQszp6ZL/eyJxb5ZHb4YSbRtiUThWhMn5Wvu9KdW4R75ufpXf6X9HwPugkYL0M+eE5mEaki92eCobgq7Tczyr9uTY6d8xjHGn+4lDrFhD0LZzbrLVlo+rb+kdK02dBfeid8UGHsXXWrWEelITD1jh9O5bXVRMP5ClqSCWTEV23tw60rIMKUGu8j+zZfOy7wdaEadt3Ww9zD/O15KyWiVX1h39VCstEk3AmDklKJ6NYqLT9nbFDjdFhN7Z79KV33MHPgWjtb3adBhpH3ftoqVYGHfbEepIQnK6OBGECtNhk7elDF5YYVsBWay789lAppv03LKYo4YkPaMqAXag6tfwiGZFjPJsFN5GwuHfc+onfLaHoP/U12fH3+wDEK2rCuuhArVj+4kqBIqdHsug+IkofH57vQ6mMKhu+UuBPvSe8xKh+syiIomN5AUgQgYFvy/f7DmOYD/y8BQI1kYZvlXlT8d+8iAPuBKFim8+vgSfLLnDZNM/Hx0OXrMbxe58ioL7k5iQ3pAsDaaZrhYo735Tu/rkLhoIy+kzBSoVI2ZqdxJqHJIketzkKp9yse7IrtYT12HKaH5k5YPIw4RoLY+JP+iAXQCCS15QF1KdHzfLWT1/3Y/3vEl3wZP+YNWS9nPqRuK1Pwu5wYSJtcgjmp6Ccsp1qh9Ehpk7DzS4lpIPbWlKKXzYqMbWmZnPK0KAm2I7r/DrUqGkVEYE4KZywskW4F1li9f20vFlFhezewVL1+SgHP/2avnvBzI5+JuQAXy0K0vo46nVnjuBjZOizfttScjHqADToAjVWpG1DbO4gatI83s/ErBUeUaFWl32pVHZ50qSpxBMLS+0ttVkm8n8gxXD1z/VXoyGVnwSInfg+yiq+oZoUE//syQuzlV0klRE25AkRoLIFSYC7gAlLIECldIT8A3Ih6XrKGtin9WJzCxWp/aFcDcGvofvxrDWCrqcjT2IRdQiarAaOfGNsl4y+ySC13RM20XDCf1+yF6kphfOB2mDnBG7BCOdDlkCI7VTKew6+hU2dvPn4YxTEL32Ys1a0fyr0HUs2UarF3bxmGfe+GkPL1RmKQW978cTKJM+N25nX2vAdVHbinCijHgKDIWwvXGGFc+VplF+2vUZYh0ApJJUAIryWoT31tlDMA+U+cT5thXgD0kiq9VJz2tdDb96kiTqoYJeSztaCQ57zGnfcUNjd6QBAR6gI03QTatmBza2bkAVUTjK33vUD9S8PKbTsJVxt4jH8x5Vrx/yhMII2F34altfq5m2lxt9CbH5VkaVscjnfNDjFfRHsWJa5r1XucINlco84128jj9SnTxCZ2YlIDI3hMkmcuU3ucTdtGrAuxyToq8+4TIH/o+fUqfDujWgcqOH1Uml+W8GDR4TH1IDDffXbF8KnCsSkhoXM12W3dtDP7xDRsesvzU7dl/FCb9Z4k/d1Lj6zrLJDR1ipyefEcKc7RADzQdUSwn9FO7gmchLR7wzgyGwhqb6gz3a+BHMvq8LgKIpwx23v+DjJBjq0dMknBZTgSdK4mU4oPQllbnbxRc5+mMMo9E6HqRljFFeTi+sAetVNgO7wGAHJ+JrmZKDcnkvHAo5xgIOz7aCQg547Eju50TjM7Kz8Xxogb4bkRVDLBHniyweRBI6eOZCS7skHf3Nv2veixX+VICeSESlqZN3WUkpjFVyzGDYgfc3iYbQUpF90L3p/+mxwkDOG+Hlmqxbp0VlVgCN+MXJOaiQrJc2fv/9ySaDQwsFVsE2CxlcGu7HMC+1mHmStWECfRkPkjlPjDrOjftM2VpjPl2F+E08pxxUc2YPX2yE9avleW1DPAIJyHArk/yHi4revIaOLTJ/fFA+oiBgJMjidrpvkse8ELWxLskZ/z0cKhBBmRrJ5IFrMduQTgu7KRNaSIy8+lL3UFbd//ZkeT42SSRfUmgTD8UmIV3rbHYfYMlu6RYeIkKC7hc0MPuS9W0Ofwd/XvgZiCcOqeUK7Zn4ueN6DTVVbnPKUXuRli9Xq6/NRVrqViyLAOi7XhIejqFLx/srMcWSIjeSAuKNbi4wRz15eTj1gexxQrLFUn+pytak2wnZ+tamW/VKUfxqN70IXsHmR5SuQI88uhWP2uI2H8BqQ6bIuGqHbGQ4eYFW7MUvkXTsZKg7u4BxKLRbBKIOLbMNGbI+a3W5loO1LwwIbtPr3lqhBXkx1FvLIic0cc/zHQv+2by0Yk7jqy/OdI6hBwNqVwdt8t6hSOVsM94ILetJKfa22uAtOBTlC5CdTWEuGW9SdQKaCa21ZY68X3snrHhbKAMRigGxIgWS50C8B9vp6PvRoPmEKpbB5XMlPeaF12ToFSfsbHLHDuRxdnYwJ28a5d9W6CdhzAz/zM3lR+6Acagu51RV58gz60rerCLPxx5KOGGvOPYIZ1M4e879YumcM7kc2cEi3CjGvkd9XPM4yqH8ssEwSGsh0VzdShIpsalicxzZINHqc0etefs0cOkRjeaLH8EevL+Jje7JpFqH7WHXmkROt0uWTmo+6K3tVHzutHKo6TaN+QrtD2jdLZ3icv7aeDjVVByBD8eQd95HC/zQDObxtZ9whVrOon7KVhfKBFRQ02cGPPkRT+ZZUq8g2GYIBZRGr7eE8O6sZa2+xGcq1dIKf4gjtplaqWgSa0Y8Sv/BS5CT+nZ2MZN8xZByBphc63KmleB9dr9dPUbUc8TdGVLWSkVDI2IiLhfXW/OSAXfSMOFPytjg+MbZiwykK2k/y+loGyNUXeW3BS/kiLBA4epmbYTUOdHeUv+jxr7kxKPleeDccVlkpUs8ELHcp8amgeO05Z6XDCssTnNJ2VCBmT/crRfQzgRcsNFdYHjDNfolXH1qIT7BxgG80QnFRtmKHpfHXzMuo8zpqLDVBmjVbERlhmA6/3N4uLE6rybh2+Pmfwa9GAv2N76f79NigAw2M8o9Fv5coo67XVdQ2ylVss+xSgqRa8YtLQ10xfCuCCfYTTc/GTGbeRZdCD3qxHfqhtTqFyCp4Y5EB0VQ2OzFu9UJLDNiyxtlmz2x8CrjFrDY7XD3XmRI4oJ5yrwVW6MWkLG1hqgBLeibWMWblpOA1cJ0BabJGHpAyiDc/5ghAi2SRXkKWpk0jJJef+iBTPi94Ax+uEDH1Znqe18CRwDS/KLiZjobUnX6lPxxfQ0EbWuNYhV4+bVxA/4g3ao+oSVkvt34l2oUFZVkfo0KkIbkIsBpiLi+2Sdm6+Gk6xVm5EpG4V+HPVgFneBsZ3otXkVJ4YjiWfnG52X7HZ64DhmLaul9LDSIbFTV7pXzozzC+5fpvaxi94Uz4w5vO9NaVN2td5+bMkU09BUbF4Q9MdWGsifhcxMUFHoNKtDBEWeEO8SspOOIqIo2v3p1HkZWgftLpb27i3tLhQK4xPKxgaToUH+PfuUqthBeUNvrc72hHXuZKI6JOxPzDaUxro7mJS4xHlxxcpARMv8rafgoHvWTbcTlMfN2BpWkHEJvdjd66xTNd3IlO6WiAE5bQIGbvIPD+JwPOIZqK1IsE/34WGJKqQvmocYgLCBBoKg/7rmSUV8bEL124E/M41deuUtDcP6qMIrBbyQhL028fAmM9P4j2ZKR6k4yg8uEIb66i1xxhd4POKF8fdbp6mSOk2sd/LAhq4iA65QGSDGXrSTLeiQGsHDveso/xVafp6f4v/siY9TjDY3tCU5PYZVriL6yAVYDIkx0h8UwLvMZvrTjeMQk+wmwle2WJV6qs9PSTJtCdlsLj4Q5O8bw0o7Q8atD9t/TyEznPJXHUoV5sH/aA8LR/XwMSG5NBRP0B1/FEl2FeHSib5Kuir+svSChAW2/nVZjT3yShE0QPq/ARiapucG2eqVknDre7YhRR80/6ZwgiKh/XKyBvwI9G+7aROh3xZUFFY8LVfYt1lZD+5Nm+v4ZQwpZt2/Rw2iRqcr9yAQfiCi1lzAW/pfYXd9VdjZx9I8ht5dv9vTPEDdlt1GrgGRdQ+gTSe4/so84t9XIxFIgChNcCk7xtS8hRCwrvOZgC5Unvo+Ep36MOaO0P3ztlBQGKGOGZSVmc+bCf0DugOQyJSyR8lDAZsMarfhgGVTs0AAhy00NAadxGZpk7xTRjb0/cu1/15YyZrOnFfkVP58oFjwGJa/Xrc9K8euZed6jiPgWFloiCrieewJ9P+V2PyG98rrIrGyu7GS/xqD2JR7nNVjmVoST0VKo6bRdTvrm4mlcbYxcVBJG0FTCu2sXjgjFD3KpHviHdwz9dqdMIMaSV+ymdchPReJXKOQBiz/bmngOktVqFO5eapdiXfnLEfG+BYxEdohcEk1WKjCc4wmogZbFxewAsfpldtlFFqG8CerURsL4gGVGVeLffBDg3LJ3FzsJQy0Y3nihQk27IsB/bA3pdtMb/QryZyZcWPewIHmPCL3qfXepeNu6DYDRkE8Jj3DMwalM42qkO/vewyPZUj2Ru4bj5U847KcLInpc0yQUTJMBkMUppSG1G3hDBC29/UETYvvm6Rkf8SRjvEC3TCfrFh96bCbywhqzSjJ4cQUdQ4ITkWtbfEOBk1fVD3DEpNSj6tlNi6EYa8X80DcF2JLqsHEOeleNWsVL1mtYSXDUWH0gaGBw0tcaHaHAb2wWuJSRtcEuYyxgUcYf7cjnMS2NMyLtkqIiJ3zbHpV2eob60NsiS6q8LDltPugaQ2n+wrLXkg0aKSafzFEBm3a55P1LqdZtwxycyfpf2Cho3PYVLovt2tTUbB+PtPerHYjM2LoF2tszmrcLlmmB5jkugLaHjMxbimWRsz32fpQ6u8h5Q0Y+2alJOVaZDuxd7JUYmcwIVLOeasslMb+3/yi0Ojk+RhGJe1JVUdJKheI9DbfHLRucA0YyyzYz9wok/j5Gz5x3+uyfIynFrHTu0ZHKq5aperkXcVR1zM5TkjHX8Cw4vzo9akDu4aiE93V2CqmTBf3h7G1gk8rVL/PF5wSL8j+GA+RprmoKOKvIUmM9edoVI2WCaL9UWQZxYjunlo4/saMcpCvRlZJwd+3ZKW/qV0VevmWFOlq7BojRZMJn7SDsm7YOCQ+C1qdRltjtykPQNJyfb06g1cSAY+ayLMu3lfWdvY6RYXnoKS0/K02WNJjuLo/d7xGCxQPiH2uRoXnr7tzboPxmekhnYpOTlClr4eiOBrmffiYPgR6Jxa+23WTQbnS4M9yEY0jcvcs3fWLmgUcIFyqkXsScCNx6dQ88cN2pTbKmUSDg4i3WucyAvqbQvs4T8sA2wHdjcI/MHJGZRTyReW0EwE2xDsS6dcDDxlvD3jXjhocsvHf1dOkyscv9qiatrBEyN8/SkH34Zu9N5gIU2sl/DgvFbQ7PrrbIM0xzO6iipwZRvWnncIO/kgVQGvXtFl/7HBtelOV/mTnAH1Izp5mFimQoQz8EDuVEl67AukVGxeALt+5jXZ6BCPX3VTAkmB31uwQRakjdqVQuq/Tw4LsaVH8XJ6hKM3BHoA6bs+nXwv7g4Q2v4WaesuvdmL3rpkFzsPbNml9Z9vSpDRxEhOgwh23aRWl4fjz3GNk0JZxml/1c+85EKPKtClO9Y58v7fTz/rBE2CNZzFT/Ibpt2+8t5SntRorew9EvRnp+c5ErQTKxWTNvoJyLBJD/X8KWKIg0ab7DwcCNYnJ+Y2hT6EVKNo0p/jua9vZasNht6RAoTyVJ7VPFJO2MTmNq7rSnKRe4smX+Gt0UCdusLwTXRX2ZGJ4rNPzOz6U5kc8GKsk3FGITjpo8r8hRkzix/Oso+yL7GLvyfp0kk+cwWXdfXf/WYtKcP8R701LCNOJXy6HdTXwxJtQi1IHfbKWd86cjW0OXKUetVRhZ/kEuqZSJ6gXC4cLiHhKv0ngob3TtrNQRXnYu3Quvm2xEos3lWkt/9zISVCQkg47kLHLCvyEQ3zThagE3nAMOT45n/tdRt+UeXF8/EeNXAq8B4NG6zD0F+U6ACK5GtWRVUzxe1I7FG1nm2RFRc170uBTcuyxCHdyL4A4B0eN55P8CdO5IiCw2KNvKKFicZlt81ei6bOmrijCz2RWgnxZUqi5DCfuG8xUMqFpyuzytkmS4sHugu7IbvS90XabKQzjA7Lb/JzEeRif+A+26HYZAwmySZynffbp7QY6M3m18BeiyYr5I3D/phEBLUyuVZgWQ/joq74pg91XVKaJxfHFblMefuDXUtJzelNxT4seVzyPVMtlhxOrauHZOknRRM23yA9IYe7C0VgrGnXM3ofQwInqK3n5vrCabSL1vdnJeoMdW7F5P2p598hKnjyLl8E1veSb98IYYPRBuR55bgn/mHn39tA9iHa7nBQIch+vT34ShRWfkBvp4Na7SFvwpYSx4KKWxsfigHf+A4A+4fmUIMbFMA9vuiYGtKX0HC35e58FT3tFZQu/R1d1IGEhZmyTnR7zaDOUBlp9gNJTJu/Qx6fpYCuoBU/Il+RbORRE9F8aHl0gS2eTCPuTCBZzSRqHRPzYIxX7OpXwOUb4Mr1oGG+k8/ShRauqMQdfu/sNcAmAoRxRzAkpNQnJBmlzXOQKl9vH3aKqS0tpIiwBTqiaP7plfno50iZWHmbUtJX3d/Lcm8TkmzcQM88KhAXTwQknAgsCM1Oqi2YDl1q7b5a3/aFD57pFReM7pajywMw3AJ+Y0L7IKQa6/sNNojh0Y6CLNPe529vljGP1Ds25X0NvZwSihBSwBYzphM67zJ07hsRyHnDe+4Rw+IbrdtAObm4eYzldAj1nkJ8m3Dae0iqzUIR8oknhStQRVkEBl69Z7fjSdaA7QBLKDFE3ZPRpY+oaPnCVttNb3/1lL6nVmebAaBzwwphat1uTViOHg33KUVuzmwIOXOjSYQNA4FIY067zNT5m/gJESOGn10hMNxohbKu73GT27ZrMlXoqvqCGyoV0U/DKWXkF33TbLlJ6aLBLYgqOqXAfN5aMbEtxDbMKFL9YR8r5XwF1VtDm7Q9XwZjwfZN5aU8PWjFEGpw/+djEaCDTbg15e2dRYR2feEEipB6rEiKPS8aDC1XTgnrmkm9OPhVlAD4PuSGdgsaw4WGL9dTINwTCnZniBEtPTaiYYX4TCUwlrqwWQOqrrScCE8r+RqJZAvj8PtvVMv7X8NcImlb3UCdoW4td4iTZe9yQS5oKcx63tnFCClkYdr93IoxUWDupVUhxjZNrbJVPm1NkwYatiJrIxIhKkSECae3MGSsxl6RATMI99Itmoj1exZ9sU281sdgLdSvcwQnKfOUivwvYzU6buFjMrWdZ2oDAVkHpCZSFCjmZu2Qn9gK8Qixmsqi2XKngwnzZXJ/iFCYgxw0Jestqjeow7fBgJqhX7Q2XSkRmYJjbyBJHztUOQEHiY5y8p+alqmyJnCnWEteqAjmThgIw4+oGgo1TEpqPsuZXDJ/MQCJp8JPilKvkoecvo1o0enpmpxLpK+nUCuoSlVWp6o3yZdWS5pqVm+nmsWSoDbytWTVHrd+Zw1DXw4e9g34GO8hF+50olhbkzbyV/29zziDJHjf4WwoDONLL442Uyj4GYAMHuUgaCJ3aflyRvbpFHkof8q/fC/2lL237oq4JuQUtDz7AYFC/nlrHlcMXCPP6YOZxOzZsdJP9iJLT/MhoKy4wfSoL7lxsG1xCCLfh+X9YgROHQx9ale1T3xP45XzuLzMY6QkH5W2Mor9ZIbKAgoFaCrLxXl4UajaS9IS12L3g7MjzIgOYNNZ4vEFyVEZuIAcjbl+j94/ZusUTwUnyFWKurX46+jHQ5Sj9i05cEqovtWroF3XZ+5TAHiQwUjgz3l95UlRL2sl31OuxeizCHjpEdKV4Ca3HMYJXhEf6BWBpFwC6Wi/tAT42ARbGHoJ1OoI8fwVxxfDYRcro90PoYhWMuWKONJxlDbFuyDKYfqzHP+hxJRjNdD2G0+uAyAxblFUc1DMn4Mzl/khC299ecexidP500KvduqcwhwrsUEvKiOAU2VeIJXlQGR9m7yHeivviW+DZ+kuvpNtL/Cwa5Z21KKCBSlyJ3veCibWob1YOr3zVmCdE+2LHW2fVYdMbew1/WmHbHY/s3QE3i0kjGgXKbgW6jWVkJGyDjaYPNXalkdq7wrYJQSlhPZWqI6Z77f6kPYfV8V8uS1T7A8p6W+fbgl/lia8MLAwqjOhjkHNs/FmjpKO5uwxEbMTeCaf5uztKj5DiJPtBkCoReJh4aBGnl3BCG2bobqiPJK0WdeBElO9w9055YuW7U9h8cOrTe3rfC6f3/6oQgAmnjAYWMmIWFZph0STak5EWrwWwYyW5PPHJuD4p1v4aeVxR87xM2hrZ+XJVKXQmpm8fp7Q9ppPZY7ilxB0zJQegKFr+ff3AWTnIrIN2lzLH0qEC46hlnTb8VKEtEQRJIyNbdA00A8hOkwmKQzSbAg6royCetPwNiNYHFe8UBQuHLeozm19cxECAxhHzWSj0qfqZoJtkRX7mrdFlfaWnguvQTNtLDE/O5/ChGWk8NnaMFUbZqs7bXMRSQu0ZuHTbYiBUdwmHGZlMfjdsJ26zoiE4sRRkW0KQuDDN9kuQrQz/zi5G1J7Pb8wG3IHUp7e6S0zektJ0rqYitVX+jntScsxkO1o+EJ3BA4xDjqb+bZjV8SZ6Wbn1VGydPoIgNrav2s78yD69qXXasrWfc9rCiTxw2fbBiAlL7YewbH56r7cmX5vSWohmx4qcHbn9E5OZe487QD+sXMJZxT7VkVYI2Qc0qKANAMEM2n/9qIrbTWT0/l2939MPueDXZrivcJwW7RGBC8EP7TIkquIAH9QMJfV1yUU/p6RFqnmCA9fDB/6ZWPZxJQ23GJlCxjtZCQL7DefJHrqjKc6rbYJfNwtlD89jsyXqdgXkMF0SDODtxK9bMA1BRCowWAwgKuXqx5EOJTGLOgcCZy0Ycq7SAFM+Lohff47Nz1GBgy3lNgbtp1zebvv7wnoCVAHBuQaT+XSVoFltgDbylbjLTCWhkhoy0mFkbzfiLPHvtl4A8MK2x9mSTzGZWYe7VNVDtWj9m/bWncs2Pv4TLffvMG/6Dsd+j22MAADnMYLklQVdaGB1q+oySgXLkoJiCmnDoSIJOx1V05aA6cExgv3FnTa3KKm4a3zUG1tFf1nMgtpaRvJkYAL3Pxzfft3OzIuV0vSbUt6PjJuRnjMeIUr2ZTLD8UtO5UDdZs1z05kGkD4TLk9IrBk+Y562pzwMbk2WwSKEq9fFLEUcsq2aXY+/q17iPLHC6DGtl29WCyDGasyXDKF+k4UxMFiL12kEocDrGdVhWtZ78Qz24u9aGWjynIx/1VUjWEP3OFu2F27mm3ltZdn7vpDGfLPki5J1TZNy4gj4HfDVvbMbcqusbifgkkj5ic4YNXJtsrb9KAy/GFhQNpOGn1bBXmn4/G87p8cITROstSG+N37Jk6erenN+H231h6CO3KdwZVKUY9UH8znZHC1Gv/5LMG0IyJILiaXH4TD1bIwVHNq9afuIwcAZeSqjHNqCMtYmqMW9+ZKxjCZdHgv9C6K7wGR8AcbJkzjKVba2L0jCMrWkADFZHLk/UofwHQEIIugUYbP0zUwWMLmmKgbeBhIsweSTCPw+rxJeMeSU5E6Q8fixAnqzP/mEclG529o8e6MM/Eogha1WxXQMWtQbLQbwUzHO1uvrBLkjQdvOcK+4jeg+M1OXvwobmGi74T6AZqHHZC2eHqOZ7qbQTIFhIQXJ6Mv+QWak6i/lLaSJqL1JxJ+8F73GYGNjcLwy+dTEr450FPflyfihUvRRsBdaZhzeT7SKjEbHibi63rHwFnSx/tG5TBL1Bg8SKzzbXsdYllNEGpxj1ac8F+cx1jWdwzocTTHgAQtvcJj8Vc5hQu17q+m7jiuE6ewaAIIjGlAoHXFxoXaGgrYUaOkkeyZwPGt0FsvDMQ5zBvED0NibvmSVkj3zOJnAzOHZSEpCQR2fV/fxcyQGWAoGcEphRO8RgAlwkpIVILktrSAtL5WZpNMSvt2iYVtaHf3smt0e7zm1f3MxuhDnkXLktyaXGu+sKU98s0BxcFVSFpCM1NKKgQ9BY8vLmcU5SgRevONDjK0c1tAsImxHkCzdb6RMPqsRkhnt7PcCUCDrIfY4vsAWiHUaQ6FoGfwetI+lvHU2uunO5XzJfxbjTmmG9bD/KE4dph5kgF/BUeUiSfhk7Gpqlfp6UutUnU7kaaAgFK99LrNpm2oe8zLQe9bFldFOvVVEW0VxciMTA6RVCFcHe6erf9Y0WC5pO4StWGrS0qjmFR/S/D7niQu8X9KzW4rCk/IyuhkjA2AHZ4Gb0EYdVyBUb5zZyO484pEtCFSGPOUblXcGG/fDkVVpJ05fMtKOldZkMHRm8juiLV6svf/tLAZmB0+zfxzwTHoAEP2FrqFor3Z8/v1ieqHOzzgK+7l/ZMNVhnF6WSQ5SIcsdDvgYBB9Tl+DgcTC9G7lJNxw78bbTHSv89FXv30XcEZwTS/K7IRSW9t7iqeLeuqqPcIl+wEXtPbi3FudWfwH4UAlQqOwWJ0Tjcib9+b3wz0RkU0wj1xQ1JC2I7gOkQy5aWpnvpAJk8iLV7942fczQlDgz90BBlezjRUNLxpGVns8tLAGGDyrDLLOX6GHhIANrdftR0aFpyEYyEaN00e/XK/FPBgbxOPChiv5TRuTBMo1N174reAgulahIV4L+gqlVVvXsEJ6IXyiBr4FrtsdifnL30TxR2GvXaOVMjuyX6alj8B4fILorD8dP408u/36zT0A6ssi7sMbv9zgvfIGWr236YXgtoL3LBos8pS2zk0uLbsc5OXPx3EUyGUVU6mdPsno4u66w5nnzcZDpDEMLDIwjmPKbMwX4W/yuM7wDWBlhpI4rzC3YTdsxtgwhirfJJGrWwPHTHJVvA/6HP4d1Mjc8WRM5H7MYA40OfST2HKrPNv4xZunRF3AuB6kKv53IDBadVL98TZtj0nkjwU58cvojIYJopvvNkrmEs/BN1gr2ZpQouvkyv6M1MNiekU1KN+QXoy9b3Z9fPkrOKiZrU842kOgrl0ltV6c8aqNp3AKbdsAb7CxFdBhUGSr/xYQQ2tjie4AS6FNpK2ATT7hHr9M6tkEiMfJqLYEQYcZszhRRpC9uzsiHaAYbgJAOJV35biSyrQpbW6RD+P1iEIZyFtMHoEh4EqU5Qc52VgBSQs+ozBa6BqhXhGNUJuklDY5/BjSPFM7isyj8tMH269o8oAgXOU3BT1LTK3zKQ6s0Zx9TnY0BB7TQpwOQNLuXCuRR+VWEwsv+oNwC5q9ebP4RH023a4nMvWR4LKYx4bcXy71VNX+vVQcpyMfdWqL2O4dknk7ETeLr5deTRdboC55YDkBpbHG8TsKULwwMnKGqSkW9/ThKYgNoxdsl+LM/NJrRp+pDdaZKGCOqHAOwKXiRjuRswCR/QlyrwwTYmxQT/02SZHsGjAlnE3mO3gVJAg++pd8dbOPenKq3PH5/uBe244r89qXef5eCy693Jo9xBGSMxdfDCVGyzM2k36vRXQa2uRJGjpwEZmP3UMX8vs8x0+R0Zq0wSw0q/42xi5fZfpTUhq7qnTus7JWs8AQKeUVgAsrqm41eOKxG4fzNN8Zu3qjY0cUwLmWXRVVVu9wyr2/x2OhbXfS27RQ5EM6nbkgwI4rQYtdZAuK2BatR6u0hoMXZy2LDCCb4x7OH3SHVw+F9gqLED5Ow5AAlre1koPHnxWhXmR2SroFBGbP7YUVmlkPLqBn7UaYD/Id6kAc9dmMwoIqmAY7kJnYLLLx19/1aRZNkkQnS024lzpmsuppDUMMOw6gVe0lc1fNGetrEpDReqr8iTEqohDsGxUBX8FHnBhX3lBt199xdiSXwMg2lWEHyt4DRn+sDM3YzRv5Ps3rbspL9ssglw+1wXVEi7im39rPHwzcvLPYiRgNKjfs86Pe43fFNGvDhWT493gRSPh18HTFa19hnBE9HMOd1b+gcQxjsA4akEX/gtU/rJ5KfVOCVb6XX3BMVM8OxXpuvVVGUqmHNbVAzsAoNVHUczMacywOhWONNII48V/ASY6mWUv3//2/7kgnuRvmeEgyaYMQ0AC/ckSSoj2QmclJ8BSMNRD1EUAFgZmyhBHufEb4mXvX2VBXgJqpntSHHlt5KjdPhF9zqZzqgBViMDHV8VXBRo23cfdmUOVhfZ2t+vMrhcOcD+2DPwEAG+gA8nJeocidtUL17h7Qzz19oGHr/VtrCJyf1fyLkGHBbqTQW47K/Ir+e2SyCIZcE9ZkeMmZjha8KeNbS2OCCPQiL6G1SiNwPs7sOO4ZVSa+n7TptBPE/szNczHepjk2KP0S9KN0B6eQ3do7K74fMsDB6kjC+MZi17y5PtWvkKRrqOnUEC38HqWuJcsxwT3GBK9++Pk9kSe3QxxsfB/1fkPFY2/JipxntFv8/xQs7f4DrXMp/rkVK35S/MQNIuI40yUfFqJ5a6ApgDAsWXn1N91RY43qgQIW2Hl3/65QT/p/PhZM8GgYER8vejkPEQlS9Pd1qt0w3hoDWIyapiS8EP1zw+MYuWrhZR3U+SCe+aZEVCUHyChL1/Tplj/qkL78zc8tMyeYYBDiXQ6h3ZhWKkMO8n7n/+sURdhatWw8WMvtcEco62j0eVi16iIfcE6ACr4yTA2X2El837n9OdlIpR1VAu5OUn+k9sNhoBxa9jgXOeWjZEuwbQI1AhWPNzDYo7mLrS1jl8FDgYpaSCZj/t+sxkBkvBALwFdutJ2xTsk+0WeUg0cpCLMpBqjmyRLv3DYv0vKDyWm1vnNrWyKQFiUxAvHqtBJUwXOD5JR6Hg2FSGbgZYi6lz7mW5ntciYRd7kc2+L/dQuS7mV5wyUVrc4PMO8b+qWa9JwL74++LF2otHKZwaSEPnEhE1X+If0n06kn7LOKGZQYHpXaEgYVxXv6CX5JZERH/NdjuvRYaOge0sCs7xFDVKPUMGkVoxG/6WTGRoEM3O0l1UtsFmcU26FtbJ5Wc08r5uXNysUndLUcbOn2SZffMSShIZD2fT+TV33pVZ7hSBnwxXEarQJpbLZ42T0bQ0zoCudToooQCk0R838Jdsl41XD/AMgPdBXoCtvaqHkvqd7ZBi88DHnMbu3zx5RR8QNkStemhU5Xxo3XfveO3zSePatOWhLyCQ2RzYIrEH5OPiiy1fsOJns7/8EWserzHL1ibeqhewdgwrXLB5rRvUN83fKoq3TExIbQZpP9ia4gGRZRbQegAzQt7rXjABbvyTXnZS1ijFXBXbbvgYnWzX1ZW1DgNqEhFRZ1ccSW0OoPdS3OBn2QMEBct/wsqKf3GUSrmkFov2FzRM1uLHOQErlS4mu91upKTCV/YBUL4zjCbEfEErJf7AwjWkF0GZXC0utD0EnG9e/ncWoHdh/yCaCQs5kOJrF/ivTtWsHUdrl/JYtKJmYc91f6s3wGoBq9B2ejQ+D6Hmmly2La3m9gTrXtjIQHegDFvtCue6z/y61L0aqQDQ0oQNYBr1IzI4XuWSz3BeLp+YoBjxaR/J6ZCejbO+JsyKZCFiDCZj3K3vvRt20NQFgF+9qx+NJjEW8LgoNg8zWPzd65C9qqApLJYfKM1afzKujLIz9P2n3Y3n6gCEPZl6DZsq95dbFnh5BPf3pkMMr8Jr5MjBFlXqpHcOEMdTXdXH2MF3T4hvBNOuI98h6T+P6LrrLk5yiw7irdy1LaBkR9zpILYFzt13KlHJuhOR0RE8o7+nm5hVkK5Fk+ZUXOZkM5bOwkwrx5bqgFSivWNrCnr+iTBm7jpelYal1Y2GdyjDng9JVgWujhSZc2twgNcA7F/jeVHL+m2QGWCUi4Kw2Y9AnjmCbrF0KO+sG49ieacUZO1Vr277lviT+1kFEvwj5PhyZf5Opwv29b1hgy+E182Bns3OnF2icpikR4N3WgIYuSoFI183vLHNRJ9BLqtI3TiIwVXZINxqQD1pF2pm5vNgGJ4zA9n7TvTC7MOwb5wuV/YHYr01OAnPov1SCrwwqvmjRxxW6jr0KTFxrD8zRkE6hJkmhYa2N+0jdJ9gL1++fbY29QojgFmP8UgEyibExqD/u1nFqeiKMCgPVjb9fOYEiDY7YVPvPCZpoeHiotxyWMNJ33JayolVT2PD8NHvs01ZtZEiRvjJv4zfKFt/lZa7KYIAob2I985OuYdpqVE2UWQWosFaz3GgUwM4dAgjRD20Xsmc9YPZlledLgOQA+aUDrxOgbGzlP2fWI2V/H1qFwTmrlS2+CegfAFbLoDmFfLxM6joBkWxLRLVMatrRCGbi5t5KfHyOxKSIUh4G3/aTDhlcZ9AapnR0ELai8aEeS97/+Y2uy27nma3LXmPS4enU8vgQbE8q+oT1F9/4SVWsBYQbnWdZRuNVw6B3z46c/Aw0Lm414H7bV0wnblluocnkcrm/zdd7n1v3txFfVkpdv6whk0BEZ1jJgulDBZSVeguWpZG8mfty89T5iwUlKduwSOp1wKu70/b5VqUOWrQGC5VCtwrs517kRDwFejXU5ylXm+v+Va9cVXN1Ht+0jzB/+uEkxcLrBnx2UYobRZ/ujHvrOSbO5vUy84rqGvgMM/OOoxSqiJw5BDEoyY5NB87HZ8JDwAtjUSdtcCXyTAP+mCL3UvbN4tx3lIDTynszaAK3Qq1SoU6B6s4Hg8kTES7jpRycg8wGb9BzU396oqt5ry9vot1UL+A0ZdsfrZxX0HqKuILBRbjnZ3FFcc5LFfn1U7WstP5D1KAkk2E6++RICPCFG+o1dxLpMEzY54l2AL347367GGx5ejSP1Tsi/bn0mhHAIRC7yp+TRO2PVLktIC5wxQTPf1ISmZiSSt+fVH7JzQ3ytt0/P0PM5PBdvNPs3xKfHJDlZYZiGsUKHzi79+N2xh7a3RYLM4KxjUC4EjI+Lyqjx8yWb/EXC0S6dyqxzXnSnuk6OhFU5KKh+ORIwx+jJjkUAdnFIFFI7R172ZaVxhC3XMeGFxlHHLGQ8GjLTVLHz/SQwwt2AD/JtocW1grkyjrCINapjtoFfVtHG04/oiKEY6ql+SfZArJRTvlVaOaewG69K3Jq9QU2GX1yifBwk5AowxpHvnBqF6FWONqdI8AnQEpLoK5fav41b2UzSwz+9hHKJ41Uf10ht+RZ7uaWnZFmOE29ID8Qkhv9RrmtNhcNor8LtKn+kWdhfwTYapdFEI5zVhY19akNAGu22W2093jxoGBCIfUBRkrMrRrg0B1cdRCxWX4Hu89j91T/UgQGOShRXizWEZnvSK1ctLBSWhm/wWbB2rhQm2ms1oIPFQ83513KdMewep9vXWg2kqLD9Ccl/vdmTClqDyIIi/LlTMP1ILV5IzJ/jIfWwrBZU2Kj33bJRNa61FM71Z6c21PwIR5Z3+TbJOXeDwN7VD50+m1r7c+M1dCZXUt4MLQj7ddDGMbYsvS9zeHq5pg8ESCgcIzG6Xgkthi0znt70JfXD2cxvW0LSaau5a8l0f+5LYkOKRs2V/BKvnoSVEhh1wMGjSHeI8hMIgiCZZ9O2FHqK63kct4dxFFkB5P8HKuW5X6I7yHvyUZ4jHyn/O1PMg4EOqNleg9xlVaeJIsu5mpx+7VyD5nRg/TLcjEQQVUUH2Q4pdoz4DUm5q8zhYmVBFKYDe3/v5WXkH26Zt3E4yPEdtQ89aNW3bC2tJQuL3M4uBmyWnjwcOUYRPD/R/dKXPpv7nR7uxuHDKYh/XnVWj9MnVYiAGOo+Nhd4kSNauSxKEBB1qGFmvYr3PKN3CH2fA8Ej0unKYHDKQ6UVW8rc7F/ieR0j21BwQ4iSj82mTeF9EPk4cmmrErqSwxEK3tvTHsntPtM2wO/Qp+FldqhbXhaDY7WGfvhCqm+azSljhM2VA6MzcaLR5MbHLJe6ciVO96JYxmOBHvtgpY95ailicS+1WEGUwlEmRK3m9EDyQJ8WNn2xt4OPd+y/HejFYd+Q1t8yhIKgAA8GUQVMnMSkz2xN1rHzXRDwZ7o+bercPCeIxs0LLMWUGbtwROekCIjzv3ZIN9rPEFI/vP0u7xTJY9cJ4NkhRbuVTQ/YiHBiLyF1Eb67oAsWkOyYTPPpiH6Hu74g9hmqFv7LorSxwE96R1az9IhCgl3kREy14ht95wzx1oLp4brLdho9TZvvXBRFNW3+rl+cNYDCgr1/UN+GDtI6iTx0IwICB0euXH6fKN02SG92wbHg332B5t6G7InKkxNfZry6Rqueu5AZhWbgpXs5w/wyySukpb4lSx6lXGt0h00gLgOLrosBPDIAy/cH0nJH4CopHiQXqMXbZD8nrF8aUjfWMKh1y+tXNyF+T2vYMGSmOxnY1GsftzWnp5P22BgmjhckXnQNAXuwompiTw47wukjgxUdPZ944Uf2MdF0etuhw4W1DHITQuFIhZYizoShNlp0/jxXeaO7aN9wkrzCObDiO/WGn+J0muUMqOzJ9///a9X9Y5OYxLLVtaX/OWQqfLJa3f1ebS0sqNjbkbQS/xictIb8j8Qrz6npHezG+qP6C7Z8lo0ASOqmWFHJAGNOK0fkeneZxuCPV0Q/Ltri1Ipo/vzCvrnUDH1yqvCmhrTA66GXiGAVwltV0EyuUQq1gK1czx47FfNjbo+nWZX6umoQtSWPtCHrNl6+BZrEgi8ZUZJwdFpTvdMh/rzTzlTyvnCxeZIXBmadkten3apCbaY4yKLMYtn1ICOsz/GhX7P8D5vfH2l0zJ8i3wchY0HsnJRPED8PydIL8O10r0LTaTHpmGDt4NoR+EmKp7SPwzGG6yJTo3v1189azIpDqIPQpKKEH/kxpfippjVuSw+UAextSvbuSDEiNFAii4Pp78lch8GnmDWGAgJYI917wpNBJU+gR4b1rUfJps3R/R1EkD27RKlDHGKPEXDp4sHDOmfI6IuhSeULTQxOmnVbk2xQlSIowZjfFXxaBkX2abh4Ne3155ol/IubxIhXrkyu98kbV4dNu7xBKRyB4nNF+qNn3ANzmADg7baPc27AflARryfW9HusOr8FZz+XwgbKsek4Nv4klo/iI3J8JV27ZMdBCLDZeZM7fjJbUGgNUJRE5uLaV1gqWWj0AQGOzwjT1eWkKMI07rSXS3KP7IGMLxxvPP3JO7c0TeQfq0XLuFieapgSI0A3iUgZ+/kUvS80H3JGT8KEXqh3Bre6UTjmRE5dsRTGAStNcBO/hLPBh9hNAOO51YFfONx1JTEyoSF8m9ArI3Fkih05CvLbxtJ7KEwnrL7QtWjEGlUrkvFBUyBhMGzIiqO0ZCba8IGQNbUVM7Hq2sNRC5MGeCY6gN056EvcBc73L/dYsLLI4+SvblrMfxeS2denTZmkWFVY2QdMKkP6WCmR3cRyU42SLyLeKbOTdNbjtW6gl2QqOMRAgJ5jaz8MjrKXIV7+1P4dRauHttxLKmGN8jRfXWUZWRf1Zah9jAYbShdd6/PuPr2Ea/bTAi9V3/idPPAi/vmC/kBiRe6s0A7EWls6jZqgpNr5T377RMpSPLwNA4j0mwg3sEVZl/1Bv9KcZPNO6KOtgUlXViONdHa8cT1HkNY5WcUczkLhwwn6IiDsCVNoSTGO6cylPefjoADvrg+AACw6DgYTIIjFs2Jpv1JMfA2jVekVeYGhtXhgiyhJt0wOseRr3S5WRqaK/NOPrJm37wMdb2sFBBunl6yvWlXgea3+w7SSa+16zZzu8xNptA72ZPB3D/bh3ZB8tHaIvVVJttTDpbGbLhhEsaKckK0I+aWhx5rIlkbLqt0dI4PlMPOMg6b6n3M+V4Jmy5UYN0/MR/ZVL5S8QwMsw2lQacQTlGvqo2L2GEnmjTWST8yOxMaev/T8mFcEILlbdcmOX0DFbhgYMYBfjmisLefXWyKlm7JPjkk6k9xpUKWEIk8ACWYBJkg9BvEx66M8Bl7rpd0i2Pe4drDyYPq5FTAawtt2ugUbdbEaNlohosVzMmhtsrtZGjbbbgeX/1bJpLqmRPfAymnF34jM7lyyzMfcT83oWpkBJtg6HV4T7K1LVF93GDprswEY2mzDyAbBGZq9SKn+cfSf+WciRBNtPJpQXWkhzY1kjgTzmExB3fllzJRkDxTrCMnH3r7EPx22QMFChAX2pZEQAt9DQ582KD8xhdKwEeq7Uzs8F+DwZIEXd2ughnhj3c4WpPJT9a/eyi91KNfbWNapDWWbwEpoX+Mnle+7DF3kZQrfkZt3NR7AVJpTYLSVeffgcxaI7gjUYcIwQe4BNrEUosE3zGbO5UEw/oF7sJ77mAAHTORycYqq9fNW7O86UUjpgvxS5R0BZnDpotmJFxAJCY/13NOmGbGYDdfoAsdMOEHumoIDvXp2xO159E088ysEpVp0+JdnQx8Q56DPx8sjE9zAlYdFxev9kxDPwIwy+CdZkaEst1+AK71IZ06U0H8AOjboiI84iVkpWUK5jbMirRnS+PKsptcjMzNIR5q1BLxbyFgka7ZqtC8XqKY5S5oN6Kw3ef8c1bL7s5kb4j32b+Z2wMRR53sO0TAIajCu2xY8W/GU+4OjQnJAzbUBY5KbA08g86dR3WuxBB+CYjPE9Ml3I351aIgOhsV1HQgu5Gdc+kAQgIRVQIX8GofKtcoFhImuQ7bZJWx4OJqOnlOa2+x+pwyi17qtg0yBLsLJNFmZVzOXtgUgqW3V0HHgS95ZfF0GgUHoM8qMIpkVerJQ0aKcew0GvSPHUWs9vFoMCC1u964ZTcEKJyBbaynDcIKJFI+NaU74xNXvDOz07iy23NvtOBFVpYW3aQyxADu1M5Uyxx6+CUxNDj2qzrm/mg0JKIrA+yef3GYGdaInYXGG8PUdkCGz2PJa8KKFoW1822MH7TIIDwXLiIqyjtHUCj0IB3Hw2gqLeqSNaUHJGy3kKx0DdHIQUokX52gOlcWSQonP3c3CpsXIvHXdlgYBdAQ96LdLgumwnuurx8Q2gSdbyF2pN8GL8Fz8NnhA+jT+GMKJCIEd/nCIbpxJqD9cOw3kl+EqaAo6HguXilXKFdxfd2BBhxPiI4CZ+u4Zz+3QhCdkA8FU+60ipqNZtQrh2ENJ1XhBDKZNyK3RVYNa29GA5KL87OP2GozCYuJDkLF4YMKNcZTKhtml9v9uqQq37iEkBXmyfZtGgmqtkg1rXu+uxu8Mn7bJ126wCDUQBIsYxg7BQZcz2RPdxS4oekmQ8RrL0maULzAD6HmNiMRtt94QpfjB3Ssg6GVZP08zv4p4VBpxhbXMlDBnAY51UX9oDLjQq6JSWsER4+XbOeO+ucfD0BP8iybbPThWNEkRVbLhgcycH8UmF80bCTV9acEtg5iQmd9v0bdWvEPmKX7XiTw7aYrolvhdtwrAN4tltUEHUJY+L1UAfX/hARXqX30kkGgvb7La+zSWYRcSNPtltG9KqMT7p2JMSWYedPKHeLHnNZXfPruVBiW7QhfTW25SniNTIWTIT/UCQiabfU3Vr1W3MMDP0wPE+caMVhI1x68ex6aPvHK8j6yWdOKdR5SRbqAsCcGJdGt1G6BPjl/vbYFPIctLVwhuUjtyDvuefZgKDBWZT6gszyrMWRfaBqGByWT+OfFvnz1GmyevCZ+40HT33kQLwQp2vd04rkcfvP5ncUxn12ciqROouz+19xAmZ+25Y8OlfHgDQ0InPcNBDPRiAQMst57+cDrE2Fwonrn9iP6yXD1ESt8XYGEwVqicg82eM/+J4z9/GKAZZ/E+kNV5F+VWGyb+3CoHvrePScLU+h1XrqHsa1gko7XzSeujD0C42E+32ZtUVa2m51PXRymV+7km+Xru59pmSeYXIemoeJRinK4jLPqi0jWDqn5yWdS1gPtwEzaGXwhRGfBAXsSekls3wEaMYpwADMytfidUlSyMmwIFnQMcLHstmvqHcjk2azOdhZb5csv66Sdb0DVHqeyUtEpIfuHOt9BCBWWLE2a2QQpu/KLsSg4pj/VrmORbj1D+xJDXaTpsSZgnt/T5zcsQBl81WGANN3WGSXwuX9RKO6Tup3tScimielrnEf1KLKETjRWCkOIJlG85srRgmS89SK3xszR4QS9dAw3S8Nge9KarXuyFEUOTLBmP2wpx52hMLJAq5EebJaLXcSO/04dwztmUIUtSGXnxwwSJsIfE3pmNrq1XbEW0xV8gm/Fx6RLDM82SuVbJcKTXDTJrexVxquNR7HJ4F1No7L8zMn46c1HK9nRt0sA5QP5enqYdbeYWn75MgBXtW10DTxKREUCqE9TQ0XJsYmDhBoEz1L1z7IYpbOi7Ydd0kGS+vJvav7XFBSjjv+vmcS0r1sh2ehkswz0XlW9AFI6wTWJ4EqVEayi1ZGyf7N8CM1Q0sR8Og8ztwo+sWIIZZwn3e9c7jr5neAohub7ngrQRk6gXFXuQxqwvhN8qloRqhfUcaCc9jN/iPdXMuDUZc+vDsmxcIA09Oq/lTVaFh/3ESV+wJDDTkFCwZ9bheSBNYzAVz8rN95019i1r/lddS3K784EMjZqUkJA8UqHEPi1YF4KLrEeXw9gl/jH8mDsYZWcEbf5idtxxHsAyCZDTu066vbZHsqi9rQo+bIN0Cv9rV2wgxHw7zap4KGTxHTJdGvQTPJScIeJclv1LT0ewcLrolEOPehkB5DUS2TSc79rJx8PSUO9iXJkya9OtkjdR0q5nuurA1ZiqB7oFjluILzHqEh2tMnB7Jb/LgP4l1qAyHx2aQmjM9lRQ+zqU42ixfAuuG0djERD3/drnXg2+GmowYqEX109hHimIMtbBj1ZYfspB1SR/OJOeObrm3aUb1uQt2rf6WxvR2qDzT04EJzjF1Vbe5TuWL9mgnUIrXYaFIAu3nh+E7WetAO2kHi2RHVtomz+ZKdff1aZlUXkzSWRRzkbCFR8fufNKfjn9NCPsHlvhyHNHJoDWRjTObidaoj3C10V7HwZhmIRGIp9vjDzw+HVBbMAQeiPpBB6dmXcpSbPc0VoZU7+UWqXgX8Msg8NMs4VzJ/5ofca3ddcbKZlJdRK2o0yOkfLLsQD1ABI/xGAMDkagNt34Go6sfv37wJa+/9Sa2rMkqWMBmP/DUD1vYtMjKc45+dyzoqzMJBNqYrcg4kTOhR+ZVK05LmyEdjvBk1viaIIdRHGo9abUREEF9OY7mOUnlfknIxB4oP3lAmUVE3XtwzwT9f/eIGvMNg4iace56s8AQDo8xksJH6lmURlgHwf6wVg58Y3uzR2HWqNmPrapAJwBN0A8GFmk9Fm/jD9xHpk06ltFLnUYzFCKAafhopRtXx4ENMtEPvZ+qpo4mxh28yYidDh9gu1RqkBlqV8rCxNDNTdLF4okUqbOkYrugbm0sbwiFfJBW7rkUJf745dEF/MdtIq9EUtea4/UJ5EHrHryVzT/dGtXu9hXd9syW0f46UZUZm2QErY5FCvKInGa644zqofson2i5W4K58BZ7AywZQSU5h0yZmiPmBZ3M+MkFn6dIqmHqeliS1iQ+it4n8UmVOmTgaIiyJnYueLbuENbL9MUeU+rdhQfjWk+q09sN+riMs0rdFtSAYWrncbfK0AX3/R8MgGLmGGPGmEoNN5Lp0CsWwkELNZSgrSAPJBGpNkq81UOHBjTjIOlFea1IHU+MoZVayu+MVHKdEhHtbC5PlNgOzsipGiLWinLdOH2/3rJBuFKSxvl0BlvPiXcdu8u4qu0p7cutxpc22saKq1z9dPUgMr2ZnNf7almCa+rgRqClBIL7139EFEsIZmJEgvFsnUyJUWeHAeFhvddROmTW8Dlb1bJhomfn3mUdh2LZpXmmGqg1XCtAXM2NXOuhMpnu2Pboiu7O55NTG5vdNJc3i19EihWCj0SCo64L2Sawy3jwN4v+oLQswIivqAwETtI/LhTkLDCRgiQOhJ5KI3LsOiAHSxC9Xwi15jXsc5w60i9Ug0D2WUls2/cp1a8OJz/ul/vSgjCbsNbRNW2S8z4WfJLrYahAsx79fcWebakV4KKRpOv4JmFRRQWKudp0V8CFL0fmppMg/d1nM/faTWYdTNsMWmL1GKvlQ0jXIneGK+/knsJBRKo96+9L7kMBwRgUve6WmhK47/uOo1kF85g1vnS66xwk5wzkCM2/73n0wtm1y+sCy4n14dpX8V7bs0hyyMj6aXsF5fPL6qN/SyL/PJoBwfeUNYtU2DHErEdt2UE/i1I9wRXG6Ee1w2Wa89rZQECeHx0E75u3jhOKfuXdSJ+22hfeW7AV4s+i5zlhjSQTH+wGUJhzDWZuH855KHd4PUPfbCPbJMIywl5wsG8JVGuVt8aDxPN6+zp4OKfI9Bh0L769zbISiql83Mizev+N3uCIXkFyVhwYEF9Vki9OhVDOmBWZoWqtJLza5Gz68ZKBdONX8PphNFTOmzN1DQewBlWbwezDXvIt23rbqlt8BRCtbT3MV/T8rmj5mPc/9+DHzzPWwkQg2BoWQkd5zMRaoVrzBentxosV8OSxGT33gOJV7JkPSO0wZy5T8Q7IdHa7Aao9mXH/Jom8KXI2Pnap7mo7jbaEFLRbJju9dCdFeVDU/9KVGLQ6HPVCshwiLwjyrvYZKLJgbuDQ9OkPYUqBmNH9Ugb9SCt+8QYCmBl996QQNWkfxPwCtjKPNpu6TvVy8bNExrtlMIPpN6+mvIO4mj8QnqTsoL8SIBLbSwGcddu1Xg5QpQBX7sqZvgulmjdfJ+LD2azZskSA2untkekKaxrqbPne5Az88Mnz/86JxumIgdM7lySy3CMzKLrgKF3zE5pGJvxH9SMPPvcLJAuDtdo/IP0q6Jiz63pH+cVl29Iapkdxx03oLWVuiniaus+U1zyxqaXQ5k93/ReGnanfzbT0QsApx1uZNCHPXjOWcpxco+TrNdTJ5eLtBSzLUMr2sjk/s8D3ajuFC8Lb5I7Wclu3gW3AV2Gt55RnlSLxgzhWhLn7tD3G5oZeC+lg+asaiKRxFBW6jc+D+pUkk+3aKmHhcoPOzz4G/oft5QoCDbmuSUQlgiEXLE2Y+Qt1Lj15sgTv3g9M4Q9TdPB4YBWFmbAadF4LBjurAXuVfVGF2/OG/lPwbKNCRXpdYf+SjdzMp72nyn7j7fNhlFXlEXTMWEpdEcb0ttyvBxF+IYViLL3HnN+yP+wYD8BuDSdLYAZOYhnSAHSfDdgwR/5b99KaW88kqqaMC5wW+R6Qb/S0njga1UBtfGg5/seMeGAcQjCr+pDPLRroMctxhQUga1nxiCmXh+GerYsIP2xag74AJSrh4u0WhEyBA3mGJ9gf9DtHcuf2Qx4VM3Jri2J4oUHKhRAmgrHwux3qVshDG3RPc31VByfDzET5yRtxvTJv0arCOUoHQlxRGnRpZdF3ExpbTQ995kk9mE1hMm5RzVBVL2TsRsIR4/GT4T5usemgNOx1aa+BJwtJHBgNLwSyQIYvBf4dp7FtzhCTra3M06TJ9rvG5q/Mrrj3GwCUtxqzDJiKDMaEczmPxmba3AnHWkAVFkyfBhayKyyKR+QyIZqHCz3t3bbcHAjR83a3+WFOQeFhc/JlngTQTSWjqkLkt7H2hfGcQKAeUgejKgAS5EIOYVkuQeUHfBggqcJzd+sUZkg2tp1+reXFWmGdw4rRpauegdWHAAIQbXC/aU52I9aB9qYbXBKp8w1gcbhu34oWj6lnAW+n259HhfmaDCOndmnIRPn2UUeQC+/8n+82ze+pIJPRSeKtEK8ekJC6IZdry/t8HP31RVi4QUTiglveGUdT75wqFvba2jZkU5coiBBHWVhGOyl36gcnsooG0Toj5MfFrdnEZzj1kj/GF8U5NvLowlDrkhFfkkGSIRA22RxQXS3TSxir8TsQsaTBFeFFebXak/UfBC7EJYPMp1ht4JV8HTA65zYu5LpsOL3yfr6TuqZhgxblN+G0OY9yJudBNZNPfkw0P4yMHAbkbj1xuIlfhKtm2zl2Wek56wPzKiVpKXc53tC+pVbl34x1+Xxtpm6TtZI159S+sllX+qFDbS1clZjbaT3ngpuZLj2Lrn5WZ5EOph15nEeAUILJp0WPZM+nspsVE0hdhVfvftFzbc4yauYGQP/rB9A+9fHNHfSFXHSHDOzSH3/4hFSmx3/YkZ4Z2DLFRe/ryFv1p5CgAlKv4/zZEDIUQNPDHXN0GKZxcK0IQm8IH+ahKUW+5n2/GgCXMWDfy8Kh9nHvoOz37Im3n6I1z7K0fVD+2h7ejdPyR5UMvUzn5+XyJNxVer5qsryzq3dowCWNgP5EtTk0eFmF0DsVidzEZ0Kt2PBooHsFQONa647oj6KZMMOu0/MF5nziKw5lgaNPV4k++UVln6aAdkpzmcFMMezVIXqHaizPemUmIx8SNnFMUDbKE+1JWtDeRIIBNlBTFrI/inBB6/OPzAcZrJig8zu3pZ10Px10QePHcpql0CVvs42AjZI8M2vsxJlxEk89vFRCRAkyxd19/qWDOhuykRcpq6hEjB6+PrLUW/41Dg26BmnUcPCV03hxIl+K04m2huuHrA9K49G8+W1EircLTNmFhKQlWp9/IrPyk5civH+Y9VSuk1B3bdfCNgd1MLRyw3tbEIWEA0FKw8UkfmJEWjnGDJU8/Le0EDOR3COYc/7F0oIlNbITquSXZ9ZPuOfRgdthhaMtUA8vn2TKvpIWcw5/XlvCVsCWqVDQNplmv5Ril699kteuZIe5rEJHKMpdSClbqUSNj01eyZB5AJcAkxcdi9jZU4bFTv+AySDMIYEEvtQqnXVuVlZpiqE8obySt6RlPsmmJ/Dk15xc2rJEeLXURboNpAEkBeyPGigpOhj6LLq/DTedQFy/C87wri+GnhWs8f2z6sZaUTZEFGCcvKbW1ydjBMmK4olP4YVPSqdsEQz+kR/5F7DrjJ5U1O7D+5435msUp2pDkWeT/dcl41vuZgc4MeUZD8JTU2uACo7PN3vmMb3XExeVOySTFunSHauG8wjHnRlgfMxzIXzJREwCeitrRCacyiBHHnYpKyRqygVK+TkCiC32kXOWF8GpSv+Flh1ttyM4ZuVveNtQgvoKXp32F4abGM2m5tYpYj9lYQ5OvRnkC7vZoRtxlrgKz5zk5pev81urd5RySCSrbO2lY1qfZM4esOuQ9u0mEpzEajGjeV7LqVwGAr0+Z2VngUVjiaazPsqFwDrWwo7/FdOfSaDEIYAiXkLnF49hS2iRO7kabVSdDl4h5AkLqQp4mtbL3kUfvGflR1rANdeaq1ydOtDjf6wjsNMdCVul9ECDHKXjVbrAJO1K9eNfEJ0tOKu5HLH6PK6IlRxPw1pxy/58ZYb25lpvPo9R3uzPkn93iu2vhZbMr3RGOC94rZnJDQ5aLyG/n5fRUbusDJD+RqyyhNnOUIdq7ulhry+Fw9+RxMW1sLKTy/6OZQVCf7+4w3UxIjfeFhbQhVmLhdaRqsuCWH1dOj72y51H9yy0snuJ6iiKO/2AX4GTZ8g+P110mbnJBd8J9Tgg+D0OK20uNtTIMqAhjh2vIzAAD2S/Uc+QKYYTKKxzskJF4ed681E0IC++WjAe+uQ901RYe4HHbZAZpubw3rJ9nRr1DTjyLQ7xgZ9v3cIEO8nejXEiSFzsNQUORYx06z0bjFnBXjsuFHJ3UH43o0LcwwuDZZFEhbXfqEQlsIRLFJ3Rs/kiUfj+Z6HiDm628o58j/BhoUnmaYM0bwVvXHJJT5Kx1StUa3HLXJNYP5YUAvb2h/QQn1U4HEu9nPwQUKwdBK5BiAIIwVsgs7ottrV4Vsz+5NwoQk1O+XbdNM4abENHrJx5dzRBuORr3Og4Q/p9ixa7ApuNaRdA9nceC3OeSTnRRvwdSurxoOtpzMRrgZBeLGajoBREiOYyrKywAytDmI0R2VKMi/qmNVMVSPr/lYLIMEybVij5sDy/7UwldPOY6TutPwCe/Ax7MKsMy34fBkAzB5je+1rdDC4AkCxgdSge6RulccVFdtU89EIHdMaL3jSzu+RpDwzLRxCjL0cQFp1P2W2BINip2M+dxSFAj9noXqhV9RZHVtZG9/IeiELcKZc09Lg/aOmkI7o2gD1/giLV8m5XS52HZr/h00/TczqxnHaT4ePvghFZQQhARcxsM9WeI0AHwpdYqz3cIaes9g2PRJDKW/NT6+LWlWWYERNb3rbJrqgGCeipy5UOGL5i7zv4uYniyaj5HeeVHwioym/ok22yMjMQFwueVaWFAkChKTUnBRBjT4eHbwra9hA7m4YNmaFLTB/753yjpZd+EPAHPeHySipvXdbTqbz7sb3KlqCsynH3Vulke9ZTGKQxRjM/0KqeEI9Nk8uiB/JJPeTywjwSW5cjAC2AAdAPekiOhno8yYq+aHxYtWj2WNhPuoEAPKabFWgPYy1W6TVF6YPeg6O8C8Xdvzk0Tnz8B+ZLhE5H+gnGnd3w/qX5+SvBGrvP5dO8CHzDNoYpHzCDTfPmOxZdJ/zSgPMnRS/9zDvG1N3giTrAYqkg4UYAerErsqt7WTJOsdM5mjvZlo1lakTjAiR1oWLRp++xTfDJKRy8wiqITG+2fs4fWOxJkpmQyXXnnhakc2HxinYlWf7Zb1WxEjG+PqwI8QlnRbGqoEHXm6wwJuhg7iIK2jpC1+NlwzLgBO30lj96ssjGqRVrUvLGM1UK3m2jfsprgzT49OTZVG/aGuO/i0otDtskEoev2Ijxa1qTEz32rJiJ+3ndZJi2LjGM//KUvBhsKPAgCttVWEM3hPLNe6E52SqLKHhTIATaza1aPmknn3Y1G0dx0DfY+kn/qUNBgoSzrJdDLc5EmNWG7bC06fTdSJU2+4896EGrvFL9KaXr0zpji9pGMmpxlxjWbUjz0iIdhPqotdhglpMFc9alREWfLPsqZXLNhcOb/iy/kijJQxOfAQJwd3rSqLVl0Erdh03xu9/QdIGqvZhLAR+s1d8kj6cZxG3egNVasqXcegEQU7+KzooaoTK8bgqdejugl47PUYHkEOq1F6CU75WRpSm6vYfvx9qJoiu24csJnQ4+gBy9XaXdNdPKPe0uNzVRPxSJgIFFNbcjHZJ9DSfIqmTo3ssGo8dwmWIlobwrvM6k0P7g3AB6EPwHepPIgOpjeHy/M7ud7lFzUVaI1EesrKOkLaKsWTAqIKSGrZe68f6OlFf4iC36/yIRbPg6lqVOqIuYqd5gx1Pw2iaRu3A7KHS7tLMSTQYWh4vpbiBwHbL6in3gdO/YsZbF1H16+VNQLoHEySTrSAdqgJiD0GVmiZThlOAUtSOCoJGIAGXZTA6LRx2q2fZQ6eULJnLvRTEmxp/EmX0qgS1g9qKPtzBORF2WK12B1piR1ZSw5/OSRUcMJ7Vwj/IYcWwn7ViFYrmf7WTvf0i7v+SvSmzJkqAuJjwO8V0zDBsdkfrw4+kXXob44e+kN2adOpi0nxM7tK6QHId8iKOwsECulP4Q0a9ZgjQUXcXUn4pf75z6kIVmsgJU+2obwfVtNv4dv9bRsQun+SfnavFNF8BDqkEOfhm79l7o1DbuzPv924T7cb6GC7Oa/lTKWI2U5CRoq3DDBZCg9HyyMWAD+paKtiyFZ6oJPb861DeaY9MyIfV+g2ksH12UreThvt42yrtZ8FaJRvyJuyibKIKQm5l5ePhcCzvuIM/q2woyVWTZKDR6TXkQR9dBj4wZLdCFuvYgeoInxGW345fK9O23vqffTMZjHRHmJj05o/PX0orpT/GHnVXaQWoeT9mGyl/FlPrMzUWWs97wbWgBInREjahxU2ANX7uZXxoDub9GMxaLhJlsqMNNDram5Zpr/7tX5WZUoEDcWMgAwxGMs0GNUACoztKOnpW+fW1izLUXaVUilnujjFt6NBdwZkwP2fdOITkR+hnmxH1eaF7kR4c6yarWZxgfqNBN0B3RiXm6EghO4UpbmXdP12Mpuae5IdoDr8A77ImK7oXb2x/CXZCPGUHk5ckMB25SeyOsIKSc6ax3m6wW+66nIY06T+npXpqcMLOSLbf8JZmnyv04gOi4J/dEEnGV81VFuZAp7+InBLu0QsQ6ze1rDnbEMRLCMC6tHCGkxyB5AcLe7jc6dXo0+A8I/hFsiMH/QewYcunmBQwlpgJqt9WPm2xOtJuUmh3POF386sla9otefmCOrAcIVT3ggDRuIcxLdRwLeBgvxQqfYKEpOgZjRxxzeMiqckB60nCJeqrjc1kF4QqA8njzykIS9rwxJq5ecxRyZNutTSxGTFgrU0MuiZBQwtKqOvXrzjaTdkESErSXdJ1QwG+6aBfgBGTpPNcFWjpWMLJEFyK6T7AWBJTnLGmRMhCK9zBrBM">
            <a:extLst>
              <a:ext uri="{FF2B5EF4-FFF2-40B4-BE49-F238E27FC236}">
                <a16:creationId xmlns:a16="http://schemas.microsoft.com/office/drawing/2014/main" id="{D8E46207-5176-4611-9895-12A8C9A5AC27}"/>
              </a:ext>
            </a:extLst>
          </p:cNvPr>
          <p:cNvSpPr>
            <a:spLocks noChangeAspect="1"/>
          </p:cNvSpPr>
          <p:nvPr>
            <p:custDataLst>
              <p:tags r:id="rId11"/>
            </p:custDataLst>
          </p:nvPr>
        </p:nvSpPr>
        <p:spPr bwMode="gray">
          <a:xfrm>
            <a:off x="330200" y="2041358"/>
            <a:ext cx="2477492" cy="4419710"/>
          </a:xfrm>
          <a:prstGeom prst="rect">
            <a:avLst/>
          </a:prstGeom>
          <a:blipFill>
            <a:blip r:embed="rId17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8" name="btfpNotesBox632539">
            <a:extLst>
              <a:ext uri="{FF2B5EF4-FFF2-40B4-BE49-F238E27FC236}">
                <a16:creationId xmlns:a16="http://schemas.microsoft.com/office/drawing/2014/main" id="{2357CAEF-7F10-4E06-A077-A12D8E77386E}"/>
              </a:ext>
            </a:extLst>
          </p:cNvPr>
          <p:cNvSpPr txBox="1"/>
          <p:nvPr>
            <p:custDataLst>
              <p:tags r:id="rId12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</a:t>
            </a:r>
            <a:r>
              <a:rPr kumimoji="0" lang="pl-PL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</a:t>
            </a:r>
          </a:p>
        </p:txBody>
      </p:sp>
      <p:sp>
        <p:nvSpPr>
          <p:cNvPr id="129" name="btfpMGChart834952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nDqnRi2rF3dC7/3vzSMoeWc7pCKX0F+d942NXGsvNxutEpLBc34F4BrTQ6G4zsIKosRoVu5KBV8s3E2/qe92MZOYboHlILOFcCwXXd4tUBO+XvZWVvUsSf20rFz2ZwFhnL1v6+F2N/kwfngH0FerW2FTqrghRmJH/APqPnHHLVvaopGdW34KJBfVpXQ4nWghHyk+9PM6YDE6Ox3x9Q8dUs1wsarYsjIKqmEMcnBQ2Iro5rTk6F/qCWrGK464VufoxPE4+dX+4rMzoXixGvThjcSVBwQcrGbGwNg21gDG8XzAWh2Gs2a4+XEd0FTv/1mbW2HPYJRix4rlkNsmRBHoQZY5SPzS6T/pnUhAo9JM9Zy1WNHnj7m5MbLodviXR+zfgM6MtzeFOAZTUv/4DraTUx9AurL/IwNliPR/TEEgjSfccyneHQCowhUsuXpLXzLuKUhQGKq675F5MTgWyoc+970V69LxRO8bcDA1+4Sgro9EpBpj+6zjajW5ciEmhnzoyTpwaz5bWqxWpxnnakwvjt1GuFcVkpApKlM9/bFQRSwbOnmdWBGj94BiXnr+Grlu29WoO+NQxl+ioWsmzVA7pUQmYoLzCTOgmceXyTFpPhrxu7YEfrhJKR9Z2+5UJNpKKFfuT+u5fcSFZKlags5547L6dw1++at2B4/6EE2borQtX14PoOOXDcs/9t8W+WlYRQjGzTen2+WL8rYbjScbz2lFMH8tuiOPRtJtt5zaBhbFW7U8orC3obBLDviYRMDHu0yg0iEJki5Le8EevoEAAQDM8vhVjDBVX1NlA19sSEAE91Rdt8So8m5ZW76++QAQh1MeBaCXV/SP4Oh5x/795L4Yva/YPTWcUYemgs7v0GFZWwHTt/1zC3LxzT48SD86Zp3sXY45Hi/fnglL7NmqvdzqDMAf3N0ylPkzPAHrjVEPo9hyVriGeb+TtTAgG5VzU41LNNaakTSY7RTROrfIZKSeflqTdPuYvxjkb3XnNwp5s86qDAgFPRbXCZtrOg4caAkv/ZaetI7k7Xj9dtw0o/dtxAW7IOP/vaxdDSa24wAAZat4CO7/PrVPT1O1FyzYGV7/ldZtTEgUxgUpZJZJwXFZHLXJ4Wrs39p3sRF9dL1goe7zlPtIbVgAtJSIIHhkvBiMbcRnphr4CHdoVMAyVrRqHH84oJlYCL7Bqe+aJI0xfbVjavg+OLRsdc9lLGtCdLpfzdMPH6Ahpf4CE1i3ucN35YUyVAjfb8HSgeSjtms1a6m0f03ZOO9xDrgh7dIK8KRzAIWyaSoEyItAT0OztQZz3wqrgCK5bEurVmZ3iv7ilcRTRONrbp+XfKa9fuUP9Wd4Uv9rY3t+rgOBCUCTdKTTdomgLuGmCyaMtje4oAKnp2StXsIB+ag7iHB54TgDCqciyzAj88zY0ZzZpbqtbiojrOn9lDzVkZKPD5SIgHsNjeCMYZMCRlZvr8Xa7FycTby6bdAhoUiiWewaPhcp+Osq9r8YgFovHIqGra5wjmkA7OUPtuQM+HXXTWFe+0pqvd5L/iSUJaVwZc75c1L63FnaZgjCpwVYPlnJ9ukwYHrO53iMgq+InOVU9aTQ43pMDqBMnoIL+UbDBnXxBz8ibPcqx0GK+f82Aq1g6P8bxlPb1hcUfHzrBmY5m/D6mUBYoKpMhCPNuBrJDj5f0pCtZXd68IzmiDBPaj74cEu7hwpaVQMxsLeEegEJ3yYu78Uha27xPp5yh1NMYXsPy5yqOhmrnOXBwns6YoegJrVdBDwjn0crXWIoH8f6CWfrzILEfD3k5YpOvk8b5g4x8NFAfa3vK1cMZXQn3gCSqTFxzd2yst0xX0Lm4pBvIYMeSWvL8qKrkVynigRXz62zya2EC/rpHTryDc/gUHPOfkg3rFsC38ydbm1OmQn2nM7PYOjuvziUpE5i1TtzG5Pj36kG4qJ4w5ZkjH47h4LYniOW3m1CORYGR+CsHPVa/wT+N+snhUkl6XSSjijiJx6q29HrekY+GvA5GaMn1jvM29hM1exefhnqelojeiwgbEbYi2D46jVUQk7CkShgZLG+UZjCFXK15R6tMC7BLzujIgcLuyiHmYb3in+SBJ+8cY9v0wApJxhh5tggX9dk5fjv0takDKrVb70iw+ctY7Cw+4e/k1DsudTKykaLBMiJqtGGdIQLnSVCr7WgbgYGvu/2ro8wxX5Fz1pJADpjuSGDzyQOBI5TQoY4TP/zrHymAb2XUNtOdGw3vsniwi+3/HAwD5N9NUntivAzW+qWiedV/JFT3sZIqpZLxaAj93seaJg038QkO2F7x+Lnfly/c5AvYHvxutt+ER+b1NjQ1CvzUuM5jVMHh758Zrq2zwVCqBYN/ox3FrG6LRvXHmC5mhA+yfBp3EltM7t7uWiqtTPDFWdUj2Mo04jDsOAspMq3PG/eUyi1hklCQRpHRT7ni8SNeIndNuWOnO//a66h5CUU6BhDm58FoAFu2zUt5BLoh8L5FotuBvYoWqmgsSvP6v/2VgKOys1uM2P8vxsMUE272m938OrEqKDZqcw8XL+U/Hse+MPK1TV/L5YkiJOQUKZt057QveUWJVSLnnYGZb524TI7EOgLkOj1aIzJ0lPMhIfVmrZydorfsYeN0nLG57fJl0KYP2gdAM/DRpsNHyApieEezcJHPmZ1nNNsk91BuIZ/Rt1Jc4vvTFl6ZxhIQyW2bP12n0wrewCxjYBeVRoNXFYtX6H9ByLqs7H1BVFv66aSer1VkjlLj6yNy1CS5i+2ZJgxHqjzJwUOHe047vQXRcyyF2NEXgoSsZjnyBqiwc5ujaYdRQ6mZ5EbdEJ6zVjg1tuzcceAKIjPdLTQ+K0t5b+na5dmdojoM1c3R2l8V44QeQx4D9TkC4EbF36klWCufWkWsZAkEwqOxOtt5Fyy3Gv+LdUaW1TqafcpPA49mdB+iaOHt5R7cb/9KaSzRi2MIyndbpVD4E36/uvI636P3tI1PXFrXHBaxqtj/WxKgemYbLTLHNrPhw0Z0PXqK7U640CDjSNH4tKLox2yYNibevRSjIr6Lo54a+10WZlQ1SOsvvnsvaohYxusB10Z8rxf0aHR1q7uecZklC0g9Uzo6P/8Vn/Ov+RVp+QeFya/w3xBl5TCw5qyQ0kPceK6FfETMVsA9RYrkgWNPv3n9XJfIvlV4uyr27Zl7Nwr2qfx/1WFQfkBv/TVALe6/ybDdD4fnfxManIrTqZVt0zg4e0eHpKrEa2sQ2gAupC/pBynYjAo3A0/30Hkg9r1TavfJDfEYJ7JTAfqgmRCSDuHbdPrxzRuaheEwPSclTWrFbuw9+1zAiBLBfgIxE3oLyZ96qESYGCzjsIwkuySRq+ZPGjcN1acEXeumHs5xjmZjrakDsnoavMqp1XnGObDSZNW2RsZHfWHibdxwkKYrjslmhRWXancfXFB2Oc/np5iqpiEXz6ulv7d/ZoGlLMC9NVMVvNeM3exjta/QL/2xDMyLciNxiFvpb//nyWvILUS4NssGd0UTZfT7Pv/Rj3oQbsJ1snoheOKQF0dH3zAbXta+3KOdLMI513i2tMKwJpDVe2mQ6/h0Py4gj9EnliSvAz2FgB3ygcQSyAf9dUjLIWpyBALtRFgxx5yEuo1NKEcveoCsT4RufxAYyrjkkXiUnWzJbOSyA33+CzoqDlPiONHdLLoyoDhiHJTEbpZoHjF3a2ExZIJNLxQP47jLKKv8hZYs0KCnEfCz5fnF3hawUoAvz40NaCFltOTMuEdNWRhVWwB6c4AWdUAJzS77PaSsa7ZCFEy2IuX1jWkI6iv8FbGH74gV2MSLVtWIYq1RBLHHcl22wUdHRbbApXOfHfHYwIiCcEFRj1HeXFxGXivY9jprUkwpfK6+Qu9ZQyT8EBkVISrFRzkxeWMBHCwMeZvbpPvt8+wpGB3jiOvWDSiJRzSOWYRlaBsexUdhdSSLAYnK4VDDxJLGN+fp/txxWLaCRwQKB5nJPG1MqY+6JQ35qt6t5cRjnf7lNLJ2mFDKJANyxpKvD1FLBNRCQg9z6FEu+8PSyBmS5hKzzKqS0t8P1xzgNmHL8hjlchfWGYBQYJdpAHd5SmRvVhF8jBHD7ChLmHo8Mrgsv2CtLduCiZqJ/Mwk/G4BNZFHP+OyvgvMTnmzFUfZoCUwvNjVxuEfJ/u2vxOhwHmvZVQIYE26hWNvH1llV5+6HPaPDspxvCuluR1wZZHbi8QqyQuFy3Ax9LHiBbuEKQ/O6hgcnI8QqI5efgvziMRnRIfnof0DSgkvC3VjdRWvm5AINVqJ4a18YdU171q/zu7ENXJRzzoXbzxisrU+T16lvsPtYg2YnxPHwG94jbg8CfGxpaD3ibWUf7uIEKkFsdp12Z64UBEm9EZTLPE0EoVsn1MJ3LNLVP44EABsLwGIZ0g/KplywLJZSfzJ3wmaM/azB9r/VqhMQgOK6WTRpsn0qlw+VrBYFOZ9tkZlWw428Wy2RlLpQPYZtnQr1e+V62NOddg0XSv5C7Iy7hgVX7GDKBftiWf9n784cALWfLlU1VNQxSf7qqxk3pv9aH/yu2qycytC5bn348u1zLQHjLAuH1EWQ8amWfoit/qR8qDgcCqFvREMzqrXyBfhadhuxKqR/Xdw2GmCv7p97vlF06iuoVOq31me3UrnNJXquoZlfQJceNNqQGH2e6y9rX0SR2xuLKcHJoMPLJSySlRiMrSa+GTBLdaZegxYMsUGBuK46wZ6b84j/YDanvu0QFSH86gfa9yZdIb8ij7aKbb/7PJT5/aUqcFfCcezlNZqQpuE3bJOK6yxfX9lNQYSukhLV41s7Fe/EbGFcK6nWMujaCD00XhBOxjMa9KfTqtNDqNldHM7deoOZI/lq34eP410oY6pav6gfZ1RrOzV7vyrOvET9Aoj+mbk+xSkgAaecvR1rY0pl/18i8kXJAhv9AUtcNag5tQ8E4zlU46DbCWGojnRXSLjCtTYUunzYTtNsH/ulWhtRCW5U6Uuh9GswVt7CyuPChyPfuA5NnFVHBIM4NUzuXjsVje7Whz6Dx2/UEMngBC7/oD3WvjT/ugdtJC/3qU0Q6SdWIc7eiWMbTXU+FJtJ9lDlf6DDEbBqEbo/bAueMbVxzJPBCMdMFdXMrH+dNS5REsa7v3H2vQWTyJD9Tkx1NC8ZVUkZkvBwhauGIzxm48u6M2dwqSVLj9FshknsYx1tvM6vonizEW2Sl3R8CplH4CouGC86AThOANlBUUbeUkIgiRy4czJZ5yxupLdqsiiKLyicyHaHe2bPwiUOS2XjmyTTS2aF4KegtfJq5ziJNFw9nBFB0qjfDpgnzi1W1GoQ24Qr6GIClqU5ptcuMeubLhYHibIlEK/DhV1X9Y0s7c7HHgcu5doNeM+Keo6fW4PxVC8m3UL2FFlWYxSqrHoefgDaBxznBCvH25+ynGKztf3AD3EtomYNAr+1/ueetCaEmVFSdWlbRv2EgkcIHAjLH+uaBoDTUoafXnamC06MBy8Gw7SGkdjQfGZp79VsY5Lri0o1t7qSbw7P6Ts9OyX3Nk61TpjjI6a42QOI4oTTI5ojjdb9yKfm7Uso6IhiD8m3C7hqIX/18Pbl7KL41KCdDWSf/Xs+6XulTM6vp9UTO1/rMgSC4z25AzTwXRhibKc2xzWqimnWvCw59krDoc/oaoaP05RHdYcVj32OJ4vyojZgp3lBqM5+cFcYWToboy7wJWFvsUURyDn1F3XvCym8ndYFvojgP+UZfXdGuA3Oeui7uldWvjWG1qIueQMTlGUfHW04OA67TFQutdxlY2Clx4QnI5TSQOz4uwxPxB5ozIB/6SSgp1zGEesMaZ93VniDOQ9PG7wRUzICtuWqFzT10cDDsvDQLV8sSEejYwFGHoC4EuOW2SNEHXep/67ble4TbjQ97Y6yMBR1U6wSIpxOU32gmHI2DIFN7tKXoQGIoll2ui8ZJhoWZJYBkS3QIEGQaZOIRYvxV8aaotWWf3/n3z5/pO3NLOq89iopsbwraY2e4fLWVX2q42h6wMayOoTkjcZl7HE5t3w5lbyF38pnS4c2zRK5yfR7jqfDwfFqXX8qdBHpTic5NSf1Af07B/rYaaz08myMlSUnYOSTM3fwBYCaLRLY+v5ENFW06I6NLY0FSDDvhTzeqERlqjja80LLwj78fDwaS4bW7LnmZtgKeAjsBqZguplrmIKdOcRYhYCaH8RCO2NidaKINP8GgkX0FSpTbI3En7ZI4qTmRtu4zRq0JrK7yWLSGo/yCw/YAFQo6qoljkS5feT1txKOk6VUtOtbr8hLk8erZr5JHXllBfXVXrAtpTDZfAsYjF8dwgoM3H1I9dfMHPVZPAeUAw6eNKkflpV0RmNMN0JJ8/h6mnsnPmNYXIr22+RgMr3LgXLpgpPhtpm96arPoewF9q7xJetn47t99abdRx04qkmYLHsbw4d7v+u6SuNL8vtYg0WT4jgVwX6EFosjZC/yKIyElEmnjcN+rNwGwKyaI2wvyx+GXtGhdz65ltgCTACeQ1YuyvRPExuo6QqSWYvQI5xG/00Fc2KB87TVvz0EiZeFtsQgkaBpVkeT91+dk6v6RfSaajmDXdjIk8w3SjQwfNB+/qv9FlgZ/YQURogt4cfVGj5AcOx7Xcz1nYHIEtfQecNU8x2AdOBGsyPwzLmJEKy985Y4RiwHPl1hDZFoQ/Cg5U9cmRhyk4Kekv4vr+BWQ/D+JRKjgW5HnghRYVVZeaZmHyZXQAwQudvL/CAhtz8wk0PaUn7HpPrDB87Wv5Jz6mkpUxzcmqJv+/h0zRV/sMdotsXCkNUTXVrd07+OFVyzpZIhIxLkjCEyQqyuUHETdzHDGUVxrzwG37WxzOp4FXEwX6UekWPXHiQGZ+Reb50pxh+TTg1tFeON1heTf6KGIoGeXL0OF0Fyt/CIm79xocHMO18uYfD3AubHNtw9GkI2Y7z0pRXdGiNxsTYSAvCdAxXmvG5bhYlNwDJmTjSGTKUopOGzgtr3fcD1Ia9s2Ef+i6WLVdD7VjNTSZex6DiFafBxPdaTnQ4qMg1vQdYmZhnyPIxhvXZguCfejQVin5Lq1PxoJVlV3EFUzQdkxJMZCFa2cqnXg6shD4aSifgj2L6vWBr6ixRSF/pzImjo1Ze2jFF/rW8qJ7fIIXf+ydZxLu5eXuXcq5V7PMblKPjInvoJ8nbtuEzr8ftQYuaLFX2eKxud9tE1f5e9R3Z/cFsGaL6Z5iN1uS8t771vk/ohwLvwM7HP65xJ6cExTLqJhZzTkru4o5U0xXiB/DHvdWO4ogepbT1YbmrwUn/W6BmoyomnIHsp3RIA2aHB20W6h20F3XbYo47hepsJDTqvxz1ufWuBPoAac3G51+L9G5IPCCowu/ZZwaDYjzoDdKn2hnMP2QdF5YLkCG7+K81ttTxV5lZAKGHZ70LBEA4t5Y4wIyCpdk1Fy2nq91KNXHyOE6X7IAta78NYAhDnnodvisA90pZKX69lUnuJTOm55+Z/ZYXfM/G5ROqVsa7l5wzn3a9Iw23JX8e7rw7hV2Ce419z04DE2qS6nkMD/kZRn6RfgwQ2gYmOwNyAMKBI4CFreRXTmJwN58fLMCkZudG+jreWpBylGwrSrHoFPCvFkE9IstCs2Siz5OURmRvV9IzKPjHHGFP35OAxaisRzI/xeMOsJrJFxyOLjwT5MBZIS7qPHHhyikn+8Rkblc7rmOzXTA5WoGeS2rQN17lcQHKyBqEV3jKDPtOePgG4rfRSySUiStNP+1R3uXdk+PXZifPnUHF7SRa3vE8FYXC9gu/f6vbHxRSCFkMvVh8ooHvTkVQimJBwQYRYBw7R6NBK6Xyy6XijjckHyO6pUCV9wSkD55JAhxpVbuEbDxwlMASWAMc7ShHh0TtLoi1XoDPDYbXARDuPpZ9I5hS+Lj58aKnNE/S4CO6rk/FGc49jxOfAxrMzU0f7kT5/kKy+l9U7+j9lp8SElCMOkX2IBiY7vMObLlSpQGmkomgtRO5Grc6M3lw6fQJfOSCSMJmkFIBiGrwNb9bdzcMmoD4M7xyxByZUK9pMrrdo/UYaflD2i5CqEqjGHPwwqoeQJoTL9fgycQgHFy0Icqv8Si7G0VfzSsfMQWcYDrHU81wfEUFYr/P0sBt4A5n8yejFOkKVjHN4pq5OMuHJy9zPkvTzTQV5PyV5UCto43CfWSgXilWPbxPPjsjpqTjoCb24ygryXS9sAGMi91wpbJ2EPXgWRGybsqUZEJ/MRvdqNuRgklIE0xTeP57RQ7sV7cY1XuMcLQwqQV/6OtiX2/3riyJ68cR1oMUqREsvtqyXxTgEoV5RosTJZ51o4DxS7glkU2+GlmvDZ+o911unLihH5tyKJCfHTDz9xoync/iclxX+WIzpZxhBtrSAyXFZrRzMLz4LUXV2LsHsCsNnmsav+ZoSYfo2YuI8q6EOcXFxaeQvrRTt5J5PYyhm+Zcv+9wqiJDvPlOnPiMGvbfADie2kfRBEKJrSQu4mZ8S1gGHmv6dRcqXz7cwzZ5uceV5S5Rb3+RYUW24lflX/2jczlH0HYC9lAflTc1j87N/9A5qXIXJRjdMTimco3/XJwCktx0X7ADB4hfIXQ+x4eU1mAQhMW2/4MIUPCm426GC5/RTO0l/hkyIRzz5iZIL+rMbHRstB6gBmp2Zm0rA8M7JHIETygBuKXt+q1V/JbUlWw5JN8FxHXbN0/8F4XfTkkP6k0CJ+0FDSfQJi1DmKRN4+xn6iENnot1/ZAqzIW3gVZn+oCnT1zRPnRdZtJl4SIH98EL000d214Uh9kANXA+DGYUk/kC2MhZw9RtdEw6T7aSAQJFGIBrENBH3hkC02FpEtR4R4RbVjoQrr/T5Sxra6ndfyKGvDLutxRkcYrY1lBV8RqeBj0HVAs7y6ae4N8rRt3AdQqm/u7WHC1u0pESoOK0bxToEyVN3vkw472uPMPltxXmQbOX1dbdDqGL9navsDshdMJwsak3N2LQdJUe7VMlpTCdsAMOWbaHN2fW9Zsc5AmL/Pi475uBo8vCNkaTNXF7UNEiCRJSIgGR5YcUqJyrPX6c/VfuaCsAGAtgG9imLQL36W6mVWtjYO3WddlM0KwCsAXwHAdMhVqSe41kBLu6JHkWkh/3MgoxB4QMGl1w1o3/TFwvDoox6qaKdTYA/pwW14P4bqwpE0F2fh2o0SoJslQ8TWKn+4DfcF8vraFhPO3Ch35xgmeAWVyb3ehLXPEYPfo6ts2NJFv9cQt9dTLFH9A9wtazam09kkF2J57PTWQiJS5y+DXV4aZ+1khLjcXtsEGg0z7j595Rdat5TI0Ii6ajvZdvN9KYcd+nG0Okc2luE4D5IAOh6aJn2fS6Gn4a3vQl7j7z9s8dqGQOo8uUsV+1sUXAUTSmBqeJkA94A3gtEtqBj2Q0ncQXc5kqVKUOCZqxAKQUkVOp4Xk7ctLfgjqOBAnOweB10xQVuJ1ysqTv2ObGLhbRJbdrJ3e5JG7rtnFubzO861BnmndUkKX3U/Dv+pYkgfzK2gmidcyI5kSrQqq1fIJJeVVtfh6IZDVCU4bCHTi8dqaC4N9nPp0Dw2QFvq92xX18XN8jOxrOSu1R0jFyWTi+mNNWg8LOVSwjyq16MyTAEFm9Oe1mRKtnsmSR0UH+ZAZLeygFOUBIFkuD9GZBpoIPAOwr0cTWzRznodAEleFrvrIK8p8rto/h6470JWDXGnIGdlJDxSlNZRwFFdykiaYwwx2xl5SvSxFOGbLE69xrZ/yPZwbudYUqDLMo52VdfE5uiTuKrHRjKIAryK8mY+hoUmrC9/qUWoVvdqkBZFd+7q4cTJ6zfmLbTmhm5kHMXxLd29j+jduF0o/4dDoFlORqTrUXcWVKq4yacMM0rE6Nsr/Z6yVKTrD4F/k1a7I+RMRF1jpOLXsffw5GkmNLWewL9AFjEJu2Cy+jSVKBL+xcbCtWwpDYhIXrWeX8GcDvWhP9mWxaqSqMXATtGT0yVz1/Bwoa1r8N1bi8GRs7Kewf+5TaQ7mJkZf9VCURwRyEQ5GIX9f6w1V+llTNZgrF5/wUYbA6T2PJ/lNGiHjiieofU5orsA4FJt/54HRbsY03qPZxPthMyWp3tlu/7EHteMHyPuRsjBvAaJVLG8Vos+4IoKKrYO9dMz1tDyeAO4xVlld62jtD4dV4JbzKBGUU3ZAQaAVE2nLVpwrgUcr+k1HuobX+DpFYlsxCpyaimRheNpB2EBmqBPAgPncLCnWPG92SXbwJtD+XpE2jNA3EPxCXRiWQvHfF66myRLExMPQT50yAtjxRsZSM3ELXGT+PI6o39zmgxKORGoWci6Dy8AxrfS12EeNLErLJ1lskJ87EdSNEEgiHoXhDzS1khmOmLQaVz4XG4ApwJ55WJ5kq1jxuMaKyjsonzuOz1iqJcvAJYVtcDcxfmDA3+KQUqyxixz36UbwX8KpJpOrcby1x8mxRUVlDZN29Jk6jJ8t60g2jG3vj+y0qkTpCNr4yTwrmHpi0Rv1T8KbkHNDeix2dQCL4DgRNsvA1TgjmZLPV01xEwlPmoK6TCp6612D44cRkUSzZ6NPefL3dgHo7zbdDk5ZHdHFOwAjOTG1fyt/2dP5Ehqu8+DD/E6cV4JuhfeJlsFWxw1ytrzwGHyUWaq9IybB3mIfMZMXrLZowEFWw1El5SvumNSmjKgq2Zdw/I79TNgnHfSj72NrOAV7EvS4m38Lu6rgbyhiDsssShIBlOxm7Q0f2484P469HPfFLJruYX8U9ZEzbxywG0kecwzjYjW+aWrro8d/sowuOqQSeO/R3nOjQYaT4Yn/73iSceTI0hvk+l/uACiH1cvyQFni9OExhDHCOH2Ojo/IujE6vwd55c2xKdPe6Y059FwJ9Arr8zP2UvdOn4dz7/xgT6O1JxmqvZ5mJ/DfE6g5ruluMEOhojm9YPev1qyGsRQHGcLc/nTDQoFjn4vAL4Z/Iy/TmEC5/uQzqlKXqanTg019qni+3bfIguyxgEP7Te1Ah4idgdr74SezjdvAKRo0bzF7K1dBxc+M+VzA6W9Yj3FlJaVUGQ17uyH7NfT6k052JxZM4iQzo0vPzyNGjPadfddxVHIj7s+ka6hdP2matktvigL6KsgXvMZP1gLyigznz3UvChqcw8OoYHYqb4bhOZJc6TugoFahXzLF/VUqIX3Ju1wuzJGD1XXdhkEjHz1KGNCPRFakhy6xas8UihwpMgt94GNg5K04j3MLMxv7p79azkEUNLp0lTmRjve4zzvF5+zUpSTr0CWSoyWHuazQZMGXCbDAbawjKTsfsKoR1RWKpzPrWh+fBgfDmptikfiWAgPgz+jKPtUaayDAgxEdGZQ1CJI7gwMlpcPMK5NVt2+r1gnRtHaAGGqaim+a7fGiT+CC101M8XkyW5MkuU0uno8+O9+mgh346e3ueJMQDaPLFHSvMbsRFYRIYRtDN8e1eJKmpYYOBJfWeEc/ceobmrrk/T4FVXgB4aExp/HhRANqQcfLOiZgCchmvaCQX73UqUfXrHqx3j3syxL5A+EfwNnUjIggWW8/4a2jcovz5JzRTMIC1DC4YR2lPHX2DkNc3edaXgriRY9jwFzhSgW2k0CdJskyXwKl+xfMulJqiQQ7LhPoau3pUzaMAXBbOlLSY/mZecnOdCfTJMRrbbFpgbb4OwXZtLA7eb+/YbrbaX4W95vlqjvTZNEzf1BtZ5NF6ad38Pw9+fvIOGaUgq3SlURNOlZvSJ+J/iWnMEDlXyI22R+2MwnblPBsw3yFuyFeTP47rKSKkyp0JeNxYtTuhyMEfBIlLtBt8zOURuvqoWQNFOl1+Rv8kSdIE/HGN5EKp+gHZok3K0taC1kfb5nOfv1c67WwBmlLwAJGYHLwki4A6rWjr9GqlvWRtUVLDfZrBh3wDScpAOZL61mKQ9CGNaYu+g/Nvfhn9d72l2yatePV0SWQgAoMMvX02Dp1XTAC7MgrZKchFZ3ZkroQDX8vns+fq0fGIJ751csaOTt1UMqXHg5FbSsI8KMBZk87BrcNt72TiJawOOk0wkM/JNBVN4AUMaQIbxSfhUs2N5L4XU5FiFYNR/lb4ImU2kHTtAxbiUCvrZtUXi/PNYbZDX1cccvZadQTS//hPTMTDENvV65JSudEjneb7hQmKmICwzqf8HonETDZJ2492fXTDIZbaDyniIzReGItDjdxfDssohD/RYIloG+UGpTgeNz4xddHie8OHf0WnnhKb7o7x5nRCkwl25LJoM0E2FHdNt6I4YVE94Ze+Y0mcO/qJjNp4UiWMWZKo560TPncfYb5g56LL8kaf3uA+DX7LgOvAUhDsIOrfEeggjJiT1VzTfduvV7GXAC+B7RVesm5bKxPZFDiSJpyTsRyyMhhWWYnLv7QIl9VMGaf2G6Hn3J9V7bEWOJivhBC+w+K99YkxEPuhz7wElRgEJIOdggh20RsVQlnQgF8rRzNV0fA6tOf1OljqkzEgWbku/EJahsbMe6LOVWfjdw1Tnc3x+YXLwhCXWULe51i0Kc2znmsKR1+4ilaJ22mTDVDo+KCi9TRcM/U+52lIZYxzN4gMuCa5roR0QNWZMaVruk+yqInzmVPmjTOqrZwwiA11ytdPDLv8x1JFi70QbSQ5Pz9KHAOnnHO5dUVh3Lx9OvxPy4xOkdHMcMKSimiSxh2i2Vx4+df+LEdkOn4iKEkzZq1HT3NT6sEcuee/9O2Hd7asntoTV4OtQ9O1DtRclLSx31NbgzcTPkLWjtZiyTRdCAMiY0TpOXR6S+XaQ2fokrkG4H5jeh4QMsgc4ly3ciT83g8u1CKayMgyhkUXiR+YYb7YdQfLEmmc/tB88RV/ysVzTMLoCi4UNZ9FFrLfDGDdTW10DZmSpacQhue/zPK4XmR9xh9rNYgQjSCxsFEUKqnVbgPngRrQg9pGDlxPVYGr2tto+AETEoJ5PHg54a4Vcd3bd73C7vOKbFhF/VgINfwbV0uBmk4M4R1FyApD5Q07UGTLTVcyj63TZLNc17XcneSvjr88/PNtt9Jm5qbNZaJqJqLByXEXtIgL93RlTzAYvpiRcUXh9RKvTe6ozRow51yf9ex8FA3iTWb5tN8N+Fgaw3u9U9fieA2K9oy8zjpDhgZThCgaT6Nzcr7AcDnKzAncONCfS3esYAtU5PKI2L/7kdrgtf8VDdJ3hIaBE+SOfVvkveipyzvkflC+O5PYJBcl/IGP7/0r/BT18I3anDl7tqNNO4jW/n1/xkPf1MgxBz6aMtrxf0AJgpZ/HkfLwBPVwtRE2FeZbNcsGs+S1HOjudEuUr6Dj384qLu+xg1ssllf+NWe/Zcr/3yl6yoqa5fEle1eCQsruONzdYrQnDUIt9YHQGOZtlSaLuJw5OboovcsXZrfzeVyDGHC/Buiao5pApDLJFGlqCRGtFeSLh4QjHY9hViJkOOSUNHnT4D9Yap2VYokcj4jp9qNiAHnDiyythCno8bTl7ywHy8FWINba2iSTtQOT93b6bdgiXZNx90UT7M4lSRRYsYxTk5/KrK02+dVjZJter5S847VHPIvAtT94dG6YFcGVomQvd+jOwVKf0P+1Hu4/G7fzVGgoSaQNPRNoUREm1kaps5GqB4tzv3tyavRz/6M3nq3jHKElqLmR1h1HPB10SCUNjWOdAjjzMZYYdAy/cu0xlFQlk0MOf2RkcThsA3jG7lM/M/NzxJJV89VoyuayG5RjjqrBoXw2xa/4R0yn99Y/EFvaCfsNf+OlE0vmxOvgGMWCGAxNLB4AEvKga35JXBCaEUxlf9L6jk1rmupwwCEciQUByNSLYByexq4mOyW5XPFs1bi/0CMUJv1X72GOZb1TPgQAqpv59Kwpq7mMY+ajS46swHFacupD/FD/uACRKG4/pljxwhLW4yNKiScsRHnRRuJsXjI4uBBQAM7rliOQNeURKMTYHsJkUeDBydjEjGx6+QWdgiJ2UVfp+2QVrM+u+eab51x/DpQFs4qI7PzUwDuyyJfrfBlzbCDWJe2PfYFxiNXQ4uNWC2O9H826WUT9jcM3H0Jm0SBeNiFgkpIMG92UR2JRq/lKTxO+XZqn29w1FbkBqLoMa+n5McFi04/ZtGwUNkOuRsCbewdp3v9FJVSTuucjtnaYyAJw2WfTebclKr7BKz9NfX3SBLefPoFGP8Ttuv4RmdLwt5JSPoUO516RA9gP+XcV/4QbYE1fwpKI2toyr2SES3OkesgJfQmsPgByz/LD4F/JqLwMhwgfYbTjO4d/6Ej4ng95QngS5psbEcVq+gfNouUUdeaMb2Np9PQ2cAjhMpVUfc0deha0HxmS/Y0c4vthtZJGZzNAnOLsa1VVLye87znkfnKbjI0a2o7esFkMqEjkshq2WfbOjzx4qHptOXQNau1yfjOMKlJzhkqtTKkFuAlth8wwgxgludfn85M+GSE22HBeNYnt7yXV3G7YpRO4hVeSBR41LfCsP5UamkXtEQv8jkQUPMr1oY00XB29tOLlt2095D16vaHt35usPuOT2d02JFVBrPwsO4vxfL6i24knPgiz9oHWlQhg0Efj9vZZOV5LeDJ+nduCT9HAilyVy0qIm8ZrdLiK7EML/dsb5WGdPsGa1aVOHQgKSRiEVSTfkgRudw6togyAGQen3i/9dQKaDT1ErfrohVgh8D4ZyEwxZ89WT94R0SUd+4mQPFienOcGJcDlTDD1hnfYj4hJ17MZ/d30hEgozLcIcHzY+kF2j/ZHtQpoDOAInfK0wcN28+Jf3yLTfOZZ7neyNpvyQjFBf7I6/NoNQGFsM0o3JytEuANdoRg6zAEmwo2Wal5c7V8f8zyVRxwA2wBNWnbQ/gFbNRBtEuiRAaawaIKgbe9kySeN/6dcexC87Sc355phcP+i2UppO26nsFNim/TqgjQuhUf7/FTcOuDR12ytuX2iYzvoBOF9Uj+5lLwxYYgKjn2WOuQJCr3jVA4tYNz6MH5GzAHsqZvSjYcgB3hKnwJMYgRA7gnAN/19tRqtcmWipJJ5tNMpNuBDhElKYyWUReyYPDX1QqO9oIrkwiviau2tGUoxEc+2cp58b9QD7PCaegmvc/FqNgIZgiO6AZtgM6gd8wqyPzBYwIQjikRWsF/N4bsD4YodUgjp4EWGCWYWG5TYE35cwAjpib+bqKh40TRS3pvr1FHdVGz52eySJfg/6sKwhw1vTEQ4+1rg6XwVyWAZhhquS+CJG/1jVmg9BBy4F9kETjaHv6zq/aKZ9QNPpYn3jRs8HQ60x3hYaP+tzX+8YboE5QR3tJkbprCa5ib9fAONtflNnNyEEyOQugu0BIs8bLcli4Pn4WymDFTtoNf8uSKdHRWquDsvTGjDsLvIizRlDiYh+aiqlamsmb2UVmm5Y+mrs+jwkOlUs7A633QgDjpAK5Hb7AAU148qOPj+O4fZaysNxWejwm4NyOoCUxMF1s8FaCnVj5Gs1u8FAZOQzmwJPBog+bZprMMtUlWZfF4z7AWqaaDZkTmCf2bwCKQp3O1l7hwykYCbo47mhUwRMDdf3aCVyOuQVp2l79pmINS5SLC25H5TfHEDXGt/yEXrejNlU4REgdUrU9NXd6/goGZ8tgfor36Zw64jDwxLAzGVL354F/FBYWQN3NPoG5JaHDtK9MLJ+3KwQguptd74WATEhk0Jcl1BD6JJm2535Wi1k63fXz2SExO0gBRDUGIQ4RNdavQBeVjLPma25m6QFWUGLcCj63lVVyv5lnBmQfxITZaRO3ng8qkski2aVfvEQXinyYSXu5dgABSCoZmwFE3AHPCKhpq1oEm+kHm559y9Nl/XU+PtWgZtN+8FwFP4uRTvrzWSDKxIzDjkcSlYPfRQgxD30md8eDnVrZOxhfjYjXwkI/WPqkrqVSIARg95mNQvDiUGI7uUcfTJsEFoTPr7F/pBzxWZjuLRBdRchN6bhnsK8j5gAkBJu6cE3YZhwy8U6RD4MeBY8Yvarbd5EiJCljpygDED39z8duMs+/jsJrXu7jFoaF78s8J6VSQJeL2NQ4FH2w1mTSbgmlK803V1o+43ubAEpEG+DRgLABnm0s7zbotwd4WCByQfEgg92jbuu2ufX5kWBs8Rj3IGkT5NepMd+evJCbD9UgRWLPv/J56TsZMYEtOSx9Zwe2UryAQCb10NU/CzqM3791JIEeWrQqWgQ7T/C117LsoO2qTg8f8SksC5roe3DFbz+2VItDNTWm69KPXcgxqsi2gWO/HTHJQ4fHVuSo8TjMt8RmAxBzRTKmfvLPgttZj0mi5qe7M7Ta44b8tBv34aILO2I1Iikh3IZUZScfB96Vj9BufUk4LY0a3OQOKGs4sDubjy9LPnxnGCAH93s3HSMaXbyJKQni4rDFd+Q9kaxJ5KrCQ6z1d6YlXDfSqWoJCU6d4hz02FHpvxtyLBtITFMFi4Nld5TN5KzXqcA+6O6Lg2AAdgMo7lbBuKq80dwkkRRQPwvumCU9+m73BJCDIP/X+AgYE6+J8elxfy+oyx7c02iYWzwqww5P5e87cJtShm8XbZsWteNlChaz8ErOVgc9rXXWCw1xmUHrPKjyVBGHuSSXke1f8xn1nwpydpJZRP/poJw6EuRjFWkp4DwxSFbdYmIC1SboyjLctRmJQYugYvrxTTikfLxMgkqHMzLBqvKmG5NYxQl4Xg4ShBZ7MWTeFozzXln1E58NZrYOZNpoxP+WcbYv3msb8duHB+s0xWm7pSOH6SrNHEuNHVCEBLo8wsC/QoDOgBeB3qTySh17NUR+xUi+QHvuB+ILpEcI8Y8irpwCEUZ8LX24y54BUrARWMOS001Oar1KaVVyFUKJ+DyIZ65uXrqxippbd9Ub48VcVqq4xycmrpy7KOyrl1o7wAyXKng8H1G88Id729SvWAvlfzh+PFKvu7j9eR7Mpo9bZHH1v6BjUXmEdTc42dWrew8cVGmZ4HgEiQW44SO0WNgl7yj7dG7DcdoODFWUufiFzBOfiG6YkCeptIDiXisP1WEBXA+ESNOsaCeqVW+rEl+g0rfKg1R6D6blFuW852f/kej2xgeUhp1NcbSF016y1rsu7vB1WOkSZw2alirfONzECzaBd9i3EsFSkkWLElWpZW2DMQEKku6rIjLwq3UgF6ctSROPFaKmOifa5A2MtJrRIyxZqLruSq/nX4RNG3MDn8cY+u45Fagj8iG+rQKAM+dMQ3uZx5YHMDF+qa2RSeB49cV1hFh06cneL+Gxbmo76Xu0aZENtmhzdOgWmk3yq9KLsL8Zfk2dyj9gVJLcITSt+O1TAWQckHsrSpfvSnx6Ar4qbpVb3IJn8ZbFC3bsRS/YwULPZIzY+8+p8aM32eQ6Exb5DbD/JI9G6Ry6mSFLZ0liQKPWx8IMlbdWP5DtztUc/QSKOnrTkA0h5y8T/fDfd7iIAGmeaUJyaVVOt/Vw0+6UMzKvXcB/x/aHkQ+ujhh3PetZ/8MJTrurFliiLqmWfpPjTf5YpgeDWDbN7Fs9YdeoKtdXkbz+TJlGboElXZwyn1FVqPdNcWjKk4ex4eJCUTQSrLObEOh8zrB0DpBif9X59Ny6MixcJQjCRzzVuc8vPL6/n6+7yRbue6uF/DPTRgQCfbCVVeqXTQORe9hWvcsVoGUzDZtu05eNDwY4okVWZ8kJNCr7uXDifkiLvI0feSJ/qetG/KXVXoJ8g05bM++f+SRIPlwUgwy9OB0jZxUrFjYDhHAqeFEJVAppkdfAU7DCyx2KJogC+ZicYoegU9ejtKMDGHRj+h65DszqPXEOw8vshyg01HGWiNVnIP7nEW99fQLAXMCqzp0QJ0r05+et+YBY5uHSV8n6skvI2Rj9mSumVnfGozIhVT1W3tUhd2Pp3riN1HM8ST6ukfViCaHgK6q+C8xbWWQJP2SDZz58J5BqyXoXW9Fz3MPagN5rFtOrd5ZIlJKgm4w+x49W5YO/gAR3z+Vpx1jb0v7sWzlk+dDmRqNhjM1YhV/B0ZWqB9LH1gorpTgpqugtj+pXrumEWhJZ8+2tpW0Q8M0WzfIBhAznHHAFpmSGrBA24zv7c7mnPzfyjs/1m7p5v7zSqyrXMZnGTzFLDH2EFj/SqI05T7agVKC0W/XkyySga+JYBfruYSzBfYCcDHPpvQiPezVhJj8odORMENjoGh1ZNWv8SFGXujaXq4V5lpN1Cj/NEy4mVrh4xqOayuWinsAAzkp267cN+dr6fvp+Bv7lvC6HFie3Ch4GIvFz8aTAXYZOk/JLiXlIBn3XTKi2jPT+lhnWudUfuBXydQB+sz6Jb43OHlUZR3ECH9fHtB+Y11cN6FH1w5s7A6PHthDK/BDe8Z73hM3Jqd+Np4fjcpV/gylCptwhdH62cPDP9aEsO3BUiz+hb7KPEkU+7wijQ2wvVKqUi7Rksv9NqVACFcqFDf6BYMAt8LdaTiUulAC9WjefK5EUbDrAUoHcpe9zVbht/6RsCP/iR4p+msiFfGwLOPQSrhHe7nQwRVVe45IBcoQV+uzNPoblySIOQNEHor2KZaB92DdenPWLydfA8sI4LSTrC6t66RO8i2ZTAuqcjPtG8yglg2kCt60fS64rMjjd+a1l4VokNyK6HLNkWYcs+gx6PkYjdO8HHtlDIII+Ob1JLPUEtbPHyjE66IeVZDE+vCkKQrz+GumTZ31KLH5XOufZ397HSfrptAX2mfL8Of5wNBlnlIXnrQwvzGbr4Sbaur6uHHT3oMKHuA6Hxbof25qXCmJgQrt3GPYORxkEyno1CMM2fu0nl8HLRzUzpspkV28JGcYq2ePSvQrocy1IWNmniXiCi347JwONwgMna47yRlXRcnNNSNyo583o0TttZdCAGYHNyzcRtFgg4YFNywnuwZvWyQ477FfMEdiib75Z3gBtJ97LgdkSRMjwFhxt2P12LBZyL7yhP5UAj+AQhswcQIoWiJ47JJGC1hURqylB3faAXdlC7zNdw4jWOj0QrvLu+RakstGYDIY5Q8uozVft0cEFCUVlE6ga8vXB5+LVulBSZR/on8hN5pqcqVkXBR3ViYsZiH0KgJTnV9ceZMxBtQ1WL7wo/TfGG6H6klSj2oxyuUpOIvAWK6g3GxIn7O0J5HOkpfOLb0mT0frI7GotA4o6q/Wt4zTp3M8XcBT3CvGgzV3WbeEZU1To6igz/+NZY0gPIjKgLxcAjNIESQXf9v1Nnndda8YzHUXf5pjj5xtbleOvZSyJBC+PDXRtLPRhhPmZ+Z7KJ6R+/kx31N3IUeU2p2YQ0JIcJp0FLks9CZsIPCbjeDm/L4lirPdjRBLk+K4vF58MfEk7+epBVdWQmyQSG2ZJP6LsQOhqFVWhTFxon14fSWeup3iel1kG2LzVUV6ABANDBsHtHWb01pKWElHtUzk/rWGm8xSd+hM82QJ15SJsO85/HCuEIMeezKF4ZCjnQsnmqOd8Jt83S+BNVKEYCj3tYHdzriWglhRPLEuiw6M0cspoQBv2kzmNSmG5Ez+dzy75gT3yvJ6tLYJWjTCDMMsPQsSHHtTkFrUjzfQsUjhjZYDaAv6bydAJhhKzZ6MjIII7nPLN9wK1UQQa6xJqgBG5eNI96ugYSMR/OZZtf/sZbbi7Lt7PbZKf8qke3SnkSFiExoCmMFELRX25zCYFdp3MyuTizNys1Hdu2FWy+7mVjV9UEBIAl2LqpvEf+H8c2WhpY90W0tPk8DGujQqmt58KUeOLjf2XrrAZP6ai1yaXUFhKmviigoHJIZCIEFpX0k+6HG012yIVTKwauYxGCaGxVkDdSq0LWBIU3vdhXzoUUtcltMYNQRnhyrLhRihy8nOgqQTJNU7jFo5QggH03dDlCfPssahRKsBYP7xUiQmtOx7cmFY3oPQ+70sGZMJphTCelHEgcUoUL5ZipdzqsIzO6Re8d+rsyKyJbp73xHQsWOVp8t2qRqdxCpP9PRVGivO1U+Ybna5c9HfZBNPGbkasM5xStEy/+Tw3hGujBwJ+W72g5Di4vnlYgwh1pV1Emr9hdtDJT5zhIAabhoj/wvfdm1ifMg7XBLSOUtQfxrEQWpnW7UNEJWlzon+6KBXyHBThIewnf6gtcJIsrdjyjnFgmtb1RhB4QoUaDDqbPxN9F1HFkx1646JIbEx+PS85QIYsuefKYPt5fkY1pKH+IJmK/pBeOad875w9y7ubR+hViuOsi4UoZCbMtvWl/PwRjQWkJDFc4+lC/dTNTT18AJ3ey9E/byRo23N8QaVxapqmjyZwsFdpZWk0Tdu5YgOvxQcrcD1GwSnL6A5ktyEg7Q4U/tiMlOQML1/fvTWrdx0ND2aQ9tC5L+EJQ7MoMh3p+YNSHx6dVGMVZMGl6FV7knFbD/9ivfNYtGmwQ/Cb1k5LBD8Ro3kjVp75t94q1YeWvwxjyKO5mKMSYETXrKfsII9emUkjGwfXAA+Ao7egNlqisOoxlZRlc6UNinsyYwWsFV1hNHTmexOkaec0r6rFQplI/LHsZWjKiG6n1GXtCG5C8d/IRBIY8wR8u0gha8u6D/LlOGkJMUXnofFv7IRs1AzBIqFxmw1o+7EY27RGOIOge3PjQ9RfCj8o6xZPsc1VfAaMVNrngxC5mwOiAwlO0D1V3kSlyvCN7pq/LCIKZciVwBw3AU9eDb+mNph8ZBAYP6rS607nRKS1cmNrHuv+G+AI1z3WNMmAgn0ALGE+tuatLtFcmFh4fRYtx6lmxhlsto/skQTohd2RG66D4xk3o0flk7F9rhPTUcNl6kVab6Xq+OjMPS/RvQnQMlhvgqGnkCmcEDL25Exb0ibrI1QOxp3wqTZqp1tOgry2dW+EONCZCyNCo1y7gwi2I4/79LP3lzbLmceEBdnGkPxWg2dacvjOiJ3+J1epYetRGBlglIB32+g2YqqiGYZHQetuRfqs0n8/eFurReGWEaXCesohkF/UGc+asayClp4deOMMNlvTma2FRwXcxaYowf3dh7vRK0BlRu3paxvhL0Zpt1QCUxwYBIX0is/shSCVAt8fWaw7Ji2JZybMx6DALad0cE84pxcsFuXtD9ecO3XQ2RQtve6mTE7mkwfjNaeuB6t2RksDg8fEi82/Qoz3XGXrZKuDAnAequhzTq5jYqQwuAH9i98r0wAXr60vrVnRdhj5NL+61Fxwm7Z5wayKyao8G2i4zS3S0KwC3QH6YzBFnsq7Vl7HdXQkO2y3UOrVHSIEE3QIzTtTnrIR3Z4iiarWrHSBX2L4g/UkjumVQ3HPHWg6OuzdzHOZc8vdd1btMmbBjhnN/cFnhhyQYP6Px5Ql472j71ds78+BBtlDWVhwtw+HpU3mizOiLEjGVNHGGOTjuW8rNBN5zuTs85Awh3f/YiFKG+F2nWoIn1ly1VzSes/gcWW9XWlOFWMrjU5n/xbkELATFRtf5hS7mMHxu1hV4XrGRBxylR6ZEpk9L4nKLqWEkN3C82qILALtEZZWMTJJiHKXmujbffLI6+uGwIxB7eKGI3AuSdJR50IuC667OeBfQ6EME3K9V+cbVEUf65JZFx/AC+t67m2YUcXjnLxMeedsDCp6kXchLla+wEa2xpS2vJ4FmDsO0LQ8bL5eWooPoTrj41YiD81BLB6sYExubGS7l/er4+ezOgOldoLQ5O+CWxyXiWUCYdsf4GBYvGKEiCLQNCJeVysOJV1Idp9gVVxANTeEL+AKumY5wOFVsSQ72qW/4q4M8Q+6TX/T+pGFhIm055Yuh97ZIjVheL8Jb5meFQtJyUswf3ctgxU2T0RYBgQk+jr59rO6DP+1kJLqMbGRTGZ0/M3u6rqmmA6GRloVMChwjfr46YqEAVIlRHwuSiZ1PqL2paCn7amQUD5zq68PCzx0idDg0JIVHNFVHfddVPZ+fX+LSzqqY1dFphNmgu+FOYHGSBEYpgMvTiuwZsUTR7eCIOcZJUTmVttMMgB/O/Ob7GSwUEYk9v+G+hgEhQ99FRUOgx85ha7GO/Gc4ELjfVQCVRRGi3hpWVJTm0XlEuck9wXqLMAZdFKCsb0Aeh561+w0/OyiEHQNgbNtBe8Ca1uyN9NZ/wO0WzXK7cyFe1tnFuUtvo2BxwNTgYvdrec0hnAvpmZhjCnLhgfGGSvzURJXCSslUNhJJef7US08WQWpopKgd9vtdE+ulvPgJd2orYY7i93GzQF8PKj7DBu+e/bL/dQgxBasAo+ghaBMu+T4OeYXHGVTZLZFQ7gDSdoEIPwOEKehM/mcLmbnFtLd5WWsPqlEebKvvQvDqzFTpeGLaS3qdL3QUDpDlH+4DdRHy1N2q99JcmNjSUvXithuMJSlVSM35TC00XnlvVfO9BzZOuSHRiDYs3RdJ3+lVO1Svja0NzJDgEz3duDJ5iEO5bfX4AAE2eteISbUtdAaxG02XfXie493nahAF+tseN640Lcdq7SYACOPVYePbd4aWna5u0E87BrKVzzmaedN0qtHHBoE1DWWV3WOl4x+mwc3hFALgSGYl0Qret7kPzcWwsjI2eSNIaEMqOILat53LfD9HDZWmZchSoMBtM1cybP1YNwjyvLQcyPX4A4gxo1DwdpkH6MPzcQbYj4gginBCXqnSc/X97sN+rfMbpmSim2TqHQO+ImXmn1tP6JLdtjB+eK+h9A7q9uR6l6EwXr27pgQv04ku+WU4FU/s1NzNYVPgSO9xrN/HDHoUVzuJGeEMVZVBq9IPsdwTvXkg/TPQ4emQqJPthkCRN1re0xZFC+T8h00yn+gWSrGJTS24P8Rw35l9iIKI6TUnx2hZ2hzdRpn1/+Fw612gIZS/gNQV0yRoVOZfuQdPrVsqnZztYli9SRGKhtNLQl6BJUSHMoezthUebyGsEhkEwtZnhZEZvFzTvDOsCRdUBpyrsfOKV5qG5AIsVb3S2fn4Ldi7NbsPqmvZobC9Qrbkp9lBKt00wjtOmVbneSq0LlTcwfw8770fYL9oozkgNPp145NzlwP4TRUTpNP2+wmY7qPVjMnXAiYseTLfEBISkdfafzANd+vYQ7l3e3xMSaSCjNBsTUtniAG3jc+D5eTq5r/1kzC7l8NrhkDoYgjllwNK1+1g7PVfIverpwvdCUe5yZzyJRexyLignRENOtVKVO7uJWzCHffzz41JWOlpuxn61rqkxFORJC35KGjrhZnQPsdlG2iSe3vQSGNCcZEFo2f/mGJQsGa9MWyIVESmN6cP9Ku+f8R/AvzHOKcSQZbx/FLG3vf7jNZxfV0BEMf0NWJ+pU3ruGNBSMgjLytjcmWLXIgyi3JGBNQQwQl/GD9m52wGLm7+9u/0pu2JPxOvsrnwTclWOIwk47Nhs4i30bKC4DYSTd4R+wQXGEQ6xguWYOJoJWR9oPvPffGCRfVa01VBkEvvHWe9dNu+TnI/SDONLDJ29UiBeOEN+za5aABneCoS/dVSJ/p2SM9+2FCm0DwFb60I3S10eYPmZ/fPqVxf18+8M/HiukVa7gzdsG46s/aAEX60Po677QXQMjhweHYy9Lpxnv1YKsarpa3go9bA5ockuR6+pqTMOkwt9KJkrF1EkokL2r3yKIadfEXq86JPWONUdocP/YnSWE4YzK2ZoKhonqGk7Fb+FvCBJimVEXmv15t91LfhxTxAhP6uWin8bvLIIUhDsDhrXiYtNLw3KNDJDsRrV6ZEdy7NqmFWuw3f/0RrLk+trEY3iBOjMAUI5moM+isq/yvqWNeQiISO3HTpQiSM/fgFisWSWpvowD4KFkT/xIg4xcrx7zoGuCT4MSPzoAVeI1yCkaUOjrLsb/5FhbXnP+EdFsiCHCrvO9xcWDGImY6ZxN5/Zdw3sl7z8X2i5uB3ezBwwFHJlxtiff7q4gqVH7lIqA5Grc92mR7tTfU9ICPLWPkYUWUlZeGXHDC3w7PTkon1c9mYBmXA41NWfjbRgQSarLtg4d2AUMd451zqNVce3TXrwSmF+8uuM8iO+ze2jG1+EKIN+kYBm0E8itwi6h5x3vvwbXmAMGqsQDaNLLytNRGm22yVPH2Fb9w9iHGNMPtX7V3m6TtGRzojAMJQ//VBzNpH8eVxVpv+b+QTRGv+1xD85gCN12fWC/B/5pQ7WSPzsSQEKXUs6PwmyS8S1z3VeVBYHf+xzMngZ+U/UFodJ6B4ISYkKo+G9lBIL4pfK9yR67szfVJheONfiPD4RelcKn3thh0piJYTGAltVks//YlBHubG2w7HXUW5+hrltrvNqiBt6bIMTBtNNSsIwFjI3JZIzOvLZWA+Wou+NUkrEMu3FMtjH36IyXupNemqZ9/26mQ6lXkRssOsIO5kOId8qLvCCrtSFnl/Ba4SVyPS5V97XQQNpt10u8vyNlPKpIAGd9VdEYw9h3CQBq/ddH/COsjScSyl9ea4/cpnF3ECYgpZtMrvTQh2a2TVAk4GQy2gNu9v/kJPzVdN1vUDtASLL9lQTWTE+pu/5oAHOPMKhqfUZEIBgr6NKPxeYOQ8DQ0KSXu5bD4esKGcVCO6f5BBm8wt1LIGWEFyVhfF9zaZXiN27Lup/URAmgs6TWIY45tsVXkdF+WHppzuY+SSZHE3Q73uMQepcKQEhfdl5t6j+cDK7HmnRE/c7+2mVKW4+liKtSsjMFJIUrGBoYTROJ+ADpc7/1z8j8s/Lfui16INY8HZt4vYF9GUITDuA+iEkh7zZLyZYfTuGYdUwfZfGPP+Wlm78KCaGB8qiBK/IOU0y+G7Sq6Jj+sW0xe73kiAQdz4lJniFVCKJ9HnDQ3qnZ0IdpQdMkfHBfmJP8DfgZKB5P92zbOr4TzUtl9qIbB0pY8rDdPIcR5r8A1QDE3FoSy0hE/mtffu6OD/PQu2TU6RBbtWXkgCq/zwRe5UM2k5RwNGLwJsGxPrxHGjNSDoRFkwA7FAt7b4x37zvV6q0hBG1H3ZJGb65ZgpWJ9qVAZLlgoHZhNNs7TqHZxc/93O4OR/DyZhtBHeU60xVAPXY47c0NQF/g4x8pIOz4NGFUIdXt53lRSd4C3DnpI7pgbdXcMSGPm3FdRUMaUt1mw+hnfJWSoXSlXw/VdCEWwJBY9AIEAvne1dr0uSJ+t6AymJhyWM1KQnLbAqtXPQHx0fCr77Rt40Taom0iTuWtfKWKSx8pTqeCM0FNBM0v7O4RLrdkGhSZQcMkezhPxRCExX3CqZyi4QM1FnB2fN/4WGHWB4AGCRAT2+gmpiw8Wa3d9Z3x6LFI4AX6g+URLIg6NWCYYoNrTfm56Stqakcv6rqHzw8SdX3nv6bXGKSn0HbrKMmGoJy73TOPGWTEHRGZt3jqWf11hdj3zJxLROwjzSNRddn2a+5b1AeJtdSRQl8U9WpVEabJT4qmgLsf7GgUyogLFeTc3Yhn4b4j7CF38SeMiCFqriGgF0NY7tN9oPbr6cBkqTS0G5QdPELfwJhDFk2luq6l21TBguqZ9CgBElpPECKLDvindqzznQdMAMDn9Ry/zEJdESmp2xTRlRa8FwvdXJkcjW+Xs267lbw/fTKy21AOZ69V5sG6zx0bHOAmWK4pRKDrW8E6SFusbX2wphyNbim+6nVOx7JKtQ32Ym1uzUAzYkls6OLBHYi2Ra6fosd+WbqtMBKx7w88mEQdruk8wR8YS2kjdDj/n/+7lataZuSQFnsqqsOHdBdTe08RXK98o7eTutyHmOz0lweO04rS+n/5Hk73mrKhe2ZVCRCmIecXsbx6YFhX/mV1iDfN/b3xkpOE14AasfTlD9eRc6yGIbI+rEMajS7zds3M3tbF5VlGMHNweHjcLcURqGpfdCux9r/yqUJzZ5b8dZrhUihLt5CD3fOn7eDVgPhv/wGgkZVpSBE92g6UPVr49c+6xND4zIe/Te6sNJdApVJXdVopFIe84uli/ST4WZVrvmOQj9tvVrfGpZCC/GOx6eBoz2tDbT9QnybDnlj1HWospjgttrKnoFjNttHEhOTEiGjCF9l9MDSUfD0EXd8g7Wf01K58z7NmBNhssCT+S4uj5J1bgCcYDHCfrpcOQNtCT1ZSqr88F9qW4RDemyhatkv19g80AfWJtfNxiqiViPfqIU+ZYYORa10kfPmqPPcXkwfdyS5uOH9LTHiV5PhdeDsJfA6BRyrV3YvKf8JCHoWpkNMxd7T+IK36eniSOhX6xJB4A4gBva3t05/HBOkZMi5jp4wQiANQGaKgKYVRMPpTM9T5O7wDLzdsNt6so+VOQ13TfcdyqXHqXfSf0Mmd8mGix8efGiAQ3dmtCsVAv7cKPNasPlsoDz7kL3hsGudhWyDB3JHkBytoaIUqlbmgt0iSqjybpKCTMwAuU3MvlfvL5K2yiGRrSKPE3Zv8q6JWbKwMXVxREDsL0oKmryLk0YfWgWW9reRMuUk+Ty3HNhYIGhC53Azr/yy4n34B2MgorWB2kR2YPja+klEq/OLDiSj1p2kHHs3F6vRitYqOw0psrJTYKp4W0muI9HQOcvkkiRawkOWsbH6Hp5zuZ8Q0Abw4Fs7m2I0NWSxbfihV1PrMhqXFnHMS8wZD3K4GLUmVd23VS4IRYDdbFAmFBaNXqCbkF84S7H1l34PuRFxh9IXq0DCE+F1YizjPzogHWU4NbvtCwad3+t4Y7pR0Bb442Kvty6rV83vRJXMX0glNibmqLKNgp6ZNH+/nXZFRDWiMtg5mKsq7UyN3tRSsbdKfbLkRd0zVy9/Aezcf0PqWd/FTsCNKtu9QUOXRWsR08p6DBRwbkhHwqvzktf369ah4TyGU23yZUhwSOHGLs1YKYONtVzlTBucaLqMfvIvgVbalBXBb/6Erl6T/K1DgcBkj2CvyC3YsD7s/nQTx1mL+kCpXtgEyIE99SDUIDeT83Xz+ffuaMVRIe3qqnug+YQIwxFmBm51ZI3IUPfA4CxKVvJh1GhSFHZCEbJ30gZ/hDqtGmjwzwTohXoSp812nJkHDgmf5iWTiHN32BeJBWhA0CzJkuXZAe2YaGmOWrGqDBWRFZwZIsXcIwzv3FP8+kAlKqDxkYYg0QKLfct0fta7XsKiuAE7iyUIANqmFQyANtQkXI6Xwa0FDpuvpvO6VQgehzKVb0lTI/GyMAhw0vdHKkuVkVb5TlCegVYAUqlTxCyfsQqg+gGmPub/d+MxnbW81KCG9fKxA/i2jtrW9K5533poCayO5m5yuJbLwL2IPyf6CV2KoGMqFuZMJEVhG5m06094apNRiMuGrGqnudGDj0HZsjvFT/1U68uar7YUzcx4A6Mkn8vyFlDU/kGuurGlLXwPcdanZO8poQXu++beuSeADRL8PC7noetbQs5i/MOUj4zM4zRIMwOxRei5VD21YJaDiBRIT6IWPmrRUxK6P8VQm3Kb1XP9UET8hqOtnwxyL6oFBcmC00DkLI/iZG/eXPZnzorrEWqb5ive9SXrkGbpyDrA5W0R/hoAHr+3du1wMjHumVa+BEcIsDMdMaihMQT7SlpWpz9Rx+G7rV59Uh7fW+zkFXTDz79n329XTQgVCHxRn6uk+nAxl3BhCdMneQJYPu3/8KYZJdsaRtrA++fL8nI9cuvNL1miUNQiPr26AQYt3RwkLgVHU9K7OTAggB8ginDSPexlU+sC8pH4wHZg2OtcvVjKrzpG95WzMmQOuCyESkMBC7jad8n5IkiEaZJ2m+4g1bVkGqxXGs5wqbhlmq5icDLmwt1Q12VQ/j/ntey7Mvj5Dsy4JPxUBekiCdIA/kL4Mdr9lGcrZSsOqRMwK676AawihhmYuTPloKRygrfQEwi27ceGmj+3jfrvNdPSVIBv/t8AP5uN/If2uzgZTDLIJVpKlXIGhy7VPUNR9gZwpjnshJ94gxmO6qZaUWncUZikTH0RMctpAeS4St3RSlXkyIH1YMsrPI6aG/+mGqkTPAlxjcWUvtxj9Gq/u68TkDvsj0SMsUGldtsiMb7pM8iwacpY2zt4JB+9MCKgtMUHXPadp1cmh5gzNy6VxeFhCfKXirQVzIpjzVwzEq/P6c10zImhrP+bampFvMZGrWJt1+lIY/QZc1io4e9eWy5hqDNirk3ca+Y6UxRZWdJXlszxrwZ5LbyfMdHKNOJwjWfK5KDumEQAHPuLk2t8DyQxYH2zekgmpuBw1dShx7m4K706sSGU9PpwWRWxpmpVTMH+ef28bCGes6J0pD6R9i0Voiq19wiPBNrbmtwHQBAwanmWdqtJFihAaO9231PoVzOeq9wh0PyKXJKIclyVduYgB4c4hcW32ibmSl3BDkGwBSKietyhlzfJtSCYvIhN4NQ9Azy6IlsM5hhCUTRPYdGD0SIm+zfR2vVIsdTqWCTFUviLGbaBFvNzzTV1kj/beaY6KKaaWIHefdbnJt+fvdl6vgT4nlwYNS/4evhXBLeNNzMiyeCaH4NynEs6kI9HG0CAcLeMRRCCgYL+Ig3NdkdwCjOw8LU1uQLg8g4ehqMLZVoP8xugxRhcWnjPw1zuA5A7wLcJkqh5h2uFJt4lYIb6gC2j0LTtPfCMKgrE5cVKLPgUw38DXFmzT5iRz6+UbdT7GljyjnoulsbqV1nec252fG1Ig8n7Y2i8viGNXF7NuHiJoxqHDqOVYJKgS5ut3W7lIu7+ZNi1BGRixQ1hoU+GPcnvCf3jowoes9EJqcavkyHJ6nMvZqa18jqNO3BHs8PZtEC7PJivIjAyJXV+slFzkC8PVuCklFtOiRVt8xgPA4/2X4AsNC/lnVT8Jjmzkn7jGGodaOIV0ep3dBmU4FPK8uAjGfBgZt5lPRqN71EqNEt9wJLhnDGeJ3pGsI6N9wIAlUq6v7DyUqpIlhv6Nrde9m12D/eww+FXO+gLuhYaYx11EnDB9QK8QLHUzYcN3OuE8IH7mpxGryaR7HZLKAhzPwn/CxbUBIoIiIVnwP14eNKyv9B55oSQPhACL/uNsP17e/hW9WnH9aSedtzGWALjKW3KZ1JfHUJdgQsUZFpQKAqHRl6m6ZoeBIwJRZI2WP1PVQtabXfInt/4PHMYNkoNHVPFMbapm2zb+fMMJ/hg/saeiI9Em98ZM82yjy1Khf2UxTuufgbWv8j8jlmxIspfOiq0E+LixZS2zbkjbaTOFLQ5WvHAm/7T3RDQ+jgyQRDLwWxsNCwrI83X7B5i2XCPe0mQacgyNd8SetMKLgKVj6z9ZecAAcjV40GI9vhb6SoWx77W0WbFhlizNPWo/OrJJ88tfNGe9ngdFS/l+ebQ1E4rWra5Pk5SRxT3MNbm4tiIii7XoOITZIcmtC6UhRVGjCbUA5ez9DIptYCK/jRBkYtz7DYX9Ob4dTfMebn1MBtoG1vL8iDgEwtEuq69bIEI0K+9bJKKOjJoJJayf2AYUNP5S43gmEIT1Gttn0ER2JaeAYKXncQx6IEuh2giDopLqEfCjscWaM93/BlzqTcyJhJaVFppsOdxEIctLI2Z7LUd5q68JpRT32q/psdXZ8Ka8j1E57eKREzCMbMHOhOMASDAUPVQVCmYK1kYyCQXsnOjIS3QpMsMdUOyqCMDBZUkR78mMnSK0AXaP1xKDdjsduYDlrkbOC5mbcWK/hSW5og6u0RgIAY6yBo5QTCG39cR+eCRP0KVhkz23XPQnVva2YQpbO4P/cX9rcfx27SSjb5UBK08Y64f+NHsR/+aTDpW70oEGYwf8LH6iWMZbguaHxT7uZwYxRWluGzTrP0xf9VX5z+fuycqYUoA8CTTbtaU8Xra+Dw9mSxq6/qu1FPbNjUns6hmQS4x7YsUNj82xVAXSJXZlB4nkZFyfv9TA9gBEP+2Pw24OMGPmtsxBQHeEmQDOKfJN4T37hRZBXyzBwdi8cNI9UHFAWA6t3BSIVDTJ3Y+lBXnk+6DwYhF1mTj/1Zbs8BQapuVWv1EdDWZ+lasrnl3i4TZA28EIjLbh/zmd5t/YLDvMPG/bj0+FE9Z9g0Lm02pU/G6Umuc9npL0nfpUa7bTc28fcqFJNW6lKaQxVLy//nMq/FbVwANsGNVtcPGpekAzozZ0QcSxJiZYnnDPs9+WhJ+xcMY5sXPkiKePbGrUjukJeoWczsLuyM6nrFNbk0py5PZkiB7wiO91xCZIQB5DoJF3kR5QCznDyYPjz2mWRoJXfmBE+BoFoLHk+/kArhq80slHoYbJ1qiWdxM2oJUHe27OyAIXdntLbOAGx831J2VOAG1LoGpWu5rv1aH04L+rZ5wRS9UxKoKUIDv1P9VRuwJ7RF5ISURaRjWoR+VROXnzMn3bZbiVFVSd++H4GW/RlOrLzeYF5qHsd4Jf8aciDunzN656GveZ8MucLf7NRTF0v6/xiMDOkUxSMXYc9095IycEDUWKSpYQr14RPUB4XTAC3gC4wLUzw9rIU05zGvSFnj1VJguQgirtiyrK6lxGo301tFwshZqCcTKh1/3f7F2NtLFrwwVhfyKVmXTJNTnx0ZP7/lHaBT897emykxoeUbrOcEYRrxTSGbdBYy0CeF/eFMq6sASd4E4p9gzOnVe9IlESeedfb0en+meIYvOSwxErnvzTgSX3gWAttk2Sv3GoUUTKRoMoxtttdzsBSyvLizXtWm8poPDYM7esOUqB0frakaZxZ81Hdf52A1FxfLVV+0vXbBjYLEPavUE7HYrjSmKj1BaacghAJsRStQevplcvUOFk6KQLzVx/alU511jpd32sDeyEY2yrxqw/D+T0hEWBxkwDzG2vRc3/PLIeddiHKvg7FyRJ2KLP633MPejaDplKeHusSGrXjhNKgYK/PE6ZWlza7GLhlw+e2+byp3Qs6OZVG1onYztP9IQmFYaFnYOAs5/0jRARWIt6rX0ipLnQrQzA0Avqyo6Brv+00wXXZzUDKUtVraO7MF3Fb+vOEeMM0Xm+1zx7mhNBqzVzhZqgp0oTGZ76W5xy9CfLBq8nHUQ2hT/znJbJovfWEHuYyja7KCaIBH4etR6qscVyIeQhuNFbU9nAvNvkbbnpPXHoqB6E0jN+ehHck83691QIi3hqtw2t0Bj4ujIm1XiuFGlfUC+F6VlqvTZgqrt7xu4eQRcqdQnCMHnfw2iVhUzxBrxuB6rKXssRKZzezLYZhXiq9gocfDFjQYrDPtsW8YXBmlQ/qD8v5ih7nS04ZWryBmReY66k2TsUVeMJP8TUWsittknK5qUP20hVFih4o5GCttrDq0SWme9FWSzJ2/pEHeUHHgduFIIXLduFkdv6KVS0tT0Px5kU05dzif278N9GJrMHJOKCoGIFR/dSC3QUt414DhJlCaxP2xqE9ywYcnhp71fEjYrUa4/xrZ1mqJzFmFKcU8299odNm077gAxtwPXWTEP52CQKtt5+S5Nnmnk8Z5fxt922LiUD5Pn4Dhb8Wk9Vyw/G6bZSusGvlcI34CVhaTU9nRZmyvnaQ40FZSv/U/tLs3PGET6wFYftjDkwcWmSUwIfqqs19ywxxsXs7sOOeHe0LcdXmiGM9uR9R08LcarC/2TIy8TfnmZMKu57FsxwlwTm1WH0DGjqNR5lJZp+20ljvdojSrAG7xYb3Yqntna+k3NXIVe9mzeg3QAzODc0DTk9y9yuVuZGh+/IoVCRqUZfh5oUPYpvrJOU1GZuS6WEXOVS4jFthzF3wETX0U1rILrgWkFgpRxqRH3H1P/4rpXS5jOnBWVmtwRUrlCGcahfIhp9ikfGIucRgrD0NqtmVL06F6muuFUeMy11iV7zW3y0/VLMw2/wbIRkgpgHuxkKaGjnOzG7TWvmIgWmXWGhQzIkLsqC7YXy4dmLA49DDDTnf6/TkLGXtySsm7o9tmDGHlpb8ifTTlUwJCQL5LP512lfQMUv/jnzXQbIBrCcwJ93NYXl3rGjnuPzdmPjIikGN47bxGTS5fCJfxpmCsGytFdj+UWtzwP8qKjECGHNmp4WX91yBI75OFQ2wC06Dy8340Ts6LNptFZHZGDb4CFC/eE2HvNVN+oQMUN1DrVYrK7LUGti1eDwF45ALPKSXUilCs5+ZqxyJe8UzP/N7g5tbczFTnxCG2u8xlCiPjFiuWBbyvHYyqGwLq46lZBFW9vegoBPZ5fnBWjA2wHyZAVKur0v3RCoS8sImels0QDN6u62x92iIT6+fnI85wBxns9ZQ415aDbMgXRId4klqUqaUtL5Te+QD1MWTVODgmfoztEvnfOLFJrYkWYIoVit40FKDUUpAJ9n3C4a29ctoAeQww3Gg6DHuF0JkzMGsI1iyWl5Mozsbov8KtE5yR3NgJ8Bb3igqcyvj7eB69ulZmYFThKtaw9EoM+/GdHrMJTHW4KWLhRXS2lK4+IpVd72vRbuifAmzMaLZza/qUBbvrLzxptbKyIM3zHDtBeCXUxVhlJt2LQqevwUCgXdt8xmNuQ0RaV9Mj8mk/uFVzumaqCiKjVtlMF0xK2UKmZuy6Yys9JkHEc2IxKC/wNGBV53f/Xfa1CuSdM5jjFuT8DtFf913vRoibB3uslZY98uc1GGjkUdEucxKh3vM9zECmOlXuVQYmALHRe2IDjxx4AhiMT4cqy5UcJdu0JoDKXHnBY0mFCi1L2UCl5nA/zwyDaNXgz2Cw6kLUYdfHoBzepsecv9oc8QtOaJVep8gdKQaYA6FPLZ5nxqRSNSUbjTqNxK6pDAWKRZmJ6fiG+6xCRZqVs8iHxrDOhgPO4zBROQDbvLdHBlvg9HSdM+nekcfCNZIBj62yOWUvTLyKqwUwdK6oGH8rBooxYY9d6pf+eI+qp4G5GwbabRGZoL3VAi/JoZIqhYQwqnQLX5XX389oN7637C8EuN6FYqVBQ3/wGDypoxWKa4yG33z7dEEs116ntnxRCfwCXVBTCKzkf57ttVfXure4FpELeNzor4exx0Q2u7IoNAvU824w2JnqmYdtPuSI8xhnJPXpJL67FP+nyyFDY+QCEgY7DzApwIRqWQ9mm1IOhlvZn7Lb8dfW/g03ttJJ9r3pNg9bNfeW05tSDF3bQ60uzRTP57eLrcPkvQzlotXW5p79HgxsGbxw4dMQMWUSjeKg7VsPsn35YfJTPd1ZaJzjZCtCGicTAaI/+zDA5oNkcfvCBRZ1jcqYNBQV8qZGCcr3+kkfMswBSxx+69iP0jS5W7d+m2RV0gttFQ7tzVFNm64WViKy/D7Vi/l7g/txF6y9Zkwz+Ftufhc3NL9Yeg8067v4gm0I8WUo81544nGlyptHJyZIEivSxUKcM57TufZe8bfHjlFvhU0T4Hzy0Qm42y/tS8+/rNDEUX0EHDfT5C6zGRUil6VX0sourO8I+kIxZqWLGYbXjnBD6Wys3Q39l4n0vCzw8/F9GqPRE+4nGXfgKIDg/afOfevPIIkKEPE02nn0MQfjuF3cfp3E1GbU1yZ4VQ0p5McbnX51QQ04PM+luUHo/dG2UeuobWBIkYzK/6ROmC3bStvPDfIUm1q4K7Th4eZSmAjTAamvUMa/1YvKYDSv7/O2zTuZPTUfPcHMft0LyZgx4xc+cD6FXvJCukBiF92KkQrpkSuo2y9+ABy3nktwTyn8ChNL2IJVc/QSZLv9A51XVc9wNSWTZqJaZqxQ8NiY/Myr7y5ujpR+SjgEPcIC288S0c6tTC89KmWbG0xttx7WBsw5MYtK3OezGU9QV3/+mCrhyT4wyg1QW+XrYl7oh80hVh9XnvfSa1XVAkCJggqhZh4LvmxCCMKkzMP3+AnfXQF5/IMdob8pp4+u/phnr2nAWvQsHmCAwaHHjzL2tQvgAQw6r3hwF3hD6vKr1JRgKHTa878awsreEJ5yao0pVYtMvpj6LhIXdkPwUpPIQporFHohPdb2zhvz0ewKRjo9FV+F4uu1E9+SfuhNxb7mYigW22krSQ57nv+f4CoO3X9WG0jDqRdr3INGJERNnoagjW2UuXSUmGq4IgqB9Jw163J2zCR210I6ncy+zraNC7f/98OSY80zotk+BAoUXtrtVUMgoYCo5b82nR/lE9uydB0bQcfQplfmkmdpqDP2p7Olvok2hHqX/7Q543dc9ogJMhxMgWZK0o1ty9b9nz4W/jZqKBS7SJr83GsG5EhyQn3Z/kBbeaSSvePfpzKCQygjqr6RId8ONTSn/V2qMJeBF5iIhtF8wJErTpqp300zT1e6bqEODNpS5vEsFcyJ17M57VsfWDwz9lnHu+wSjfGydV5MnSbKu5ftfo2/KKRJya09Un2DllfT78TL3DFG5rvrmQP3CIQq7wq4NCoYRAkaFa2+b/kAZHgdxHN2LbH/3axPb3pGOiF6hrVkumANz/gQn2JbD2mguPLxbmy2CSoxAfFtNT82PbOeit18hC/flx+TJ3vfbzXYnrCwCsLj0WPYZU9yVpkyQoH94ApXjOTqOPTi/YM1YIe9kxR5UUmu8neVz8Bc/HAT5VSUpfUqzvqnEHVhObnxFvbMqGEomNragDMyzQ2b+POLMLTYgXjHQpQ0Y0crU1RlKoSXGLsiv7nBfu0lZiJ3UVzlbeLL/f/BY2THAAVCxXgglif4OeCXA8K2ej32WApzR90644naBgKUcYjgBUozsqahzQdQ2gzX8B7IvPwdhIA78PaZJeLUO2SoCwe6cU71VGo9csc3T4Sxayi+JDfanAxRQ42OSl6tbX5pmCPhxIonJHttHwr3jJtytyquJMVNZXtU0RaFt/beQMtiU+a8pi4yEjrZKCdk9sa7rxtmxWtT1lUBm9g3j8vARGs3nD9CXIZcho3g69uv/YlAhYpRHB6+AaWpLPOD+FsoV+m+EPWZdAl88EjuBKIvbmzVZ3kcWPTbKP1juJ5YjnsnIIRL8uAe8NMZYjd/NwUruR3WiehAZEe7NA7PF+yU+vuSoOvFpkH8jExzw+KZ62yudszNDgHMFLA6w2LcSyh/gSi9268O7ffyao0J152/myxnEfu5FBAgcqLb9FtoIVPR547nKRPfsOwm/JJvo5PlABlsXKXBgRyAKHg1+1KnDelmpc0gWjV3u4Et3EvrrA5XVIoHKQh5U1UudTXj/i6IrMMdDAx3fRvtohYB5DRaqu3oN1R7vBeFqE9/aDbdt4B89AYpApLqAUMth7RxzJ/kIWKHKafHAWNpukzwoc5TxXqESBCBea6Y5ZzCAQz+C8cqdo+sN/qnchBTytuCNDJhERztIcBiDRe8eao5aYGJuuTxeKCjKN9nxoKjzP7IGWWHzEqMdlabTFyUSJ+Y4poqeOE/TeFiy7JuvVC0azNZJyP6FcwhhqYCzU5u+45ubcGB0xyilMBZiSMm8X676FYmeJsUneBmOyJPdphLdeLtgYJZ7YsmryBYJHChm3FZC7xyVUEOQz1rv9jtee2GMym4/aqeQjccrF2b7wSaGj1bVuGgLfJoEa7Ymj1st68s1gPvOfMeOvEIPWVtE/kSrhuy+sLB+LkzRY6E1BPaEytE/Xmiv1e52hMXmWka2HBYwBNgSf45jkKqFVxPMnRy0q/PQycaDyvlT+xBY939d1uynIKh+9afgk4XXsX4f7CCpQIKBYWie+bJP4Seg5gch0CWgr1G8pAmA97jyfbhig4bh15KBUROoVPNpVzVLJovGjkRkYFXs+25lgziseGVeazfg0eCxRNEZkNEXmVKk9UHCXHsA1U+ZqXNDFuUvQpFYfDJlMpJiwdC1sWDdrKCrpogRuIUDOZ8hHcwL8FuZEK9lNhZyMEB/EHWVIevoFvm6olnqRrILlW1gjFJwF0IFlgb0QAGbKPqVVscavyUrumlXl/T3iwQBcirZDatnxd1PcsCZg1+fr7G674D2nmGx0k3vSw9fe35vMuxgmgI5qs7KrlqhfPoMUGW/gtxgB/oU3/6Yf5sEMj7NJadvNPk0ne/4XK/yZcZjQm9OoZJr5POc95DLj00laoRlVQ4++Bey53HpHbo7TpG3gZLkx5I34gJoGtZ5958v3Fk3Lu/R1dwjAu43Xm4wWA2nmQ1NXbfcesxJYSjBSL6V/URKmr1oK3a+fCxpYAoR7pjBJH/RMxDmJp9r3G8UWsU1h5jkv+68wYyPedgD3wruXczvHvJInLEfVwOsFwuG2heoPzd6bjL9scb8Ep2n9HRy95EVnAgBw38kf4BT3A4dhtoemoF1qWHpVLRudRFV1jkr5gE9uTxTNxRHZP8BMxUrR6HpYmj13fjjb1lRnMdOJxzFKzQQohUJfH8htHJinxQ+mAUBhqp4tNKsiBtLGIYXUTDC4i2h5jnK41RvITgVjQG6RhPus0xh/DKhkUYNMBXEHADf6WFlNEbwpKztFh/bn481C1oiXoxCiJsIqb2whc7k/KvatY/L/W+WrklSy/WoRTLKcEDMAp7w6Aj0u1Ty3toF0VOMD2UbmVycXhqfURMe5B2aD5L4kBz/TgBxj0wnbovimtUxtCQVzyEOnB4R0jnXBXOIIyc3v1O6sgqWWoNOlccWeigZeQ3PQNhxx0A4qgzFNPq1x/CJR55JCZyaI+V720teumpHPFqO6bqe922KpTcHJrNaeMwBF9y/KBtRt3m7WmSEzYSL3UY84eFGKYitD/fT5+O6nzMP4szIMTqdvdUG5X8t/6ySZPrH3G1f/E1bmJN0LSDBNgzbn+70wdURUpxSwy2Ikh204QtRrEtSNG4BqvSrN1sbW/fH8ZsWAcwyy3lbJ3SwH64y6G/exfNkiN+f7Jy+9ouwDKcw+bhncWX7xdfMhf0EZeOu19k6vpTKm/KywjGjxi2Y3wZ8284rHNVNOmOeowdsYgz4o10kDb7FLbHy/g66bp7RF60fMyNp8VBJCE8xuLe2QGzu0R5PEKHf5/3DFnogVaZ4NiOAFbe1F3j80gYpg1zpMI6kMbhRUxMmxqx4M7K86UG9xUiqHYZEvJBeP6n7MmBOUvttWIPGJz3S8SVleMhelwJafEq4Mw7F7m0sD33pOrOAKayfSnf+Eyw4+JS0VQzQxqQ7P+pNUMpFB8yy6KxkKEebN0VTRx9mhuXTVtwMDwxyPRVFBs3A6Y+VHBoQWQRVTX/QIEKTHloXkgYtIXioDVdDpmh4DrTV+I/Tuav6QkmYhfuGM3/jwoFecjOW7ncePRqV5Aup2h/MTNUSw/uWnwAsVWcSbEniI2RPkZa5lbdQROual0ZIIc4MON6u4IZe5IVUZ7iN2zQRrBzbjX6YXn3fz/75aFWIpozCYO7scR0SyLfpZjCfu5Qoug+p+kuT7SWTcTyyG8YJOM/fWUWDz6o/DnxMAp5qHZ5VSE5gEU9odMe2mCX1g2a6D0hb4YDYpc4ovwAhOqmFUjXZofCRGYR5Ms2/xwi+NadNBo1SGY/BgFh+gRPDXggAyTycy/XHMz3yVSfu3Fkcjq5Q35nIojZARNw1TofcQFZW4kB/IwPk88ANR5L/C4FDhnw6A7eKv2LQi1KSuLva/ty4118Lo06puHHLqR3VdTR7eGEjNsRylltDPmvbsz0aEuKj8e1YLoDq+/LIQaqnQH4XJV0LwfoV23zIuyq+mC/fMemr3YrKCD16DAhW7NZ/y7R7wSf7i79BQCav1Gwogc+FfeqiCVrxsGphy0UNDo8OM8TZYSL9w5vVA8gQqOxpfk+BPeng4onJ3JnviY/JI4XRTnZFuEHbEBLOmzyQUG1ANTp7pKDiHE6AM99l5rYY+RgPzGz1nBkX3eCGbP4EhD0tq9uh+DH5C/7ZKybDdgGfZiQRdr44SFLCin/QA0NsyK93VPmmkScXt69fG7LCuU/cay47PJR3OXgMvjjc3EqqV36gg4QoFyJ/qembvgGps9/rjKMoinOwgsGNXN57EFxkhD/JISVPzMdMxZfhr8qS7BGiCNhnLwCKbTwPX+xNeikSEbksygykrU0UkHX1i9jkNxSDoppD3z57bxG0grHkV+GMcgUqa14CiK6OOmVT9hyui1p4ld4E13Oh6pD63s9sTUTWrWaIUzXz6N+7fEVRuwZtIxxaAI8sDjvwsPneaEFz3+XZmE4gGonm+JthFgUXDuER0GEufT+LmtRZ2yzLkZzkLDVonb9mhy4n7C/As/HHmfScooVcc1ZUTi17hvNChSgmWz34F72hRVFZ0BLJtOlGi7yN0ZTJFG4uUVYMGUjYdneOUlE45YqUeQYpTRwJf7o8OApOt+auWjtYuz76031ctdgHPU0D3pDW5ju2vq5RymkkKMBU6MTMGhxo6DJy5CSPvRJ1NqMsyOd9l6TqBEpi2vaFFq3rUw+HIRNFq88eBuuLNHiDAy//sAbfjOvTyj7QX8roB6EMDtdBLR6b9i42ZDP8quLLr/JnnO2piUquvvp0ZPjmd+GmVISUZ2EM1cL8sNEkTUBZ/rWcwXGlo7myxVcXAVMZEY7RRD1wdfFgYzoK03yuMDfDdO6urAISXEQzHSI9Md52fSFC0xfc0uSsqF4cVRdje1qPJ60AmFCTcejgeQXP/rYK8Zf0ome3x2RoSTSZaXzq2PhUdGy3FDV82Y0XdaRgwfCZrbAmGeU7uk2xTJsl2nTPtacf5iM+TfbRlr6NKtOI+okzagpBafoGe/EOBpJIN1m/B3wBvJ+T37RIztQ2/wFyMd8Gd+ONkFfpkxvOKOyRkgpY4/6yvNyJ0b2kTQeX3psECOgz+lDcOt+qAgYFFvyw04nVSV343ulaTMSR4cN8A2oNCrDpESM+SYKW/hGCBgR5UzSmlngn7/WBkg+1UxyOGNYR1CXLKCGtIHUPgFIwIXG/NdFIvMcR+r+aPIFFLmmJPcZqnvY0d4K8HZbq5HQiWz2gdAPxhqI67WPUwWUAO5lFAlpmIx+QLHxtS/1dAXZIpfhoX75FgoPBg75rUDMBCE6Ah1tmw7PEDD39WC/fa7MEx2PKY5Aiu0HnkkNMDGWj8GMlLbjGnKBNn5R3TaMUUuKjAynKZoHRlURwkQQ74n8/M5+EhFlH7ZRpNju35Ifk4u72OreWOx0Vdf7U+ylzBVu4jqe+qaljKWMzE1PfgAPf3GtM3LdG+ejLd0n5VrjyVWTiZRTczp+r2dy5FDAqtv7oXIYDC9ZTMd5RrZOCU62XUn0R3bRFaJ9rKgsSqz7FblbevaaUno6xXkL0bjDO1e9c1UOqPDsLgimaiUloEJ7gP+pkbK7wLYV6N7gVOqeWlIlob9IxxB29QjcSFDDVCKXzs3c/SZV2k8R89jxHDPpFyK1zV6NIQEWg58XAvvSTApewURY+h9VnyUp+9ATVayQsuSxLW5U21xO2GbFf70gjIx2Np7uMaKJPTnKN7bXGCm7qxsZ7oc0NsjsADOwr6yxEL7wNaedl1Pm9AgRENmYeMYV4WphX856w3S3hFBCAtodrM4lJApLdFVgPkKHfyKOhv/RsnH9GMpiDmQFhX/26YlcLCuo9BNRh6pSgOayVLbUKac2QUzZhrXYvaqRkHGpVxhUCMK5r8drM73HMrtWDqf0PziYC/d6AmQuhanO8NmNkg0R5/3+GA1O0uDi50RlfWk6Fx7bSfRH4omGyMrEOaEjyHBLyQr4F7o8IkbqSxcgKjw1t/T4C/78+26prClADwjVq/r74rRrhs7jUiYigHOAKY4PHd+WoVNTy2ZSB5h3iCLVdtgst/CcoFh8OnSV3Nf0r6R8fiWXW0D6RSUt9qkfK2GSF09abAzot905179TXnWbZ4wg1XIOZh4WSIiNU/oTK1cPIjAPa+M7IFLJlJYIzf2neFoNWXMycrvUzMUQRLSEzltEC3VdJ6Kp3bihoFbeP+O8G9sQ//aD626UB3Xf5UEIsnjwhAkNxlKFZpr06XjgYHir0OVDSg3rpuJF3aMSuZ+RMOWynun6Wj/3aNEjF/eCcKGChZZGFDTsenOrO9shQ2X0GaNgq2gy6q7blskyEB6aKYcVSGBMK5nxRdlIgA6SFEfdmNF9TbJ+mgPNW9tS363FWUxHDOl1GwNmmF62pL0S0wEBSLHN7wz0iAeqP/5Fimct0kDCJrRdxVgdlXMbKpcFSKLOMmX15MEF4FtIgngHn6O4F9UkqDHSKaQ/cPNVcyVJmok9gBo/MWsDvT+y8IsYDX0bnDHRVNJEHAipaBFLA7aDIkleWQ3PTGg6nMi7Dxmm43KSMMBuSANtLTPKA8qRSD2fiM4RgDxR4h0GNGYdIUuFOSJZ0W0zNdcgIzHCM7z69an4+5j5n74z/eeFrpHm9vZre+lbY3nuq6PBvBDZc8z4ZDVjN4OqmTOAXL5HmDsmkkBrj7MaSsZ/fiObxD/0r2QSYt+HcSMA73X6PzDCGzdKPBvqnCurDhmZHSShWw7tAU4T8q1cbnsx6oSqmi34diOsmwgZbZIfqAGEk1DI5dMUdcoZW8dlVzMJARB0JPO6XWFmQVsBCCpvvt/L5LYCn3CtXexcgzRco/Uf6x3/67HYKP/GKkpcYTXTIokVblvcQmnTk+3Rtqd5xNbaT7yMOXgBb4fpqQOat7GvUAod97OBFgH55fYbcYUyFabxtCoApkVejv6KNoWgL0FNrswdRtzeJanuoKNONGpG5xcYR2KKyG/xK6226TkEvzz6jTVS2F5/oO1kL5aER3pA8+ZE7Ftb7QAm3uxkoLl2wS4sJH0ZNmfsLwGzK64PH0b9aQ5lbSG0q6EbeQeSbfCNpFXi3inqNKxBDOSqhhQxTr4iIxl0wUQ4d6zbon7QwEmWS+Wrj3I5Wz4DFwT8RlIE2BLUmfqvQWnIIgnfkSDYrU9zl+Rtt4Hn++VjU9SXTc3DVu7FCQ5pX5vnvUlmvqkexbjErx8Sp/UIt+fJZwqLfDCubHaiVeW6xdVGp2eMbDAUgYHQpa0/hzDryKDiPWBPEaJdK+ryJHK4wylGTrGENB4gyV6vJSABr6EyOa5KKydTR1s2Z0dvCjtln5qRPGxhwW4VmWu5vQkOygSnUkkU12rXkw3XUsCC4to3OSexapo26w78I1zeCnLg26D2iRdKsjD9JW5/mERUDSvvhDMhQDSiu/RvEZfFbk2XPiozn7gq0CnsSZWLl1Yv0mfpU6HFa3p07zbinbOCXUWTKQABu1xnWVBuOirilTfhECqMDg24VJ4j+Wa8SO/7XOkJ60qRcXZRg6jGsdMKoa6hCzXnbKEv0rWJTyi11Bd8JD22yOCn6a4sfKFpF7sPO311clawxSDx/CVYBM6v3y6+iV0msR7Pz+mSe39Gw6i9ny30smJXt8FeF8FjjB4+exRBL1+egh7yMlq/imIdCuhbKwu8rfYWFU8AguyhN+OuSrUjgpINOu35z3fiO2llqGFk/TBcpNZfBc7Nsf+xdShhEqXLchaZngNhIyGZulALlqtVdHZRaz7xsRju+3xW8xz2e4syqOw7Yv8bJJxV8sqDncfOInD55p5BkOXMIledPzXax57sbDLbh5yTUjT7Gzr+YxF82QEzeSy2I5H4KQto+kQPXMyiWzTepEivCUuo6jfwJT/Crxypn4VfHX4ZEo/oShZQRtmhfyVJvad+LwM99wdiD50adRc273VkNwIJCbSZHGIb+STpG9HWQMBvecUiADSH/7bm6kneLoJUpn27vJSJUozHg490wiWzruLXWUQTFZE0D14axuKW/1wUPYZ1SU71XPdvklVji7o11OhoWHFja3TX//GPOc2LBBgI1kDmHz+0wzd2V9WJ9HObKBWnszli4qCDxqyiQnF6rfnPwVssvt8aq8JCfu5YfKEiiYL36KBCSiR6tnlFtp/TA5/WwHrlTSG0u9erjb/iKBYyg+sB+i3jcBlawwXtr12JaLexyIFVDPI7bYQNBtaTuJEiiKuxhjQr+iRML6iOz7iXRzg3G8PZj9DkIsomZJ6dfxbEo6/W1+mKI/nrWX9ZktLVSyAVuPPbNGpT6VScMu1wrmUMXn5YEYZQ9sijMmm515IvoAdKdLIXEBjaX+3Qcy9moTZpU+E7egejzGreXcq1lnR0iY78WjZlWIr4iZkmL4JaRXAy/893AwNpD4fgkrOfPFaxEXZbXj17pJ/XnVdWF9LMx59e4T60g4GKCsB/glMvtzDJyRNWgVVhzaRv5mrLyT8LPl0BbrvBFbhFv4r2v6Lrl/m6jsDUGApkv3F4WcORWePvcEuYv+UrTa1m+6DCTm2qyYTL4A6ULZnQ6sTCjbMyodujC0EqTCVcAX5Sm00KuV1oEEL6yDy+L3JQoKv071NCpTlXJfB7Y6OAbSq1jZaPHXRcKplmzz/KdOz99M9KF+0IfoYlf2mhCIp10FIXII0ju/yXVoPlx/ceHuodDqN6kCeSNttXiKBIHjIyQ83juPlj+0lX9abr7D5MsgWWHW2M0YR+UauNSv7L2JZO8uN7jJSPK68+hmwoAkveZHPeu6e8+YQfOz4N/ChXSqauW9BDMXCgH2wFVhsnSl2BNURQEezzEzgl3Oe+BENDFNvRXiM4EOl0uOZzt6AJeARvUVRbYzV0NdQLnnhyR+U0MxefTpB7xeqdRJ4Dy1RkhOpLZaMS3eF3waFkbW7ZhOTDuMaua1E3fKNxGuzH9/xNPh72xx1iCsx4sVU8s76QLlS0n0n+XhUbGktbuteEqL54tBCKuCOcYZEArjcAwsDmUf/PL5GVovHncqGyrRXHeUOJTATmck1VzdI1W3Y+7wMLRjEzLq5myWzXeWqyJ+mvyhnuzz0ztTKsavayUB/0G7W+L2IseTQEtvliuxwjN8P/2yhdWN67DbKVkK6ZQLvtKM4d6SZnhgYzNHBakbqQcEmYK4aWjXZ7ZmxYUP7T946eV+/cCLADkFQOUIHdeZf0j+XIsMfzxeLp0GR8nOJaKr57aFOXQEX1Hx/hAwPYXj0KOZAABfKJLObRzCrenAGNpBHvcbJdAfhSz3ThdCfu4Mm/YS6Q2qMoLFoRo9EePvcr7NEKD2dLQ+iNl2yqOXlAiZXrPlpkocHrcYGc8WwAeixmMo8fJZfFAFx6xOE3K4OHPph9nD5GRcLuSpc36M8E4GXuujaSqih6SxfmtggZV7Vyw33aHTPoCItY/KvdhdhgoQuiakC2wfspSAZBDTGxBlkI1OJr6bauqDDDICIPXAsUb7FMxEgW6U0LwNFqSqcQNFOnbxm/zpGazts/i/FRYJJKI9COyfDjdlyJxX1Wdf9RZf4b7vtkat3XAvYQDVtrP6Izm1tBbwP6XNKq+kYxTk7dqjCc99bHx7HCGh3tOpTEkN/cHdJJJ5UcsRX+TEat4FCqTCSCoUFDGksourGb0G6XTBkFzicDEa59y6iNC9yp49uuoyeLBGisW29nPtZq0mD8ett9XtqS9oNz2DSXSpE1NIEAsAXnRVdIot0mJhp6osnIkbFPFtxycS8xRWhrppXMNMS4AqyN+jJvexnOikANMDcozf+fuOFF9bvY1mXUeQpF/v7GqbuXU1g17RcjqPCrd0OvjdQRzyuR+4TFXQT6zd476pv9W2ea3xF1p2amoQbfFjSqYB4a8WWqyuO0GqLKohAoBPnx0hXEEB9H1RrzsFSww4P2xGE6YabUzs3PZo/3olqXch8M1EpBcoMY4ROcYIHwTQ7r8Uf4mh2TWukAJySLVFbiucAybGpuvetvA/obsrpjFPUwzTZMQS463ztRPanxALot2nvzLFECsIGWp0gBv7wNcCdF0Kqnr0iREEuEL2cgJGKrG/mOej1psVjRGLk1YprB6Y7kEhuvjGa2mAFO5jTP4sQv3P5XvdFnyhO/H02XogKKZhT8jXwfBV9LbKksPpRXXqlC/jg8QR5OOoGmqM0Fy5k/VsIZlJSkJ20k9p0ObxVmxxV81tZKOloOc/iH35CUKyhiOaFPTlVLxBAoCSHOaRSjF9YyVsFYHC8VkvaLgXBmzXzmN5O6fwzSFALycx3GsL18fJdnnqQKO4rQUbmL5sIQ1Q4p6ibTKg1YX9BPQAvND39gho+F0AVUb1W60eCgNZ5IleWiEIAakNyuUpv153tDT/HKBIZ4tXOT5EA0gshu6YNSUXjgY/h8LaYGEGrrIp0rrfXs2lEKZW2sAThiRgerCcwSVUVfAyElemF/94iO8rQiWyTDPuxbYeA12mmFOF4xSmJrSGnE6jB/SoKjiotPP7wlb2+HGSoPnKMnRuZbV3AuNa4XA9ps+ksJm3pv/7vx1xoE6dmO+Pq0uCz0Rr/GnTT8zQ4uiis5aDh2J8RuICKUAB25DdJnuqap2GwFhalBtj4yfY4d9h3EpM7V6E6P4gthP8MUWdRC63OYtT6Fvxwnveu13dHd7ERKQoOo0toRTt4jpqb6bcgWLlEr5N8zz1S5o36Hptp6f1MxsUTw1LH6u4aIlR1GdbIwfCQPicqfNGx016ihisruyAkaMVZmtgtrS8pZ+zOcNnpp+gNK9+55jPwTbt932psTBJME6cLpNhN1K5xGDFpI05DxtUM1G4SppjOZrNiZZtmEbADddW6ygGW2KaR2M5Gwp6plZVYO7jimvweOhkmkHg0peHSvoRdKG2M2ZmBs1M2myh76Pd1NJyRmOGm3og9yqByscvH+b5GPdRiiFXfXfaCQzUxEPvbtERXgCplXe9Gm/kq2ljI9jJrl8wZNM/OBxL0UaoVgjmptJ8GMhD5ZuV30zvV5oGCkj+a5qy4J9f2M19PfJecAb6GsfzuG43ryPl10vLWYZj17T5f7QDlv9L3VdqRrrKD3/iQBk8jSKbZGHQ544FMim/5zRN/oMrUHbr9XxzK5004FLUmurWnbUhMXSu+swGHgCtVJ7nJSYuEdUK4EjEFR5w5NGhUZd4bgTR+P0IPVskRLa26nxTV3m7kxe0iaNBKDIm8Omr5SMTEmHFJiEIkUIuiSK+do1OsOUEXES+VR6wiG4bAliTPM1SrqTZITpMSv+Xj5OM+O/1KXG4FilmxJJ2Map4U+7aaLASMECoZQgxwthDALhSnlbg1sw8+ZcT4Jdvblpfembc87HRpFx8b/ZspCP29BmQT2tSJd5bHeWnWE/OTmpSgWsm9/sOTZpmdm5qlq+OaITgQ9tUCIWiSvtx3jcAHrHpsyNMjGFtk8RbohQyTlNQYyvcY48CuoZMrz2Wvo+jFfkQECpaEOY5fu/risSO1kKfxvVZQuBfa38p80/BQhck1LmKo2Yx4F3MJUyFnjaAdF/im1ryDawaVJFzxPKCetkFNLvmSGztHUtjG4G9h9/FJdo7vUzNLmncUSZnW08qrXr1ZHzWl6h4X8cHGXh3wpu+49CnA+hGTHgMPYQu/9hdxJg/F8kE0bHX+2NFhleBwxEb9OnuvsRaDoF/aMURdb5pY0LM60CsTC/E8nealJ2te1loZAdslusYjZD4+GgIByochooEefM7rC5wWRbmv3g3tRhaaab6WBJJTinly76JbqdginrkoEb67LA1vGIYa/sHH6Q2RE1uQmQrazC/Vkf4JdTUpGGkSfh+wUf2xxlLoiSnaiuCOIfNP2N01Xk4kpoGuPeoCaZjR9bV3IDiPdI4rMyUsz8Rr1BKnEc9xpNglc9SCNoUu7IvcDAWF+8dOM93svh+RNdbi1xgVvmrRpjHw7pGsTVtw84ZCOgG01wOBj42T+3vsoceobxHoYeL8DF0QIKw01ssbN2xBCNV1VKaEKAld9nSIm3WIR2LFWTAXd9bJuisnA2tvpW6JEWlGzJi94YTzmfD3PqEhg2JA3t76spErDPzBEmHfk+ftca5afIKjZ68fdL+22HStPWUG1SQaEiz/Tu51xNRi0qXOYaFlcZ/xbvDyv1Jf1OogRextxnTSW9hXzJ+ks53XORURhjMRz3aQFuCqpELsft2/kASd4Xg5Uu9ib5/CWpX3PsyfJRbA3HJjTTwlPo3NQ4Ye3V1S42SoICSR4lQBn8TqutO+zZ8pMcLcF2XZAg1vQAU4BGlC2RoJWaD4Lcu5mKcJXbanCl07V/HvBLj4+CGjSjOAh+Pny6jWweUiKxhMSZCNHhyq7gkh0JpLflK8/PKowcIzaS/11qYP1dJYP/S8JSFOQLrr7iUN3LZ2a0e6J0H/GD92N32WhZ3rsuXC/EgtGUWrugzkzd0s+kcvNqkPA1IFYkIdNN1HHKH2gn+AjIZb/THFi8jFa2ZKGjLZLYlebt8Jc6tWdfnb4XNxtwABo2QRzPyBEVqWDFRvfpRvGhjlafgfyixDMzCMMcDYft+7QTOXOwqQpdgfdJYguY6YXfbKtnsCUYj10cEoYxnaZjzFhXo7MGgJsrsDzv87V9qUreAInZyScSaa8vQsG37Appxeiy8nkwUqN+Gn77On+Dv1FaAFxXC4sRCvoKDYR3V8nn3FBhFBaUsj44n8bpP1rkuGaNTEkWegE4nh//1gTjNlSMGjH6VQoMMPDAULgXWYyqO12sNDndFIXMzsCRtNeuCMH/Zi/VBRovwzgYytgu2KgqK8HyfTgwRkD/QQpN3fh+J5aOPuHNwFjOew7R/PGXeiL1BNuL57jLJh1VmrUEtmPd+b13FxhwV1UO9EXC+fQ8fIgU26SW0pSuhJ9Tjvzyz9u/cx0KEXO0hhjpNy4374EUENybjA6qqIq5dAw1RtvUmx+w+5I0APdvtLFen5XDJAwmrcLcDiP5n6A4TMV3kModrpSJK6In9tsFvUedCwZTLrr9amaC8zUhTV8QowwXF8hSUSYf6SdgATmyRMl4WOic4E1zv3gZJnQ9VN4RH7mlcSNx22vNkOBE1DZyXsWA9xnyDIE1wMjwqJaZ8G6ENdr8+3sOvbVNuusEohFnh3pQ4fmmf5BF6z6bhkJnpK4Hf1D9naO7aq9yrRh5PnRmM7HTMLoK2hPpUHc0O5JhgS28+YFmvP6/HOASuU9+dSJcgnbecQ5R0r+lrrOT0GZ8cjPlJTsE1o9rsVGhGeStI5rhwNmVHfDmHAHpiZB6yQlfOcc97h58YAcP0tIuF7h45du+n3YAZZsfcejw3uHr0aA6XL3QuZvEFjJRFJf+VHUArEE+0H8UAq7LFHwWnXvI0+c1feOxPg/VrVZ38ypBd3j7SqbLeHacwzMyf5eDJc3IwR4qF223QKtZs0O5mNNZ/sRsUOlnHY/leMjv7j9LF+qZubGSWpgaU/V0Plk4J65YJgAMPJgY1BExDdsZ2UErBFer+uOx/pbp1xV+bhIGntIazTKPq7XdnZr3B4ZH1aje2u/NhavivUP90Iq016qCy2+vnSh+dMpGSpweDG/CdU9XkWV03XsrXzhnPY3cr3oR4C7QIrefNBW720SGQv+YgZBi/tk7cr94DLiYEMXqSb57Qr4/fO2pc39wUVYjR+WXT2dN0lHuKGjCsnV1agoUruco9Yp3mrSHOT+3Isx/UTlFOQE4aolfc747GkwfO9Sb+Wb9HS+m4gBJ7mhwaffCwkmN3pqQw501Q8/oWmyQEeg4JtXPA71kek/YEwGBDBLcnKxUwtFLi6hAklKUx/MdZo5nkhcQw4qmMCKGuXScp6bOsSeTIBJ3kAl/vEjKWFB/AtZ6Ghgwdai0/iNdsZcnNGmIfItLru51hnyLpxylxWmMeQ19b0mwe+2srvK0dePNKhd5pdtaeZn/OjGObqyOSUL8WPxRVK/s024vEJZWjc/1ShXt7Zfjz8dAbSZ9hK0jz2lnu8cRjUxikcu4OvZmBgujTeO/VgK/olnbmgtIqxEXKQIhrG5TYs/Nu+pMLl5bI3AmrsAAQgDmntMy13dpfhTxFsop4cmoh1za+OunQXd5JccYlE4KIqJqreuc9w/ZN3nzKkFe9TlQ2mbMT84RgqE0FeGZ5KE4fTnfK9I1R5v9CyEwRGRVhuiEvQyuaKOrUZWmq7zAfqyvSvqQ8sKpb99SQlkU5M29xRZFDOoO69y8n00I/P9WqXzOEtXQivz/DMPSQjfsjqxaUOhh+pqH7g0IZYe6xLLjB2KQKsdsNcgfa8q+yPiqrJkCkE/fIxFQcRtUmjTF80xHG/wSan3jHqj5lXK6984x6wE8/M8prK7+LopHGUfx6C0/TNF7K2Z08MczIqBBkWxRUhs50ZwQG60V9H2Pq9ZxkD96IS8Vw7Zl7AuAKsvtb/EFb9OwIOkL+gVMX3b1S7dTka+G2wP7A02fVfDkLXZ21+vuhILKLmKOd4OqGp5rpjSzypysDfI0am9X3DFK8+AmzRgeljgIY8ojv9e6gjXUhzzrvu4q8dT+i7WnW9iL/3Orou6aM7U5JMf5Llf7645nsY8Lx7mzb9MnBKANhxb0szdwDoMZg3NIjRUJvpkiTNUunIJlHrHwHT9+iA1K8fQyEGqAfTT1ttgJtlfKevgFYhx4i8RDPt1b/afj0POpUvhudu0PRcdHirQkf6BFHGcrsvQw7ydwtiZxtYVVDrS0CsaqaySRGwPbl6ONwwG1tUV0V82lVWAWCPN0IWhMqBNKlk1W9cpjRlLHneA08LyqvWx7ZgBGBvW5g0lcyXTK5vpi5gCytBQEcX3tcxJjnnr/UwVVqsTPN/m5waP8479T1GRLKQ0PBFHVLZ2RHvooQeJxQseO2UQKoDjvlxzV00bHa54KW/jM2lUEB9GioHLJPhAt9R2yvyhQ/qDkCEl9mPnpY+zM21DLAUSjq1yDH+QiDjFXjEDIPuzV0LJ9dEf4S+IqVxizxG/nNZJVy9dSyIgQI+nkQ8xGz+hc5rKhkcreCXuriMAybEDtxn68kUfJ2kNec4MFusLzYMCLnWJLy3iGz/6AfkJ1SSrOjNqSAM5GBx3NL0XjlVuivOMQBwBGUiTOWjSc6YDEsJytoc9Y36heZlpAaBE7pV0lHpMEl6pXmK4cs+RP2WBb72wXH9tZ/YZNSDTvM+oXdCOsfc76UnQLotR/igdxstMLDnKDvY/vyAvyfjUoqVsnyrmnjNhs4U/dXykDbkE6Ks6P0+gxtHDPanoTis16jR97RFsD8N8vN2YgNu6Aic6n5miDbDW6p9gRgarTrtmwCy4coxqRKScFFDEI+ma5Gb49ZZwX/yo2U/1IrxtjwfHOyUefW4KbK2tBlNbRj7dtvDeCWIKA+Y/f9a5RoXv6u3dn/J38EpbX9nGycKWEqF4h41VXxJQd065yEUkzA39dmh3FuO+AIrLu5vT53hAjPYENXucN3waxU5oZKbetUaHG/tWyyrp/5ypv66fO2pAZ1jj6FOOvRTvFr+EMKMfMEh+UT11hy4a1vvNfmhDcf2OpGnFjjGhbj0bjZPbadeOJlu1FCBSt7kV/gJM1YjsdY1iRfhCu5KG23aFn2iFG8nKHYXVAPe7Su2FPbdi0T9Jp6tnfqdr/GnQDBDxDnxMHdZQI6w8D1arOrl2j8rb0QO3TQ63uX95qys2aaAf9krVDJWp8a1ITSEkz/7kHCvOsM51eikUmPG7qFC5Ll8r6qZc8pCXJws0/T4bqs3LNnc782W2d1EglSpYnf36MWCg7E0GIFOVNtK1EkoeX/CBj7T2XaMJSiD9E51JGtxqZ/o+qKcRP4oXK5e8zPdpSFjM6mBQUP5sff8scy52wL3ideY2NrAdkphFxS75607d3ZvltQCOqBARFI1bAyHVzZ2m0QYLymRZAMoedDSQ433rF5uolFQUwXPrS63RWxudISxk7cWkSnKx4h6hA5K+w+dU+Pu5gvsGUeinBAcaHnzIGVSc1jJNm5fho6FGnT3wTBBPlP8x+4PUqaysJtBIIG+77TPyyjAIWlZ0DK3HoqDcGMCHujqk4cdgfDZWIEFDb2yJMzVf9A33jKzMyM7iINSg/MQHqIrLlQE/ZO50e5AZaR0qS4zzwPAg2CNdOczmF2zaJ2urlxtAz5y68dPVzzixYcMm67/MSfQrOzwr4W0kLT9BRNesqacAozjHRFmKPEJDdEaYpsG1D81aJBKyuZmwA6edViQO4sFXvW0XZ4WecGZp5QiYDco9PzZdEJAPN4STDgV7xGZGPEG2yJX49epG8sTooB/3MBFrLAW0WJzRSDjkIcFuLEMpjfqsLHWz2JilYnH9mFb4REv6CLxr0lDHrWonOspxFTYVRnM7LiAgBkyG4SBGX5Yk1w7Mrckz/zuTFFqxDeIZ+Hj5NKom74R4PxSK+Zja+3r1hpr4DbTrFqg7T4sZc6JPyk3xDuBtRYJfohgWOfxoABPb8KszGKEXHRrnBFPHAiETUF81+wTUan0L0sTSzqUUWirI/f26e4G2zv3iwmDtgSML+K9sk5u1YemPNYRjBEDKvFBdbQc8kJcQpl30yWaDmLtQd0sD+GXwJZQvlXWxNXgqTFjU8iYIVJHKHfgBbNfl2WfJs2eyXp1ARsHWa6OoMHsfD1LTM+guAd1TN1XA+u9ZQVRc2cTRGL2g9bGZLlQSb2UqnErEkE6HixMApBQfuqlXXptcjr2Y/3p/Gz/FIKIUSNHnZY5FRz+E6iAVaaVz2qGubzJg3hhAmQST8qCXsYslj4IZvWltCh9LjsLbu4+VCfO2d1p/EXjP5PZzda8zPqlUBZ4pYb0i4LS2P/TVu6aCcAgvcIFf8eJSnkGcDecJhtQBpz025/e9r9YbKjNC8y3sGSqLMhzr+HohKZ6xiQcRtolr7MonnArVSD2i4WLqkP8CHVZzdkIX18ZoQluKp7vwFrYVMlU9j4js8DQoCCy/GauPys6wv7xsV6AiLxdzSyNhtYGTaEZ6YfPjrwqQPelR8c7hZXGHXmAJ/64ObrQiSX7EOg7Lz/f4LmvtyR/8jH8ar+xbp7Y6TjRejJ6amEUf+fHjXAXzr2vFna5WAU0ZW6/0Dn72lEHqlBUWtbBZBV/QEmLH8Xnv1i+YOp8cTcgbPXV3aERsSh2wh/0hhCoZslRzGGSp2vVzUhVPgRZuyvvCOfIgldoQPt80z+WcqUkkPAV4HFLDlTRp65dD29nXJ75/T7dsqoFOQhBYGYRLrzT2WcowOaliGeyO2Xj8QpCMdLvGEsQWKPDSLow0V2RA4mn6cYGWwl6PPHolZSutlQwzSAJaAxG8HF4dz0+bS6XDzNTKaKzztK2UG/q3mpteeJpZK4IIArZC43eyv3IxD9BF5H2+BujrBC4XulEvXcx1uSIaK0FrIlLyxkZ7gVtxP+HUObygXQhnVzyKXKGtCysfhkpHjsl08VKlY75+pWUh24xOGPGW13qSac6gYTwzSB/Y2lTK9ObxJEgxj0AiVUqb/7+yaYRZo7WsOunX9FAvJGGDUexyo6oH4ZqMMVpn5602tdNvoJCZnjeQUir3t8ZHpJah6k2RUzPEo5244m029kVS7Z+bBml4CmcyelI+kfD+4EWS2gH3hnS7AdTJ7FKlDaDzHS0LZCYbv8KIfhaQQoSpijlhi2/eaNxnF2jg3l5ah+N/hdFAjzb70ObLNemakJmRX/QxvgA5lXeXDl8C7efu6QWtMTrRqOyil9DISkqtmDUM1P207oOmdYGBHQELsEsLHXu4IzdVe7EiIN53DmL/Ds12ZA3mIa2xifUObQ54wvVxMhL3aC6QdP0OBCee8RFlZq+4+B/5+6TnhgrZyri5ip+GUJdLRCOtlrgbG5lal2D4JnbircQUyjejG5HedDwKvDp8F1bI8SfNraSLiUCXaP9LS2T5HhSwBzD3E/XUVHUjEja6/UfecLwM1lgcE1saKNGWWJ7apWU8bgW7cgp/Ecv6OSaNgfMAQoe5d9Z97LQzojqmGUcDi1HMc6z7ZB4mk4IgrPzE4zoSYgNyU8HGqcSIniEN4t4f2Q1Lrrwus8fPuhYtLGlxP+GGmQcMgAZQmhnilLGE3Y/JoHDQTsF3gwWsnpBg5dCYh5ahHdQhDw3HTEMNYgBqLUpzPpe5utvqnea18L1p8ra6BChH2zJ8u0q5ReiB/OersZ1ZTIaAERdOhavRJ86lWT9xZhnc0YQIWMVQ7zg0IDZuPtzGUXnQTj5ZeqQLia4RNJd7sdIEwevUGD2VlZVMsx8Oax7D44AGu67iTRPApFi/Mb0odi/R0idQPekSjFCsWnWSAJRTB6vl00MnKIHk/FX3NLNAljr/RpddGUGmJktw9/fvDid2JQ2Enl++IuSOxRrFOGlFoXYUwF0FOMRnlkg+06+A8lCQwRfw4PLwkX8txQFk38brtIEyJsIVv7V0jf3vSNWuuave/QGbqGzA+YaU0CFzK/tHygtVchZ2/NSJXoMhyo91FSAVSDR87c1DiaqUTwyyT3g5HJY+TaiHJY89PEeaK+AraBSrgW0ISpr08CKe9pH9B9KEZ3ZXy0diRVoIMxyIi4RccUK6ZEnjpWWrt8wMv3xVMngTVOAJZK6lqPtugOzfqlTNJBCq1iKhtMiljjsR1vCnSTjZIYZP5+27BuRS/8HOg/fU4WWUCs0wr+wu3SH13mYZ/uud+aFDoiUHPwnE/jAMq+ImsaIevgFqBRW7uMFNvSgf4bPs5GMmQr2T2ScHbUl2APsQXx/d0i7rK3BJhz80D3v2AVGQiAXq4xSetXoGpsHkMfxIPRvW77fVf0GzG8A+gpFRA/69bNEL8IubAkigGcUUMAvJYyxnEICqiHq8zcIniIibgVlPfTZWvCxtx3NwknwJC7rC7AHCxTeUgDhEoAj41VUHzR7II/NnPaNIoxC+naIOCOT42MBPObkA9ti6qh/Y31DNR9uDlIpGkbOqLwy9wDTjLb4gKb+ic60BZzeACClacBXUqpih8TNYHhQY3sK68vJf+l+oICHtG9ne0QRGLE2jFmRWQYbcVm7Sw05PJbXVu6qlT3gZT94kM8H5XVun61aPa54duRcwkFEUNvlCjE8bz48tftnLaf3JVwWzFOLky8ueCvGvGt/vMHjgywlHeSRmCMKQumz6Umd0+FyFq6ej6nxEEXyggK0iDGR0aNUHQWBFaReQBM4k6Ms+uvrHQ1O0E7DX60mPc+HIzexkGbj1krWlSuzrGR5wPmjP7SpdMUYPqyo7lpxbeYF6+vFmrizllfloMbQFa+2XFQsyRTsnNClIIBjBCBaVy6dxq3FTPUf063u52bQCoiXX5g9Tw60XYCYosOLuU7+nknVHXZ+p0GTHaO3ZnrGWEY++jhmZVSr55vt5Y0SlXj8fcIuXzqgReL9FhJ4fp+ICRsXTVfDMd6DoN7BnJkM2duehVazbajD3+ga4wx0Kxb43aFmqqO5z/7aDTRyQNH4gbm5A9aMrf/Yq8/yF3nJJFonAGtXzHNVnnHsJw9SHWthnRoOzdNpPwNwmW4NGFi5SHiRGhi5sLKLmELsF/34D/WBttGm/hZIbV9UpDifyleiYHfgDsxp/h8JRto8LhJ1XFb72D4YanKC3LN/xQiL4NKu3Gab7KnCdkVW2erzNUfxGmVt0xm10XiICf9nrraMYfXCxFEHr6WGugg/OysHnS2/q2D+tdqRgekTrxvwolVVPWZINEPxJ96ZNN29Wdf86MO3v5YLRHPK2Zf7ER65sdipAC4zKq4dLSq1AwNktoXt+7738TkV1EayR7jOWGwf5ODXowDX7TldB67tGqh92RVIRBb5eUaxw1uAS5EuOLEeh9KtI9MxmzGf1pcES35exytVj024CY98tXwSl1hSJkYXr2p/7HH163UdEIzf4Z4sAC52yWYQcSBRjhL6MmyjkywSdrfcEHmUmy72WG4c7u+nsqRQ4AdQ28sdRx2b7jI8hUbq2AAv0JBvy5Gata6WUBmwR5nR6cKP2ti2B0wW/rAtRUPq7DKHprcUfm5scD4OQQEAqu98GpdhT2IqDfQ5DobqBMQa7ks5pj+elSSJ5QCAq55wuxmnXtDiJCap5QEbTX8glGM+ZKwuVMMc8sOGgjgDbvW+9ymEyLfKbSv/GQdK+1m/BSgxg93VzWK2SNd/U2lQT1IK/2nFHuHhVyKnQygwtCnLYbxjGtXEp4FIcLkLfBAsjTd/AMHu+KmQZAPCj1o1ezquKIXBj52KTVFi1o3We2a3oa4FQcbLUkuSB3UrbBOnBv78+MlZcP+4blcAyRO5qCJJg7YhKSEyGrmxk85+MYvJ58tCr9cQ6cu0j+NtynXfad3GFILF6dFGOMfTa8Qxt5x5oANb57x1Poa77er3MewYh49E9F5im8/lzTu++O8Nvc4HeIAx1tDvE8MLnepMO7lFXtUtlxB4V0Th9hmAnyEvPwidBBCtW6IabtjXDWiyw6hq4K3H2RKppwQv1yneIDYqtXPuDYYND3Mb3d07wnuxwUr6YLI0AOATqm7co4WcU/Ku+81qxZ7yM7Mrp+/3mNtSY7JzdgagLUh0i/W3U9PdmHkaujP4/S4li3gp/Gc+K1jSps7lmBiYD+megdAsihEyuOMLoVvrjiGyY7MPbK0BmvpAG2hQa8F5W8zIRycYl9hHai0FQTguhnp68dvEzm4QNsF/spP4v4rY2VYs7knG75z4ITicI99zohw1oaARoeaQ8LTEr+aYn8TLmZz84CpxpGe0HYKwqFuLGZFAF0nb5l5dOMRO6l1Jg2yLeSZAnf+gtSGO8ANqgpsUX2ccQsehKt14Z0TiTKSSc0y24AuUUVJq+5vmSrJVPOD5VZmlm2uJjXyjNLUZ8HxJzAShR7mBaapfAWXHIhRVbJyc/ujDN7+JTSpUkbrTsRxTg4G0bFn+Bixt03OnBwWRwdSYWn4JxHWyXpsV3JdDFpqsuUtEvjIRKMBGqab3dkVI50fn18iE2KJTB+WoKURl5bR6fCxM6VMesYyK0Bb13p9CM/2crpDsWl9Kajf04ILVWcGguGNiZBYSwtu/v8v4F/0Gf2vOrwW4jbZXcW7px9ZDIpmBELQfoIERQPJ8d08TFWmlI5Vxwgy167EW2eUwOBUtz6NIdHqa/gXedET5rUp2+VcBKn7vJC1iv0WumF8qhZKAOLp2JpeWYSBaeDjN36mvt54gUEgPLfPcLPOj5A293NNMl7KzAt7yLWXqNNnkM2KdqakI6Amu0moGk/PWnJrk2buRFvcVT9qgiOvKGzmdd36Cp8dS5iF7DFlPMXamvk+ewsELRrJhBYHKBqzpnso8GzwgpHCSRtLa3hhQF1uKOQZyATWaX0mBdiIVaqVabYeOa3pcU5hlJvMLkcmTTLnE0shB4/m+yXCN9fBE4jjMKG8GoY8zZsUyE+fvIZ3Wn5OHUL3VnjhYjn8vGYV10wbYVGHPkgr7t3Pcfco2dLdN8BbKuo3lN1jjb+niiW25hGVF/IDt78E0nhG9SmnxZEiXQHdWnwTV4vyzbB6rrVDNCX1PspxyLA9Wv2CsEZphjYbpSs+PR0Scz994E61l17XD8a8mOFRixGfvTXkK49Hb3gkgpzrvBQKH/6rzK6Iiz4XAjLvZ/nkSbNP1Q5gzstGVRCKE3h3XFBdX6ZdHOlDgTGs2QQwP6N/JYKbemjL4j7DotIMYc+U9On1v5mHP9nBJGpqv1b8lrFxv+op6K+9eM/7po+PBhQjE8BX3K+Bpgc1pZguKZ4A4D8KngjZnhoqQp0mg87kEvRaoY+YKcTl+P2FH9uMhWNiuGg3BAghnL0ATuk9XWFXoMM4npXmc7XsJ62IIYo4uisA/bdIklllgM76K2jBQ61lBcPEhCpgy2z3fZ8NG6lYBv2cAKjdt0OW1+abGa5mlxqZZu9sLI4H976LMvbHV9HuOWSyxET4RXcmUg2H2CrfWQtbmwULK+9DKQI5lcPORnrOCZtRZ7Ho8SemW2WyX6MkTibKiZW7km1J+aIMiFt9Z//KQgYGTc4JDb2XlSLmL0nMc20CHpPlXDqVYEvN5lXLrUZKDajN+AXgeABvyIMywuqwfjo+553rAZXY4jRxYShFnUOVJIlylw8A1gNieaRj2/vSu2MevPDXJxbVWLSjW4UqWFvIy/6ZbUbGzcwNV607uOA0CVYwFEjioriImHkdFGaJm3qmizHLF6JQCbdhnAuK7cQuj3hjsPzOusH75n11VA8friMqP/4B6MFyklnaNLVYguNvVnhgksvAheZBJ9DvtRj2/Z+GOpBwU9H7P6DZm7MNy0ipQ9SE9HEXz/vDIRkGXYJ5jGZZErcRjokr6tMDZwDH0kRYGdDgeyaLxNOMAYD8k23xrpDezxIp3/+m/uIgtcrWjQAeUqvlS5iLjP0UReTKokSiypE1CuyPxzKHCzRGXj1uhh4a">
            <a:extLst>
              <a:ext uri="{FF2B5EF4-FFF2-40B4-BE49-F238E27FC236}">
                <a16:creationId xmlns:a16="http://schemas.microsoft.com/office/drawing/2014/main" id="{B8E3E946-2030-4649-AF17-4CE6816BF2D0}"/>
              </a:ext>
            </a:extLst>
          </p:cNvPr>
          <p:cNvSpPr>
            <a:spLocks noChangeAspect="1"/>
          </p:cNvSpPr>
          <p:nvPr>
            <p:custDataLst>
              <p:tags r:id="rId13"/>
            </p:custDataLst>
          </p:nvPr>
        </p:nvSpPr>
        <p:spPr bwMode="gray">
          <a:xfrm>
            <a:off x="3343484" y="2038401"/>
            <a:ext cx="5495519" cy="4422667"/>
          </a:xfrm>
          <a:prstGeom prst="rect">
            <a:avLst/>
          </a:prstGeom>
          <a:blipFill>
            <a:blip r:embed="rId18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0" name="btfpMGChart834952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nDqnRi2rF3dC7/3vzSMoeWc7pCKX0F+d942NXGsvNxutEpLBc34F4BrTQ6G4zsIKosRoVu5KBV8s3E2/qe92MZOYboHlILOFcCwXXd4tUBO+XvZWVvUsSf20rFz2ZwFhnL1v6+F2N/kwfngH0FerW2FTqrghRmJH/APqPnHHLVvaopGdW34KJBfVpXQ4nWghHyk+9PM6YDE6Ox3x9Q8dUs1wsarYsjIKqmEMcnBQ2Iro5rTk6F/qCWrGK464VufoxPE4+dX+4rMzoXixGvThjcSVBwQcrGbGwNg21gDG8XzAWh2Gs2a4+XEd0FTv/1mbQFxXyF7ZWasDzGKhu7cKgKDOrZeSHcnhKkT6209F4G8QApsMQK/h0ObGxvYtPS2dPf7DTVRT4bNmc5MRD+jTZZbTYjTrlZcEzEMPwB/6eTdpV9A7SsoDIJ+g124J3wi3K/TDuHNQqOuxLDjEEwaPVioTuttuH0FTkQmhok/Eto6PfWfp7I1LTljm4V4lCC4slAl27gXXjWDx6HNIDxeobSsehqxDc1RzbEYRbiMkcv5hoiWwlx0+/+nvLWpSrnCOfTL2EyWRHuVCrb71oboQzM6XFqdNsZuAJlDCzwdpcPg1nDVcYBTaIbaURzZUReUYGpifb+8Js3/hFNcN2t0Xsl3wu7F0KZupe4uyHJ1U61FQm05CrxJ4TI1EWFqCvdYeSM0H++R/V2XYC+Us+DnuKpZlI9ilGnzXQTFlvnsouYQU+7BedfBujqzIhB9JhKR+QqVCHEuVXFBfh1mBUEms/sNakRqQpVbHQDQ4YR6Ji7OSH5KCSq9IzSBE3WIKD4KpFwkNI7hBJcyHZt2dUgFKy9/+zIrmKSKH7wvFQjRo8RmgHTc3WGqnC6dGEysQI+D8eBJvGRnjFzGfswIGRASxLBk9aFXV4EStaIfOTcGaTY523FJo21Z34wvm8sRtlOw7zA0LOIgp1S3WUhWGuOAbl+WmPO8qzhY6xV/sMR/LZ8yJsAszGc3P0LUbiA776jIOWVyPBJ/X7BrLnVjlrNXV48S9lffDuia2IklISsllRs5dStuLk6qhNFrtZDzR/IbSCXV1pot6yNf55B/3vPw07mNtAi6z+0yxKYPTCt0AtTaFOawOYEwnPlBXuyADsmNmUdaaIxL/p87RQElPj9hg0/9+G6OSPflN4fGhobN7WG883gqTmpQ1p4EFJlgkE21LSq9QcLt70CzOwJfDtLXayYKW4PAzkeD0LiZhLjRZckK1N22lTkbGveuSx1mnfnmPVEHn2TdaMoWZ0FQIb8yGmuQdWreFrXuI6zM+u4d1+3mKihCv/dmhPqGyNNROk1oMWkSdpCgPYMNr9vR8qs3eWKz3d5iLizzXPonhtQ2TeOMSruVo9SFdPVKWpX2Yp9G8KctygXN+cq6fddKpjzsu4THdJOfwpY5saVE9aJHESighQnOB0SAdWEz4Mq8rbYWNpFC9CsDMNgjg5nyYXB8udGzCvPXnlEJdn95BTOgJRJoEnRC+Afg8tXieOJZ/7X0NLr+KvfF3GLj6vPuU1QbGRO4YQMY45JWry7mjDTOhOWfJ5Mo60uX0ozPf0Eub2Oq7T6H1DK2QtsptSl3VlchrChqICRqqt8se0MbogVbNY32lVNsq/NI5si/4hVx7FtTTUyBVYMy6y+rMuIpSBUynUZMiNvRrwd6G+uvI0cnupIlAKcNvtqwfSbKeGdclLfETtj9lBIbamosZJSMjzEhjs1v9jzMXuRJ4jZ8chEw4o0xPFKbNm5csdGGSpP5ucfWvfKUehI/r04YXsHLgLBGVEZdFRIAkvKUxgz65z65zHxI/URUywoaV40k8QogAOxm53pTKm5xYAHPoB2QixwE25sGz06g1+Br25lc9GxumrheVFH2ab+/IE6E9WEePq7ESmyhXL8SDfMdqzSH0/oqGb0y9U8951YEGy6iUHp+j6NAIPE729Q7JbYElzRrhBxnKLtJDdWNifTxLJJ2SdL2TeE6bvpKOY3Juz409TfmFCWylt2+iftc4fTnh7oK1EqAPga4GuO6ZYkR1kRaJegCzWXq4wsz3JJc9RmQorP5SCYHJ/NBBh+kqE7Og9YfazmvmQgLr4k9fRqnEJl6/2/q9JEhET/JkNGc2mkmIS3gUcpOd5NaRjLdCi0yfWSOqu63dXxhd63yIkEb8LvwKnC464nYS1gKMy0KRBXoy0z0Bd8aLrERRbBJ6PUYK6FKSKUHj9vAmOkg9L+U4vx/Ih7wojMnbdY9JZrHIpR1RgXvmZBl8JKIenB+lnpLnCqVQbf40xy1apFH1O3dzLEB9rx9bWFZcT02qvf4motQ73fhqQFx/6m1Ek14Ydx3xMKNmA1y3Ik4m61wNDBriijA3V5UBk4cR/TeHUyvVHYgBy/YR7s8dvlLeA9Zk+3ESXbbos2WANKtYXOfely/+5RNbS1NE0pcLzCjVakPh7kKoXKsnsf7lzMtvUKMB3iZTsk/VXyy23aCbVxQAPS5PcQjcqVVF4Rwatbg1mzO46PN3S0+DWPobFAVoRFVH7DZ7SIxkXjSC4r0BuCTrUYsMcRgq4ZsZvSE/tmmqzxDamXvPIHSpd14OqpxZrrDt203FnZvzjefYYIHaLrWMEmbn9f9tyE8MDjDs5YROEjeUz2tBofKwwCGL7B3QdjPT8kDSpPX7ZW4eTCVbM4q/zF4mHEKpLfl7PiDqqp5Hu7sSlgmcpNcgyZDmbdJC3hsD4X1WpD2ImR+cJTCVb5Bbo3woIeknud3n0jxIDt6VftpZrCi+AfJAI19qGf6wAOV7IdRagV9H68ww89On4wUsDjj3rSbexKXaCoRyx5nyNU8bkTmWrRxUJMVcAjTdTTeR4SQaE6MA90hFd26AF2zGUYjckHgbmz10tHpC75oY0mBHCnS08RFRPBBUq2ot5A3dA9Dv0B6ezYezIeTcXwceLxE3QXjrksnkIQQvfIL8jX2S4n7andVtlnBg2E6Fp7wVReUWMG6pMNlachEfC8zhLPI/e2JvFuTZkBbOi7tL8s5zn9wpUXRqQ1zx1Ic2CTFudcwPGn7fP3SIscSvvT3AZvZgUHzPwDf8wA0I5B9jxXivCxpCebtKputBMqp+3mPAvqvlI+E/+GXq0ZbnsBPt2ZsgDkiqqXirqQPlnbdCuLiFbsJP8icrsUYMwNRiyJndk0r5nWFA40BHf8zP9K3+VJlIQ/VUxEdzs6LoQnFakREUD2bmU3/uwViLZ5/1eR2eQWqL2TUUyrT/9aDeC1NO8KaEBOT/RryPPUuOew5+n6I+qmCKItrBUHAt1Pfpq1DZTssNxwBYFHN4iyEKi6zozp0x6EECKGafN2ivR0QNZZbg72SywwPN3g/aP7U8yqw9ax9gT+wKsJ1xuBsUPHq2zCWy9TXhZkzCeBprzaXdHj0SRCR9oc+DZY4sN/hCTZuwCy0XuSbuFvrt25Iu/YJVo4yKVEmyMnzDJ4C2VRdAIywtKxu1nWGzwcDvxzHgHFDlgNTv9thek3v0SWIWl1t/1qEO/KFj7dmFbA1VPXEIYfCpoeAQ9VySzEmbSchnYiooXqidk9z/lqPuij2jpP/zdkkYT046riVQmSszBulQfPPzqmO5F5IdigtvtlghoGfMP1bXXEGhYtkelFxiN6tmyGCQ4TppalLNv51HiDLxd0bZ5YbihOKJxEy8Jh5qYjRsv7uHShgvHtozFY3NcneQsS0F5Kazv5OlAZvqTYsD29CuDBovpvVp9Z6Tp6RiivwABhSM/F+jBGtgXlmXkney3S3riO00+VMQjCDcrPlz0XLNd5C9hdOIW+GQL1i1y2e9gzhaUwwmJp30a7f8wfT8J8BHWDl6Y1KSJxG8ODAytPbr1SJh788us387n3wCeL8BUMewnjcXGgoGZ+WsuG4HduqQ4mLHO48VigZG2CF7rNm5jO+dTZYU1hivPXgB5lE7D1ek81HWCt5+DtATowqtEBRH/8uKAvWdlYhGIgn/Zv4Pf/60tOIBZ/DpblIB2s1CRIr9ncWNs85G5s7QY5699Dm4y2icutPqM6HEuXci4hB3F8yF7ugzXreZfm+i/8EJwkrQa+LhrPQly7wyz/hXeRtHrtQomOV4lxgtv7QHNimywDD5PvwGz8GI9zCqewZobxiHqibhqLrHhoqH8DghTXkCBGExc7lqjA5MrMC0iLtgiv2FIP+H3sv+AwBwT8gAD5XpFlDGYrUB7H5pmtaX6cFRd/LYKSL76ILHKzZeH5bFwKtMqJA1EMHENpaC84WwppmldGB4ovV+85/NyYV6qEMSZpZGuFoZjH6SConFXQlYNSxUxb19UGLkcR3EllKv/0afyBGKtO2kKKDpIbChP10dvA3wbsvVsl0zN/n/4Xs0HeiJsmscepuC0ig6Q+lzH1HU84WboXU7JpaiXEKS5uWt3vIBjhfLWNXjDNz+x3AoLpzMly24Lln4J0PQE9s4SzEKjnjqP7LiDYSsCo6YvhxwWV+dV8B3wAXK/o4Sn87qKSz/GpE4tmOocV0JYT8JxDDTovA9gZfx11TVKK7CXI3PT1d+e1t5I2VzkRu/nWTqbniED85mm/ty6mxlyO9NMD3g0ANjUcgo9TKP8duLC72wjrW0RiqrUI5xlDXdjHFUmo8SZJrY4xWCXsjfe4QP9JkVS/yh4nKAijIgw9Oe+V0RMSzX0kAu/VNMXAglJaeODxDCQSXeq1hvP8+wvuwkojVyQboTF7PsIeQwydA3mvSPT/EFhNNamp8eYs1JljeGxDA6XVPHJe/UxxQ79L5Lf1EiII1Ibs29xC1U3779homQdtf1vyIKR7TuAVQr7eHZfjDYDSZSfPQms7oJGCUZ7DrKzERZ54YvrAJkP9sQAUM8o3/s9GSbSWaawhfb5qKq08noEaTARFZh/wuk3cLvOMHoisj3pvTCfuHQT0+C0CiZTsMg7h9KEI6i427JlXlK1+TwpCU/TbnC0pGnyjV+9WLLYn/fab5O+nqnPWUFcia7fO+3qjyPo7QyY/D2yJxZQySySqR8gekvtvpQ1tVtYDz1y0Sz3fRlbo8EI8RkQDfJd0N2TUXnttz3Cyyiy1eCI/qu9m8rj2CJm0bDZizpNJ96R6AjzaKwlnaidMBTWWJB0IyLTt+njzjMiokMNH3wV6gF/G5X07CPdZ32n4Pwicd63iikKqaZHCUcfTl/k+innGHJfJMPa/LEUOBLoCeRxCwLO0uoc56FEiGK5pKcp2yy8xVb/tXo+1iNesvYkwAraJbLKuiAGHzjKkHuHXmLi116ynr4gzOSp41yWWkRiIqDL9Ua/gVV5XNeUPoxDGZcCz7kH0dFyPnr4bLvJn4lxbq5Myg0vnRLXTY3Kep7/VLaWFhcXEz1i6X5vHJ43+9J3A5F31iFpNBlsi9N4e2FegOmKn83h9zziVp8E+DihQIFhoPG075DgsHsd8BnQQdpNNnFpUA5bZHqjxbTT021+UomxJqd34uEIqwivZoX542aFAHOpUdpunqth6S8ZVyF/acIPxUa+g3nfVcQgXP5gsrjVyuetDuT2vhwx/FzibvXR/iHMqSXAugfb3JUqbx5ktMeLLzw/ncLEZ2jgylIgYApeF+dx4iDcezfM4LTjVFrjMHNdrxUHZCya7JfGDLgeliBZa0EbsJv0JbVwJnou9njlYHddqwiVYaK6bZst545i1Hi2ncmUcDNQCFcZE56O5TjGJVOenIW0fhJbhO2UAvla18jKrx0ghNYKeORJiYVg2di9rXmE8clICc/BJomxAM0GaEeLip+L/6SMcnz+CZ1r9Q2HCvZmZycc8pU1krvUKQIShuYPdhNATLsnIDZE2FHfjuYHFK35TEX+t95DChSdJOVWyhixFTmQyMPhC3J7kcJP/UNBSHIYwSp25/ebWeIRtX2Ujs87bLgsT0sQAOgKYlhTNakOg/an7qyrFU9PaM6jt4hoEDhz2EZwya8Uohr3ahe3yBuyEBq0owAABGsjmAh3MV3QdXgA4vHQG8xlqqrCyivEzcra4jhlmWpLoTGXxJ/djLLxF3AdEjbOAJqNXZiswf3NgVm6KDgLfcPNAnl+m5LQ7zf+ukmrIreiolB5qpiXRK12+WQ4EraJzdtNPWTbDFwfOLA3RkcNCIdeAvw999Dr0enRMCDsPi+RpPqstKBgx6NZKDbqXFHhkUXNDXX95PhrfAX9rZl8Nsch1mZ4CHOmlCszWglhLXuDWYG9z9sdXzPYW2W43Z7sV3OV9sQOHbJts0ls+R5FrMwfkTss8ghpki7d6ibqjMYI5lvtCt9CcHwYhe/ix/dBh+fCF5MBbOkeXIyW1a7CMLUurDR9c6ZmlFwjXFcZ7GuZvfEkv8s+hd1QUwDAhlFseME7P68Io5OAwxsRxoZ7hd88FQi6eENg2vXcKmXz/OdyyHNu68e+tsiqwZHIQIuo1HZ5mHqEM2mVi6mRrhl6EnM4uv4joA8JmcXI0MwveE7RPbKbMQIlOJt4fTfu0/XQOyrfQGiJr36popk69lDNpfScAdfBx73CnkCywUOHAwTMErM0qahxVcKU9WLCsDxncixmVWOGFhIblyV9IfITjF5IxnOAHLEwLYIbkI5kQ+mpDtLknzCGXeUwWwt6g08k/8bIMIkRJnzfpTzfT3YS4d/in5uXPiNjHJQwSzJaPYxVovZPkHX9yTU0CXMiK7lYbMuP8B76eSkrrsD/7qpSpat0+yFEqgOMOod1sXx0K74o8pBfM9V1zTtOATLBo1q3rNMWuJSEm40EAYK5B4xDZ103Bh3NiAzF5CZdSmMnuhLZphAo+j6yIOUeJA17TnBt6kt4AZC47JGYcAtMPxD275Z5nuGcUSQ4YU/OCJ1TLmiKNApxZLihiG9kNau0wlBDzwUcje2MHZxeiqaay6/+TC2kqcSabvQTu0yD1iFva+fDIgfIRQa6go3WOwIyeM8NouTtvlNRUKUhpy1nS/EGCEqhNMttYZDZ/7RSCO6dD14CF8d87Fe9RP6hRvbF9tLR4cPlxoOdFSsxyzs8VvO8kBD02TulraV7KMJKpi5nA05sIr1VWdKp3BeTNtOIIK6NLHsKGYWGH13bzUdd3M6jqFsk77ALz+38DPMtR/uHGrdClM317gloMllHuGGTwg3GXyPEcfa2lpSW9FiCNPcxN+4qQsFDS93zhOhzo39j1UYnx61yLl6mASsVlRicuwl77p+xvtlHEwDhrvx7vw1MUvHEKTMwEqVuG6V0mfkSuyrpAvQw/Qn7wLRkjRhEAYjH9c92zc4K3wR8WR7yW85BgyHaeMLQqL5l/ZvRYv0u90N/LAQ53NpS32ZDiWA4ivbyPrTQIt+dR+p5HbmX726OlXWdt04lAtDWVag403cBjvO51S5nbMMoTN4oLXpYz2SPUCeWXAxT3FKJxj07KJ4mlYR3I+ytwdYozGGLur/6SxxATTjXTGT8s1QWnrL3abw+dY8TNIxpAyhFQgj5OiF+e/3ft2abEkthUdhH9P3tjBCe6A+9YKPrUYnYxdG8AAcqi3Ru0//6scacODsIF+qPmP2xaCgtieBj73R9fH0tfJThkxTQdTvhOToVsig4W8WFoHD4aXu/16WncVeJZntqoE8PV5UQKctYhNSHcg4wP1pSdRNYSlkcogtWHyUM5E66HQ0mQlUDLkUwyjFL3W0VxkVjqVOdFZaob1V92MzdVLpugVEI3bYoKlB4G69L6JKqNMFZBJ7dxPZbDCNtw2pEu1z2PlM31KbJDGM5mUrE/TQSltEdtqCB7dZhjPEzKplKMHovZ4PaogXNiCCxSOKW62VCLN1Pu1udvtOg80w8RT4HZjMXc/Bl+bGyaeV+yYyT2yo7yiMsVfHXZljdHU3Gvvo4E7zLTQwDThKRXhzE7/1MeZTRtL/4sW4jPyABJAF5bMxAePXL3MjFYih/PQY+ejp8OibeDLBqMzl+X7J3QE1uuDehGQz/l8EFhABskoDPJ37BXqtH7X5kVrxSwx93HBKlPI6GuhQEgTnzRF4vnHQ8uT7zugs3klVHbfPYokdoHyOKQ129eQFNi1jR9IzxL6Pu7VwRTNamhqVql5cXQ/D81WUUGy5tOhutzXvkTrkUG38lelKOMlHAOmlhMZ01zoPpJZ6QOxi+Cfsh5cOlMyD4izxdoEHGiobaDcaA39QA9GM0FV3ZcTpG8AOamaH+AGczu+iW5q7txh7tdU7/LSfaANHfXWdtv7w3n0ZPzZSe55ZKZm7HJiJozmwRn+e75qvlIJ5V9htyR7WhLD9StY5aKd5J4kWqTKOfWVnWtrM0pyKWfMZ6BWXUQBgnLYXiw/Wmv54N1TthNufviS73MllEWJJzGsCpBvd8hPQ4kOHVrxhLn+YYdjDd9T3DvWdv/SgVtMOtzaISEqyFLqYXJ00lfx7yH40z6T9UxiHXS+dUcG0BVwcLbgrQSmYXrn3bTTqhFGwg4QNLMek7QZskkwclLswFxI2TdpBErAStlPfKFLaoSyoxFPWuRKgKPteqJ8DGpZTS4LQ2VoaptsKUPY8zuEkP8tMlN9IrsMb1tOvtEj055EZJoJmPrlaFk+7bSNrUVUhXBtkjn3T0yl8+FCWieMOfkJskP0OMpLDVgb0HOAEfDDK1alD8RvUBmZ0S/gju32LIzfyaZiuNlJJ+Fr/6tUo0OoQQXCYuL2K2SLIvVdNymn+pbSKJ7udMPYDHc9HpFTAY2PEOPAIrzvtuPlXjIyPfDHBDqSTRC1nirDyIHc9uGj3c/h21KLU7v6vILWRQDGXSH688CxfP1KRn6VYXrocDZ/jmDLWU0F0iDh4h54oBTug5NosSDOulktD1bOZWtZpeCqnHtDb4Zf/n5cKZSYsk63a1kwzyBYia3g8DzBXM5QdBX6hNYebBCNT8B7EyCaWCClNqZaT5rVy9UJh4cmL9QsV2SpNVovqBwyVoxbIjnaMD3dal0/uEax8PNEcLJPS0NJNMP2IgdmQUzaaBXKiiUzYUjQIEmYun2LI3HcM+p4J7J9XwZyqzUjpp7D9e2BDZ0339gsYInbuYLgGqPvJswkZbSlyS7zDQHnDlw6I3Wx+Ms7YyTA3LfHr01upAHyX+/YNbvQzr8BD7AEfnyz//RsggjIn+lIfxbZYi0brsfnwZWmflqJ2bkXnACaELrijmS5qXBL0FGouzd1of+XBmyulkwIG8prBGUZHCa+V7THfMjUURNC7aYIqSO/VmlEOjqkoBumRlK1ok/1jDjgjq0KXEut8Ht7iLbTwjbUYzAutnmFJE2kdIy9Q4C28TFHzEDqgrQHvMs1UNIXyEvp71uxcbcjtFpfNDdtaXkFO+FuMlAb4SbIUk0WmR6JtUYnrcTW/kJ97VDd4lKCGY58ieTDDvZ8i5qfClCx2KPWMC9u/e/rJq2S54mQQErneTk9cgIMEj9ex3Dw1p6doMDR2S68CUC+DI2l1xqejQFWt+rBG0ZwFWqx642o2+XLFLOyG7Ml7c6U+iPGvhY9Xg5Fo+O840R3c27nYRvMND0+dYhu2pRRQVC3Q29TveNZDAH50KssfkQV4NVIKJLslKxLocqIGn3sWfaRAj32jqclcT126/K0UCW2d/bAQhw8MNpvhWZcO6Qp9HuHADRs4UWLCMzJDZx5uH2VKepcnUoLjKnn4rQ4E8cKPjOZ7RXShq0ftaw5cepz0DCyEATnpo5q+oQxKMsplIiYYVIiid4RFDRAaw95x3ArNa88nKI3eotZ6guPr4tBpuH67uDZIIoX5YFPXJFhM2q8cU28EisbJ6KxfHJAb3BJVtsOV8P5bLQ+cHcxVWujvEo2kRMKGXAO0AhfA3y6hLKule07Zz/o7u7NPZyERr1wU5x9X1l/8TgMrEj0u/IRUAX587C747ZwyvUNY1bjUPvZOFqxsyTuDHb3iPbamuenncXpfD3RktZMxqzMFnY0WWy1A/nBZ1M6OARbmZjhkx5LnAg6KBsjwXHeZQziOEdwwWaKNMcnA6yhAxzbs9B5yT8hQh0ndmbQc/S3wQMVzUil2cH6zAsRZW2mVUEFoHVkN/gKXL3YNCyNV9s1Gz19Q9qwzlyUyJKGBbwTCvhSY2dA6dXtdtx9kVtzQSHIljK+wvDVg5GHuOCBd3zxnv5SpUcA3hzHp9yXocyAjXwSjva/gkcTgddkiaBTR+Mtx47LN4mENp5rNxHTqqnUzx+i7uK9Xb+CM9vfk/vuPY8P6yNszd5w8wWF1hoN+Rd4Ddq5Eckek9qE6UXStmYKDYchG40CK4wpLtlfB8GoukIM66E1OCgZlNE19GzxvfiHxaApGkDID34Xq/om63QtUvEmBLQUNpPa5goluDGmrJMh/bih94AFhZBZfIpy3kWkBuLs61uoLfZoCXLcI1W3gAeK684Irb43bfcFi9KbABb+BmpSTf5uYYqgVRb2hh00jn2K83m/elxxt2U3qX4zmg2JrrMyiuD5ySfxHqEv2FV5+jzeElJXYLkooN8UyJ8/X8vvpmLXwk0wXCWHOKqUytptnFKTpVGOpF+IckNOANfqKtFEMsx8trIzfP59O6+wcnrJaXr6z12Lt+TbsOvGnmqoZ3ctQ1GZG3TtMOhTuQKnOn+1KU/UBrcDTyUd9p9HCkZb2px3BT/rubqvgVUQNNbwmfxZLFNCOm+IoPOLM5vi6ArEIWVfxIi9GvJr+9ShcqqkEHIxRYWYyZ7FBNddVsrF+xDmVnXMHmupzlDpf0joAJZUp9j7z5FYzArZOrneXdVu6jLBqohkbj3iaBkghhGDNj7KXXJLez+nxSBX9GSWY74w7NFyD9fM6a/ExKm7BAMs1J0sTVpgjyjSLj5fubS9IcfX9sduIUb8rp7/mulYTZ3MkHaJ1W7ZOkw94TzxlimZWxtlxI24zQHYE48e3sRVg8EtncZQ/TifaQVpfWdg7QW2FGax7IkhKVcdA7l1UjuJr3SJs3bQMsvcf/h79rzUffTW8q0hKmzvQFy8l6qzz8X0DNKmZasWVRZtC5VLkV9WMKXwBKLAF8D59qlVn0bvUmHjFQ/peRbbo84wTeyiwZWOIT5wAC9sJZOWYKrN8pGKwiKC1Zk70jo8yiIPiVUwcxfUCAiYs7ujEj+DGXu1ZZUUMria5PEcKWR/mFDFqMRWgQS3SKM/WRWRgVMQBY832aq0zFagcgOpFJDTz7xQJbGXgQVi02cHaIkMoR5pzutHj1J56D8WSsdBVUBf4ppFVdM3GJgdpsxxDQkCpCoZCi3GUPNrq71kfoTFyxJXn2JeO+3WjmiApRUBdQiG8AbYcAEMix6rFoJze/PmFmrW7bCgD0t8C3sERPjx4RPKqtIEwfwES64FRGVO/WdIiOOOc+VKDJm6LQ6XBRXaJiweNummcnH2T2iJpu7WMKxWszTjM4lyP1d5c1/olMN12I9am7BZKv4CfgXC07FNJG4zOI9/sNcKSDRz/9cmdwHZvLmEl/QkovqZ2rUqrT4UWnGBAwCM8mo8yZCj8agj3WNIAKR/au0lBoaCdYdyd96ol7t4/01d6yApFf07QctVjhH7HKGoBhuAYERkkYgGGqXxBpPICAB9Du/wLrtSjZpE2n90lIAgTN2B3JbmCbA7qEFvLvjRqM1nWY2vJcTmjChJcJljtAjpZjWQwXclAWSHAwF+iORumt/dyEzrKgsp5AIdTMq6BtJdzoFbuWLWbCh427LImt7/reh52c6suGd2JpEz/kbRKyx9a0PnS5uPQ2864bQ5LgRFSf8eZGyjo6mdklxwFL/QYNTZRP4fSyF55I7mQXzG+gL+J4+cDa+o3nNZNXO3E5JVJqOSZ04ecS7sLjid1T6jEd0h/l0rMh+Gb3eJFqkrI7j3K8Pg2F3G36rvgf6NiMLmsCjY1rtTi/AXMNWurTDQ2MhGTOSHGOb3Myp6/gD16ZkRXKk0omkZGI8Lp77I3DJ4smeWlTlzhgn4uPPb3tBwuQITpsfsNwbEafpQ9lnUXV+HDRCPEEqT0NY9F6dttyaGyaAhCXxTk6paXs1Jf9lGvPTuarkuKsfvYHkB6L6lIONZndsZ2eY61OHkQycyhvCtYoMWeZS6Ozs+soEBnmaT+pxGLsIO391fOoJ5Z7wvX9tRIn3cgyEBduxZxBtaevI5X0hLgpt+XM0ApaRLUcdbM6Y7mypKMzbo/rA+jF8HXcwmyUfDPLE9UCTUhciYHdtXVIp0sPIVzxgXUiDVrOvaYmFFHsZljMOp1iKTv9mcUeTORQ5pRTy4FJsI0f8wRvmPvPOniGAIq7ATWfwqF4pg7kEqW2wC3qUi15n3rIf/rTB4JEXUH8vR8Usrmp6n0CfJvgGotP5eZmDpUCxBa0mdweoDUNd1oqNL2Ows9wnJjvEPuL2/0yQk8OVH8uXv5oapw7VN4hbeKStrASuq+qvZXaZMkqVOMaBBFIDVjdUt5+e7j+PAikr0a7i2KYHaBLOyD0uX7tEdvrHvtwiEEI99sceaaQqfTSguffUYoNZnCVMnl5SV0kIWoZzZ+GNnNEGGIfKR3XZX1bEIyjYrv2WWqWdhjtiHqLnCQD2UJ+4uzErKcNFDmkHqx9v86+eN0U9M7EdIxqukqAAonvWt1/rvQSCYLFzoWjkoP44BS12Hjg0AwPIdCN4FKQsTewrmzEXce+B5fFAMdLRzZObPDsgeB82yKMFMcMEoYbC4aROP7Eup6q9UEuSd/7/BSivzAITYUP/AZccA9GyWQP6voqAwJ7jROuBZrB5twktuTJu92UWnYZLoF8quy0p8B/mKl6TcInZPgcnhYvWNoioPNJEAw7mw8xCKRe6jjUpiAh1wUspLQCFpTGvGTyXFtlQ29Avq96GMnGfoNxdEar+Cu0eb/DuQ9W8Mn5fv+sy4HFSkeW1YDVlWM8iMPfCF4ETtOgjt9RX9hVcjJibqU/uk5toPDoxDERp/5J+KbtTV94AAxJ1GsULISqPDONC2t/+DaobsLXRH4JtdC1MSBUTC4FzWZ+BdOhefDemO6lgTbmCWTb/A0mNFpA4kU1ibuv/pSssILP0dV8dSGdZz7kHfTHMN4sPXE/nuakxg+D8onjv695W7Hy3dgIl2KQnuw+We7jsTpg7Ru5dGxu7+Vl1lbRvaTXnxbfRjxOCSNVrKYWZ+0RLy4vGFQDlqnpMm/Mpqlv5eBVnXDutszJ3C7Cofs3/oWjzw1R0kFCPeNrGNIMMqoAxzmij8HxiAu8PMExbG81QpbFTodpjQO8deNcsxNwfbPt1CmMrUJEWX/o/T+RlXFX1kiM3tpEFq3PFeVMJ+RUiqf0Qe9g5MkD3SOBUVULHNeApxpR+1ik4Q7ZCEnoi+vTHL16/kEFzVUE/yaxdyBqUItz+dpt/1d1Trf1JPXpTItFF4Dy69HTxyd2RJGDeTtfG1AyIes8Pz2ychjdN2ytvnMVRxUBrNZZ3YgyX3p2kFnQHFvSRJR2e6TnGFE3389TfHBXbkFyR8gOXSg+ttOB6zK9Oqt3aPSbJ/g3F6u6KIr4x0BqXilIzeiZj8DSd3VJE0V17pbeGKcHkpIgYjzJZeL9xuSYgZ0dyvys5X+tf88Py8J1bJUBRLDCOf5H0LHUiSxY5I20W5FrwlezZAEtUaJk4QhIingCNxVwY1mZxst2uhqaGSVu8rvUVT1urzqok/ba5Lc0/jjXx6xjl3ApKm5tQ3zL+Q5cNSQd/2jU16ebWBQfQyzkr9VdQYb96wuRyazTVAlsMfpOq0WRuFJS8sl2ytSMdQicttC31vt6IrCVOxjiLMpQl2el1/C0zTjGukM8uCjFUorY1obSB0N3l61h6t6o8iopxyQU1GyCxGjqZWIileQCprlKTfdGrb1CEbg/daRPMlfXWYkT9OxG9XWCXx3v0qc5Sr+MM6T9fIkKFptajQt+k/nXOsOw9t/ukFdk1IooiZ0ILmJEP/gu9L0qxeCHCD6nuX6OV+pvtMZzifSxpfKcrMJsR7NdP/AuCxbkwV/TdjwRKJ3b6Nc09ApHr4S4d7BZ4Ck/Vf1+MjHHC7uP41cqxI81TLJMqLmnSNJvrvsPn54gPkX8blTzzZEEbS85p9EY0DQjYppiXxp+wFK9naQgX0kRKscQOUsYKsLV9DwF0gJoPN7dQV/KoYLGuVjWYPEX0MNg2ZUmpYjrkTFc3NjhnVwr2rTup+1kadiPpNL9a7B/qoAe13xMzLBsCjIpekcWr78dWXjs3S9M82qr1tXGNE9m4q681zjKYnrY4T/rml9uBJXaD0Q9p5eeN89Azt+KCJaZ4XmSLmB6nVlbuxgKHxDoQpequJLuNBRiySyHBf6WLKHS7b1gD72KYff5gGippLAkRuOj0Cf3mM9yIZnaRaOdj4GiXoHXEjbnhUSF6Zgu9iqnW3rWx5aETW42q7+LiP6GZGQJ09gdxHHQ4LOQm74S7CbpuwCh1E3Lny1k3XHVozDN/F9gB3WPgFJLxtsG3ym31wfe07+o3yQ20NM3YFozsYIidNrEnYS58eRR1AySID7K6gdxqVHETndU37QMCgcIYy8XP3tl46OZ0MuFeFWeeCgXzPA5ug6d6gKH18Az/RQ3X933KBzb3LD5hwr7HPJr8bePY7uwj6pwMehXnipKAVw2OAwZtCaWjQtcaUN7jWPkws/78s8QWFFPILf4vAuCu4QyhNvimgbOTgh+NiCLe16y6iM5KrCsP/tGySM6toDSJMq5dIIrpRwfyANYodXsihW7bQ3DUxtcoNZG6MR/BodNNY1d5aAImhSnQpichrlbMzqs74j8k1xY3harlWGjDnO9rVbwuZTyZCTR/a1p90XrM99GiZ7DYuBStF+EZa13jID1r81HUDYxS2Sg8Ng1qKKTStLilc1v3+NjVDjB38o6+rNNIEGAc7oTyLRt7cFaqA1q3sL1r/cxMTN76/NpOCKRxVc+juDrbye+9qTtiiPc4/T4u0kRZzH/vo0AlX0//mY7ZMUt5Z4qAD8gXsnjyB1eJjYI8+FCuat/ZDM4V52PH6wQJhwqt/6yeZUwJJ6kTxBL9Wgg5++hTehgbGdJ2xervmI5aEth6XMXRRtc4wdtMcQlgFqa+r+yuLMJjlI/+b0LS6XJOw/9+FRN9oy5G/6ZvaNhDVBjckiUCoclPTTIQVkCtLuYurI7Pl8+344W0gc8lZXu9j0He5POnA8rY0p3IuxQ2fbzr/3lJhfwOLAzCRhdO/1Dc8cfNOEq/1yAWtusHEEFvCFbYMjkAY9Z/BXitublZfbi1nVHBmz8lMKfmnPsPZHwgk/DKNwrOaE3sEMiPnOjcFv6nPWaK3NCqNF+qfYYLbTwngbCiOkNvIMRsKfONTe59cYWY9P1uUXueSVGMiOz1ioR2CMBsKdz58fdN/kte/U52Ttm9hIvqGdicU6lLDaACQ0YDEX/Kb//srjZu89xPVzYs8c3DW/Skz+yRtAZsjkGnPvBmvVy9K9mYkOPfLsQcc2VHokb9dW6yz6n5Mhi5jMbt7a90hRTRNME0CQgh22vFRZB1HvuTVQ4foOR3LwrldFPrT1i5y3R64q16+f93PsxtUDJcOCjQiFoBIK1h8ioBCm0nLjf0ZrTYApm7x4gLOIbO5jraZM9HME+8HsxPa7JdtRmBBBKnu6oxvycz35BOPndvvRjTPEtEH+IvBbzpODhfFxYOvPB91MLp7NAttrIx3utfb8rcXSWo1Tvxeyr2u8uqvXvznrC1FZWppsPS1F2Sh7FrbXy5mGALY1HZYySg2Ylpq74Z3Ux+ZbYJkTtO7GoUZJTwOPjIspef6xUwQPxRqEFLqNEwhYJyDcMGyvj/CCCptfjBytH7f6PPnmjGDjMIJV53WcRF3rgfZkXPVS5F5JYrH/o135TPBv0nLCC3uzrG3qL730XzwvPv2lTTvvqJ3qLyVdEroeh6ZcmPoT6FKeeMYMwZVceLf5hPUzF3m7SJY/DP6qQVicE1PT6ePLG0ikWXXpB90uOV7YO4LaTIF+zKBIYnPCSCjt/FY1wb325PSpFERJZDYppjCN4PjOy8gB1eVWE/+SVkSg57XCHfZEn4OTGcNrjLi42QRugK6baUY91LJBQcDcbQPL/iVjW8ANd7bXDaLesicoPa4lRQgrLmEOlSWtcJPUXNpTxwqSURsxsKOmEwt0HoyU9qDFuR+0+gp7sbBMOUte4Lc6zDXrhUvXoQuuuCAWOZJHjpvMOXhKK2lm3XiH/TImDpekg4C+RfrH65Kvi6YBZFMu5gPaBj1kGsFDGjwFNriSY+IlLu9bFTl8/eSOzEj12HTscesJSZA1UpUoJJmcXY3J1Fz9WQbJglqtZUcRdStfk6ww62iv5kPOHeN+SX0j0NG0ALoiJGRmfHRsCRI0g04ojcDzIt/dUc1blPZ5UR/zczcKzs3baCceaLbh7z9sFv7Bod4xKd5AaJUoUuRomd7GRWC5nlXRaoBa+GqjrCjKKFQRSGXf1gLerl1vksX8kdf9uGj75y2rMOPZ1ILejbYVFGBTxopJfSzJGNtI3nBNGO3ES/LzjxGHESREFX+/QTnxHcJbtlCdkgumV1PcW8qkyjImqhSmwkn5uC3pUT4I4KbyRHNNVAwDVrCmaLYpOqy4+0bVmWuxsHjoEbVN5JgSr4fr2Zx2pHR2pJbOzMkcvZYYp4Dxsr7+EbmuZNsiD7RU7x2GYLuE0sQe6mSM5M+zeqUSi75AYo3al4mbgLWaJi3EDRWr4xHU8jhwzWT+Q4D3FoCCpN5OU6L+gTer8LfCjQLgZqP81Cd2qPz/lH1yCr3ATHfJ6BLO2Mm4QdPhhfY6jDOAsAIiK63yXWTdpEUr9UutzguPcRvca3K3ns93W1Og8ITL+J3BdjIaGwxbxYZcf82Aw/awY9Zzst3EomOZlSdm72T3o3drk9qcpOp7wCE3f+MEP/kLkHtGUR9NHppM2wpBBtycqWfb7pvSnxD8xk4SjiwVUm6xMOYk9OHM33LRffnoZ4H2VETMXst5/FDStBKI0yYyNscYqnKstUNzL2SzFWshVD7kxvxcbbKZShG07e3RoChTnislpjMCzih7PwZwstKm4pTq4glkrVRz4geFFiUqJrojlxts/n283sQkeENlrrB8rqRHpyWsUHwU/fzvmXjwWzgawVrZrwc5jXe4wdAUz6vQg9taYxyw5ozjfissDcwH0kkqGPVFYUHu9BICCBIrJWJ37JdcOskcMb1A9ve7n7gJOsdYKVOH6vvhNTNu1qD6VsZJmavh51sSiklIcGby25H7XTg1yODLQLJFtDUOHUZS+3AodVTJmwrBKifr5NeKMJ2B8gSKPC1WE4+O+2ZIKX6PUa5npsJT/MVjDtn7zVo20nGJ7tjUbgyc6DAE1f/GG6nrwrtLAMCwS0Wk9jKjAympp3YKUU+6u4bgPsSOFOrLZYb1JrHHDphLBdhQOEmKb9GcYrrXUFYTVU2n+sfQdJYWy3y/OQesDoxchSuXKnsWmbEgiNbcTJ/ovzisPORR9aeJNIP+euyYgjbekD/L793dB2hW1LrGFykA2cOkUgakFNJ1UgQ3lGgbRoSEwbRFyNeqQTkPrJoCaKk83XM/0z8jqiONX82lOtBPrFw15KGyaigbASkMdSrO28pSb0j9hS5DNPoVY5qF9Y3Ex/mjQ71Ypw6v2ZZvjDgWLKpS9ZswkRiEj7Qr40u969thbQa/dTouZpse7Wotwd48kWbQnnZamfbffI1LVv/YrYWe9CPDSheUXs5gUl4gOL0/tftmUnLyxJZpB2C6bSUtU4aPM7W+GQ9MsUQIclF5ZgYfJLj71TJvwYBCncUMrgAGk80GFT18YcIrUqBdabpytunUWV8ioORfTW1mMXgxjOlqXxi1ALhCYmPS4ffwML1GBKInBrZUn4Ec+57UvzbKdNjf5u9jBT/g8D8IVbJt0xBUq++XD5uT0rQK0967Hva51Z8PLUZFqsDqZ7UuyNyeziYv6xbEKWt7bisem6eW9XN+dCGbCGtRGzAOuVBcEbV1a/gEFTy5+TP4z9bE5QfTpXbilIAPthDEgcVxIfJLwsbeQi0rNz8dTeRhm3HZFrxKL5KLDY3WnaIBpCIc/bbt8KsDKEQtsEH7FiFmtXtFMz04/xIsWw/+DpcTrQrEZVL6qIl2Ak578ur0Otz7ulQhGj9dS2K29aUaTHSxQ5uzIPfdBLsKQ0e+nZQ8V5UsMGqwBm/orN+s9lCiomnKtJ6spe3vw4aeoL0OZdEp/swCxO/CFmO5nxr3bfPtEn+4WPtN8X6YXGs7aZ+zokimvSV4hvEp3byiE7JggKvjAMFW4mgJZtCIL38qGs8BGXtKqoIB2qJZ6C+GyMlC0rXA0c6sXGTrQtov7Qfjs0iTi407lcpqzEAiSw03FyCAD+5g0PhjZ7caUT2wI+xKMqMFBYUzQusoj5rYzVj4biZXRGoShHQQQchqFO6IyMlq3NE82HkJ5QhRM1NxLu6IIxmwyJRMEyD2g4hsu2me+AewuLBt3kn9oJgtuVzcydLcSb1IQwc+hl69w++NkkkZ7noBzSZy7ZRLoKi7mZ1W4xJRoXQzbexoToKgPimPbk1h3IDpatlxFDN2yO6vIFH59rXfTsXvZ9o+rO4J3aLCpxMgy0WbB1u4zemZqjFl2fqYYr5VrinHI8jJOhGT5pBgTiLOjBP2W4Sy6pgwR58dbSk9TgAB2Khm1yhT6X34pe2d5qa0RJtb5iUjS1yGOI7eoYQGk7La52g1BtldLKMrOVgqD1IC5xsDQixudf+vezZrXs8yYVvGlsU7lA21xm6Oqt+OnJnu+Ht43S8dQwwbTyjEoc7nP8i9E8y4rmhhX20c3wwG2UaE1Iio7uU+dFV3+7a+5G0Bl9rIQS1rTWGCzk/uKSjY6WQ9L7opwgDvsv9K4/TZ7XalRBSMJ0i1aCo9qA/wzdnllTxIlIvb8U3Hpd6lppN+7SE0ZuC+6/VooAxOCcWp49bFMtHyG9Kh+TqE2PUNmv4Jddf+GQNTPMD1dUXgykrPLS0GFaqO8Y2pTv2UWkUGBAKGE+IiqSRQHZ+1Z3E+kLzGHT5JWr6AL1PbNcs4ZAiIdaVGeo2XVOfYnNOVrtHZISOqPwT2T5Pi1DT5KuuVsanQMKajMLeeQeCA0fKYSJ6vsKi3yq0MfawX/sIxE0ik+RG6NnYIwIsE9wwqA6tQ0fVSIqf/iE2JUggje40XVJ4GhjG7LLNM/+8pBc89tEuGt1aRXRHNT7AJLidyhY/f8lzo8vhAFIf/0IxY52PKxLyein4DuslP9crCq7c1GaG9PYFrY7sAhCMoYZ6KByGSmfSXWSSHOAKbs0FY2orIqY1AER8NxHsksByQG8FsOkhhRnoODes90UgWWxJLwzTqMnIrgfL4SbVZ2hna5oPC4AbyCPJ/7slYCXzcSpiOtPYlP/aMiyEOlXt0JMI4BrK3sAPc1DHFVR4JxvtrvSiqk2XgeZxc1CrHXncTrJKO1ZBYYBJwuOn9SoSWyCzegraS5fs7YwGtHqfDumc+CRyxEpr5IaBj45OpwNL6/y2c6jvwpNqFQ2QRx20xQ6hX6rPnu8lHE2/vZYsmMlWEymVhF7z+iabWO0843b2On4tGQmVPSw6K2xpiLP8XGVmZo9He1/DaSiqQ7CK57nIyX+d4Oh9CzUpsNJx3oyqL0UmuRBaarJe0cavrDEStXm7mG48BiI7w7ed5IetRZCtdyWh/nBK2bxN9vZNgvuLLyHDf7tFYF1wHUO9t/0uNpNPkdHuSV5BBTq+tdfuAJjy9DiNNUuJcLenKV9CQIJlKsqllS4MBTPIPUj/fz0K8AnvW0b3Yqf0bdMClZwUXmLyi6+divRJj9U+6sixwWqWpDVl/85pgqpFuU9dPmV2f1y429FctHn/S7J0tILVpG9yDv/iaxRGkPXisdV9WzKsKE7aZNcKp8U6XtW5qnLwDurdzAmQVJFwaa4P3AYzq+CJV3YV0HY4Ebu6vrXK2QocEFRh9iYgzwI0AlLAiMDYw9s7nnHdXV5y05ZYHVTwDjT5/bwHzl3zCOnRJm0A4Pqo1SpYAiX5LltIRrDR5NwJa3EwC4U1CtddXrFzRlKbAtEo471Gz6sTEP1Mz6YggiaUgIN6OO4hf9Kx41rgWOyrP/2P9vQ2w1x9C7x5CIrasVMvccyLMlgVH3+VWBbjP8An+Zo3Wv3BXaYgAD/l0NqVfUJ+MEQHkdQwtUUDvHkDq5lsZzSM72iS/7/MLG3c0SklBsj/oAdWAHh/2witUT+hQ5TSQo5D5YZqZwQIBge4cPOYXnuMS1JlHxfSqdhU7H+kUbaO6sZ3ru3FIl2QtyaDC2bgfZT6SxMx+PaMVVJY+4zeGFq3J6Jzzc3qIkqX705lClLp4JFmb59wivNd8vVD+LDU1AGnHTXIYNAkdbpMAmBbhba33lW3viWVqdJdl/oLnx6R8HnxmrohQxMYAkTofS68KbjjiTdVF4xubrvU7+2d6i2B/ODmKWZHQsHG0dPAy6G/xO3wc6ruIsQw8VwvCz3yps9vrLsr+mQS39QoJRrE/e2wshhyZMSTKV0Z5+DPXBao1zKXNUuVSK85cRQzjBgNAOTkQeXDwVi68+SNLEi28nvThTvmBcEO0dbjioHVTF3vhpHm4I9KvYqAeiLnhgfNhexdZJ2JAQTmc6cD21/74w7MdFlp843AY6nX9Hu+Kdqy0gZ9XVe4tvvMpd1Qb8/tZ+fWwShZf5RLRyJ8f29KYYBuO+RQyRU2MJGnLniJHKoWJIyNZaQE1VxPnlvZR20zHWYd4kH5IOjf4z7t0rRfC3r8hFijZxX0WcoIpcnc9ETKH9KOJYGMAhul+LOANbDy3Kb/YqNWRoydRWvjLybw2NWFA9lo+m7fmDiu+mgUGKr4YIebaPRXxP0vMES1QepwS2Yd1eM47U7uAxGVLzVHPq0hwmunMxAKejVzNfT1gmVaVqh5MDtxGJPAhM2CDVL+wvoE73Nvu6KwmwMswpEKQ0rdove14iYZEtpikPWEMtd7kEMgykPQejkL7DX142PzQ02jKPIkFV44P0PctZ3AAXm+xxGtWuGNI2kFxRYnkUeP+DN6HJb4VCjVD3bR3ef5Y8hMGKBpJnFL0ucOBl+PzHDTpBRuG9NWWDLuZxujq6EYy35wEAT8Qt95qB+osqMRTkuR0GFXueT6VKTOvjN/cwjRA5Sny94dGDmAykUbfxjdPKr4doU9z8iRZfaSTANQceV51vA/Ot9BqO7GYaEv5L3CXpIWg1yrVXJ+o7JRO60vqrCzZaRqRbZXOyvC1V8mOBsx0oun+8rYLlXhcM+SZl8LVQOjt/qyhhBBTWUTYVn3rvlkE1mOf9tw4MMqgfgGEQtK3ngnm8I50KKdPk+h0ak0AZ7G4Dt/TB3u8plCfhr0Y5tVogts1dmJtUspbgJoiIPCeBFLyp1GshOW/q8pGQUgx+hAiQjUhFLRzPrRFY2iTiQo9SSbQIhbWcKSrWAeILmFmLhIgl7dEnyDPc5ST6HCA5Gbq8psHFRmuaxXRP/h/RkU9Xge9h6/S1xEe2XnqoXriHdOIJvc3AEa+Gx4G+8//UbOGw+Lgj3yZy8H34Qz8vI83ZMtOAftNskCX9F26Xw3nYZgXhnw6IK2iZkHdNoAzDCNr+Y7TzzYPBrimuIWSe60sfLRJBDGUEDZjRw2rVfF9PIl8gSY0bgEMxVmD1eZ8sCvw0SWwlvlq4fXUfRXTBvw5UHJ+MPcio8bsM7obSWxOtx4Yg58rxhNaa6RU8lyKq4vvKuM8nHwsG8KrlhuvaePnnQCWzxgRYqgs13WxSCOYy8usQAfWrdVSs1bfnmRof2xwZtk7G/UJTt0dAzxrg+yDQRAF75QuFX0h5+SfeG2RB8uoEiUBqOXlq9tAzx4wvqbKudxHpDAwdURlX+SuI9EWTgmM6VVi9tP1idgvx2ONKSu1WXP5gkaBqEwh3WnpOGElGsM9RGoESqa6uRKI1hz4jVpCPol5TCNl8GS+c9Q3txwMmTMdJTlG4Gp5hr89nXXwPgYJPqwGvdtec9UMjQw5hdeIZ5uIchk0R4cnL0e/rZ6LppbCEG8EIeJjMbQ/7X8GAxK6oETNJfzq+1DsQ5fqkH3VojreLYMOVKqpIPboutJmZNzLZkxa3Ic1JaxUUxisiiMLtlMv7eS5RTuyf7AgAwHphnZrUE795cbEBm1krMkCUJfHXmmJjJpOGBgbd/Pd5K/1Y09jvpMjcMR/OATwrzidt6Ei+bK+cGHu5Gg7CabxzaqXSYgAmt0t0rkit0QDkNtuW3NZa/Htfd8Lk2z9VFny5JJHlRivYfD3GZH1IS0FuRX+U+k8CbUBXBwdqYzO7ALNxzFPIjnE/qxNtgYA8PxOnRHhzI/5IQjlTidgeXgPWklvKw+xQhMgxPzy3K0Lk2dIIj/HFHo6WYnSUBAHNGZ4HKGZCkQVL7Hlr6TCd5HfT+muuYkOyBntTIs+6VTncYyThPIC6WOgIPC2Kb1ULl+527VwhmgIY//sklkxpDpG49FcUmE5K/N0boXyz8hkk/XbuO+i1JEftzuDCwKLJFklf6YUty4/uBfDEoYmCipSpEoCaJlHyL5VQHNqm42DNJR/HrEvsNQQ+YkbbFmEdROdzLmgtJdWi+4RDCvEfEGwKCb8f9Wouh1XFRPovnC15+xy71IHdyFNAGtVZZtRdmomtbx4OWvzhHyxOMs4cXlJH5ldNvG/6edcMjCOFDhvUhnf/WX18vQ/UhSC+vsuM6ht2Sgocn94tj5zpUBA8nu8xCDRk9DEcqt2BI9QBuLug4h9756Qf0RnOLArMcrRhdbpuBMxH/C4iJ5PMPHq8jLBAotUKt0p+QpkBxC2oez+7ihVEmGTUvuFIOEsN+PneZ8uION2CoDEuOhfmP69axdO4icunBxLlsn+mO6HR3s4ZMtLfOEvJFgNrwoodQw5c9u7UyjtaHKcuE4g+nv7W6TdbOesaWJJAhq5hrMLdT/HkEZIJak/QecbnsqIJOBhrrVfqNdOXdisX+zwR4aoWbL9UZNJT2TZrRhpSiyf3XBqokPrbIeD7IRysTXcl4sFfjrCgLBnmMHyRNVx71qofmrBdQiYOiT6Xqm9gkiAi94zPazhnip6DmJvnGbtuIN/NmSXfZA1JA30ZR6B9csh2GM2VZhGZk1nDDO+Df1rXr8pgXi+dgE3CAvea9KsTsUnMJrwN+g9Xw9/AuA2D3E3VjC3kbYoQ9HPerm+uVBal1wuPW/kPocCUPikAs4gRzedmGYxFUe9rjL6+q5hutiJf8B8c3PsO01W6csIGdzlO7EJrd8R519X9vE5BemT6JId2DtBVOgNgdz3aPX14gT0MQtF+VPNWEp73tvB9A3n0xhVnWZydm/JHxJyuCCrVBNQsT2gKCLL2GGNDJ4vVl/TPddHW5grYx2Ejp9fQwQzmXVyj0YKdTvL5bXYM9NLXjfLnICKl3MS4Q4s3VzRT+suCAjYrTosD3Sp1j8yP0k0IaUfhhJ4p07evsSk0dzth4Y/JeAXNT5QL7fL5zQcinKOZmcrzjZdSN7C3tDR3WyYItG9ihj95MjdS1poMa3UdFYGB3JQ7wdo7snwcREtnV/WIONctjgTk9lnR6GJzOI9sGAISCcvbP7kzy24jan0bwWka+7EsNO41FtCFnhwx1O47OpbWQEx8fh858QhdA2W8gKuI5v/2YQD5DiZ2kxX90BFnsC+uEmffgKGcLGqhmTW847aBZpPNf+oGYLbouABS2AXAAbHYnJZWrVyPkIMZBeSVu6OfpC0Ns+LqlrWAa4ATsRlO96QybQcxZXGs4xKirdAitDBrpzuG+NryAwKLLixszg0sVrPnaRV63B3fmmzLG3Y8UpU6S3VjRiUB75lYjw3Sy8H7UQx6nGT3nxh6CVw10et8buEBMrgBTm7YTuZno9TsEcti5URfLO0wqL1pIAuhHxO3DHxOjixr5tUYy5NKarzOnfmgUt2HVUID5H8rv/AR89r7MooCOG6CPmyZt/Cvt8JN9VJbIL5W7kgBTC7wQyL0xoGy21zajj6652kQvwkCrB/3XvXhjBKvDVS+PScfziZKRjAGmTdo/DTewjOGprnPXT79CX3mbMBCln8IoKQ/5LQy4zMK132OfjYdMRTNhxrsqhyiHx7oD389YPSrR53EWFWMH5eQeB8EjJXcB2ECruGRpxBqwUqxuAz4fBpvMj2vp1xv4CQp7LU7Zc3KzIaapwnznVu62Oc+xaDwJuwsF/FMTPqQIxlNarZ9Mpw/c+pXd21YWKG8KqVGqv/VSZkA/Te/LgM/AoLRIgavr+n8ZO4oXr/MXk+7l5Bqjhul5RRErPIVyjp2Z7XjTUomIhGaNgFu23OqQhM7moRtO5cz7NWN+R1BtKhJmOa2HTeUrL+nkfXlrmZp2zxmBojmMZAP4rk0dEXbrbXkaBHVzKXoPzfBNfhDOsg/D9pZStOFOtPv5yWz8Fi/z7ngXxDf2vbeL5LYKTBvrfTcJwLtnYrRMhp+CDN9ZMvoyzTb6O9gDsw2sibJ12Fclm94rNpd/Vs7IELOXllJT38LGXa1mek1wKbioCHWyMWWzCF0xa4Pmw4Eonp2orRGRljFwbbF9tArH8bXr5yMkUFhvncwAZ6GDdHOSMu7PeGDPo/7EQWmSyrTQ5oyt4C3CK7mCOhcxcdWi3EwlwJYPDLyeDvNzCs5pert7i0+UpHRQTt/jZcpmheP1i3bGUW20NzoO37u/vpaiCkB/FKm8NE1bRnL4okpgHYt28KWTWgILTwtESwHTntvA0SjVS8Va0PN6ElyvZcY+l4L62dSmjWCDlnkaWprb89O0IRlCGe8/5BJ7ld+HBOyAS/EyLnGJ02evOPN8zGopDIYXiCuW/hzH3PkFv5SmxUoUK/2js/lLJ4cZtAcryTVHZMglXmwS6HSa0BHOR03Z4JxOQmdKAYVuabQbHif5oJ7a6szUHp4XnIyWvaZEq5lSnmxXPQ2vwcUvZAic+Rs0uNeKa9IP82jZsjY4Fu+P8tO7Mlj57//62TUypDKnap9jFK67WEaQZGdJd9dIt3JoPIDjqTVnBtIPCuwsuh0os+gJexqGz+nfBiwmZvr9sgK98wEnO6As/VKCVLRScK/Wd4QG6jrxMbxnu4WS7smRN4TsHN/7sII6kPRWe/nV8DirceMvTKcOt1SEpx4LomZ6oJvwey6zlvN626gvlMZ0c6cs35JtHRoGtMhZqOKeUKiueP18ZDATPP3YS/FVVppqaON8zO6sIxjbqdhqzuFA6MUNw3+rgcUTVX59jfTqvaRNfG6zHE7qOI+n5xAesmoBazTGeSUTE+wlIefkIufXXpEpPkBK1ewjcCElxw2be8EP2x6xaWQcRS7ww95DUB1KGNRDyIX6+a2mzU1ZLDb9H5qq4fYvqrWdHS19nKSCvVM4CJkcCMhUd0hjhkYZy/8MHgFkgDcaDOyPYMF9udUCt39iQ99vcPLONDxBt0Y4T1pKcEqajC48eq62Y6Svry+SUSzHO8wHae7WN3KM8ygmF9FLW1sOwdAawcOi6rm4WyljqEcmkVIcrbt0c7t30cv6+ldWBcm8J9T5mMxGj8aH5KSp37bvEDUtCr6lEp7JnExVowBzkFIg5XuL89h9mClIbrRpsxeUmKcDmDKPrgv5XSPJkvgimHpPECeTJpILQqCyo6VsUxUwNNpl/pdukfdXPn7REbWESrCHL2UN5ibaNv/b+/VzbGy+DO707301QsJoSEFY28VkvGXLt1MDyS432r4JlFV3kaa3OXOLCC6U48NvnwzQUUVVM69Sy+qIraKK3gZuI2Ccj+AOVq/W9rCbK6Z0iJ7/rDyslBPE/XBwTE9nyn3p8B2NZwnGzqQAKm+LCvwM3KkdKcZD6GIcmHp2aE40+M3/aLKbWqicFWQUpGn4rdfdiOWzA5dpON8BB728Vv/rWT6+Ow494XKLN4IYfdQH89lp4jWsdjzh9KyYYWl3HfvxI1IBIIEIDQBqAyQN9/vd4AMBuz/FeLvbRGK8FwHkPWNCfvVhmflfsNZYtytP4/BSiZl6xA38Rr31YFhuno5bZiGbEJCbWyNYV53Zyljbg5PpBUDrcmFPrOyCQ83sYspNT82FLOrShX1n/U78SeVGB1AVxGSajpdMLAs8rrWfvy+Aj9CR2DQ5rJkD4EaRoJv6COfu3Bab8okhKRmRRaBU+bNHeOVyZGDQ78PeO92bHGBb02Ntug2fEcsCSch4TrjgSrAGijizRn0YsYj+BlXHFsbJJdLhySSDCXENDLG1iTw/gNPtb1rkprkolEdNPczn+qSLEsqM4CERaZzquUtEW1w9UBRTJrflMbSWwGRlot0bQdzqHxRnpOUvvSZ88ddgjhCxHoQpN+eqoARCFfTUlM4fbk4tEvwuqkBVJCbCInDKqxiY8YMwJwhnXqb6CnQ4Gu3wi3TEXxxpf1/mfEpSOBRsIKJ/XwUtuDv93SE5BzDxImaZE0pu7sqdCTSXLiz+FXTAh+RvOCMlPBIt+7yS/7YOtmzf1FVEmforZ3yb9adtyUjvrb8gSKjiWTykZvWFbo3IwRD7fnYe3TUma5JyLTL1eP42Cyxs5An5oYGo/2R6+nSgT2x/D+TQkmn4hu4jxdTUVHdrJTTuOwAgVgzvUeRSgpbLLU7jpr+NEdWWvzQ5Y5rP31zEWmKaBoZCOj09wDNQZcTfJt3GDWhxOH4a3SN1u02zy2p3juZTwYh2ZmCuG8WFYyC1To51aUcBrmqHf1Vl0IDw6Xmgosl4YbAuJ0hw+pFh1G1zPcY9NaTZYkym+FEV6C4dSPbAvpxWjEgW0HtKTr+Ylmy/yFIE5Beg6s/QJy17QDcQR2QNh6UzZnwoJedWOyTGWpbEKHZfyWvPX/b9di3l+tT1IIkwaP8WFzQMYis/TCwyUXUSgF612oujPX1ZvEPltT55ygKWy6SOTkZ3hE4vsuL8Fz6cEJDAWrr7JrAulfA3t0c/OKs92EthFAED55WhGbNow45sh9HKzcL9yaU0cIEZ1c7jY3fRvj/rlwLOfE6CnqkCmrX9iPwX4AbOkr5i6dSWXhaHLHCQZp+p8xD1w3cymKLmSKGC9349zPol5K9xtTk2RX77JInv11dCZpSGKO0NNy+7v0LS+yv3Qi5kvafM3X1a+bIeS4JJH+D/DZwJIRIeaR70JV38hjPLpJqCUvBoxZf8CH5YKgnBCoRcS6k/wDCtsyWsK6af1/aWcMPuTXfxbtEQ8739yBpo3kOnYDZxBzV/fOEiAH+zXS9Kl6G0ZF6FmvAZJ2bVFQXvUN6qo/iDSngHKikC23OiNH2D7kTAy2xAxZE7LQWSX8QQiG3MuMqNthjlTkAal6BslbKUtqVsJpkGoH4l9dT3BTcSYl5hdU4LaXO3j3kZhRGHH5nWojPxIZlJFjn+h0TU+mETQ0kh04rShTyEcNbqH0RSNbkz9zY/Tdo4HbEQwlo8uwpVougkOe216j75jZNBjOzJwVi/4clYnYH4bzEu2a+wwf5Pua+HJC7Vs+F4nCtyf4omICTUTu6xrvdm/BiM5yKQuVwsHT++Gtu1hOqTGu65in7ADh6cO7yQpqn91z4+1DCStUsoo/DkA+KC/z0y1e6HpdK1KmQbpJNUVxqt4gWUr5v1QLi0ryw7s2LP4AM0LvCpd8kuPoGSulQtySP6BdiEmXgg9AdGpJKeeSzIr8V40nnckJf9+iMx+bht/VLiHr0vXq1FdoOmeKTIb4FK/VzwUfcSLal2bEywhLtlSqnd4fHK68qcZHyco3yYMiydMWexCgNTV8q0TPbGepk+UnImxt/KDBM9ObE8xHuNfutCQwlpLTx7sGqZ1qJAWwNgSrvj6M/7fsRIVuHPbx/2GMuXrNGBxNn821ytGilCY37Bz0+Y3AtFZ7jEbI/SGcjxF/Q0AzulEpqNvhjRsSkhJrq8Cb5PXLRyt7H/Vq7ZBiOn2oi4QeX3tyF5qvO8lv+4Q6+l9aR+XFdKg7fFeWIyAOjhq3jVAvtsIc+Q7nFq4mk6QRQnXqlbAufMqcxmkjsCgdZcRZl1jX9FfCi0bTm8tqMGVDKVcXXhvWSztspW/gZ2iXMrvsqnikaWVsg3KzklMboB/b6pYvVrDC9XmO+iNxbCqig/ekb3jDLsGeE8Bt6KmLwPhxG6b2DVNE+ePLgWEwuQx6Kgq+8YokdMDmOSaM7hpiG4ejYGbJI7qc2BGvX+VlhccR8XI+yJJXxNO8uyj4F6rfTSJbb9vsPt+WXfFxKX4oaFPieuY5YcvIRWGBFBuvkIjeZb12mRskxsRsgAFAiLrUzMsLrlQ3AB/oGOgaCGZFMZG2TwVp0MMVtLHPmCgE1BOLTN3iHIxJFUb/r2JPrhikN6PuXxJLML3xwPaJgdm7XJ7CWfPib72NcpGJFsUBZ+esWqQ2Bs/nXlDNgiqrXgSnstRXgBCI+g8awz4ajrainDsDeJ2/XidzOP9Qrkk9PFm2OcWpY4NEnmugcux56H4iP2ZyYiOgn0OGTI5C37sNnH6fh5k/YNCSJr29uubKWMR3qPQphF7S0J/Bkt6w9pqgHvvZYmDBo0o9UHnK2oNPaVjx+/4hfgT4AKdPTScjzXrLY9jsntpa7w3MAD27faMF2HcCUCi37I+OPRCvkT1NUoDnNeVlt91n9ScEjF9k5mwmD/2ccsqRGlCyTEyAgYs6H7+wzIyY4XrYLOdOmWpP6We1vshjQvXv4+uKm5nzs3VT3W8fAYnavHUcSCoZLlJnLleoNHIzGJYI+PL/OfXL4mAH7ywamZz6714P0evB3cidYtNFsoakYLDREeI7Ga2MEaMsG0YjmVB+s7joRz0V2tzApOCSNExlCNpuj9SvxRhMpwhrHPa4LUj1jH3yhjW1rxGEPq8aQVd+JPRY4PlVB7wuMXRyR4MDzkXrmFBYtzZBJDTFAYVpGiEQGwEjdJu9h+H0Se7Rl7KJ2ZPdCe7VjY7KrQfrwXGx7/8Nl7EIMOnTzAUCHqXa8ss2f7K+jY6/5Lb9ox0C0rDc0xoY+WOjekzJjrAWt+Osrs30TDg6EdUybQWxUa2yQncUxk0PcCJUgqqGOl87H40h/odahCbOEgc/ou5VFYm2eQ3uf3XQcNfPJwqkRFMC9kXh0XeLm9IYK1+Pv3IYj18BT1RRHs46mmcjEtULJo2Gatpl0kpAMbVa4Ge+UJPRpDWe1QzQpAJdEpx18uqCUJfmSbtSRPiWr9js/jp1CxLTh1Z1koJVGAa+jJNes5Peerh0Qgn4sKtIlSWaQM4WkSgnfRvUj7OZsjNwV69NPLRsShprkZ6Dx9799ptsFx4zHDw4LR+HBY6dbcX9M+0HaV631o31i5FD06P0VxgKuWlQ2mDQDtiHJ2LEHwiG0QzaKmvk5D5OIav6Osl9z1mAssLkIf+Ovtz+BwZPv+iLQS3z3MxeHRZEPcJni59QHSHaWvD2wVc4E5MG0VC+yeBESXBYUGth3OgavWtrqqQJd9KBeSdXKA0KP/WiL9AOKdaUFNpv7Y/zm41HWQIlNaXusqq0bsuQLdeTP6kTigzV6P4p2sKdK0nSz855s7ndOSkvIMrZ83PKXJhpOIisHm6UOUb7zo3FnW2Mjc4IvO1kpozUySlt2R/5kq0TyEgRfEmyxcSS7aMfz73CAkGTpiSNlXrrW7YAE2pOfzwB2QXQvoiF+luvDUHmPAgwqYUxS1soKB1NZDVo6bzjIQGWBoezNnPb2x7yYmg8P4GLY9GYBY/HXWpnQ2pX1nSyT+PvnL6R5P9QvdKykbs3k5sFkIKOGoL6W9/mqKlUExa36rgUQlTyb6+Rr86CLUBV/z1OcsziP5z7BHsefmZj+a3SyqzbjmzyGgTTBMzbR7HO+kEOmsOw2C8vCcZ3QkCUzPu8vn8mQM8LAioUvESeEqXGaGF9mPizMDcdegoWSMjKc2KqaqCzw0Cx3VhbJT9Xdt3GwraT20295mhl7mIDeztdM0sXHxVGXl+cxkvYOEtYu1C4BuW8jpkd8zXQwzpNE3LhqgnIz7kpN+01qCFt9vfdyPnJMH9qTcR7Uo4WSZsBsvGOEfnhxoJ2IN0mkACQGgQ7+D+MhiqXfRUEj4/QhAK56u48lNG1wvtbPo0uHCpvMczN6ztbbvXwDjDCTTf5bAticl//PEbyDtKZPvG/xj2kNMQ2yjtCyO1Qd49QYVODBLj5dbTTsMYF4RxV0vcbhuRx7dVT+XjVpU034hxatMlpfJ9zkcUSvKdelOS12Wf5Et5vprfd/Oy4m1L7ow7r6W8iiQyT0H4CY7JMN0jf4gqaSfO/tw2tUOo/ZRkYvYk/Bnnv5XdFUwfmMTJ14CriJ8jJrmY3Qic6Za0QIwj1tcex3DvnqJT6/sTYrPjTAoY6edh6yG8zqF58KbVLcvkEf0+0SEBeL+l9aTI4N7tsf72v8njs3/oqvup3Z42NgdK42KMq58FSts0ToPcXizAmTtEZipOEdmNjxsBungaej4PPdnQRa4I1lKg8RHC/ajdYj6vbthRZT4EwlSM0nv/dUhVdNUSWj2MutbUktSYGPi1YcnCtMneB66YZ9fnpCEieY1QZM2jHmtZ1Av/KlBMOObuTDaP1Pv0vPq4sgugY9jd0ilX0u/JKqrHOTJZ/pscTESUpe+oAnVVyIC2fC2H5Hp4HnXWUYmymg9T1XOi9S3mhFBdcaAnuQwCp29AhfydLKZHPB8wZD6Oo88J8PJE5xdIfJkGW00k7A4TQwg8CGxBQCaoou89bXAYGq08P5fumFSIRStbm51bIKAOSLwpMFSo0YGGbVKBvX4UpFa+FRc5WcRjfrvvX2adAbgRvVBKq0pOR6N2ffrvsj9hHvdeg2yqtqYV+O9t6eYJ6BkYNpEDjKlLKOXf3Ugzg2aqP1Kv6jF5nELDunmiOm2J7bo2mqHElCEgGXTiQOFqd0QGy6vfAIkwLUX7hQm2+lXiNG1/LGUm9XVtyNug6k+FaEdxEiwCLxKM04jmq1No3m9ogJCcxuio8PbIn9mLl1zTajX20n/rxDYKNcKH7SBIYK7f5aN1Ie7vlhNNTKCTrursbwIWxbdnKqusi5rIL3Cnvg9DIni3H1Oi+O22gvjfK8N6kIvD0c3geNhItQoceVL1r0JYw9lZSr93MtMsyZxSHUPGw1DxnQF9Od9EYZQNlQnOGbfUjaA4xTdOLP6UBL3LpJWxnYUA2MRc5UyPHpx3UMWg9f+s/LxRGBSDQL1fnAXjwQHfq6FeUolp8aDEeLkx4nQA5shnk36Y3BSodsTiz00O8Xr0Y7ecdIgrKjTbeuvRfzL0Zo08WYZnKMfSXCy2vkvn+7RmroZrx/DOKh16AO0t3SJ0lqasqFjGyAd1Rb9JmMDTCutgFPrZUK1eHp+xQprgCxGrHowPlHU577/hwTqYsbvfTomm+5MFRg0uNBuGCFs7ctOJXrok6HkJWn/Lba6XTv5IEEUtaJo69L/iy5eIpaE5ltY3uDueBuTmyHlKhyo+FgFAaTO3HYrjyTFjFgakYwsAfECRKuJqmW0/zgN1piguzrZzFLFwymnLrxjCtqZUKCty4hAjMgaVIA5AVmP9uorPT9YCRf5rXAJJZfY2SlNsfHp2sxmu6csN7wRbFxPRsjPRzJhhovfOwQqUA8JRadAuamUkssstXfsmi7L8f+oaA+gM+qXZHkd9dpa9T2rIoxha9ksWTGHjxYJCb1BrhWWfdHJ7bO30yxTUM+pjUr6u7eA17VhzkpwmVT0y3Ml7rA7/kwYRLTfmy50R8fie4ZhIl6IIPRdKBUC3t3yEgKpUpbCPxh+a/58EkGQtWMG/c8efSAyX0pBTXWuL5JyeUuqrlnZt4rxuZMvYc6EEaxPH4W69lGFjH1Jxo1qe0CsxRdoGyR6vB3JldrK5mJKX4N8kQmDkZFAj6Z63w/uUtpD+sUee6IuRbChu1ECxk0d1Xqm6pac9rVh2sxBhDShbLGZ0q/BUNU7gPDN1z6Xoi74izvXrNGNYbX74AbyUHw41RZqh7XWIoYUs8ORyMZr/BGIyWPc+bcpz0jDQZirFKGveCmkXAvcgG4Zsp91MdJJ8+40Eo4wH99XBvoxDWvQflMfU8nnJNySgKBiruASCx4iut0Mn6Xbh2Y/Q2GwjwcA5DBLaWbYYEPyVTluNZuV8gr5m19X6LRr78gPhRHjEObyVUwrI2xEImND8wiMWR/qE1/YgFV7496ihjT9g29iX3vwMwzW3cTRVm4P2yYfYsGRT32IrFnP0TOtOTJFWTsgek6eX57V5ptk62QNwB7+DjabSZ7nKvtxfbUKZaKm6498H82GBuR/tIg4mIr8kvBZNnNJOheTrHLUoyeHcB4zwQqT5DpBkT/LlyOdDfwsP3atcWUWHxUHRiLCzUNri9EbYP0jre1ixOz4YObS0tymHkq8fJcj7j539CvPR094WBU4sDDkN/Uaa1x9mcTxdpOPEodJpfbW04O7laHO0vfxPacWVANWvhxTf+zbqGKQjND/qXv9POVSmvrES1txoYsPABR6CoHaCnti5+N0BcMl042xhD/iX+D9ALgYQ88396hhH/YMUFC17pZ4HrK3Md11/5GT53/mCHjQiEZH1k/x6oC6Z4nniOKAob4Cn2EhK7RDxiGu5DfHSfQ/qi37yBA09evMUhXPdItYA1HmWziifc/LsfQlWG6q7mtrvUpTsHCdH13sjcpzx3N3XQhNKKfw9iGniDYtleEkQXTVtLqPpE5/VGyi9TgwPctW1RiZrFW+zYUhy/w1MavM8OwhoNWWkg+FsHyl1u1eFe2+P1DSqivXTf39cTjieohSNW29FMBDTqDKcMzsOL6B2Pmy9GAWDzRCKeecMvftiWSf8BfYA3WjPBSoHnC/jCeKZ5JSDnQb5rP+CgofUVffFMZGx0R02cY7E7KLVit6MeBo6ztyUoZB1pGX8pBMqdnXgsL6LKU4KdfG+cyjTR7Wx3L98pqnpmANBmOzyWcyNmTqUxjMDsMAx4YIvRjhqbZwhnI1XRIjcHVfleTgGjlt2rONdrmTK7f/r58//ugoF3rn83NUjs2N2lx9YNA6Y4KIxPxRwWOO9gymp5lt9izLNNF23hmVBNmQ5595EiCBdIheNW4fkvQjPKsIzbbMd3pJFw5VfYsxmWmiCf7o4a2WXjpOPW2kLU46oDdU0Uz7yl6/4KjVpYxKtIb/3lmmBp8PPwY4RbD9ykAjZ3ohiA9ixz9DcGGitld4hgq/KOdkOTiX5NSZVDpykJxmY4CXWDUAQuoiaYXRWpKDQ8hL/39l0LcE/zJLDI/O8duQnM9bi67rraRfb9fhxJuV9MHJMaFpejJY2yF04fmcKXoBFpl+XiJzDj4fSLu+Eipu+q6jH5Ru/lbibZ7Tr6ETd/R8ugNTYLOZZ1T8b9jkXG+TrJLFlIB19eYb+HeG1D1lJXI3cTLrk2yXVCUfoG2ryRO+nUPZb0lnghRX5cp3nDYUzgfp+BIk2tMnmGXFs2Gf9rPyb6bmukWPtntHLv2emKD5f3aKTDdhf2RoP44tFKtwTp3FX0mcSiX53IUFQ+rh8ChlVpFRKJN1KnxTMDgP7igBF2cwaXBUG3JsLgPRBi1xWwrD0JDYEMPRwRA2q2Jcs46SHSCYAWcR7V9HzG4Shi/DfKRWsPB4ttV/nA9qshRRGLu3j2xU+W0JM85F1oSgA4iWje9SRUPqyqw6VPRt2B4Hu9bJb4io0zKTAiWHuQ1LfiuaFKfng/of5yEWj98liD0lQbssExI9QcKZZNdlitkunxdGc+vFzlvqfVsOvqdyacVKCMRM0kZn4UerTevO0w0FbdOnixjIcKlh464ZZTMU+338eUbobCdMWka7rLhU6+0v0KTkbrQ8SSZPnElawqcGWtSHL2wFu4IqTFjhFMzxmZWpdtXC/l1hpJm+dsb/Oj+xxY4EutwQghGmN/hKUSig4uAP+0DgX31x4e1rn09KYqTJJbQ2/u+yn3Lp3br+KVBEBK0gX7QqLIhXylD0RcvL6ET4hXcEbtbnjjlnRnrpAaCcOGtTY1317ntoE425+8rL8lVu+ETgGyXIrXVAOu9ZMsVRN1O+ZpLl2TreKIvFHgxggfX5zgTEY9kzf33TAFChwWO3Wh7s3gIB9rRfCvZT6IW8jkRcmk3VXCtjFPqe+hmhzJRF9pLGR3WVBcpBE3jF7gI72cRqVTzYRimUsOkkBNjte+pvC/f526+6564JFb0KXbRfYRIr3HB6jkFYx8uuG0d7Zh8FiTOIt4fsfVYM1o4wvUCPw5n5D7w/ndNeaa1hzUeyS9Dm4ZPKq30mTn+8p6W2x2YgjXi+taJ0RlojpA9xFOZGaMPT+I3Z7yR0WaS7IzP9OIeZXcLsZ8BbyqyTY7+VKOUJR5aJ8bcG4272/fVgcn47MmCQ78R+3ovFWeCOpc32K603By7tBfwnp3Qg7bpOnKrmSPyNkMAe7gTTCLsPzH9Ytrlu7FAcaiAjer0nHYUk6mfZqyXNyL5i/e+55dXFOBb2+my33j2lxm7uRkLHc2gHOcgh2iAu3rU+NJp9mnV7VKsF/D3SQL6Zq4+nr/HRi/Se4eV7Pxeux/fYHrOnMUjLUj1/OH2UoEYUxrK3wkoo7JHlIPgmKkOEzLCzkjTvkIHfnOFRoX9Of6tFl4IH3TaqJeD9xtXmgpFLmezALE++i9Jnl66dy5MYyJ44VjbNXetoRv6PcYP3wgdaXK6q9Q+QgPwV8JQiogmgBlu8A34imR9fpJxbAnAgU/YBnfEzjy3LH14CKaxKKuqjuslqlSAi7ihpHqPEOHV3Vcu3y0h7alxNDWgGYVFY7l+aZb1gBz1ejOzrIWQMcR4LdkgjzytxxanSacQvvadh+2KnXyIS/ECv9EMxn6VZi3V1gLrFl08IwE7vS2Yi3WrndUXBphNP3Qk6G8kNkFU6d2giPSmFj2YBVlFbsBjWdtpjyQBBlbs5IPS65JpvKBqr4keKQh6Q8UD5Qg2YSqbRInkg6sjS7bAZ2FKmDhAzzVaBkPKRyD+3Xo3b1jjd2RK9JhR2vX+FpMm6VnRyHC7GjQQ+ric/QGH/iE05beShkGNdKyB6jotdtFP6et73cQqb1RtNpgZgkyYCGzqtWd3ZHQW510zqCrwxXT0SzNQKMQFZJeLbPHlP/NDyHjG9DW1NukPX/mN9pOL7zEo5a+/nCTflyJDqeAFL0yD4dqBbURZkCrDmez56tgLe6E+32XzhXmcZ62QZR+kZowjLgenw4VtwDmJEy0PjAXLUJhjNjKaSFuyIzMv9PKmGq/ON5kZ8lJpbtAbJIhrPFAYkyA2djCfLPZTE2qzKESQ7WLMgo+yxskMh6alyF/d1Iv/mE4cuQzOpNOUkZ3ihpfKticpPOLq4YXjyw1+Q6XCz14yAfwmOslsApgtLbka9/vz6+Q6uDdzk+ZaVRG+fSBGaxbnnyopga2U1tYecal0Mpst4MIOVkwz39gV2Ez6ZeeNMBFkpSXR8TPvYgIThJP5YPBJ68ghtaxAa+f316HLZ5Y1Fy8nwUJKfJNA8WWd7ehNoLpJQ2wHazhwGBVv4StUaRAZLj3+XyG7aR/WJT9uJTphNj9oMnuoD/U8pdBL1XuEblMv6n4sYVroS4V+WMyPLDoj1h6ShdLHi+s4p9csO51IeT69rBkS1ZbuYQrVR9N1zqa6BG5LhLYUqLRPdsimvtJfyQDdIwt9M7F3RIkS0ftRZzdaWfqqMXliPSPLCqOn+7RxhyRWxET5ypIobW07BaU2NoMOlZynCVzkypTSau/L7nBx/vZRAVktYFuc4J21z4hlT68yMrNpyaDQK6pvtPoBsyWqOvOR1TUP8X0QZTikJs8mWo/QpnRVl63ekdHVukZcsDPGc3FhlbPW2t+YDQJSd/A17OnzPpRH0x8GUdH5mUSJMd7wDVF98UAmP0P6LnIUKgd4ZByYOrNOETZtl9jcRGI6XmcYZqNTsd6rNTeEseguUggRcZqJ+1lpuCN5OjUVG9rNCC1DAa8EhjVWjoPWzrc0aLnftm/ogAb5IB4/wcffvoVPo2uf0RHUUDTk2JRIahdkUl73oUjgW3yQNm0IP4x9R/k4AADGmvPV2LU3AJVPLyOLpohkDkz0pgKDG/bcoOb+W7hvRRU8RNUbDVLCJ+J5MD1oz0r5Vbq0A1ruRHn8eBSY3J/4eRKXUo3MnRsNhVWqhpOChWsTrMvE5l8bd67VbnPMmBLnPB7YjjfesT3tH+LhfNcfZuWPY240uVgYCRd4f4G6KJQPUvTkbiGjXY5qw8YkRRKVwmWPBUjcxMI3cy8RmJoPPOqf2N6yk0RIVzQJI3/9DRPCVgdz9vg7Z9JvNF8y93Xu4cN1iMwBKAfCQkRi+w8EbnGrdojCzQkSLDCznezZJPU902mN89YpHxGaldz2KfpVmud1iZpecv64HgfQGBnK9jtBu6qZSYE6/FXBd3cYspOMFEtuBgTw8C0ikC5cMzeM7BoLVQD/OVWWv1OceaZkmNTaiPnzbTbk6s5EpJFAlPdGtg7XUFL+BBBYsmV5eqA8cBXqkIZ6A5CRJd4G5WNhZv/RlhzrF4Nbd/Mc0SBLO8an4i7V1AEmZwZ0ANApJ/whwmT6ZIbXxzoA2ptC9h/4plzO8K/5EY6jHxRYR9jNW47HWVPOfmSgFnpSuPt8VM6UtwuSYvHTbDo6QlS0+sGb32eyWw/UnWamd8E5PbJfTjncW5QCx91rw7PpsKVOD6BcONK/oeo5TCmW+ihxFd0HHJIClwv7yRF+vPPQRCkVd4Ns6ZWrphIItdzPCAfilQ0UUwtq2UvHGsbQ/mqkf8BAaauBto8BRmayoVclXbxpVhPB0t0mcfwQ6K1pkT1/1JNViUqZBLcu4lGrv4RIqEHXPMNj/+kuPuPc7q8qW1fK1bYRxTJUP/g0a5imGTMsRZzqv8EbxdE2ckiUaFDRBNOfCljPiTRBYBnjjlpcs1NP1m+rFhkvcY5yGKq9acxOHcGvWemhP3U0fAp6bvkoflPHemc92NsK7hfN+KuZRbror4IN6Nz0TxfuLW0gKxrCd41fpV5uo95l6tgFEnha9HdJ0p1I7KZcL+anhDFlIM33okor9eFw80+tVSpLfgDbNwNHB8Rp1Pgp83Jw3ld0OdF2yxaPWP781Z45qRaia29A6+mnEON4kDpvApjWjBikjYR+Nnkm0DZ6HtsMINq3SZLQ/q8oazVX42K2xRxqxc77OSOA2Xc0tk0XLC+IiRNLXxQSwDbaBnexahsHJPJxh10DkaEpAY08LwU9iBK4RSUF1D6ASHiY37uNIyHz1+Rz4Yd0vk4kOWv6mneKNDFBxzvzyb2Y4ysx1w84lkxXwjBK7cYHCnS5Py+YfihMqOnATXhOaTLPQKiTnjVhO2Bfl63G72eUApEHu7fbvkzRcLuibCkm5sXSRrZ/xuDhs3x/qizKBbZi6d6AeqY8EpAeLE7HlIK7B5EktDG2waKTROrVyBQCn1MJu9TFwDUO9O/pdwyEB6z4wQKKiA6gwkH3jgMuagHFRyu49r2p+ax6tRcCQhTtsbDQ7mHXSwpZnXqqT/ncizWGrotzUJL8P4KxjIc/Hp8C8YiMLhPRNCi/1IusJuvBf/V37rClAqI4jttxSC3bUSlX1oKPzmp1PdHDp3Hg8u/zAVNK6iKo4781Cv3gKfHFclbl/Sy3TkvNi6m/tMqN54VF2noRUtj65Db7ll6nv/f/+5OPMPZJ3ZSjIxi1Onr3LoHppe9mISZ7DScc94zSmNKVsR4KPWOfp695vCGIqqjemrUbFh0NchbLDp4qXOgmYCds6/yDBa9nZ+QLRtq59u2q7qDV/xMzhYzRyYUhP386QzmJLVNYCA74NyC9/fEbM2xnFuVUGkdKoO5Pz8L3LrqptApI09qCmjW4CDTj8nLizidTUghxnaWSQz8dwZq8svvRDnuO68XIWM2eDvmEBx5uiwjcShY+XLGrI+GIw35ARW6LZ9V1dGJo3lftDfwrZ1abzVvt1XP5EO3J+LwIxCa8DTfG2i3JgnTcJm9qTZ+y7LVvSmpakQA2SVuTUesG1ikTIgAPflIOX4kzA7McbYK85ZYRr3VNrwbl4S2y9RaLk1Mr5BuZqCf6mNywCBk41BJl9Vprcq/ESfArB00/YXsqambK34LyFL3hxPSkf8Z1UVcP1VQJ5ZP1ESaCvSeEQ4kh2dkSVFiQCO7eFdaoqdcwVL4N2friYBxuDMGO2EWyQzIDdRYg+XobxRR2Pa86PyABwXLXAhopIde5UxCMpMHgfzy409KLvs5m0OK+vG5rdE2wDC1ie/1XCp3Iz9BIBLISiKLeRNfFLMRbkv0XRb70pjBmMzXhN3PqSqRXKuB7eBYhRGsPtBuO1J8Jio7Ga403RPtoscbLbvLcm/vNxS37XXQcq6X9ZMbxzhqTM2WF/8zwy8Yr7kD3ddTuZngv+n87JATMtIDuRjEb7JHEJAll7lfRiR9ln67Saxvx4AMwE2bjgoP0RZN8bg6UfZYDwd5yIkTdUZahfTPAXDRdc9bUYQbXL4XUUxirPlKwsJPWqpJUGuR4Pa33/ZI2Pm1IJcD4wTMMBB670ik3au1wGD+99Ogn1K7BbkU/wl8h4xuwEZvCIwi79kYZvNmQmQ6K0Br/XwHF5xDWGAe1q6fG2G9Gj2YL/+VwD7ZgfYeh8rcz/oiU5/cUMhKl6ZS2xL8pPcwByKyXwFzL4V/bR/R2ocDBWrmmw5QpeI5q9GQTLxNPeRcLW+xlWhVNvraAtu0TVnFfRGubppNVieXSaQBlTD4UIOecK2om7EAECop4OcPBKIU35EsfCh4UK+CMvtxW5kbSXsm09TtTPiSQChHi+IQ/kcKonNVunhPHgARLpto03Ez0Hx0llOtqvyLFhRTB5pnuJjXuhc+I3oLyaXXFA1X69DO28oSuVJJV5L1AkgpiYe9deiK8asqqoFemi/6z5+lOzp2UaOYxe7gA4wcXJfTuxHZgbRQ+i70s27CtotpxbKkgE9jq91IryaY+e8GCK2hfXjP4npwmu9NPS8GNIw/SagpRzHCMSCaeP6tteNxCAt7AIKAk1TzbTbrQZgB/u3O56z6FHgfM56YNylrmocZFIOu1rKTmPmb6MZBD0ynb0anAocbLeaWY4c6/nAi4/kOc61hlwvC92B1jLOkyDVufaKdBq6EG7jVsAiOsFDJbGKe0ncJAPOz0g+EDrx9tVJHcEqsrte2Nfvz8S2315U/YWIt/IKHfFk/WLEuvvoRZnUgZronFRmcN+G5GiLFNd18XtgKLUQh9+v5tHF++KIsQimTvqll9ak91DqNWdVHe6+6bBnCENDfpk2sibKV4FSe9mmca1D4vwVlqSkRxHbFNu6t5GE6Yu1BZbMX14EYbyAoYIT6ULfLD0Jb5ZmVk1OIpR4VlaH+JflatiKdwUC17mkkRkTIfWrCkPP3Yc1bMirraLKonPES+iJg/BjmEdb50Ut0na/egnblXC3ezPXcLkRIveLb8a4s6rf6HV/h++tfTQJGN8Pi8aZiusZCj9PU+VPvWI3DHn+Or0mc3g3YDjMVDcpi6ylM/XQjnnAThwuiHsrgnSF6bW6zIHRginU3b/g0qC6aBk=">
            <a:extLst>
              <a:ext uri="{FF2B5EF4-FFF2-40B4-BE49-F238E27FC236}">
                <a16:creationId xmlns:a16="http://schemas.microsoft.com/office/drawing/2014/main" id="{2B35C294-8802-4F8E-A098-859BEF2C06CD}"/>
              </a:ext>
            </a:extLst>
          </p:cNvPr>
          <p:cNvSpPr>
            <a:spLocks noChangeAspect="1"/>
          </p:cNvSpPr>
          <p:nvPr>
            <p:custDataLst>
              <p:tags r:id="rId14"/>
            </p:custDataLst>
          </p:nvPr>
        </p:nvSpPr>
        <p:spPr bwMode="gray">
          <a:xfrm>
            <a:off x="9374795" y="2041358"/>
            <a:ext cx="2477492" cy="4419710"/>
          </a:xfrm>
          <a:prstGeom prst="rect">
            <a:avLst/>
          </a:prstGeom>
          <a:blipFill>
            <a:blip r:embed="rId19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6C8885C-FF22-4608-BE62-58C2513AEF3E}"/>
              </a:ext>
            </a:extLst>
          </p:cNvPr>
          <p:cNvCxnSpPr>
            <a:cxnSpLocks/>
          </p:cNvCxnSpPr>
          <p:nvPr/>
        </p:nvCxnSpPr>
        <p:spPr bwMode="gray">
          <a:xfrm>
            <a:off x="6842226" y="4457700"/>
            <a:ext cx="434874" cy="1276350"/>
          </a:xfrm>
          <a:prstGeom prst="line">
            <a:avLst/>
          </a:prstGeom>
          <a:ln>
            <a:solidFill>
              <a:schemeClr val="tx2">
                <a:lumMod val="50000"/>
              </a:schemeClr>
            </a:solidFill>
            <a:tailEnd type="none" w="med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2" name="Straight Connector 261">
            <a:extLst>
              <a:ext uri="{FF2B5EF4-FFF2-40B4-BE49-F238E27FC236}">
                <a16:creationId xmlns:a16="http://schemas.microsoft.com/office/drawing/2014/main" id="{6956A3E9-760D-4E11-A8DB-B7287F6CD1D6}"/>
              </a:ext>
            </a:extLst>
          </p:cNvPr>
          <p:cNvCxnSpPr>
            <a:cxnSpLocks/>
          </p:cNvCxnSpPr>
          <p:nvPr/>
        </p:nvCxnSpPr>
        <p:spPr bwMode="gray">
          <a:xfrm>
            <a:off x="6842226" y="2567146"/>
            <a:ext cx="434874" cy="0"/>
          </a:xfrm>
          <a:prstGeom prst="line">
            <a:avLst/>
          </a:prstGeom>
          <a:ln>
            <a:solidFill>
              <a:schemeClr val="tx2">
                <a:lumMod val="50000"/>
              </a:schemeClr>
            </a:solidFill>
            <a:tailEnd type="none" w="med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3" name="Straight Connector 262">
            <a:extLst>
              <a:ext uri="{FF2B5EF4-FFF2-40B4-BE49-F238E27FC236}">
                <a16:creationId xmlns:a16="http://schemas.microsoft.com/office/drawing/2014/main" id="{012F23CF-1AAE-4DF0-B4B5-79601593F6F1}"/>
              </a:ext>
            </a:extLst>
          </p:cNvPr>
          <p:cNvCxnSpPr>
            <a:cxnSpLocks/>
          </p:cNvCxnSpPr>
          <p:nvPr/>
        </p:nvCxnSpPr>
        <p:spPr bwMode="gray">
          <a:xfrm>
            <a:off x="5172075" y="2567146"/>
            <a:ext cx="438150" cy="1890554"/>
          </a:xfrm>
          <a:prstGeom prst="line">
            <a:avLst/>
          </a:prstGeom>
          <a:ln>
            <a:solidFill>
              <a:schemeClr val="tx2">
                <a:lumMod val="50000"/>
              </a:schemeClr>
            </a:solidFill>
            <a:tailEnd type="none" w="med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93437315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btfpColumnIndicatorGroup2">
            <a:extLst>
              <a:ext uri="{FF2B5EF4-FFF2-40B4-BE49-F238E27FC236}">
                <a16:creationId xmlns:a16="http://schemas.microsoft.com/office/drawing/2014/main" id="{B5BB94FE-3F78-4CC4-AF44-F2A7B87BBD64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0" name="btfpColumnGapBlocker828953">
              <a:extLst>
                <a:ext uri="{FF2B5EF4-FFF2-40B4-BE49-F238E27FC236}">
                  <a16:creationId xmlns:a16="http://schemas.microsoft.com/office/drawing/2014/main" id="{145FD3B2-82F6-4DA8-9E76-1AD96D630F0A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8" name="btfpColumnGapBlocker646891">
              <a:extLst>
                <a:ext uri="{FF2B5EF4-FFF2-40B4-BE49-F238E27FC236}">
                  <a16:creationId xmlns:a16="http://schemas.microsoft.com/office/drawing/2014/main" id="{CD9815E8-908F-4A83-AAB5-CE9CFF198476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" name="btfpColumnIndicator539618">
              <a:extLst>
                <a:ext uri="{FF2B5EF4-FFF2-40B4-BE49-F238E27FC236}">
                  <a16:creationId xmlns:a16="http://schemas.microsoft.com/office/drawing/2014/main" id="{959FDB0D-F763-4664-BDA9-644FE4F0BDCD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399749">
              <a:extLst>
                <a:ext uri="{FF2B5EF4-FFF2-40B4-BE49-F238E27FC236}">
                  <a16:creationId xmlns:a16="http://schemas.microsoft.com/office/drawing/2014/main" id="{EB639A0D-F999-4D22-81BE-71A9F1294164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btfpColumnIndicatorGroup1">
            <a:extLst>
              <a:ext uri="{FF2B5EF4-FFF2-40B4-BE49-F238E27FC236}">
                <a16:creationId xmlns:a16="http://schemas.microsoft.com/office/drawing/2014/main" id="{23FA21ED-C8CC-4746-9CA8-B451054336DF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9" name="btfpColumnGapBlocker642661">
              <a:extLst>
                <a:ext uri="{FF2B5EF4-FFF2-40B4-BE49-F238E27FC236}">
                  <a16:creationId xmlns:a16="http://schemas.microsoft.com/office/drawing/2014/main" id="{DAFAFB76-A2FC-4EF6-85D8-4A0B328594D7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7" name="btfpColumnGapBlocker697767">
              <a:extLst>
                <a:ext uri="{FF2B5EF4-FFF2-40B4-BE49-F238E27FC236}">
                  <a16:creationId xmlns:a16="http://schemas.microsoft.com/office/drawing/2014/main" id="{8B79C459-3BD0-41E1-B546-59A814F5EF6E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272223">
              <a:extLst>
                <a:ext uri="{FF2B5EF4-FFF2-40B4-BE49-F238E27FC236}">
                  <a16:creationId xmlns:a16="http://schemas.microsoft.com/office/drawing/2014/main" id="{620F4DF2-72AA-4308-B316-486DF706E59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" name="btfpColumnIndicator696426">
              <a:extLst>
                <a:ext uri="{FF2B5EF4-FFF2-40B4-BE49-F238E27FC236}">
                  <a16:creationId xmlns:a16="http://schemas.microsoft.com/office/drawing/2014/main" id="{A05D990B-5622-4900-A109-941B35D6D06C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" name="AgendaLine">
            <a:extLst>
              <a:ext uri="{FF2B5EF4-FFF2-40B4-BE49-F238E27FC236}">
                <a16:creationId xmlns:a16="http://schemas.microsoft.com/office/drawing/2014/main" id="{4908DE91-7177-4E64-A83B-38A0084A7148}"/>
              </a:ext>
            </a:extLst>
          </p:cNvPr>
          <p:cNvCxnSpPr/>
          <p:nvPr/>
        </p:nvCxnSpPr>
        <p:spPr bwMode="gray">
          <a:xfrm>
            <a:off x="1616981" y="876300"/>
            <a:ext cx="0" cy="5689600"/>
          </a:xfrm>
          <a:prstGeom prst="line">
            <a:avLst/>
          </a:prstGeom>
          <a:ln w="19050" cap="flat" cmpd="sng">
            <a:solidFill>
              <a:srgbClr val="CC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AgendaTitle">
            <a:extLst>
              <a:ext uri="{FF2B5EF4-FFF2-40B4-BE49-F238E27FC236}">
                <a16:creationId xmlns:a16="http://schemas.microsoft.com/office/drawing/2014/main" id="{62BC9FCC-E8A4-497C-AEBB-FD61B21167F3}"/>
              </a:ext>
            </a:extLst>
          </p:cNvPr>
          <p:cNvSpPr txBox="1"/>
          <p:nvPr/>
        </p:nvSpPr>
        <p:spPr bwMode="gray">
          <a:xfrm>
            <a:off x="330200" y="952500"/>
            <a:ext cx="1102585" cy="235611"/>
          </a:xfrm>
          <a:prstGeom prst="rect">
            <a:avLst/>
          </a:prstGeom>
          <a:noFill/>
        </p:spPr>
        <p:txBody>
          <a:bodyPr vert="horz" wrap="none" lIns="18136" tIns="25226" rIns="72073" bIns="25226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all" spc="45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genda</a:t>
            </a:r>
            <a:endParaRPr kumimoji="0" lang="en-GB" sz="1200" b="1" i="0" u="none" strike="noStrike" kern="1200" cap="all" spc="45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2" name="AgendaEmphasisBar">
            <a:extLst>
              <a:ext uri="{FF2B5EF4-FFF2-40B4-BE49-F238E27FC236}">
                <a16:creationId xmlns:a16="http://schemas.microsoft.com/office/drawing/2014/main" id="{79185F17-CF8B-4712-AAE8-8B680DA276DD}"/>
              </a:ext>
            </a:extLst>
          </p:cNvPr>
          <p:cNvSpPr/>
          <p:nvPr/>
        </p:nvSpPr>
        <p:spPr bwMode="gray">
          <a:xfrm>
            <a:off x="1616981" y="4125401"/>
            <a:ext cx="127000" cy="743179"/>
          </a:xfrm>
          <a:prstGeom prst="rect">
            <a:avLst/>
          </a:prstGeom>
          <a:solidFill>
            <a:srgbClr val="CC0000"/>
          </a:solidFill>
          <a:ln w="19050">
            <a:solidFill>
              <a:srgbClr val="CC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13" name="Agenda">
            <a:extLst>
              <a:ext uri="{FF2B5EF4-FFF2-40B4-BE49-F238E27FC236}">
                <a16:creationId xmlns:a16="http://schemas.microsoft.com/office/drawing/2014/main" id="{7CB82E8A-3BC1-43A9-8D97-58E5F55FC414}"/>
              </a:ext>
            </a:extLst>
          </p:cNvPr>
          <p:cNvGrpSpPr/>
          <p:nvPr/>
        </p:nvGrpSpPr>
        <p:grpSpPr>
          <a:xfrm>
            <a:off x="1970752" y="1270000"/>
            <a:ext cx="9891047" cy="5295900"/>
            <a:chOff x="1970752" y="1270000"/>
            <a:chExt cx="9891047" cy="5295900"/>
          </a:xfrm>
        </p:grpSpPr>
        <p:sp>
          <p:nvSpPr>
            <p:cNvPr id="114" name="AgendaTextBox">
              <a:extLst>
                <a:ext uri="{FF2B5EF4-FFF2-40B4-BE49-F238E27FC236}">
                  <a16:creationId xmlns:a16="http://schemas.microsoft.com/office/drawing/2014/main" id="{E09D29E1-A87A-4865-AAEF-151DCF48D336}"/>
                </a:ext>
              </a:extLst>
            </p:cNvPr>
            <p:cNvSpPr txBox="1"/>
            <p:nvPr/>
          </p:nvSpPr>
          <p:spPr bwMode="gray">
            <a:xfrm>
              <a:off x="2034252" y="1270000"/>
              <a:ext cx="9827547" cy="5295900"/>
            </a:xfrm>
            <a:prstGeom prst="rect">
              <a:avLst/>
            </a:prstGeom>
            <a:noFill/>
          </p:spPr>
          <p:txBody>
            <a:bodyPr vert="horz" wrap="square" lIns="36000" tIns="36000" rIns="36000" bIns="36000" rtlCol="0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3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mographics</a:t>
              </a:r>
            </a:p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3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PS</a:t>
              </a:r>
            </a:p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3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KPC</a:t>
              </a:r>
            </a:p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3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wareness and usage</a:t>
              </a:r>
            </a:p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3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CC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witching</a:t>
              </a:r>
            </a:p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3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ice, Spend and SOW</a:t>
              </a:r>
              <a:endParaRPr kumimoji="0" lang="en-GB" sz="2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15" name="AgendaSeparator1">
              <a:extLst>
                <a:ext uri="{FF2B5EF4-FFF2-40B4-BE49-F238E27FC236}">
                  <a16:creationId xmlns:a16="http://schemas.microsoft.com/office/drawing/2014/main" id="{3C1C70AD-A1A8-4A2F-B5AE-3FFB0F9F2798}"/>
                </a:ext>
              </a:extLst>
            </p:cNvPr>
            <p:cNvCxnSpPr/>
            <p:nvPr/>
          </p:nvCxnSpPr>
          <p:spPr bwMode="gray">
            <a:xfrm>
              <a:off x="1970752" y="1839400"/>
              <a:ext cx="2800414" cy="0"/>
            </a:xfrm>
            <a:prstGeom prst="line">
              <a:avLst/>
            </a:prstGeom>
            <a:ln w="9525" cap="flat">
              <a:solidFill>
                <a:srgbClr val="D6D6D6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AgendaSeparator2">
              <a:extLst>
                <a:ext uri="{FF2B5EF4-FFF2-40B4-BE49-F238E27FC236}">
                  <a16:creationId xmlns:a16="http://schemas.microsoft.com/office/drawing/2014/main" id="{949A5CD5-7D34-400E-91B5-B0F2D34E9113}"/>
                </a:ext>
              </a:extLst>
            </p:cNvPr>
            <p:cNvCxnSpPr/>
            <p:nvPr/>
          </p:nvCxnSpPr>
          <p:spPr bwMode="gray">
            <a:xfrm>
              <a:off x="1970752" y="2601400"/>
              <a:ext cx="2800414" cy="0"/>
            </a:xfrm>
            <a:prstGeom prst="line">
              <a:avLst/>
            </a:prstGeom>
            <a:ln w="9525" cap="flat">
              <a:solidFill>
                <a:srgbClr val="D6D6D6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AgendaSeparator3">
              <a:extLst>
                <a:ext uri="{FF2B5EF4-FFF2-40B4-BE49-F238E27FC236}">
                  <a16:creationId xmlns:a16="http://schemas.microsoft.com/office/drawing/2014/main" id="{17826B09-F0AC-411A-8739-30EA1A0AF886}"/>
                </a:ext>
              </a:extLst>
            </p:cNvPr>
            <p:cNvCxnSpPr/>
            <p:nvPr/>
          </p:nvCxnSpPr>
          <p:spPr bwMode="gray">
            <a:xfrm>
              <a:off x="1970752" y="3363400"/>
              <a:ext cx="2800414" cy="0"/>
            </a:xfrm>
            <a:prstGeom prst="line">
              <a:avLst/>
            </a:prstGeom>
            <a:ln w="9525" cap="flat">
              <a:solidFill>
                <a:srgbClr val="D6D6D6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AgendaSeparator4">
              <a:extLst>
                <a:ext uri="{FF2B5EF4-FFF2-40B4-BE49-F238E27FC236}">
                  <a16:creationId xmlns:a16="http://schemas.microsoft.com/office/drawing/2014/main" id="{50D78DD7-FD46-49AA-AA05-7D4589F4338D}"/>
                </a:ext>
              </a:extLst>
            </p:cNvPr>
            <p:cNvCxnSpPr/>
            <p:nvPr/>
          </p:nvCxnSpPr>
          <p:spPr bwMode="gray">
            <a:xfrm>
              <a:off x="1970752" y="4125400"/>
              <a:ext cx="2800414" cy="0"/>
            </a:xfrm>
            <a:prstGeom prst="line">
              <a:avLst/>
            </a:prstGeom>
            <a:ln w="9525" cap="flat">
              <a:solidFill>
                <a:srgbClr val="D6D6D6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AgendaSeparator5">
              <a:extLst>
                <a:ext uri="{FF2B5EF4-FFF2-40B4-BE49-F238E27FC236}">
                  <a16:creationId xmlns:a16="http://schemas.microsoft.com/office/drawing/2014/main" id="{6F7440AE-1AF9-4795-96B9-B726A69B30AC}"/>
                </a:ext>
              </a:extLst>
            </p:cNvPr>
            <p:cNvCxnSpPr/>
            <p:nvPr/>
          </p:nvCxnSpPr>
          <p:spPr bwMode="gray">
            <a:xfrm>
              <a:off x="1970752" y="4887400"/>
              <a:ext cx="2800414" cy="0"/>
            </a:xfrm>
            <a:prstGeom prst="line">
              <a:avLst/>
            </a:prstGeom>
            <a:ln w="9525" cap="flat">
              <a:solidFill>
                <a:srgbClr val="D6D6D6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222297896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btfpColumnIndicatorGroup2">
            <a:extLst>
              <a:ext uri="{FF2B5EF4-FFF2-40B4-BE49-F238E27FC236}">
                <a16:creationId xmlns:a16="http://schemas.microsoft.com/office/drawing/2014/main" id="{1587AC27-2FE7-43BD-A93C-D93A78186E04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0" name="btfpColumnGapBlocker111996">
              <a:extLst>
                <a:ext uri="{FF2B5EF4-FFF2-40B4-BE49-F238E27FC236}">
                  <a16:creationId xmlns:a16="http://schemas.microsoft.com/office/drawing/2014/main" id="{228100FA-D428-4051-9205-1DA274BE9A0A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8" name="btfpColumnGapBlocker300796">
              <a:extLst>
                <a:ext uri="{FF2B5EF4-FFF2-40B4-BE49-F238E27FC236}">
                  <a16:creationId xmlns:a16="http://schemas.microsoft.com/office/drawing/2014/main" id="{AF29C18F-03F6-4456-9EB4-83AF4FC19C56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" name="btfpColumnIndicator438360">
              <a:extLst>
                <a:ext uri="{FF2B5EF4-FFF2-40B4-BE49-F238E27FC236}">
                  <a16:creationId xmlns:a16="http://schemas.microsoft.com/office/drawing/2014/main" id="{DD6BC88C-0FC4-4914-A70F-B19FFEDDA193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105774">
              <a:extLst>
                <a:ext uri="{FF2B5EF4-FFF2-40B4-BE49-F238E27FC236}">
                  <a16:creationId xmlns:a16="http://schemas.microsoft.com/office/drawing/2014/main" id="{D2B6D401-C90B-4664-A5FA-5D220DDDC002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btfpColumnIndicatorGroup1">
            <a:extLst>
              <a:ext uri="{FF2B5EF4-FFF2-40B4-BE49-F238E27FC236}">
                <a16:creationId xmlns:a16="http://schemas.microsoft.com/office/drawing/2014/main" id="{0B7BD084-0426-40C7-B190-90FE288CB73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9" name="btfpColumnGapBlocker373382">
              <a:extLst>
                <a:ext uri="{FF2B5EF4-FFF2-40B4-BE49-F238E27FC236}">
                  <a16:creationId xmlns:a16="http://schemas.microsoft.com/office/drawing/2014/main" id="{64AA160A-C6A1-48A6-9872-67733CE96CB4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7" name="btfpColumnGapBlocker988208">
              <a:extLst>
                <a:ext uri="{FF2B5EF4-FFF2-40B4-BE49-F238E27FC236}">
                  <a16:creationId xmlns:a16="http://schemas.microsoft.com/office/drawing/2014/main" id="{24D4231B-29BC-4975-A94A-F8BC42D4AA89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713204">
              <a:extLst>
                <a:ext uri="{FF2B5EF4-FFF2-40B4-BE49-F238E27FC236}">
                  <a16:creationId xmlns:a16="http://schemas.microsoft.com/office/drawing/2014/main" id="{5ECB6588-2EE3-4733-9C3D-2F6B981093CC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950841">
              <a:extLst>
                <a:ext uri="{FF2B5EF4-FFF2-40B4-BE49-F238E27FC236}">
                  <a16:creationId xmlns:a16="http://schemas.microsoft.com/office/drawing/2014/main" id="{8719AAA0-1618-4987-AC26-782BCC098E10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B12BEF-7E31-476C-8A32-3261F49554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 X% unlikely to switch, having higher customer loyalty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F8573DF-63F4-4D72-B542-919B9681532E}"/>
              </a:ext>
            </a:extLst>
          </p:cNvPr>
          <p:cNvSpPr/>
          <p:nvPr/>
        </p:nvSpPr>
        <p:spPr bwMode="gray">
          <a:xfrm>
            <a:off x="339726" y="1334232"/>
            <a:ext cx="11510599" cy="54965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How </a:t>
            </a: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kely 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re you </a:t>
            </a: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switch away 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rom using &lt;vendor&gt;?</a:t>
            </a:r>
          </a:p>
        </p:txBody>
      </p:sp>
      <p:sp>
        <p:nvSpPr>
          <p:cNvPr id="19" name="Rectangle 18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vl5jf/09ap99kD5plAaxXVCNjEk7eSh8qzNCHVzDwg4tv+lTGG6Db5+KUUavBPoiliMC3X9War5X/WM20nA0a3ZyBuReIaqDHFemqWco9yxEFZc5RhIYFDxCCtaF63Gjz0TeNrdhkGnSSf+qIi1ltlKka5lPyi/+tQs1vBvS/Xu6/hNUjNR00hkI4NsjaUa+TFQ0+14gmi2A5DxQCRK74MauCsLncRDGt7qg2hk2F2935u5nvQTb/WciSuEZ4KRgYU3eIlvrvaz+A4qoRs/99jRiMYbUxnJGyfILRdmRvPzMuBlRZMm0qdutO4Um/7XqPIVjKL6j3VDqEvC68Tfd0xSijQSVBbiOcInJe8N7BXrg6XSMs9mMgXZ2578zwsLk+B7eKr9axjYdbAFYdap9p6uSZidUXyInegzapVxcKR46ITgXSvovmMOhLVeK4rvgp0dBa+LhtOEruQdTGFfcqlAEHItB6ygB0vx5bSIfXdirm2UFIvwOxs3YusLCFGSHBtx45T5+B6wtIr68ulc3yQpXutsvTCbWzR418izRXTaLgTKCTOwtif3hHXe/qHBc2jobfk/GtW3OpVdvbEtLcDsQ5s8trXpqHWBgnZ1Kp5OaLwPdSATlmv0KZm9zGaVhrvXfwKbTofoMbHTgY22LsQIR8leXJNn5d8re4weeb4oP1PmuMxjOWGXk0JFHH+7QmMSb+WOPuXBZif05U/hTpnPg9ujeEcW8jJaU8HhVl/Lv0uNhnFVNP8FY4ZQ2Fkqb6/0t6a9gyT4hNMqVh6ChtnFGb0EvcLkCVfeinsw7pXgpgVBLj3Y542rnbGXIF0LYwxCbNF1NT/i/MabSdxtBve6WwOQ9Le8MtYFqMfOWuXLd0JSvZe/moy74IvFuh+SzDuasTeHabWa33qNhs9168oouU/7Pc0a0PQqf60+fd6ySqXW7gO+QHAB+J5J+B8ghbFRWCqjka4rsYu/nlN8IEP+IB505idUQM6n0n9D5E9Sqj9qaJzcRNjwCDOCMRyoFW7gzyTP7yx6WIXbNZovaCeFggf0/k4ajxuedWYGzLe4YboFCb/DygKT8UHpOupGxanNuHdHJvdigfWPvYiqtiHJJiyHVtMt/2hZ68KAnJ5pDqwwer0TuWKKU+Z0FPG2tGIz9fg+62SdmZrm+vZ1m6BmUc1nGu5MI+iJ8qrNpz7BcTGmClry6ZQc24A7kE3OjjQA886ZPMOC1cOKMuM9g3utM5jViiSMAKa6fwKg6QIXdyMvgyMlmzqN6V/eEY1UKklVKcx3jKo4vUJiCxMHeUNk9dpZip3KhMXvHN5NEyNbnHe/MB9ozzFR1YC7n6azxUfIoV8LmbWZXHrQ6E7+JOEMhG+83mzM1+vCnINpqniSwvPzjrhQ3g8evy7depuUKR2/g9FZ5G6KdxJCDagxFCB6ZkrFTCkf67ROUhaOWbPZKt6Wm2j0HO9ikAFbPgT5xSIy7fwTVN2t7ZCKSZsp7K9JFKLW7gLvOcg/E0iX1qliCbZOQkGeL5/BpX6EdZJJrUYhLLt11URreZ98qQy8TGOFgrCVn71yT4y7KQN4pZfTgINfUfSXh1qL5MkLyIOiaRgnbCcz+JXy2T72ydxuWcUfjxFhr4YLwpWxTxfqVxuZ8wFpAqSgemgfDH8QrgQ8jFlY6qO+psq4uCPPPbJtGvmn2CDXAXvtWayCm/qJptPUwzuqK+oI/36afrz/JLFmUE9FsVKQgQHnoOCJRJxo9q/LvEHlVDWnxAR9eGSQxiaqNEHgGLsTEbH4eeeWF8cmvMzk/kHm4TWXICy+1CHlVL5o6awxvokUl3O2KhadMBwYIJjaMefK3GfO9tQBZn7MSX9BnI7iGZ/lfdTabuhM9rDyKULrGEDqhNNo5ryMYZa+aQ+M7CzJZPFhu0zGrnLmi2vhSUsBEFmuxJU1cc0rNGs0EUNhLx6s/Jbe04lSYLAXcwiIxk/Ls+xkGyETLYLohZWlB2lingt6jhrt0hX6ok5yE3zXog/3QrwzpVF3q2lBvTrWps+DpZK6vtEXWGsdxHLXwglTUAAYm7ICZwiNSitP2ibfBrR9s5prSuWqflAiRrPnTPdiNCzWYguCoxadQ14r/4lN5qOxkxQ8zfDi30DEWWWcuNTWsBrKkTDfMn7Do79esIEzwj184b0IqOwFCkxPSr2u9jForJAW0NZIr47Jckm7Lrt0TdVt0YuuCXaOY6Wbuwzd4GwpKXEVCIgzydfH8NX94WE2mreJ23ZXzhPNpvmijc8h+Gi6gR6v1pfSlf44cSbdYWOPpn7nBVmJmWeFl9SfImSD8VgPoaegi82fmL4lx7B84HYjdZAFu+ThYMDb1djThBRT1UfA4mmK6ZsGRRGPlpiTP5Qyc/CGGGNBpNoipvrcI9taJDWmadaTIUa0zw8ZHiHp+KAj5Au8XhCW/gnb5C8McvHjkwmX3dFoD7H1GbBQFkIMwFGXC5ioSj6IYPzsj8MyS0ywEXg2YMaCEOMuhJNU/u8QiQWl9TBuAsgnT6lCDH/UDqTNGMuJyoBL3HenqNTCzbVFvt46isCJGWl1rKgZ4XSwsFk2u42sBVD8CWdYcSrJGbUgJcZgimTujD6f5rbEtf8hJavSkGNWIc3WaYGQDBBVWqLlEQFMrAluIvMtAzgBIhmK6rxDt9cUgp/SQszuMKDO7PaQ4nye+WIGhFylpsH2oVBIlLVMUyIQrUOvgHMRIJ1F1QYmICHFqV7NdbTv09D/ANeRDjCHoizyjcxMb//aHz1GJa1c9Mfu0+iI64ohwoYRk0saxWZ/jmMDViJkuNEyVD4EJYJ+94LnNryy65bWdrH5qxxqH6iLp+CnbvmZvrT4LXhb9TxMU1nByaHXIvfvP7npGDlRy6a0oiWijV3P2mgo9SfSlS67oeXJGx1y3IKL0rATM9gQCxT9y2sMoqTtT/sVikWvHEzwbfRbGlEAzfS4x/KiFYdk0Gy/vK2MJfk1BVBeqYYlPAeomP4ZcPIFG0QyUIrZGQ68oxWpAQ4qpg+CFNx+j3VmAAngW/b9RN1ssxyP6hFWr1xUvzENZdrD7O78gZmVwEV/R0olefmvi9L7H/OT83PtxNZHHTOfA50G8Q8osVf3elXxYIyg5NFIIvtAB+OPP+LgoAXHYLgzp57Vx67WQQWIx7qo8vBC4vTCaZkUBN60JefR0HeyvNVgCLaRDwU54rKf024xmZUeLqdusuPVDEeoDy0kPUuu5trx1IJUO2hC67hxz3B7oDuq/BwlKZm5c0h7674cveoyK1rYJvqWllN3DAHjZAZM+WcSIHtLCMApBGwTycggCOr67BW5JlVl0zddOLWyOImCEICXtV9VeomX/RNaUrLzUYdn5E7ttyF9B+ZAYHtOQc6S6jr2yXeIzV0fzQmAibkXPAEJNw6mfWKs31LnQIkOBgcydtwQDxs+95kwigDLLsaE3x9GLaCrONmMs6V9e0+CMGL5cBC8BUmLantp1BomzFCSd/3tB/eco5OVzhm2bYdNWly42a+lUspPBRqxjQc4UnlV9XbcLTLJhkNU8IAhwnYLKD4EEUNTWJhk01EiUR7wQK5DGoquTvckCnbBcFxN+TBR0BJYAEryH0j3kiab5br0dQWnwLfhjJ9YJl4JAmmIbFktrrPBl8T8voRI6UjaHra8/O25f+IrgotYn9jdlsl2XuOp83AJpn2mqgDn9Oe/W6fMcYA5KB0hvGnfHzc3ENcXSndo97EwZfsYimVDPNtGdD/hJE1mpgTe/R7Z+rmQJftegNf/3H05ocK1nmMRgCzhlBC9xDJ4jSRkqYbxrY+K2SKYKcJWJlanNZ7RoQcwoYeNx/j7mlEoJGZr/bjQEcZD1wyOXLDtRbR4lK+tVHUuCC6tUBe7ZOqWJ+4FKoDQH/e2SNHV656VZyB9FtwM/PoOhXSI2rfESvMM6QRqYzLSQBhItZ4Xaa2+KnZSOrr6BmdCL2jAI47G8lk52JEfah3vAB5BGsGbOex4+bi0gNPff3fa/hawAabQ00/zZLFnpTl6HbbGPLuMGn+wyaPuwevko0YP6Az/Uy3VBY1nNgOGbLW/cUEIkiUHacb7/dpVyaVOqF9KQemYfe87uoFJu0def0qj8NMqU+1Kk5b5zU6iF8Keji97DeNd6/g+Z/kK5eza64teLwWsSK76+1DVPMReElKdSFNJyTwns6ZSHQU6GIuy6CCG1cL7nzMUrb/A4gHRitXD/6/NBKq5+GYxz0xv3FwT5eRVSoI+CgBwQiKvAt6Ukg6zxN9iWHkYE91V804KFeV792qWQEzcn7tP2JDRWSzuOuBAman8hxTueT1BKxL3yo7gGUBuFos/gcFLYWCtqad4evpoAwKvMznRKk8O++7E0xxtXnNKmjNFp/YepY9iV228bgF1SLIRZG2t2e8RuKJu8JSfwgMG5TvDTrPvfi6K8dDKaBXvOFG2/FutE35EPOhkUhBitiZdciLP+fClSkISBOjTrxlNWrq57pXJdJQypT/JCBwqUHhIb8ZuOe682ab1Aj5ZwQNWhGUmwOvtDZBMV5Y/0FeWuDdMb0lV99XJEqITz6fYaSHchNcdI7PE+pfe1pthHLitcDbQhd05Us8H1JdpdzrcifLWfbW9n6jBWhQ4qwh6TL8lWeyTbBNK+cVvd5lLI5mBOU6rof5tgQze/gP/1HGnaK7reWvkJV54M235JiX84aruzFzRN0234FNK2NUgWh+qVLr592WwT55rV6zow4xxaOMRtgge6YQwCwLSOygHlnTVC2BrQkBa6alNZG9qb8c1i3pSt4yCJ8jOMYWkLetQ078iz79/lEtor4bQWeJ5v85fquOh6GpaN2fcrpE8tnXN96GWmmZh3wE/AAXXOC4kR0g8J6jsMFlwdxR31dVjX1+OBKNogHJpQWEF8X/LaxBBmvqBod/hdZQVrj/l98TeIl9yYShvxu8/AJDd+WBgWez0ohs0Gm+oNzekr+sEUU9UCEJUY/1aer5Hs0BEtfcxPQiPZD0hocXtWbWDI0rFeKs87e2ZHlXbuUV0T7aHeG64q0KMZaX+xMTLEOY5PUgMpYr0X7KrRdeVFbkjxTq6Hc6HIOCSRFVaFMRLUhdERP1zoqcSiQ5RqWVxqR8CD34o5xaOMDCGHO9XgsqtJfhhaa2Dvpk8Y9APlnekOVRrIPt6JVQSl9f5zxDORYTUq/XHDCkGCdWrdEfmQLzQSGa5q/XrhZuviQaxNK0GgyTp3NzglhCj5pMN7/dEs5obe0eumwf+tlTb9udZfOhVCLSfL87SCb8gyM3HvZohkxxpr/rRRbJcSgZ/tL3DjxQApzunnC1iG6w8gMDisO3C3X+9WdBCqF24smq09pdsmwqWwjvoAJRNvBWjDe1QgCxV1ZM/HXlZxPe9zOfVgnWqh2ud5E97fjYDUrNydb6tzdxLhZa4MpKSyddilBbT+ngGc8m85mAq0a+dFzWqzwAGzp2umjgohrRRaa1lglE7fs6YClXNUEO0Bjz98N7Y+kMKap0orlGMb0/Jo2kXNO4X666o3AWHWpU3EX7wYhFfETVlV/BKWtVRa/A0LKpUc9TJ1UlCsUtjKGdfwMkKsE67q4PRGWyufHfQ4C95990cN6dc2W/CYSBEB+B9O8XJA9tThKmFKixK2OSCKpC4d0O3ZuNKVQU2Yu/nuwNfTq3B4GMu30X0QP3IFRumSiiHmdOnNItlCJ16G4nCMPnhZW/aqCW6lZJXn3svF2zG+g3CnwyQlwyLZH1BqEEjcJgSQan+FXUd4K2BOWlDGBAe/WAeh+x+zpDKDLE+F7KfT/02gM+cPQLpgyhSViEO9TFCT8eZmnRxQA5Ec5t/TZ6IcVU+zNyohBPzObjLQucDB8Sz60ceqg3/+heMxeZDMvjg/uefRDKgZI16PwO/3uNCqqVF3h7bmbUhCk+H/yD9ZAXG4dzEEN6hKJ9NNjN4SAxFMxbGCRHYYbRIGhGaKQztrCfXOj8IpLsHLV8eVwfwLYOkN0S4xzfzsXARw7NDSIEfSX2lb/pskgwhrmAZmU6TVOzmVED00bufNwo6j88CyRqBsP7rgpU9K6jwzPCNC8/dYczd6QX9urDejZ9CTbI2sYUzgtbOgYYanh2qocWet4hpdq3bUmZzx5D7iiu5QQbRStyJDcg4tpEIiSLxZl+rWzntfzrgJkC7Lv2PERxCyX4E7RhKvqTS4Ks7tOpLTL1vhyzBRJXEWKyseVakAWGEDAq4S1GJlrZdoNJ0P5P2TM0sv5lYJ/WIPXAwtOJHFnbFOVTGX97Zxe2ES/SVcpH9PgdIQVBCVIe7aDRcoEEMG6Aqu+lUgnyLZBBdrbaIcZX8wHgm3IjDZ+PAoVC4ucJo+sD2eVtP4ME9XHdRCyXFSMITwmYKaNXs8pwUEkrshuwhEv8vNaHItvKrdkY1QRs4ZXxixZ0Yxb1a2a/s9KFE5WEs2hjn0iltbpjYbj3mj2n90Vz6TvU7iQcNFsjLSpycKQqifFfhWQLXtJUEpQRc4wzYpp7C+dambc25Ko+nAMjmToa2W0xgWtDDfzJCR2tTqUEljyXSA0012lz62WSILUihDKLiwIJj59EyApwiqUFYxy7MUoIAN9thSgE3HlJZGlv5iIT0Acj3loLSBeX/ExqJxA2ZwAufC1lq/f+K8d9ewydv5Wtb6cRJMfffQ3X5d5woutVNkCbvzmvCQUEm2olXK9n6M0/2PRZNamXHFONi0EEeEJYZIG3RpxeJK+a2Om89uk3UgHigHKwj2EHE9+lTJv6o/cr5NfxgrhVHaawKdf19B5j1UW0DyEkmambTxlC4Tgx2kVQWwL0iUyNp6krGkknnN53Wv3to7zJO8Wp+3nvQny9AIobQShQ2GuBweb7od1kfMDUggNBwtKVpOjO4P5T+eFIQY+RwF2zQH0ix0F3RKjgr6iPXZULhZBk9hucPV9Kwapfp2eAjYUOYBe5mIF3Mhl4VtAG3KvJL8/DB31q8/KU5y6dAe3PBxiRf7gSPnRSekMQg78M5BCV7IMN51QM/JWJz/i3+B+wW+nEiwaOq8w9HN0oACI68Q48bjQc+VRDaKUw7gXFgdu7vO01PDsX8vlj53x5Ndhsim2cxViLDIisbYoE4BiZWQEp1jPYQUmOykDQOLRcr37UM00TTShSCm4w2M3M1LPcFjdYk/3UaYOdRzwQ+ACcyCAlzwl222FZgN7x3rEjsVVFhyhN2MQLWETtwCTHKIrHHhqpp7oYOhkmIn0Gj60Qh4JkrKs5TUL1ZWMAXOunkQNfB6QhQJ0ILjwBFk6pDmFHkPenSWGPWT6n8Q+2kX7TJSxBApEY2lm5hQ6NWtP2mD8c2vmUFWBZZJ1j046JwUNT+yluLkIba1CsPZI3+SvesNn6IoRSI/jWvehIItC2LCCUfLXwCciv0KuiZouEwamsMh7y4KDFkF6eCCTYURaPJx/AAlbeu1U0y04KG0+ZMTQaywC73Et+rnp7dzKXBMmJL3+rsiQ2v7StxsN1x56KOrYxgOS7nWZwOc8Mzs+pdkPFu8DjGYKyZ752Rm57XMyjVsMJUQAN2/NgcMb4XYS/AjFAbkw0vox+FjLHdnP9Qvzi36reMmZnrRv4JAYSoKw0VHgrKVPYcuPXKZ9Hx1Uj1qI0CWQKwLqtXIylK3t+zQAH2UhwTC2lw11Jg1NlU/QOGK0xuVxxxob9G+E/ZuQJWqf1v0iglp4p45xrM/EVZCFU41hqZsobhbXtDLxIxJgWqV0kDs391IAUph7GedMyT0IWlOFTxjQuypcIzLELgldHtr7ezcChmqlAuWfxuHSQ4OIsZj1XQ0MXNTNbJZe348zBdrRCeN1La69A8I5RmJX0+iymQT8aldUn2I+GuhhleM+FZ3j3e9XP3T2n/lnKQkZ2HlN9UKVXrwB1lPGX5DqdVN0bZzrOUUoRK3plh0GTD8bkJOqDvWFuNkY5xix5YN+8kUWeeXpz1RtjJXB+9RTw4xDuuV59DNi+YTampBKcKkZnZ8bpYMipfeatvZRQWDHlWtiZE26KDukfsIBfPZ2NsGOVe6Ua/ZiS/4AAxj3dgazMCVUWhJU2QUggSnAA63+qcxS4299NWI9p4em6aIBp7bnJSsIY9v9H4lvT++RY6e9gS6CgwV9SEuAzkTCuEV5FcbgxQ9VXaONj2/SIkn9DwnGL73vRz0Zmf4SIEsiUvI0OnHK3bkww+ew4Iro4uWmpCowxnB2M7GskTlo6R4/OC8QRFARKiP3pmda5ZVlXFGFTa2oIYdzinFKaL30Eb3IT/4eCObMga1H8LrvpGQvflV0Q9gTmhUwpWhR+xZdSAp3aLH0f6Rh9fMUlDbyrva8IfJDvr/n7jbRAJyRy1x+la0Uth3VvKuYa1XL2XeL3xqJeHub0JDFSykL4idYcJdjcgVQkhcOrvVuCx886CY4ssZYQxsP/7GmDTDFb4crwYOdAy8r+CTiLmQIxvKIGnXOuwNX8etU6mzzOUQ72zCrdC3rnKW2g7djQvsXnPG2IHyhgOcQFctlUB7lw4XkGr75Q/UKJJpjP+rpgG8ReWUwc/rgBiMvDEFxgCM0+1VpKGLOa+UAO+I7UCLCAjv+72EmCRPYVAWghMfhx6eQRQEN63C/UxT/JeLrMNA474XdmbIvQ/JV5qoRqOhXuZqKXz1uJCYm0Vw8wwLnX5++UPhPDLG4j8O8mn+oKk4snH2W7Z7Zp9kxCjK427tG42Xmu567wKqIvquDj398mqlwP6wDIL13zFgJ4hXvrzbZz4uVrpJ82mn/i2Ztf+sm/nLC3YRvaEAUhkuOnF9LWIKBE4+aCLnMChAXr1v8E2F+eapD0cZG+9bH5nXoJTwZfqLGiMT1beKhYhJbJe/cFmmuaGHAuS5GkJ0uQQxUmOMxyLVjWVkONjflcpY5YxaDwkEWbNBAsjHiNmWMwcNRlgen7pkmgTPR9qzuyYPyNTKBJQNuWhkM0N7KQnasMO+F3+ZBL5NAbhNokivpFcFxFQoVtUvd8mq+HpEf62F8L8v/uaC2wcsa3wxwL5peUDKX0yhF43F6uMIUxGOFJxcQCjXx+nkxT8YxcCQf2lO3Gm9mMBkUWSxXIEt/et6WnUdE3/J+J3BufidOXsn+Ffjq4jF7Ccn3ybvoaJ/Bz7mmUYh+IInekgzmthbCOLN3FzOdqBc/cVzfyB37BB19YRkqJZhaVDcFTXm22HrEz4XrGIr/8cx2XuP9y5gINPY88j6Ck8J0eNbK+NxWPVxYYdqjJCJ45yvc16VBQXVxU7Jc3q3/2BMR6n0p2sLK2+19CBymRp4Xbg/wyF3uwZwIuY0+4FZ5uuztnCHQmE2J9Bb1uinl98ZG2hGtfC06Ry97OTVqcEVS1MjNoBzm+NUT+L+TPooSRClFpHPEaENHexbNI2txr18VhScT0V0sGcuMJmnTAK9RTYU3ROKE5nPeDS0aS1iVh17tGikLgqdtiDzNEI4jDaJsDgX+sKorPADoerGrmeekbHuv0KWUguVwY/Y87iRYcRZ1frfwey3ZzJCE2MJvJFVI+jxSqmRfL537Gb+Oh8uTJG5mUbxPf5Ad4FLwr3l+tt9fMcpIqeDt1le4RcrZUJ+dhaZnoyu27Gpbc0fbdOQt4BzQ3/gLtO7zu3BuTf56C2CCsEmSy90Fac/rVuWyKJMjyu+urLzBahsNv5Sar/guiG/jNYNlvqGkTSyXSrPxMo9HD1JjUPnX/t4KyLJgKSu7CBAufoDuUfVfCJCyfSkUkqMJO+JwDHLeR42IYtBVXMofhmXqU31y6M9uk0AnJWzkb9I1+VgwiXaMaKZ1nus0zkrJLQz4vIJwOtPeBTPlVGtylCJG0a+rjQY3Mty23nmrTNqIn74J3CYqulvZILztMJTEyL46Z/5FkOlQdglfdJB1zW2Wf/Bkm4ANSIIA7VtvbYrhImKxHX2CJyXGcRGeFnPulJNFXWO5xT9qZSvMIzA+K8I7B/+rSifZmXZ3hZnfx/CcObC3QlUu/R8fP63jiNydtN2zXanMpn7PU0hER2FuH/rO3dq/8QIy+16+n9Cvy7/hIiEJ3IES/dPgGAqneL9t+lkq4/XFsU4Vr+vVcB31PdZgYicLGf9YB3ADzr561qQfJecd+BMOWWwcDi2MUKfr8COgT3AXnbpuaPW7N3eoLq4dVgfbrytRQEhOALyRordWMFkfZlLy3xSwkTXjE4+759yGmh+y8koEhsz/23oDgQeAt7M4S2JmjBpa6q/k7BHyNBk/4kEDIbb/GXx7IGhOgWL8fwvig81+N+EITU1oh/HLkNHLUQzOwIu6Rky9rhY6yZUgYPzEjVeTMcHpUFXP1G6b8k8IvKgBue4UGyh02g4OY/A3P5kywhl/idLt1Ksxr1XtTah5ACP+yUSdZSr/lynBLBrGktG7P1ndppdRcl4X9Qd/FG85sQ+Z7VuTiEyl3TZSoK8zb3wGEC/SyfLUVyqlrA6SslLYn+MvI8LPAqpDMkLJ9M+ePzWkCjrA0NdoaeUZbi6J71aMON5WBB2cgTpBJ8IYri/GRjwKrSN8RnoktoZBuQ70tX5gCqk42n1fs9LH7uLLRy5tw9e/yhY99roXPcOI2JrNf/8Tl6+Z41eI1ZyicZ6NUohNuvFSJXRBe5gk4KAvotexGhaj07GMCKr6odJQ9oY0uUdrZmpLnXRCPBKW6scF2vqp975wU1Ipdos/05va/P593UmS4S8Mck1HR3fhE+dBXSLdfGUtn5TLMXl63p5no9GzIPhEzrZatOE3ang9MVhq/D2Lve0PerRUSD7zrVDYAluFfgGLA0LMdkhagUzOCDrYwMx6DL7Y1HTJy8fvMG+BhyxgIh7BlT/tUYCWK9usJ5+8/+5R8dV6xQKWwG9i4c0Y6YKM/eVPS7JlIW2i/dSbOWTRDen01WxsbNr7m6KZqtTZXwUfARFJR20d4SmlDXK6q7mLyeyZE2VDG8lJ5wQyB53GXYGKf3TjK/91BzOIn9lAJ7JzbNFCi3+XiN+su1vvskp1qUlIuCZHAlqf36/q3I3YH3XRCZSdlvf0oSlEws+RC+6rHozSMZtvNslU5AvlKts8i556GR1DMYKvipHcvZDVcOEuUpq+BZOoDuVUDoYMVtyLln0RWY5P4C1rYZvhF23yUyfh6dqCkaioX39B7K8UpZfbQyhb2hi6E/vGQs2/5lJmKTdOifkitytr3ebpZoJ1H+8kvFFdpLrvkUApUhYjr+HvRbdSGWwYsxrl/zdrBvf+3mwfEexTehqtyw+kDAwUUeIqqUMDWGv4Kz38zygpTPOgYR7Zw7wdJneA8xWzj5KU6YB5/wA/Qs7NXgPSpZVp4KLEXeTmNlR0Lb6lUKZmTMp4wqfyQXiiD0AZgrpV8xyV6Sz+owBWoiYk5ve0A/XyrDv7zfg7GqxU4fVNz1MHmD8N51D8Hf6RTEviYhDyuBRaYQmp0/yV/aixV2b0D+SfVDlLtkshB6456krutbT15N7mEJnIqYk7n3u5liT6yKs6aukzQWBqExeRS/ZdLvW7QsWHsxe9w70pzYmBpc6gu7acGIFR249+q1H2wmaJVGlvgpu6aMOorxXcWh7URU7fJg22PHgllC87NxwHPSSdXN/npWhnnxTkVbKRGBEQASS0eU+sBB89uevfIMUlgZ7BWIN2H308NODDxtMGHeYItMixe5Lynnl+QZgUCBuhGylAlef0ZfVQnEXKVbTHvaLlZNPR+V3UrpyiddqDTC3nSCeckzcC4+Q+uRYrk7VdMuO23Z3ZT/jMEMqHYBy86i7Ha63CIsFJmGgFCDeOMZ/ajg5rNQFesQaVq8Kla+VOz0d+ny66s4p+YgtWHXH9rRXJPjwKSSYiZr7rur9uJvDcz86WMBwOKFnvrfXE+pxC2eV626pAg1rwGAusIKJZQRriRMrBm4DHBgv59hkWJ4GWoAAFUjwCKtHWPkRQfS80VZMu5OOwt9/9N19vow9kXLtKn2im/hz5fobn4n3qe71oT2bhPS8l4udQAjE0iWQi3r5w/hA/BeEbB37v8EvYSvhsL1yZxpvsrduf96xuMput6y6tjfxh4FFVyF/W+tTXEAl6vkArDEwiAS0pJF/kNVhZJ2RjQipOLyRA3R4b1jNUTcmjf+M7g0+Aj+xrVVFo6YrkIDQFReyNQEDNwi69AAhRLqAYYxXu7mfLnfWi3Lpch+aXo6uzdg8hfsMS2I396H2unMJ57G5ja/k2qaA3kIEZEjtw3QC9HR/CF3KPyUmGvh3ypGdPqQyzaiVn5tUawpdBjplS3BbFse/O9uBPa4Dt9D+Fz8Lf3BAAx12zdD4m09Rw8ysqHmye6bhsU532JXziFN5sc1GhrPDM0S2dcTKGt8kHvO5tqy1ENekL/x/fK4mN0d8caAL4/1hcoNa9ffsJNFtocUGqpuVAqzEqldAyvJ/O+RLp3vLIz8UVV8a2H3UaB419dN7qv7zMTdh9y8o/zjHTR2XknGBAKdEQNn1gES2L2KoprjkrAVUSYjE8sw1k1840J3mxYALmkQbdBH0ipM3eUSEWFq1Ywsv9Gvmr6vSUHlK+vFtroYZ58tTyDfVtzRneiOOtIqoyACwK4zyqTuROy63c/i9s+86nPoe2no+8wrQBmwv09GejECqD4S3a4VXMh03h7qckxhHaGAEzqhmr+ynqhCzDG0dhoa9ycUs1NOjSQUHnWOuyCQPq2fv88lcU5iDkIqNzn5wYYpJQSAlJzmWJLVABxBK6woMCxf8yW8GNt2QoLmPBlWdMRM4v8l70sb8kBPdrRp2/wVOrQ41K+uXVV/9kmXUWjEnMJHr6znKx2NDYGWeARnWGo7wjFkBqVjSYi9l40zrLAiyK3/YNCSA71vRTXYJhdUoZpmugTNpKwjluzXM1GqTVXpLtOBYfEeJDzL8usspWwRn4BDW0iOiPYqsmSp2wDsuBxb3kcltXTIeVuLkiTuFyrGFQDUVKJuXJzXWEkduLcw6GEWszWbevCx3WO14bY287VDlPTU5CbF4Ywpk51r9LLpnEDUHsZRielTZR+jQcVuUAypwdEBmCFhOqlay09tnzapenC6+Z5c/1sekCN1k37NwiMJm4nSgDB/Nk7IYMaH/G1pJC5mij83CRlYuTJsSDAuqvQE4rjNn9cPfT3SXrqM+YwJVBPcu3aK0o1lrJGWVUbBTbhvb8N4KbswJfzqwZJ38JMMBHVxPeKkEIOQw28yImhhihkFqhgsL1s76eVtwS2T3S9Tx+gmfV2deHRvPpuQMrJFsDtGYosHhV2uNHLOg4Fsgi4CiSmcr2VVPj18EURR9lIrbqdEn4Hx95WV2VOGfsImaw/7aTOwTbqSwltv+N/c4in2XfOuOhu2liaT2B6uopVcfxeyucrW6o48ELCMoovS8pXFSNvQ4+T5Pu0fIyjZjjpDsxlhq240hsYviKw3C6hTERQaR5F10upy+uwSyYQ0BYQctWlVlJzYTQps09c0/kuitjALCetcPiO7jiaCHsa/kjGUY2oUCPlO2Vnr7CqZsym0snqPOWMulpduG08JY9WP+MCJM9uKChE0uGbz+3cjSFW7A/vlU2vUp/fvD5iqO6s6NlBgWGS1WBtFJ+MgAwIQGJ2qDEWSHPojHT/AR8ONUEeDzWAWM261MnBwQNMSF/5xIH4CGZJ9ojuvKkjSBKb0YjQOVnSBkRply5qWPLXQXGA216qW8kVW/4t1XMDqFmMV0nHk6ZksXrSjQZ3rEy4Mv0S5kg482OEIbdG/gp2IQCsQlh0uahDORU0/8EmW4WWnKrFwXrkh8lnF5bhwEBAecWJ2747YvWgjF3Pxi0yHA6WZBELGwsh2pfOFWNkVUALoSUGPXwjADehtjBvBu+lzk5ZIa/sbNCYQY2Jq5zCtK6E9WshvpHDyVDl5Yu6QikHoWR7jMKicUqnsr9fuDhRyD407WwAhQG+ZZ9Qyp2QDc1WXpdThOv6yQWySUMpxMq72HgAgp43ZJWDdPLJ17KHI9CycXwkM35Pi3yjTiuq0P1C7E4mE55jFHjK8Vau1bIvvZh+YF0w8LG7FUntDBgfdySFpnMQ2Efn46ZnQD18Bw5Wuo/DP1rnl4A6bdkcCz/fa4Q0R9umS3j/sWeN7aUO/nzmGI2ZxyN0bF8bFMwAsPaSjKjKNzdLPt11SDftuFnAEdle2OrV+D0nPQSpTWoGVLrQh0C5Mv84Adc4o2tX1zk60v2AQCQY+Ax5zRYyAz85PMWEJQUHX2Fbrlyj/epWOaUjprd6QCv2rQS0BG44NYub3D+1O7H0LfhaLvltiNVpPBVVNlW7//XF00p27CZ8TNjJNfOcMoyOzqm04qV9qpkgEU2F4WkIhNdB1z4D5XDmdB2UwVleE0xmOGVURjC8dGfBkzlumb1LyBeex3X1soJxwf8/LNmpJ4GZoYL2f9mukP106SDfTq4rqvYG22wbGGE3zL+6SAxq7fjErsvtx+pb06YzOQoZ5idcdYpYUgs/cb5pEb65hwOpTTlOj2OBsWl9C1oh1MsQJUOzVrx96V3KUn+2TG08iD27/JgbgEDGOC7n3ITiQxmD1Hbtxtjk3ePS9l6rk1ajNRiimTQCK7plHwTh4vJpatZ1aWS9ZCk1gjb9qaAj/pB7eOFPBhoc7owOApPjDPob1eQJJ4YZLRWJTGqHaXGHAr09HLNB5IHvAsWV40b222Kkd3atIbdYTrxn0a09ORBzoKq2vRCxPG2Rn+H9RJJEJQRYNhpDB+ai7EtIeIgK3xWO0sp+FuaH0jBEx6KC0BbwtjB5lHpyl9vwP4HZxS0UcrkGQ+vHej9Ody0qmEAYnm+pTh9U0sPWU/AFt1UyiNQ8PKCbag+KVBOA3r6RjNz8H3VHmNC9AUCf9RCdmfwxlWUPx7SR9c3ZiothTnJNRYObFYkUF6Rmm4ikX4VqHeFWWAIpHy67xrVgH3gPB51/Wfu6XrRVIifnOwrsjfDe6R5omRCq4CnKAxzy6sXsJ8gMyQs3j62TaFF55QdSpWZBiQS3P4SwhiEpHJkDccNrxjpI8ldHu/EqDVG/coq/iU/iiyhAryh2omkOK1MEfFh5NnpI5qXyo+CQl1P2m5FQw/qhct5OtdDfUPpriVz6C6rMVWTj68+0RlWcgbqdqxIt/ZKPm/WrY/uboRdq0D7hGBGifLKUdy4w4h19LEsn5EQtbbYQ0bZX1Mz7K6pmeXxQpvKLtte8QKDomTFb1A9x0Ow1M6ZgxT7ch8N2VjDQ8jBDCnCe88yL9bGnqXXiMY4rpPUuofgqntSrGTH6huQUmgKrTQ36snCBTHZ02sC2YM/brnOAGL3hiR/KqnOKJ4kdPeCSjTKliwPMsIo5VxT7C3uk6ulDFOw+W9PMcvPlqcupjyI7TjokApjBkT5UScI0aib9HQ9ZEveqFHjR69yUW/kzf+gqcSlfjpZr8q1Kdh2iSP4uzHGtRjNLI8lNxW5rvNw2Iygd/Z1O68mqIJfbVEknLQTKctak23sKu6NutnsMxD1MAGFEXAY32X8hpFfj4KmWVnFlOb7FQdrKdmvC44e2LKmexZQT48193hlM7+PJXQISOrC5grdZ1RHHO6VdtxZsVNfb2L65Pjyfn0brjrBf3f67UNbU/3grSRLPGnt5zATh4T0CX7TCfnioQYuvmtTelQkmg1blvrySEKbPYp6CJ7pGcbfcvKlI/dx9L95xTf1G7pzcl0oQP3mMH6drtcJBW7hSPgk0dKIVydMFlN89oT0603DYI0WkQdmc++xJmFG2y+jEEIlnWqFnxW1HVI8/TmVBL6P8AYqGarwRQ8CN4nr7DsXT3b6RRPhO3HTt5CNZTArPnNaFeM8lyKhzKFCpL+5SpTkRLhrbslbRSCE4KpTRL2UvWsHKd+dewLk6AE+3t0T4jyUOqCW1fiVB8q/YHQ7BqHoSvcf4PWhptxBK+fulPYQwB7CIHoapUFQzySrvfL6w8VNJsqNr0XhUaIl/JRm/do/QfLECQgSl73EWbpQVYvD5Rsz8KPgn36BDVesYRIr7vPO8JuZzkitC45Xsij1++z9DbbeHYFKiCjuqHsI8L7wc7rcpjsra1+xVlDT2qhE9m7mLafwb+9tFYXAXyeeIYPEWgxrH2nsueaSa6oPtVMongeGruKQsfQMQtJvQmvW1Jd8UZQhxePLJWUOpV/YherOJB52m09BM/nR+BtRgfZpxl+0IGQ9nm7YPHaH1bwQ66RludeIXJ1ywgIdpG9jyho3Y0NrSu2MekdGiTt13zPsAYc1GqKHK89rQtx0xOSlK4hwSbKgsYOH5ytuw6PUbotxURlMk/ka7jjybfg+AcaUxjkFC4KjQ00SfcV2LKiArXXPON0Rj7nF4Jf7w4Yd7+tQvl3UPnrKWpXYetsKCxUFHA4xvs5dbF3UbcROAohkZZSJ0Z3aTrE+XR1jsgtbgJLOK3oMBsF9K8phDsHT/+7a6TByZVH0fl1g7XJw90Wgquoi2Dz82ahHLLkpg9EsE7K6xUYYRwbHiHiJ/k6qMs2JJnwS0+o47TUPOMsSIgONfILbHjCUVqleFEVnHjArvpJ3/f+E/oMO9wtQ9l863Fa8waB3i1A2itoYWB+EOI05Z6lRW2Wl2/ttCXDibzVXoVoDtp214TM5O9xfsb+EDU62OfiYF5C7AGWDCQYHMOZAkrPzv5seIf0UQDxeGtecjasV+a8H7jGww4tCSffKcDabz0tFEn6SqjzojVzgsciX5P5gZNDIAEP9AhRok4yk/kDY5lE5/QbzoADvBttNvwSrTXmRVxd+BmDo7jlvXx+LeltetTfdbB4j9R8QeQ46pIcQ7VuDejfa8ZLpEBB6z/fOzqAx3KCcwgDWRh9/ZfdieB8D8Q2xt8aR1wr9gylbwi2AsUlAC4quNTeBXlIuGjtOhxWJCoC6WekTGSYF0xgHeHM2STKPrEPejYnDZuObxs+XxSOddOLMpc4l8BZrxjsd2DbyVtSlEPwMu4kGKHLSPPscOxwd0okkxvuoZNTkwScaa9Hx51KGFNgrnfIzShxSSlXCCQa1kMr5AVIK1/Uet8R1UOD7lse5EF0nPXNhbvXgMdfuVObyWTnLqIAu1gsnJRqNpPPjSF7pRxo4ipNZIp9S+5o+hGWn+MPlF+U1isLnJkb93YNRBuZ3NTiUhFjQp5p26AXTDlGQo7nesRshRn7oSor8wdUXL7WeP4LLzPJw6oLQXLoc3SIwKzNxeBhizLfJSoJuQqVzRPLYBZDqN4d7jNHCcSEeTjiIQr3W0Hyao7IVWKiEDja1ixPE/XOZ8I4gySRcr/bvMgJZ7hwwebEnrveZ19ivmfVfXCQUgEZngJxxzy85kCIjBduxBb9B/x0wM2kxxb3qW+icD0ickCfyOLgTCDG5amUB+6wO3qZ8UGh5AoF4dCideedSIIvRwtqGbaS0TTr7EwVbKUtLr8GoSdDY1a9S/xkjm5utd21k0wmZrc30pD7Rcp3G4i58GKOQs32fd/uqqvtrCi6XjkTZH2F82KeaMCQshAtT6DjJBmHMfDwLSFl+CP2084gGdaUvKYFOyCVcpHdvJPdw9CfQdb4VSbIK6B9HVUg+PtjNI60xLdmT6JmXH+vuAO5lBeh7VNnwFtkw4/U88aMRoLu35e0xvGaaaZrpm8LfpjaGetBuA6th3GSbVO+tRAb/5ZFETNUlcoQ4GzEkKWrKwgf+hu4Qrp9VKTE6eAdWeAZYeXPzg7yCfciX2ZO33rFBhx/lkjqxyWQi+Oiu02FTKqUMrBYpQvppA8PVYglZNuBcxEgsWD/dxz3LFnyrrNz4+00ytPQgwmRFQvTfVG12tyxaWvplKjxw4gr6dsUOs01rFw0epWksPbgA+tRW3lIooKTicQfRaVThavd5gzMEiZGpvshRmhwvmhrms2vEgA0/D0NXrTeqTnSpgmRdMHXGDPgmgGkjvoSd02emAAaYQd5ljvgNxDS5eB7ECiu2GGNrqTm4674wlUlLxMd3h0FhsRnVLhmZuKvZiHLhr/xr6Fz+ahPghhD9mW4bSmuZuY6QhD7AapBk+PucPJ6IPcee96PFULRWCAdUuwxta5fILiRvblx8PMmnTO20WIpz2sQtxAPXawkwgrsCrWz6xa7YxjNRLoNY+8vEXm+dCvGLj1pWcqJqrypm9pkX0899KOfClYfAhXr+L8hFyZBhpOMwEVqy9cTfX10vx7ZUhvce/+ITR98XIIwaySWBWP6QXeM/d/2mg4IjFgsOQeZle6ALCjc3eMR5DTcluqDBqCCZpXsL0+va9E2s6oL4SpdIWGrxIqqeiWgT9pcNLJBRiuoewPavKRmTGoQ89E1TdIU875KSfHsJEeIXyg4R5pk1SIhuqfy3B4QNLtBI30FfS1cWjeHGT3zmNw2+tzZWilLYDz1KfjNnTqUKQ9bwtCiUFAF+PHM0ArvWUkpTDzRjXPX+dhhwBtvepmUP3gSXitphsL3evm2DMqu1w0h1D5NX2FsoRBu2BOWCQpEsGnoNZ9v/MSi/hooT6f/7Q90tTeDStaDIoBC9MV7I5mxgLWb4ULuZ0S8DkzlTGP3y74PARgCheNCSrcoQtJllwIidiUXS85ogkVmVpZP8zMkiKvrw92Xi3gW51PmHAmcRiNwXgE/eRNCMYKMhQLapstKyriSUHkj5RijnY4TigZJSeH6du7LFk8XDGtS5KvQ/Fqe5ILCn/yx0jOV84FszeUZJBSdJPp+Y/XZQo2IljdI4ndmOOMROesbIfPao0YQ7Zv3D1klCNhdxA/UX2ce2IvIjJDadR0YBfMzgJRVw9bu1VMTgtBiK/WcAlzsYYLuVaARnDtbMBhsqIasDenVvOrmVmpruVwO2hpnOIiWd+J0V3x2vxwC0CneLQk5+GhJHq8OgC2n8/dV9Z3t1Ik2JXatkRE1Qlac6ifZnKq2tYjysJVY0xEjODDeboPbgFhkuGGTVLONGrqv4hpG3WV/nyvwS8NAbQ3nBytpF+HtoNwl1+ZrgG7m6yYd1YayrQaPNcqdGdrhRvRxvbfHrHfB0dKOQ18XG6fwlPii+z8MyviJCkU161P82RsFaITRIj7JDRFhSSsM2Rx8k/rafx8Ascsu/PspOLeLaD9ChPBn1YU8QGuaS8bCj6Tm1bLUa8aAyKSfJ2jjt9/7bTOmToS6jxRAxhAyIjyfk/RJCS1iYyqUKhDEnSklpeHsyif5QZr262HB84tHgVBWHylSXdXPeZrTckS0l326FFcQ6+ZjN1YUkZeZULQmXm8Vo403O2SivBw0s6akUC0AZq/Rj7LAnUDtc4RhqC6EoWSOeB1kIdsiRD5OkIYzYwFFcFqMbwDC01scVwB9rEYRVQSPieRWurDtRcH6U8KPz1iX/KuX4AUUdsBc3baRxMpsKWdvyn5b0OiGhDovDcPbKa578uq1IxIuC1rsAc4/B3FTYTnG4NxhEtmgKS0HWHtSmS/BZ4nqTgVIUdhADAHBKcz1Ectdt5QepXGwAXxO+ZEtiiIwQOS+fr/87w/PznlrDXHfDJ3rwHWgw3eXBrhq1BI7+Zv6FtkYGS02AtFALGImyVqnVcDgBpJhD5qxZu3Z3xB8klHWRSf8NnwEvHRhCq0oEp3PdpCxAqy2muFmmpZv7NfijrbgSoZItarj8yUWnXA+BaDflVWXZ6Q9tD+Uj0keqEf7Kd0moTWIfwkNnT8kkKJ0sdmocDy/BqQL/mx3Pw9FjyBTMN8efW+5rEz0HY269sNNOc9ukBvoAF6a6xL5t79SlcZxnRuR6zkbyG+g56ykxYwjUCdIbjna861zaAIbzQNRaGQVHcI3Y93dXkx8TdGoCI1femLhkmrB9K2uBsEpMQnXQJH11oFMsKpb/Rcn0SJ3D27REcRRiRHQKN9PGk1/SQiDLolUYVmFh9A1F9C57OS0rLYE4wEh4f2vBN53hzs76JdghV/ELZkQ38o3y3jF7AnR/em4p1GzqLMI9r+yIfTYvXIPed4ubwC+T3yFpNBJFmiTw8fogfX7XYczwvt98o08PidA8lpZe3fbkLxhIcG0boWNr2bLAlm9eljwNrT230TGr7VM5QQvb7r9AhFK/YIaO/Q2mOEZqA/hs/rZoJTrR4vz9qukI5HMq9i8CYyYdtIYIzGEMY7dIWJgz76+Vh9pi1IvdE0l4yGbkvaQ5CLq8Xfsj9XeN1SIzt+3cvz9yUPwR+B4AUpS21w1KpmMGWl5AJbjMx2jxcVXqpDm1oZaXI6OUhL4FkN+NNdbrjoiiASfZlZSu1rbKZq2ssdzLmRwZJzQsckuNri2N9Jzfh5gP8eEaN4c6PU3PAHLOz25Z8gA5Eel9LRbeNCG/RLrVpK8GaLzrR8b5/ZRe+OQEMX1OomJyv6exahEWcPGbVrH+fMLnXyu5Md0hvpv8lxajjoxIKAWx38p3KV5H4kbynO1El2iOoOzSg80drjqL2fA7c1s5DQyk4vDuftbOW8OXnjC1P6IktRXFuckFkRmOfJ3ECFV98hFDmxqB9mTEkNOEKCRoWWwLE8bSjl6oa/O4aL8PRX0HHoYFA9reZBwBSsx58HI4M7ujdLp/0ck0KUTyCtf4mMzHcpmFVT88dXicqGqhu4aKHZiA7/GPDcGJLmaueMXBW74HNnT0RTCwztFSZu70BivcsnVtj7cTHRaAShR2n5yWmsnwAMe930MR2UFpsb5CaOherEWhRaT8Poz47bkc8ddMwTClXiuu/RDT3nof7GMvXelQ3Ma6PJkuNA9p49cqx7SYr4H2ELUemyLF0Ct0kGGczLjnpMxlq1cUW7xGb5R8KEq6ZCUYFWKpuPxAClGv90IwqjNvKQ4JqPzsIv13os0Qi4HT0FhrXsB+CjJHF8qtQovvZAbht4G10wo9t7ul3e3Qcg7tib10vYbF8K4Xy6OonjNckdT158h6ABqyyq0pP4A4VhEa/iFWj5650swpv2fn8Eb7uRIJs0PZATPXlqXkTX60rcidjJLXOdjNiqx2GYRl6EP9IQaN/7lJqMi4963cwtYHFBiBaHUT2YhHZYJbaijv+zPONmihTycn1+SjhMrXr2t282OURTGl4ezTv5Sl9v9Buw6iNIiNmUz0G2KjNnKQqYkt+ztLE1gnbhAnA9PS3BQFCGROMmufrNw97vwUY/aVG8sH5n+wxrgc+uINZ/dwlNRdNA9bxRv3Dp4GC7OavDpIk22bYRa325qfP7m+c1h6kHpGAZsMWKZgRMXM//MB2Ori5hgKIgdg0LtPYD88yyyGgtL5CYf7ce7YLW2qEnAqhRMNU/pr77v49Y2t+uvrUkFfCxGlmHiky0xoy0Ygy46GTtJyWkf3GOqTwE5dvwOfqL+qoeKD+yCjCUpiVvumkwOYZ+YHBaRmcfvSIsYVWQJgPmo67XFCwSHg9um3DAAyQUVTAzl2vKgBKd67fS/cl9nlBZPt+C+lniAninTNt/Lmv2vP6O2jEja3c2+p6GSMS7X63PmJvEh1LSVV5mRY4ppqCttzZRRfhu+FQo6zAYe+nUaPz1P6t6fKc+p9ZszLcxOeugAVSiCaP8D1oR5jEbs0uW0FWg6DemlaDgnwz9n1uVjeN2ULBiZdxei9ekChI9MGl4bLEzfaWLRZG9sa8hD6p61lNlU3Y7b7AbfG/xuBGStv5zU+DcZlVS7MusgKWsXAHBl9QpgQrKhg5+yuSA/xPtWJRbDXfRLjenzz/8Hoa0WcID0VS3+paN/Wn0C19Z/3rsCA+cWgJMfzVEdzM0/jlXGIWY7+ZCAC+48eJgptVYLL4E274idkVqXv2RpStediWwh/UsuAoY9+KSrfQ6F1IVE569p88NwcdjbtfZMkf5uWQy0BdcRUVN/GLc0aEK1kxhQib6xshpzejF701NLhKKMNG4Q27H3t9Ikq9qlSCJ8Fl6lwg/WMQXJ5Oe+nXLV9kh58+JJBZSJ+g5dGzJriX0NgJ5TeGKkaCmJZtVogDneBp8x5F158271Y5qUNpJmSHqikIGnRcO3W+elL4WS3wxrXpmyY8W+zMIs+EJW4SqXrPFPF4/zWm293ERjHN929CdayK8+IKk/hE40Hjidhh3HHetLUqVZc8hQ7EqKmD/IUAnPb9vCW4HVj4E06aa2zlfvH2TUd+PG4NPcDr3JmDQreuMSVg6jii+9yOH/M+ZjM4SF/8ugYe3w1e1AnO3aQSO3iKDDIU/cxF8358yfYE9stWlttG4/Fdu/T0LE4CSU6FG4hFJsuNluWY4/p1XJNKFwtNZUhi4WVrSkVkPBoeJwYbCFRpbNJJX3X6iwuj1MVEpK5JNqE3XZQFjPxrsB7osQDchV7TcWnAoNJSRRyNJPSx5eaOqT0cjEEp6Kus7w28XST6tXkTDl3Evs9AVBlMLHatoYph8Omg94+lYOVu7EZ+HohEJH+AYGv4cJze0jybeoIfTbVEJHb+xMMfHwal3iLcSemAQRAxaEoz2aB67Lx8tHrHHEV8/AYQECAeLm+KuMwd36ZWelGnEoeA7DVA0jk9Z0F/I3wtGcm9mrBYXGPssPXfUq8hQE6GvPCZ+h2JEDLLRmV35KZ/lDrNhOlxyemVVQL8uqoEo/Fj4Fb1bdXjuXmgh8wVCHi2f9Ns0vL09091RXYK4VsEfBNvAEGO1DZP6Bvrp438+T8jI9agqouNNrIExmBF7cY482lexqSA3OpSNUBY8WdKS0ypAuiafNjnjKXAoWhjGv9GWphqsAsaasloGKFryueT8JvyEy5gLCHIs//5d7s0t+Vyi2lPexJ2tVG/7PZcBgrcJR+QcHqIUT1rZ68aQBnUZisJwZrmkXzU45t83RwGDvfYNqPcT1g4ZPeooRrY4wAlFyIjbxbh8CDfObf53eh/CelcQ9mSAYM2m/g26K1d1Ka0iFinMsmsA9kCi+gQvp9uy1dkFDF2C9dxyYg8I1BDYRE6RTDvHoOpyeO74JQFFlhkLTo84p+TSpgMo7eGPZYIwO5KEtrWs+NG82EDzeoa5K+4eCzs5swz5hSgbX4vpFomMZEMoWQ8t2BD//k+88EUy0llSQNHbtdqEvLrI+ikpcOT7xIlvUmL7lKBTgnFvawIRnpI9ymtN9klUbg6k1lpTQFZyti3KcJilUHNYr78N8rPdlcz0TXvwIpQ+bDLFnOml5tljfrv99wPSxU6V2dmwOgNo7uWSWwaVVUgXuU/eADYwrbkRSdvwANuzGtF/K6qgcM8PIN+OayP1QJL7zX6hYvzsksEta/bJg6oJRz8WhCzQQRPXUJoG+QEyR37HAFywj86j3JuCKRPCM2PT0EpQVvEdPq2LjtXp9p/sjcVV1vhufk9JVxGkrEbhIluGUoIpMUt0spCNAHcHX+6KU4mvOlvF3wzdJvQAdQbnVGaSh6JrH+MVvHSs4+44o54txGE6a4PD/0xj61ALFEqWxHfEeBKLOyn6ultPzM2kXLXzGCXmoxoMPeEu5y4B1UbO0H0aX44zUOm/xxkEZnIYp9XLCbJ4IVmAIzLyXNXY7rBcz9Cs1rbW7dWYpJEtPaZ7heduQE8z2J2GkFgxin8YrGTsO9wc2OqYytyH4DnpEJNN3sD3uMpJvRew7kxvullDDqzIyF0QoBCjhgaQDTb6u/OWXapUCslA6qd6mK5cG02PN8oogcUTeBaCstDSXkm6JETYfPhrupm8Nq1EIOwcOHobyBelAvwHRTwVpJ53o6tVTg/s1kPk5pYqPGZz9o3pYKo9WQ/TPWbIhOeSaigkpvPVsAqxyH03+141Ov30faRGcdExkLkoFGAlOrK7k0B7n+MF8OtO1KhEniV3Tmv+dJmeR+aOvrvggOgToqC6fUWkncorvwptZMZ2JG18XmA7sqA8g5QMztMim/uXIkDfq7oAGmkshoCC1CXCKpUIfDXFZHqcpm1tqcH315IjQPGHMekTfBANxCe3maqN+MX2FI5de+tvSl4WomUSipQiK4BOC4ew/WeIdm3dhUwAQxhBh3BpMu8/fsq/yQobvId3uRuOAkcslbEmv5APrGkUeYlQeopV+wOMq15/TuXOfOcpqhfxSGkOEFJ/+UesyWq5HFtz/kyRx3lAnxcSbfmaykUtx1+6kwRDx6l9KM9WZWMqvs/VNIVlMSM7aQ/ZiM5bFvfmLfa5Wo8Iw+iKkTlxSGJ8B3VavE5027DmTxB7NBs0/QDvr6G/ArjO8JbbFgWzn2JcFbTQpqLy9CO3VpPDrRgiLQkMIdURImEhsWj1d3pRrYwPYQi8BRWbuwY+xNPIiHbCx6BlB5vbfDaUKbVi2Y9MZepvdRAw3nVREST8QtkNxjIGFbyPsSZIuQY6NwD2vQRnbwbNiT1m2Cixr7mXsLH3uwoQGb5a5zOFuH0sQW1J3VOKLocRh8cPRFq0w68PgzeU52dNA2CDw10dhCh1++jwpkuCqIeNdHrXAQFBBKXq9pAS/7LHTHXb0kg7xi4nulxFq/6vV+9FtJUtXQQ/0l3Dt7bZYAWkVR07IfNbtEiWZtyLi1YBgK+M8y4Ia1MAKDZzYyCkesFdfe+kBY+Q1ueHzEDzvLrqvtR7PbuCuj/l91WXxHspVid0rIMCTZHydxBdjfXcVdNC/kvVlXkMujaPwrlaO/KCvDY6+ich5oMsskunR8NVjNgJ4nfBIxqLwuNQ+yixbqRqqEg9wvRPRqCflpZcZkaKgUuBs1T3KrmQBXrdn/8v8Z9nv7uziJCM9vcx3HN4dBl7xN98vJoKiekKhmFBXwWvUYTI8ETMaXUFAj5Y2hG7oes6D9fi8KOi2Pq4FvdBeDC3AUnxEVaSYlUuYIdHpoJIe8M9F7/SZEOOuMabLR6NXYk/4lBYU9/Z9FQdUHfXJO7Rf7jLHvUw1qcNJ4qU7jzu/AoyzajDDmG6FUQQrwboU3J8bjWkxZCLkeeg7owBeqOKJY5FJgnCtEUozizKp47YHMtSCeqYzlxaaKTNP9GV0ks5qGrLUp0sblr/j3sOBn7x/u7qXiJSkYfasvAMj9rcDj1MfUReKExjsLtTcOQxpAwBS5yuiYHLGPuHYyrH5CrjlXcP+PScC6mzVOou4uZ4gHYGpgWyCdz69MhQo8lHswUoyNsPEsNMDD00W+RFguvtnC25974mPCSjaOSWMAJriKz2HMjfgxMF2tSJ+KlQQgmBRzm25xN+S+uehXkHiE/s+tPRDSgYolLnfsuqeVfY5xnHKRhd2OZAOrZAcHkucIwrMKpez8acTtVxEeh6v7VHO761nfIOvZkCx2/2LiNCsNhPw8c4aAHRva1imNB+D1EFWMdyTUuRk/YfnbtslYe5cEVEjPIhA9nk/N2HuolvMsyM5GaZFmuJQBGdJ01Y+tSv+yGCrBlVZfaT/94KjoLrRqufHqgwzBGJa1mExxatnHBe3LBxXEkclyyOSS7Yw7mDZZo5KFrW8gdNr+Gi9cE7adYkT/ZJ4VJJavrDgXH4TPOuz0Ert3StH+0piEaoMa/6PvXU3g016oTsdlBMEIYt/Y1O9R8vz1EnRwpvC7vEWBCtCdKSoB7v/sq5Py2Xzg4eLKvT1LS6nLVnPReWJJn1U5rqJya6Yu+0BKzTKA7ZypZ0aTf4Sutkzu8UqJ3qAPC9h/XcZAZ8Mtwy4EZ9eaRTCE2BD9MpSTHpUwQ/dZ/xZHQlPGX+OM8Umegn8WUFVQOEyrV/xhsL0eZKkaoiaTkR0mqeNbrTTVjjlH115fua2aWgq9mzDdEQoRVKAZudKVE+jZT7NVLj285JoBUB1Hryr5UhCSOKbsnZMYv09DwLB72TvH2GM3/BLJzaTkcaCNnqgiGH6RBqwiaUwnro78ertpkO9xIbXy2Oq1U5jPeTrOTzLhbOd/OAGUk1FuslosXpve93P63fXltKiLKnrOSvXB7PpuW4WPJiUy2HNxdqkHo3I0T9urNpypjBFggo8SyYeVHdqixREje4CL4nSw1wy/A7hEYDB4+zcHdaCOzm284jk0KDapgUGV0nQWCkNa6z6uJOtTiR4qkutTpovOXCojHHVGmnl6CLxMKZjKIcgTO/JzlBwqyHlfOKnmzRy8pgFKx8fmhojt7ZfKcdAgIie1wTbSX3Cp94md+IFUxX3hdL+z4u5PpGChP10HUqs8aQ5XWzEY8LifuUY/BpgfJwl6ZgYLReC7DzDH0w3eB93OvYxkZwT+XwQhTMkser5c7Ir4e8THdo0GHXCl5qPfRez8bJc/pr5jLtbQBAgps//b40g7o2hH0+MT4jQGpU17svm+2T3gHPK8VX5zCr+G4oH8P9R/w89Vgf7ubzqcre9CG9Rat534w8TYPdwnhdwPIEKyhrNyWZa1fKvaQ12s291YnfbuE1j2SWg34ERt/MWyry8DrXh/L5CDdXMUzhUdF8VwOUdD9+hOECYI6o1jfXTDYh74tKTmULMtsxZDqfrH4XTpZkOw+unR/MFgWZMaIH4JPecdJmwn6/KEXEfcBvbIpNTmrfq3dlavD2QCi6vTm92n2SgMmrTnMuks9xycWEtQ78x9X5dEuo9gPUAYR5QuoACEUyIX93/zHAiJbCBhUD2BZisHr0IpMnAFW4G6nqHa0ioOQtkvf70E8p4LdfUul8jU2lLMpQHo4v0FJq8KXPDshQtFd4tLVj8IyedRen+TOkRwVyHxAFiUlG2J6Bkfj/hbaQZ+3Haykz5HKmP1T9a/oRAt/wqejW2ulqzpUSF2Hh4+4VEKPyDRwEhXNA0xfFB+flOja2ITCEgG4Soh0q8KRxuZRqoIKPYxnpi+0Vr6+F4Xj22SItw1CSH8qy9X6u0gH/H8BLG+eggpIrTh/M/6VxLfaCTqcvZAHFXsxP7DfP3ykTja8aLqggmx6n8HzoKYQbjux0URy8b34jWM6k4Vo3sFm1XYx+tCtcZTr1fShlBBtCx9rB2IOQiOh1uC2AP+u0PLdLgEqkiskcn9YsAkz2siTGqdkIfsSJsidFckD179PgtRJc1chiAmJNk2QjLQXu0gyju49QlyxIroGYUjs5ODwcOT4jSr+gRhi0VBq2xvWSF3417Qh9CJQxAVJg9wewXxWly+tkbBdfZbZb7iCDJcDKyMdBKhOPAa7CXStvEju7C4JGRji3yRpPu4aUKL+tqn0TrQhTq1CfesvkqolikK50hJ3gvlow3nSQCRTuJsKVmYHjwnCmU0P1Gh0iD6jEkh+po+PwuHmI8WFv6rVLx1AecZI7hZqOX2kaUXoxj3mVzHvaWUf7yZFewDzgV5fzY4ax+s+7k8SH2FvFU7s/HQbqCPRn/SVUOihicfA6UesH4W7XF4u7Z5qlMuwLqYusZ52kd3pEJX/XE4an7rPyLVaKaejpmlUlywbtprMy8121T7hv9C3hOPgmFc52K/5EPWy4E2MpNiXwP4cVfAuAyBNXfAC+LVaPz2mHkZ98v3KtnU2iTz3pKuT0DfSHAMY9AuS3FQ6SM72Jn385u0JEnXQ8IuFkrzf21tZyCMsPYAMImU8bs5qO0VCJ4kzpS8YINk63B/rt0BSLP8mofGrfFHnufWcHeHKwvq577B1t5bCOfGaEV51HnMEQG7yI6uRo7kodo05dbjMZTi0xgEu2U3AhnqUfvg4IyZjXZu2CvpV1XyqPARjFrZKqThMQTORS2/l+Qg6IsyrFy52HNnn8smnizpLXJM62dnpzDqEATH9OmETCw0koGhETAByvcvlwsseXkcujaBZMO1qFKDDOm4AEdAlU4sCBATRdH2JhK3rE7LpFZkk/NgXqwa3BJjq/g6rn33Xf1M1HM1jKbeCUe0LBLs5eH0nJcEpBBHmr7RiSMihpW4M0rDhgts9JX7tZ8LDQEjc4DyqjC/XKcJ0ekD62G8Rr8/1mkGtT/vFrt7zWzzcche/g9AP7LCPqO/nJU+gXDQR8tQmC4PRgxZusZivJyHFDfvwPBlO+/9PIe/NrVoKqOThoNpfNK8++IYVV63RmxfjPyRQ/Yqh7GzHM+hBix4cZ93LxaKpVTA1XHZIX/f5XXDcrtwFZr1fcUMsrbAGv7bc4iiokYINrVIp/3T4I9dUKDlk4qcMWO7eAO8bWcq2k9YDZW13WWK+R6eVYokjyM2Tofvf1U6+yyuedRXY8TbsDyJuDY77Hm+GU9j7ALImwcaCXUMC7YGK2bxzsn1wIihQQWneT+3iR2I0HMt0ARS63/BzVR+ltZbabvnValmzSnc+7unC3xNhk43KtWHdwuIgcyjK2YEuPZvEmo8t30pnfmXQCL/rGZDvznAJOUeqbAkxD9g0ZdE1ptgR+hDA1m2awp2104Rwx38PkWiV6GuVhIOAh5qrk1PWGhrx5gwY1k3KR5uarmbYTDxRADeIYVQMunCT/WIS1r7qBgybg1rBkXmexZErPl+SONBZyjN/4KrjMgXszkbjFnZ+NAi+rDaIJZmVPCo4mtzbCcFqrxQGHKrMOKTlcI89soeRXXWiKWGaVNZ2wOCTzRiWwPDhgB404L96mbo4JMpk/04zIGYnlKzwZ88aJUP+/qlfAg9PtZ/LnKheNCOz75Rz/jRfustQDbKEWHtLG6PSErZa189kR6stJIiBEC2pJBQ79o2PLQ0fLE5/4Y0LP2EiilvOTjOH2qW/8oAB0bS8cdOP3n2IY0ghvnpLMMHsFUrXl3ldoy/uSK5AFFNKBL+z90kanEPDCB3qaQwKOw8dx8x4O+uXouF3gxk6iyUhtu71x2C7k6ryyPslnJtum8igZdAsBOYIRjgRYwNKSLZvZQ3kXzmTS3a9gKXuNGC/v/Wqs1fU3zI0cX0Na8wZEVck5wn3cVDHx8vzZQHFKqSXV4uvVG66K1bV1ue5dMEZNxrD5Z/xuy2hNUtUUBS35Hbdx+UzkkbmCU9D5OEZpN7ycgCHS8o7aTA7Dmoyo7ZfJvZrt8XbnfyoHmf634a5FOeTUL6CO//Hl5oamn2o9BsqBEao8rSU9TUj5tbT5T13wDZu6PuQ6gA2973FQSdXH0xmjtMSbieqHY/zoztQjLsPFTqDVB3giWAFX9qkN8UFFOzDTAy6pyP0oeB1Fv2kBWPTwbSk/Qg7PPU0uuwSRkfNqEsSRlAbbweZZEd9xgRZVGUrSj9PZJYQuWY0ZSkK7LBdrA9VlP/Vrk2InoBTxNMcM4DDFWTyc1s9xMtCYuS0cSpSq7qG293/mOxjj7fgirnG151K3CyPh+rGilCoh4SWrx2rSI1IOS0uwCcyx9X3amMMoaxNoIbV3b7SMkTQgrJ7xdTmpcSvaPwO4KhYzfpfTZldg+dJbIT5UEE890fb15yv6yv3d8VzwwQOndsu9iRK4cTd0+ywLdMFMKTGx++ZHNo42lQMqV6afvCJiIQ/RpA4hTjq5MC6Or/cCdhMcR2rBLQGzRe4IGEgjePvu28UqxCJWpJ/4Q+V0SNPtdbxQ/BJtJVGtmrIzK8mtLhb29TfUR1BPBQinrRiw3229tcE5rkUDu/+3WaK8veT67tHNGPa2gDyW9Q5FuhFcaf2OnvaAIHw+hXQ4ldsoOIRDFwpWRdqLO8dPKBS8mNxJLsFIfpYOWMCaQB+QuamcqztIXo2wVflbbV4quH/2RhZWiG1+89k0FZhSVHIXxSuWB6lf7mXE0nY0LW6l7YdqdtSV6kBrsakZfdPaw/lIxPZl+rk56in5JbxOe/dgDRQqaR8Wo7k7iuz4WrBpZYS0tMbvzQZv/ZMTzOyb1t3doTpHhKc3hOBdeVgO42qtf+3ZgIFxhUVCQ/MEr1cZJsUDUWvW81Yzd+gJ7ZkPUMhTdUEcY/nkB6hVEhzS6VdAbocHj7w5RP278fLIg/OqLJbmCdoJJthMNC91cIH/rK6j1xwTVjZ/HRGqCw7w09MR1zE7ezCjZj+D2HvcFJEOit5IPQ6g7YZ0dqvkerfHaGnwsNuQfimDxZ8j9OTkFj43f42M8TYTj1NY8Jm/bZZWNqB4rSiQXVz7coWYNNoNXY32zXrxkgiPwXG4hDS24rJt1KFiGO/S1UHFVmfXdwiAY5c2hElnv7uGvPyTmPYWRYrCbsGyU09OVof7szlFufXbSY/R9zGNRC7xBr5yJEt3GAKKZtKeR8CB/R8SZa3lZ7Jhc0JA5V7yzw7CGFr2Noc3llzaRVURbvpmHEPQMjb2VVKVJJ2By0m4lJ2mIY0JEsAAJxcyQs1NTqZMWY+LgniiKi1hcPpjHPj4EE0AYqFyjCFllvEe2601xe5X90tI7nX/3lYNJXgiCTpNKM6WPvphyZZUVVY7BuYo4Tn2YCSdR4IS7aD+m9WSH27ciSOY3Ff1nESpO2x0cj03QtwWFURcbmX89nNFboo9/i/Zc2RAMJIX0wZd2kkUgm19PPsILd740+VJujSptm1xG1fqUu2K75T0XyXfhAVA4WEyJbw2lMh9kLSE912fyjsUoFtnbIpzfMxThXsDsNtR6lQNym9f+MFqAGgv4A6Hrp1lo1brMJAJy+0ZkF8BaNU+0AC8LtlaFkR/j1LiY4x9elwUqntxGhGxO0HKk5shRqru0ExhTYz6zGfmgfClCWNg2fJZD/8/tc9f1eA+mcfG/Skif0zSePcwyrkOF7rKdzOeBJ4TwXU1b37aRpQUhDpItaZFANmIjIGHBAVXBJJWb8saA24nwlpgnQd6I/4ExkyCr6KP9WQwhAUPOIBTekK7ER5TK7jdJmAayiY32tePM+GCwVenfesHzrv6HXI06wpcCkJLgMIis0iwkgJkRQhPauvVdPsCi6rAy8kgsyteaXgxISBlvxSN6GlGJ+akGxuuFuCKvv3BjmNqqJ4YSUfbFT3XfY9XRtJ6xFpuxmEfcJ9a+0IYPvOxzjccVFFcbvBkW8GV7gvc/jXoLuR8i1kLaK8tlKqAZE6YwYO0X7jOHIBnWdUYkOnlySwXoq22WuqLwH+jJq0iwSug30HxNaAQZbT9rber61KGgJQc85rIgTxnMYourYKqtqfRky9+43THredhwwLkQnFHM+5qkoZuNHXg2eMdiKefpc7u7Dq1Wcol+9f6Tvs1cBQZkLXhaN1Re+ppoFNHN1BrGzOEbR/VSMJjUDyNvH8AKFQ/AicvWCchqwLwLmQj0RSyOSIOhLSHqgAvimwfokNpNpqG9h3w2aioBDUa+Kk3YEJY/eRQGEYyTRUG0Ai7mbcQ/Uoek5uAxSLfEXGIbmYGfRxjvj2Tf0NIqG8BLO8QV4r4LM4GS5nteWwZIy9H68SDot6Yy/QulISGYxxiPpqNqwLKysp/z64O4ug9Z2koj93HdscjG9FhRV7ir9TXqasYkPlkINFEVA6BfiD/gvIuP45iupWX97U/9FUlXEaA0WYxWuCtGySLdUdPKc9gF7ys4BN1QarwaEGV5xBPa2IWYAfaGDgL52zMsNeK5ERCSy0WmzaG1fwjZ7FByWVe9bXDiVt7aHHiczJXgU9HKq2OdNNqHqxHICYvsXN6aIY+UoGQRbAfHI+28mr2eYbVVLlbbSwB6e8oGjnCy7kjfNdfZuPMGnYXhVBGa10G5UOeST51t7J4S3RSHL2LfRACpmygca1oE78huPdpj+axNUHXA6//tQ9DvOkMKyrDmfKYVB/x2G83JpCBAXunj2+MjkTZViE49gOYfK/iPHz7MPhvomJgMDjbg60cGvdK0AkMqaKRJK8pPK78WRxqic5odzeh3ZcBjpf2BYIlH76yhk5EDKt0+CyMEAzsKGDhXDt4N8DmknBU09oTZlsalUfc+a4ywVrPHL34E+sEkZCWTGlHrLHBk9XGkd9SlgfT9ImR1U3Ekjef+BU9Ea7+aEUkRiM0XIMyatMvjKqCSpSckHmuObWYhpG3tq0x9/Vfk0RVRIdcVchUIRlA2DDQDXAt/CbPf0a+ImpC6LZojg1g4wj21CLjJ7JEf/+/lkWWXm+b1sFax9COc5DDEZDH/7kjUHP0/wtPbnZpaOOTRE3ZlDg7di3R2hK0IPEO7MokUM0Ad1s0CTxhCcHhDRk0BFzS+6RlHdOFHCx91W6gCyE0enLjSnRdAi/F/qmNZXmTV6j2H+4A9RXvrx40PWRLG/fAg3jMXdBtvQg3IPexzpiI0Ww/jH+FERKg1sZPIgf+lEKRjaCIi0z+lAPeczaRIfxgM1v/MIO+g8GVV8ceIE8n0KHfTVJj3ebOLs2vvm4BphhwTFFJpdw4rVL7YBCJVY7mwIxf5cs7Ssg8lzqqvAGZElw2GYOI2hFMpgF7g5PAQfp2Y3iSQI047gz11w4iX5v6AJ1o+hI9esYGi74LN3KANs5a55+py7hVkghMpw0Wqq6Uufb1EH6V9I8MckwMPl2DVR+8eaHN3bGlprS8qEIhonvGRaE2G9Z0zq/MescF3WVE87uX7PL1pkYaBA/iJ7j+O9tM80NyHEAClv8W8Z00eqCsFX/3E74ymZi0L8q0V0GNkr93gooxGSNCxZSvppUi2DJX0w1rgodsYoW4wegLKW+4KQOkSx2dPKgG6Nz4TLWtdzVAANxVyIB+MlL4PUg3q9cqJbNfbvfT4K96vgnGHY5V9JwBYNhFzv3+3c5BRdTB2ACMFsjjjWK5DO9nrEMs/fo7zGAGzVdu4rJzL8oUfqAkDMqQooIauL4hU5MT2Pl1mqMVtKQi/lfo90HQZXvIrUFPMXfZQIA7uU572RhFXIAhgeuQQiTAGRnPyrmO4hJNRHW5gz7Bty2JH95yW4I/H2FdlhOSi3+fLv9Yfpr687tBaXMwoJmdrl1tw6iX4WJ9jWwQ/lsL2+oad8JImi2AgSFIv6ogEJY817JV9EZcwx6cICdC8p9zz5bnat773zaBMBFzsJR54Az9n/it6kgE+0magDOqkUALruJRrIqt45YU6tjOXIKmfz7usnWFdSL9H5by+SZ12IOm6rODIxSOvL+gUoFFF8BKo0JWG6l30MvSw2YHrW/i3+XMoE0ee/sO2hoSFB7Sbal6V0dRICgjuiICLlGAW4qLLBBYFvvu23KRN1/BxxK5Er4uMfwrlds8cS5Xpr0dL9Vg42rMhK20UqqgNXJtTU34j9TsmUGbdpzyhrhZPpFuT0bHxXjVdwqLsyYr15MzfhzkRbaNIUs+QTPZy+p1a0t2gfpSVkHf+4JgHi7p6gN6oLJ0XQEYluYprKvEO6TfyVQVybu3eAMLkmcjpJZ2tsHDV9T5HwXc7fvz6MFSSZHx3UzCnWM18YItRFiDQfWMlMTdo+F0LmH+/qdUqQ1SWt2xwuB5D4JcmAOzWUz1BdCq5/Zx+yIDUN3MF8uFiI6BVKGSnBgc0OJK5dCKBn6xYsRn6+XyUGERnjHq9GKkYwt4ICiz9rWGTYO5R8p19N4EZu2HC6LZGSoHVNUT1MGw0fNAl98QsuHK2i5sdM0rOnYd5jjuiDBRnntoLIkt9cmmOApLPC+76T17C3rqsTpMtxSbTl+PntMQ/bkczY//Zuxhq36fjbPlI7DWgo4pvVMVwn4DG7aAOYGjnSMNkod24M/HJRlZGLpvFw1Y4BBZDyqhqSV8SPCzJwJiJV9zbgTTGzQ4Y7juwdcCPsfoZREbI8mpSaGvXU7xzbc3RhKfbWggP3WfpBOAMjElRrxA0Guhewcj+NeaNT7bV502HwB7tuLNlW2BFeQGDfB/dgByiLHJzfb0tHLrqhk1uCWpWlsmjiBdOA8DKjmS7hs9DHdv2q8pBlBuESTsdpPs/oY+qRP1IggFlXTFgKvpeFjrFttSmpBZr8j9x0X3k07UPWWFEVfKTtIn2ewsqHjka8wNkAnnLQmY/zST22F2zYNCn9o+323H5t1lsGY5I13rTANgGeHYAKjEdrIhasY7jkyrGOIZ7u8E+w6OisW/4YKNL8hGIewXNot1jZp+QFLMDbprFqimzJAnlzKBUVmK0tVUsF3cvCmKAF1y05nJnbRFs0GPAVcV2Rx/Ii3S8doUYVAc++0eRxDWhgk9wOtf60iBwpj7JAJldiJ+F3TsWTJkPWtmQ42M62W3A1VHo80nyZ6IIzUURBeXaFPWW7QMer0i8cPjD21hpZniFdQt/+V+7EndSyCJ8MEId962lwWrpyc+dH1DXvvgXbH1JvthNqUkN0LTm5cP/Db4V8Ek4n7pNFFa1wX05Uw0W04Ak1PST7fce4Aa4BKA26NqmhbwzpF6mf7wEhntT6pmecz0ypDSQj84W50QUFeTCj3ClvtehfxjaERtXsV5ZCysh999NV4Xb7TrqNPRvIWnyxakXGu372sGGydQVB1JUinwSH01hWpd4USKOjVGe5/1DXw4jsK2opOnOUcOfjSzKBSIwk37HJXiZkJeW78donvHEKOjAZl6cmKk/UMf9GSxE82KljkNva135KiLxY9lD6EwGBPIroNoL0GUHcUGbBbUiD450MdyzNb7CCM/Pd+G9o9iJyTFHiePrsVgvInr8JqgUybPxpyrpBOsFWHiz6dO2Gm4dCkROiJ4xu3pP08skwGVxR8ZunX5fDdTq2E5EsRa0yCPYqaOyRiSIFo7FQpo39FXyfnWe9s5MHHc+2FdBKH8AMoWltHIe/OtIXYPLUXXpUCv4dMpWABItdzle/mxJ81eN+vCnWoMji+K6c5Q4KgNPAFjP0CxgPRG9fnaTMAUTSGHgO5ZPA3dsJbmH7X33DpCCFL3ollJD4d95EjrWfbUryCeR/OwIkjd1lzVB29juujOtZC3XqHUljq+OD5reyi9dTmuZ9stBCrcCHd4erOBbV6vAZ+tfVT5TZXtWAG5dA0/5iUSUogn8b4hJUGwzrauCZ+jFkMxYbbokq9DA/RJIouTVFvZ6lYH4NQRJBASPGPoCOW2/SJVtVvVNpokoifQkJ4Jj+ia+1lpADe2Tqp7gvvIFWBE0PI2F2guHSST7FUITcgtqKhQXVFFnCbgF7p53ja3o/j8piKD0zskUrLq4BNsApJsBO2mP0iI5Wl7TMQqCNERekWN3k68Yx3qs7lgyQr91yqWRo4714Gc4fOyHkdOK8ssgAmobbeF5YciKkqfXYPEmw0KcoB/uziNazohh4TUiv9Rl0fONgG8QeFCF376Sf7V1EoDKeYq8eHBMJsT8DMtoR3jfljiXztrHTmHXDpL82asdxKzEZKlNl7MNvOqrhGXYX8NoOYVN7AHvT4vl/CAzacO3WpR1QZ6tCzRuNNun4egsRPHA/F2npPxry9QnGe5mlfxujmRIVV6lrf10wKuGsxCQbt7O8CTk/fMlHHa3sbD01Cxp25qEDfEgAW1S/07x0P/dCEnjIA+DQUS3pQWJAcJqEsw/QovGO4mhk9NrO+UocVECl/cinfR802jKk+PkMlahhANPuXlSlsV/apPIkkXguni1zUrwWKOboGkseWMA45A6YzYadPqa8d+H/hqZ4eFcXRHfuL5BRE/MX3vXTAvJojgBs+IX0CAql/G+HeAhHWt+KTqhjGg7SaOvkabw3pCTlLUnR4qC69XSnsHpV/0jBUyfGoHc+0gZULZYaHp4HjFb6RyYOS3LOoN8dD0trVbqkhHY2SJUSaqF0ag7FSg4dP8RDNVfjrEdjepqpwp0bNiuPL92TBrMFAewQ/ryE5mJ+uIhmJdqL0SEPRYLhDxgC9P/kCYpK+Xb07GSEm4e2pwLtZKSJfnS/jxTvBP2CNX98x/QD0Iz5dDgjn3pVP2vuHjtlXQMKGJncKzvS4Teg3fb7P+onTRSt0Uc8NILeA4nzrgIzDHpMHNlVG6M5fZ7KxICThBomCly8OqPBU15VsPB7rC3ke4q/yTTLLbxzdF+V7Jdcn3GTAL0IEy0wcJPv03pO2MnADdCysAsaUv63XNA4m+2C7CMwSqObublec4roU8dj8sQeb5U6TPcL0lg0+oPnQymXVfRiYNB0obZVYYsRPRiennxxOKY8WZqQNz8TId8jhkGhzBEV7R0lhhZdwDRi7nNbDUFvazQUeCY1BFcnyOEWAeUwqd3roIDsGIjodu7tY2TKOAlHnldSK1l0+pRKicudPARqPCbWkwlgM374X/WWQn7cJhj9UIyYEE8apA9vOcR7PAnropuIYmwgfFsX/9j65Lin+pSLk/EcTPip5BABgY/JjwsrvReRLDF0LKYa934iTOW9D2rYEcf9OdaDRs68CHjEDsbGAP2P/C0Zbu1KQ0ESMRR/B33OSNsogXKHjxliDjhpZrD/426URFknV+EoEA81MsP45fIntd8ZDgUrHEKYeVbt6Sd1O950SmZC63RZNa7dyvQI7iGxWmP13s4nZYqSfwKK6xA8nku2erWGnQQwUiNUWVDATb6JLeBioiXIikLM4WY7wuy3kUkSIfLVQGsIsLHfXBXjSpMW/KWKYT8XBFBULRDhh6+dEi3Oni0omEgLJ/PY3MFs+d7q5HpVU5Kmc3PtHRiY18qyHV2MomFXiQ+0n8z9OSL8XNTBtc6lnqO58oBBcZmZcedotsmam0riyUwBlIsndsP3VfcqsXkdTvSooBT7DcqXhcU/RQh5dKH2LviAo465YBzVYFXg5ZRNS1szXJqVEKom1O/RTjNNemmiY2dK5/z6RfGTYMsKAT8jIdnEbm27Wb4yjDGuQAHxVjt9HlKXJZhLYC/U02VEkF3gbitX14qwA8mDFzkL/x9PE+6MJJrTOu6ZSv0VHbrjyNNUaW2x5LXSq4Jtc+5NICy0+pJq458PfjQVeVKZoDuMQoWfzed4d6JtSVXz6GwUAmFtFvqOWGoqna2ZP7Xz8F720KnuU6QFhAb/KLGRCqvdZezec0YbzyUwq3kdXyxRDOH9URltYyBf7LKZouy2QqLhAJV48zJEVJyaCEBZSmySpoD/S3wy8bqdhrNvNb41FcUnYMVZygFuTMlGUtKWy7JwFxLmzG2wdPdFrpkhiJZN1pKLTG0kSefVfZp+ImEEXnaTmtx1qHorcRfXmZlDWZPR2/wQX7AHMrHjWbbAE307E+ndyED41XXjZR0T0ZUnPyqz01p0h/rIUxKsUF/5KRP2YAPR+/42v/S90RbjS6h32n8whyEBMp3hTPjTj72VDQxenTiuqZegC/tIA7GDyzerlgGa8/jBOO7RfXFJJcRs+A978g9pl7rbY2AyFH7AhKRMqLnnXiYsEwlwFpmHgHNLCGC9ymPoKKZi1rmVZHYeDVuxXUBd1DXwXvN7M/DphT2oNP9lmK4hBseTzaOYGvsB+NzPqRS2yucBHbFsozz7MZ6Ir/KT+S5C4yWHqneEemCddwgzBhGoymcKQuTb5NiL296OmpGy221EAOqjcZH48rimW8bD7LUBLgmhnkMYvJnCFvZrCLoL4aqSOLIgoGYpjgxQBvIu0xQhsbwKwBx3WsdHCZgCxX/c0aWw2xN0nEgmZo/2leSnsst9x4RF0sLPJhxKvEyKBiycj+ro2/2M6+Wd4SHSecegZE/8Gaf7n26WGCP9iuUoBsHDM82wQDmZeuEN/5evoq7E3K3bdbFTYBj+efbP2A3F8Z12A0hyOqkGglkMkaVxwr+yu/R6C60vwsAc6OVcW9FawXjWHIWNDOooxqfnMxp10YDxBhX8MJI6tgnqmCoG38KoaInvpIQF7Kd3uZOHa6V7Y2rN6evqkWWl8RoP7tiT9uOu7G8Op7fbBsVBe7z+1NVm+W3IxWLYN1FE1JARyD3Tu3kdjGjvjkm8uOSVPxDLofqBA0FSC+xlnepP5cyxCP7Jn7Uf6jJta7qOr9Pm40TkOMlhUc5VLcleOQWp5chlKQ3CWmJIq5F+zVCrQNN58Y/4luAvarYAkVGnJASTEn7YBW9/Rkjd1fWWaG70kJS8mufpvmWe/xzaRNyCzrhxtj9dmiKV9/J491n3vPs1DV9VhsV/ufgLj5Sodx1iGILzGUdY6XAQp4/3BFbkeX0SxW16eKh7D+M3DY2qslwWi4E2GwiZ0dG8Bh6fT9Cx6vAxTjG9k/hKhsu2c442Iu0VBtHrLkHxXAwU+p+ocWnGUHrRA6I4ITYVSSNqgeOQDb+lBOTmEFNBS5sUy18IIJIeUIabwk1xWB1DKUPtu1xnTb7kb9iXfKT+G/ZvcdUdHDDBz+SJ40Tw7Z1fYFLHDMUqBrvKgyUv0h2CszuxO8OmNazUj/4Nup+Bj/Qr4qFKrQtE9pZrlLIBtu9xHjG52JP2aOgPCR/5xQIXh57VlxnBuWPcApkQBRF2xi5CFDLnpqhBQ1lHcN9EjPAsJdqUfOcbhDNfHHTypNc+0yZLi7jVySvA0ANDeTlcIeSadTOkmLyVFgNeDM5+WPXubrNZTM7fMswhSmImjyzvv11CPU9KCGjR/oo01Gq+c9QumquzQUMbk4paE042s+2OtqW0noOYD2uvPApIbqmdQTCK+4C5XbBKfAeTDhR/v1ePtUvV8xEVMPLj5sElP2t2HAeov+IvDUx9EyV/fDR0iLo9k8Q/i80SDh5YUlZh2rpwIAAO4IHu4731a7EQvNa/8unCr2sKXreHctTAot58sNN0PHDXRRA/yhW56BW2cuh4jvB2FiQjbBEaxig60fW0BZT2rp0ZJhl8t141sR0VskQ6bk6ywg7kxwJnza8S5jh+hBroNu749iQbukDKFlq6YrMYk5GD4R0WgfZQ0KXppJW1HvOQWGGq+spS3ScAoBjWvoO5TNZmlrccwGlXI7QHejqrOMI/+XR41d6csAx2iDq4YWHSX0DL+SizhTxhadmAVZ8n5uh8nMvWS8jt7bVqP3NP2SvCRdl3mo6K9LkpAI7o4/s25is3tZ6f7XGxxJI/vpQkoe47fAxrkBYfsQo/hSHirjgWA+R5VdmeztFF/OH6VEMwjbE/rOsnLJpt1gmbh4uw9JURBdUOLAGqW4XAz0M6k6t/Y2PqN4o67uljiEsfJ7q3jhk1SL/358b5FP2ayKagQh5t3FYonXSDYbwlzIpIH6IRKf5N3Bfq2MgG/pnsGnFT3pBLlll1kQgV+Y7UaYm8RteQ2f7iAjHqmAseA/xpfocQM8YT5oDvk8pyR5Ps0klYS1u2mWsqoG/NO3LEjvL/DsVvFyAFHN6aFzePK+ptTU6lbMRt3DmWJcf5UI0F1A69FGzKkgQlDo6+nsqIObvOYpRcLJvtORzsXlza+caFixQMNvCC+tmYBrd7bRMRvxx07t2lIcjL4QJ6Y7EC6RI5fZapWiz60rtHxtH+HJkB2BX+gRD5dHomCbA8bJ0ksDiadgNB1ddhnOLLYPvV+XbvoejtiLHzDNUu+4KXHf78sNc+mepFCnVvQZCMx0I0bPPVVRyTEz0k7S7oCRpszuOMWOGgzkRNpEylkblRQ4vMh5IVWLSaKUxzbzQk47V7S0Q3BVXOHvxy08kJf2v41tt2gkaC9ng2x7u3RZ5HbTvjmfJo+qzmFPVgx2LDXO8PKqUxG0/AjMO742DKqb0iLJ0tUeQhF8dHkbDjx61CaQqw2/vJu4/tS3AkMIc/9tqviDjTPK01cf10Ajkcwd1RztTOTqqPmOquuD+ULVUruXCMj9dqLQsDxB5WLJ5cKDDXuH2k1vzFMCkd3iUo8BZ+x60vRWQSdUG5QlMxYROKoB1d+roN3ENlsWHSqhTTOr6tUPRgjSYmVwVzjTr13FdEKONp2j9xagxy51hTRzZ/HMFsuKjLxXkkDgcMknnevdCKdDHrjsmbZeF3H1gAkV/WqIItuMf0R9a0/UfQTw4xSwdvay6FaS8ti8D5P9Ht93WARCev/gr8G3U/aX+dwN3jb84870jAKW+vOXFkAGBaw2ISpuQfp33aOebWSytR936Qc/8RV+6Shs6Rd9eMORa51sdaWum4A9mZyYG+J6ZgiiLsoEt0gh1PXt0fSkM/cmQACI96BUqM52UoX0csptOxm/UfmjyRgcBlKOPGo3vneXSidMjRAjprf+jlucTtAZ4sQQxRj34T50lWb207O+zgYgTjYGodYGPx6X11CtEBuC5GCkbkJMQWxNU0fPPoy86FYNtZIDo9e85NYkKgJ8YDmHE7KClNmjAX1par5V2uKOoaD5cJw2ECfa3uxlMebZw2+Y7/MFF1aC8oMngIMcr9IttbfMctQDNRKai6eflNfQdirbDdDjzWydFRpYxRGUKY81MoAvZ/Fkg/DVixvTywDb4meTdEfk+UwawiMHRmah9Hmh1/lPcy1jBHoTSjxVm9bmKAT3bKujVCXtfwIWbSzrw2QPZHIhlCoR1X9oU2kwBMsoE6ec8qD+YoJBP1J4Rr6sKL0FoOJ6V4VVSeFkmBgnXYQKvDcCUVQjzgp1mbSlymE0Gck0/hf/gEsWvZaWlrMGb26302obRT6qOsPnnJ0ksslC/a+8sdnbIvaR/v4kUJ485osh4nnis2L17WENdSM3GsxWXIuWKCR0BODoZlk62K1LWfcMeVYbJS8QRv4O2daaVCb0Wi+XnBPSntSZu22N6kghRVZoh4Xtqzd1POhYlqgeBfyKnBePB+3585Jsq3E7FrAItZcPOi/RKfjyp1DsCXGdV/0WYXoPwkyE++MId3q+6JgKM0VCwMcKlROwJ5EsN+4Er8dUav+o36m6WY7OlJ6UGLtl/uPF03hQREK8v1QhS0vqJb4uFNrGKzWXyvcFCBKmIuUA7vrPXwwZpUjvz465bc6JYHOc5kTPCtZdYDWw0/55Volytpa6yIZBZqCf0LI6y5yiQd8kWsMTia4Yl6PLoC2Ux1KfyR5+OxUEi9JX4nyiE2Vfvy0n753m4t1PHCQKMjg77HuHYilOf5PFXyGRq49liBgxEe5F8A8doY7fbt+Q1J2NsLEvWS9lbPWIP5Ec3wojISKwAJOccYy8V2HqH7t7T1ZkBxyd1KNQP4WzGW6zc5S1+i95eBY5fPQ3R76OTT6t9MC9P85X8TOcGPDlBCCNs7HXdvf52NWV0Jpse4Wj1qUQRn7UJLvzIUd+Ib78FQ6Q9eD/zrYlxpg0WONIfa+gUiaaf4eUx68im9V3UI9Iwue1zxR1lUM8y1zzQVKlYWzOTghAF3HcrewHFTt/aar5U9YmESxJo4FDvZP0m9eg3Op5n2Eel8WxQ0hwfKnB8/8UxzI5ZvntBq4JcWAzUxVBAgMMscJcDNXGsiY2DL+oB3iGPU3rBFiRhh9LHOpR1qJJ5b85LPu3ZLZuvM65PapvlzQ2JgUbhyXsTH1X6Qms5eO/pxxrtPInnakaalC/kUTb9+zIIKoHa/vCxdXfr+LeJakry2OrvsZ3aL6kOBfUw8zuRsSDI22eSDyU/mORzfnMA5WK7OPjX2tG7SUHXESHKQnFzoYkJ7HM9MbJZwMYGvunC816cZ12KW4nxVnzW9kMLoOqfTd1zLB2A07izxAkmQO50iJPDmCkEL1CwnEKsxT33OZ833ay543LJJALcOH7H6qcYf+Iijlb1q+sxkVsAXgZMwGvMCK6m2aSf7RfwrA5D/eG3AyOY254nBckJmpTOBiKxHR6CN4HB0FimcWQ9SL8NkXRZjbxUQRFg8o6KZMprpEWVLfX4n/J7refCwHtLirSlUzHSTYfFXMM3xVaA5HhuywiOh5ew8GmN4/dbWwC0+cFgZmY+F1VtWtMPfpOyv0Bvg2sV7CqiWudCET4zvAaBOWIgphkK8/rSooRuRBVi3sdWxuRx+TIJG1yA4nzQxsJcaxEAy06KRKIYM3FBzrBzIK+zzgA4atRkGzgxTaaQZ1h8tOnzyTgXZ5TBdLHvMJKfTq7UljTIn2I/W42583o9IkIQECnjT2WDUC99S7Pcl2ueGW4Fl4NZ/x+1pjLsVJsWUyffMtUJw1yku2bRpRLDv03LnB/X9KjDX8IQwZBbVR6xQ5c+xSfPZCKDUMbcPsxQD/zOwcPMinvRD7b1NDa0ZQ483c9ws4Awa+otNaIjrfBxZoy1ODzwn8g6i62tiu2E4+h3z84ug3jv4Z6HnV07Q3ahtQSYAhSt+xpaDqdQuGPQ0/ZdYeDv3QNdOXZ/+w1imjEb9invugIR04Wxwoplk+KRTPs+xOd6pj3Cp8Bmts8pZSOrvHfKT8Cuo9gdklxeVRA2jxL0PNL33s52jJSLaZIfLN/qdLbqItjPo8TspE3lfvC/dxcSjPcoClXgeBFGRZZMchonE7Hp39YO8Xmx6kwMuB57TPNOjilDczTyhR0UYesUUHriDyp8Wkw/Nzoz7gchF354Gfwazm0yIt4JJxCYNOB/kvgX/gKYjBfk0XjRmHb0928b1jj8eDS/TNrcuWlUZF6JGFVUQSv4gSPPTImwnnHQ008yTuPS32U3vx9Aa41QtWdxwmalX2W7z9J6XQm41vIMeKNvPoR8sc2phkae2DrfcdSAgGOnDi45g++9dyAenFAfwvbngT2VNoU85N+BpW7cxz79ntMAJHgA7DHVcGtzt8f9IyuCBa8bCApLB1vU3c2MyR/PrUpwS+iwVrZjgnb2mKmI+vC1R+6BTIUOGxHFHYSA6dRrOfv2iLMfiaAGM9m1R40UH3JKQ+eubUQT+bdv9u+9ADVm89WFWnxdDqKWu6U4kUMdqqk0DsHHAYVaqTSUZEV1ok2QgGFdN5bxlLtT8s+IY5UTri/Vsie4aK8o16QL59GSYbwV+mzHjchtvDkjP3Bmu2kznGwkXMv66e09L8eNhHiDxJpTsVv66f8ctxVpWLJ85+RAAY0NkTIwxEgGjT0EBtta21lqiWNKY7C0BjylmjQg/1TitGbDMLayJKBNsudzNmQb0xP+j2U6USjp+N64+IRvpI0IjeCT0J4xajmuZ9T80egp3bQGY39TCayt0XLG/wQxB2rdg9oNREHRwPQEUsYZSz8Po9/i5mvgWmN1LmKUNR+WEYGhQsKNJ808kX+V/Lojs0VAQrq2EOKo4v/TT16G8VvjhVnRxaqmGpVJWsfGzZBk91X/AyySVCKKS7Q9Rcyh0fmc6fwYe2zoMJXUEL+X/P4/y5ffUHcZrlO2LWgBOwOf6Pe2v2CSYuAU1IFe8OhccaG2dZ+N91BYe+lZElcP+YyS9WOcCis8raOtYGD+U5MPIDmRQ9iOvEzCwk/mMOcoZWnvICVYaO4uMgY68+CIPFFe6GpRkduZV3sPpmQ8ETX11tOfTdzCV0+1Q3f7iv8zABNbw8sy5QyflooL/rl6ds8kVFC/wTdjw/zTerr/LLSbkUVumzH8scaUoJvL164NJw0Vd7ePn+Ow7qnSL1BBNtmnHT5h8evfGqfmzqS8hR91p7yTQuXzx6SOJL4pldRCJLClMvKACHeqPKr5mxpkW16IydhTg0s1U28XH1t177LP5wCQ/azjOiZTPLaJvaTCIS9S6cgKHTMg4F3FX2tu4KPEKDCyTcvdwLgVfVRfzVVgYFQ6jCT8QNfFq7DgiVx5aesosQiQcpr04kz+68VBErnweZzOz9XZhvZYf632v9d7M94WMu7i63E0Aih/h5XAAdNtmCclyryca035i/exalDzof7vvdqCbKB3IepjS6FE44kTiAnBcCMAmmohIa4GIZ7Ue67N/VU4vsWAEHA3WRSGDp73cWWx/aCtqvqwQkI6VVhj2eXp5qiWuoLh+94HjsWEDtR6imY4y9LcMqLKQI/ZQAm7A897tS/uIhnnvKod39Gw7//Npcr3/w20VTTaMGHk2O8A2SxXqytUBvljebGg3uA7j1Dz8iIsqb4TuduD8ChKvwKqFhGjqEH4Xpa2XzEdnghe5TysdN2P1O9oeLews+fCUu9DWFQi4N3YJ9YrSmRhGicypbkgteU7pJ3BJtbsuutNqHa53ssMFjvizF0x1bDozqGC+/jGTR1Q8Ge1EzCk+4aWEnNva7pD6Sqtw+aiP12xrXYLGv2aUPk83nrx7htSulIuT1LPjQYTfwziUHUFk/8lopWOmBOFLqu9jtF0zsRCpNnsTcfwmRmK4PYh8PPQbgp9zdT/6+bowOaEZ3LzsgvPE67JDk4kwIEYxO2frYT8MshxVBpDmfBz/eP44fZcAH/2iMU/d/CKC3Yxy59dBkXPNjFnaKTSp0jgenziBGQofD5dt3DYjJCrhx32/EcDvszsywszP9qpyyq6yuYPEkUbrzlZ/y5on7VImMwWTizGThbMj3LWzc8iBcayoIxMTQ0IUQOrS7jkXOYSV/PLSmS1SSGMCBmTDkE103nP8U0rzGmjXT7kUCQIl7Hyqt7QFqmvEj6Xipp1lLWA4X2meJEd+mCu1EVDbEirVU+TUmQXz3GXdu+ptFB/YkWOZIsbrp/nZXmFbPRhMep6BT/7x7UhNMdjri8+VChSgVC1Nxe4ECDsmBhnYJkyE41Gp+y+CABOsLoWVTar9pjITm7ocgxhyJKhCYtvUEfnxse79A/+VC7EUyZCjd1fegurrSny1zUwlgRGrmxafKAUIeRWOrn5W7DuxBDCndrDlp893RsVLUwTCNYIbPHKPDV1K+KLeBjJ9V+eBEY/YnO5OzWa5KUHVUCUTZSKM61xhfBwg9mGEI7H5l6bCjfIX8I+zEsmFcLf/hRTXETbg/EEMLASYioS6IkiTYVhnVJTGyen6WVUdDPMd6bSWRiiOlgLBwUEfDjKw2yIKvVdNymKxVs2ALyNeIcdOQ55AKnQiv37M/AiHQgqRS/ljsSidzQwk1n5vM+F69SN9Jgc+08df5zECzmhvUUKlWPEfX91BjKm2WObomE0J1vgObLJxbHDoGq5l4xge9R5CDw9Rlm6DYpkfPa8kwMBSgcQ3+5cWVw0IT4nJ+awpd/Xx7dZ/k4abaC9traLUMVNiPCoe8jNWMdTM+SLch6aPUcEvPxJuOWgqLJNOOsxKxulxe6ZkJn22UDBq6kqLPkx5g5YmTMjC0cZHpikL2JK0E8h2onKxC4cpb+z3MGUvgAAO98R7LqiowWDjZNIWaPmV5Qs2rcFL+esZznMY0eaxT6jgpOqqPMF/yhFuQzfUIOaxOnUCwQ8TpZ5pQ86i9QWxKHs8mlEzN9b3WYg4VO6PV0Kat5+d5OIHv4SwRW29xg/qwRSA/2brmtZMvbGULqKYhLTLNpqRMRqGWbb3H1ufZUUEPmWez4pR9dgKEhGAinKMMA46UF4db7ZSRvewu6vHbYpDCmoZ8P1YIHp6ZZHxqS/K9WSi7PAc6juGEM+qjCB5Y3C5fZTq+4+r211K2j7yAfhG9wiQMn7Zxbl1Xd5rtLPqgytOeWMsBHLp47T+z6dO5KLXZO9rLkUZ7oIWHcFUJLGzRmh8BOEKFegodSacfCOiNUlmj0wf5UM8JAYk+/ZK2mDbv5Uf7snylayiFwiGDmSwQbaBFCYXXKP1PUMiEVCZfc5nxJK4J+m/b4NVQccDZbSJhxwTMzqGblBB58FSC/Vhqvds0y8Zwml60aT5RIUb9vXnUNR81POoYRFuFprv/vy4YAuD79Cn1zKChBhhgVAb+1qEfCtkgDSavJ4oI7NBVtR9MVIFWaaHLkRqgs5hBmbShIXYTz1qYB6fkGJmqdFjy/Ukea1U0jomQkr9KtlR6pI8s/x5LWVqiPMXMIJWDtVcxp5yyC/KBBoxskmzUkMZEmF0IrsV/fOZ0M3Iiw//tnfRPvVhn+yYtrwnHMQ7QItDuJJimtTi1xUUjdmVb3LRTNfpXaukf8jx5pYpKPau0I3+q9AUPM9lnjASFiGzBD8/UZmb6sKnofuTvNzOD+bbSz2OI8vV0MKrOuTopXEhkmdhw+o8Y925CTOhwo7q/zgSnKP/gcP+j7N1aEVA3gpR4pGRItcKMp5wM1x2If++JVsw6M7GBQw6MeWmhs455Na1y75GO70f0lZrDNsHNnAuz8mhfR1vkKaTho12uefh4lWrh6q1ICHl5R2Fy15wyu/Be0f2fBJZHLFrxJW5VRzB9MpCafdt8cTM2o0/pgiJ/gw5YzMAi3XQCYdMPAA10U9mXaakEPkORNOmo4uFQLFyPkM5RHYG4fjzmUepazcv/nVLDiehUdUn4N0nsrdcYJK2SpHmlMMVQnUBNJ/15iYg9RlskfMG1WddkPGOAhPNnXqkQRUQJWAYfCB1fbKYksRJaNTj+asKFXGFdiRDc1MZ/3DixKwKvkO6KlMXLTEMMU0dqwmjh0PPysogGYcL3X08FMIy7KGC0krtoJ+lremSas1x2LiT5HcblIEft6kzb74sh4AB/Z/ZBjLs2ZEJiCQzh2mqlWJNl34cLuLLveL2BZpbOrEla4hTq4fthZwR5ygXddT4tZYhSnVLGXJO7Dn37Kf8L16z1gDBMF7SYpXf+/uLxud00FqxMqRCv1+zUpfmjOX4Qp68MLlw3y2Ik8tCO6fAM/ebAKfgzm4ySLgkFynBiTGAxUaB5ltZy4VW9FYUPwalcbI2HUSdiSWgx8RODMC7KtoY+aLftLZr4goBKpAUJgqAokwWyXreGZGslKJPCC7/7U8FjzKNR7uAEL5HJffRx2uapEx7BjIz2QTka0wMEuSFJoJAsidJtEplmDPsMAq2BlyWBRWz676D7334akn+FOmzzo8HKoXWpycy0dLa5CAn9Xj+m+pE9dGX0Ww4Z48zwYQeZ+3um/1BLFfRHPAMtj+GXlGxI7mnxxBTeZyiIHV9po5cDyZ4DEovz4/6XpWrQHF9JL/q4x5tNrhlEBZ+OyHZlbhanw9VrZfnTCnDeQZ5H8o+RIezBR/emTut2CbhoPa1DXeAqJNpodRHMxU9uhYlKQyHXRTLsqsypP4Vlnj7qfvNewjuHCkRImhr4uoOXgpQ0kSf/sifKyokf7nGTG9rothadzmB2uXwBmsVS/cgE5h/svG38BCmlL6rogPOCBK+3GhVDQTZG06MkxTUmua42RkRt1/ECYNhCzyNIkLiZXEBYXohKamVP19+n9wZZQIi4yTWuV3tKjrfudxTE1foFLqLh/9oVUAQYk/nucqfXO5Rvm0mLXeEmiDZCAa1uS1wl+Op5h4B2lu82BiGr+O+WaSpwBUztYQIAHVeKORIc7DjlPTiKQHXjVeO/H/rZpv+fX14J7Fy2twlK8P+07fcDgAQFzHkpEmQkPtR+mGOhZLsSopI65o+2pzwyxsr3SBAKEG2nIQHuWej10foqI6wOjrXq3t0o6guWsNJCKSqT7EcAfueSmTQ2GAfkqEf6mq1pe+JpQ59c36f6PdmjKGczJ6BERh0X/9sR9ihrs0pUfRLm4XZNwJEHy5Slhpsia3pRjC9VNFxpNG7ngrIop8PMMMOdavag6xqyufloAPLXjzvfa8XwpJ9AQ6iYItErZMnQrrQw6mMuIs/pDK9FwFyoK9tB2cGulMwrEs3nN7LGgA6DM4VdZVEVXU7uxJlmFsumKtnRDTNFXj1RSl49eFZ4L7jKILR4ZaHlStFYpUNAJJ8tZJKg/OIFDEGtaUTeO8nhvq48xknG3gPhSmXBXTyVaEJLXAU6mEuXZ6fuOduCvAa4aP4cQ02oFc08eQUlgmyK7BthFYWS8gP11B9KzYcbmlqSfDP1pyLh3705sZRPitDzV27GIBz7qTgIbW91Sn2OWlAjLd8Rmy8B8TIKbIdHQGwinbzwePdTkjtKccoUEjb+k484EKwfbrzL3s4w07rXd8LdIY9YybnUPMJVU4cDVSIowGh8OelKmwMJ1YcfZsAiIPRRDiCIzsHDLdab2nfPUS0PYrDwafUeKomAttzWyZop3RFFE/AQV4prs/kCw0fbrt3quzP5BFt/KShPeBoa3hjo/BJLQw+1lRE1UDCo20l3A7Kj8K6K0xgj9/YwyljRSgTIHDdugXnLC3Xt/r8bq5lXDd/WhXCjVuI7r2euCMDfA8y9CNyZ2/shKoevrHIMzdpavr1M2yUrsoZILoryRmGq14tI0ZCCRaqJlZjswr53Nyo0igc5r0z8m2wMoLR/S9puBhXUxWI+TLyKGwRQf+7cH7VxZFfAuw6H3biCj7VG7E0TOGxEHKb5+O5rN0xZtYDXm5lG25Ku/BPuGVWX+KgUkjdE6XIMeD9t7XTnSJG/uW7kdIjDZt0OFT1mpDaf8vVkf6GTH9tU0U4eEURCIihzJqOd/UfSjKzaPpzrAVPEozXEravGeug4aaiqHN2qN2JeFFACgJtv7zW7Efyp7JlHDVrLrZ12rIpA6UGJPef162SQP4MHno2I0wS9fRqIRagYQI4jBDT+nlsE//3Mjnqr2N1/U0ztPgGsZqzpTlDGusdsSgKgdJr4bQrWOW4cOhplMfGG4SB5AzFqdukEzJV916gCYLWw/49d414/2+DEQ5DAK6M9WbBlpIc373apFhpWq9FbbwNZFtHLCaZMqLFWgM5yD4gRA4IoobluU2alPFEcCmerBxQ+QlPxeK5kNk+Ok3rZD62wptR0rsriOnlwowQOMi8dcOMpcgJDbD1T0XCB564VD84fV9iQA0jn/lQrN+vpf8gvlmBEbX6N1y0R+f+vYHbhd6h+sUXwWP/8wxU+7YyC1geSPIFE+6QlzK480q5yliVm6fW/fp/midTeCc9QCIS6arY2oB1d7nlxx+iVGrbt+bol8ZDb0edFSDLMvyBg6XvO1GB4a1xOCGX4Cnyfg2COxkGyjVKX6VNBODlbiME1i55NuJU86DhjACxYwnyX1EtdjrtCXy9SnVUfSp5iTqxRMQfDnFgFqHrf59Ej/+fne+STmMcpo83CYAJLIBrQ3z+8YDJs261rkZX6Dp1w/z0Fow8u10p2ffNJIJ8PsCRUZ7Nz/Aw8jL/xw+uL4J/0tq37Df4rZubzO8Q3pc30dEvcrh8+e+6C/lb7WJ0j01tIYB4u8d4c5+yV5xnxm+TqR1uWkI0Rp0G2VQWNy0pI7bGLITg4pNyksO5mXq6k4/sTbmv1eGPaiQdxvYLlX2pcqrLzCS4ZssOZJ9QahxH9WLa11SWdvjj8Vy0FFpPtpqpcoTS35P+LvsclP0VZ0leIrjcUy1SmOciTOgElAAmxGzyUc3os+toUhJFy7Tlc5xISEe86i3RNIfap6HT7YiE2O/fu17SM+2KQTj61ADzllxJcXjUThr8Na/NWrNhOwqWLqOapp3SrzV5HQ3FS8pAKpblrla4MNhbm9hJbg5LIl7xHiDLvmdUqX8t3x3gPziHRdVL8l7mBCc16p24GEJQ76bvK9Xsof1zH8+UZr/K3jGEY+g1p8qaLgICtSV+sIELfaUpFYgEU69aTG+aSPpT6OxDENnB4YhTfQ67qD5I+cxLRRGbzDbv14y62rWzTvciZDrpH0/ohpKrxhOIXaDJKvL9IEQ+bJATqhtnLHuclisa9KO28V3iGhYRwbbYfI4XdlQ5Lm0fOWfa6lufbewbYXlVAHNVQo3AjKaGV3L50rGjAHrwg03dZV8iyLWC5tIA29RSYKdoea4mBntV4Uw6Uk7DyWDzc4n0I/DVa4AUphSXdIt9I0SlmHbEd0eK7YgQLMxB5LmhspkGx5Ez/OZJiYR9pH6+/lRGK22sIgZJmX5xOKK6eU6DdMEaBNM4kHyl8XY9yodYXdfofgRBqMn8IzNw+j0umKJBZUejKUmPWn9d1aTyvAiX3CX0wKxOercIMcgtMIM+14PPKXkyyg/KefL3PTBC1j5YK0vpU5+nz1711renEwVtvb4Nc3IgL1zRbzoEbFmwHOahUbdKiUe2jbnSYg1dEFjwZNXOwzkAA30J0wRGmfnffyY9OGAX1AZnGoYCqRL8jmICv+RrTWB0tQqQboZw4b95AH0hQCkPJyFt11fJu+4WSZ6AVSItBzF9bArl+8P+X595gUigG47i2EMAYUrF7y+ZyGPVLcC+kqcI506hdXhCx+JZf3IPMu6cayeJyif4APOkCcSHR7P3qlIVqf+YfSVoyv/hkxiAPag2/c+MQ6RJ7lANZAY4Rtn7wybQouSDRKhNbtOVi249TeQzZX8rA/1dLw+QiqTCxSGMY4rjvAmA8QWO7+F//LYMoDGEW9Kf+qcLuwnQevV9uiTEpR8nqWrzdDx6COKRiiPXU6jxtMXOBbVX4s6OyxDUUueMzNPqXh/vCsT/WzEG5iKZTPXwdMSojCnN40RM+jzJ518UzDKC15HT2tr+KzmNQu2VRYC45LfHXVB9hTztxzp1aOrbvC7EUqV2RXEr6WN3smMBWg2qUl4xy+jofdQbBsirL/s9VBsuA+LTCWnMRyIJLAcod0ZKXUnux5mg1bA9w6xOfic3m1F1PznQ4qkYW1lMoZvYAmCj61fUucNiaB2ShiQ8UJCuNAhXWN9Xabwlk8Mk6T+8h18sZ/g9JXTi+fjMwWAA0fUgE6tQsng1OW/ZLWpk7Hvy6JAF4Yg2tw7TcX/jhAxOdhqNcZGIOjKJs4jF0hOt0yIyV/+p6Qk0xch1KIbHfJDi4EhClJ63/rRWJ5rTCb3skB4wXeGy1OG6f9YYkUoWu60KoPr2GdudDHq4Yict9tkkU6NuMw7yeDOaXzizSdhv+gMTk3gk9V/JGErWz9FPoBgYlxv9zloLpE/D2+6aL2s1PtZhlVhg0OeaG7bp0LpfNOVpHH7vZqpxJ7dX/XRHrS8OpJAstohlOoDpEyrpGZbIktC/Z68bYnqJl6yGcpoimN2lmcXaPIr06SsUFOu2HlBcjdwWgqc+i0/Yh8+rntExVhRw+y1NPcvrLhKbsCCbeML8UONK8XBeZ3BlUI6hSlTUzEmDD7hdzRIljByXC88GXsPOFT+6CHulzcJvewh0RuYmenPWFDeqzPuopgPyFnREsABJh2CnoWHPnYZj2w42ibXEJIlB/m9uYODyns5xTH9E8/qKRi/67nWrAZ+jptkOroW+r0a9PcdiUgg0m/9uEVeHQd+44bbtDNyO/faHBzRUzuji6aC7Z2Zgwz31SjNS8few5EyhGh5QoINGpizYDIznE5qMEb4BomrXAVpIGGbgs3O7Xn7Ixy1bee5+FpsphwCMzYJahHyz2PlNn7/JuO4DzJEgf/3PW+oWMmgAyGGBsq9Jj1KHLKWyHgDmV7JMqimbyb/vo4BxUZF0VEBro+44SKVlsx4QvYLpKpplq9xba4c0pCHc8WYG7o1zfNAPH1JDSW4gQ/NQg6idUFAPLE5lQOP2OikT/WHSGoFEtAzRSRv3tSg3Nhhx2z6WbnR1a7QMwuBqXhMW2MByec15ng1ieFyhiX2uk06Q44MFnIPQHP3jSESxE6w+vbXq8ViobtCyM74QM8jCUC4snVB5MnZWJur39kuTOAOteP+kO0jfj2ia1t5dSBcCYeQCQlFIG/jsOawmwP6iodGNzYHDEC9pgqrxUlzm49VT51vPKvny6L74oqXVJc3FkObnqVa2WOvPN1KeWqVws+d1sKOlWvC2ACobuP2AVTB9+0HpDZE6FN4Z2jkEX0B0GeqJxTs+Z+cSikJD5ibiy8NO8EXBlPYi+uvDnKlhXM/6bMXKQVtCFJ/iqWszDKr5glZ+wY7KOqQxH5jR3RHVg9lbyUyPyTOqphyqCTuQ0BmUFKPqdL2eH+n6bbMyrlxgS2cFBC6BxWXBqN2ibZFJLwrO39Iy/qQbC6cPHb0Cw6ns2A8L106Uku3LUzSMiAVhDAHmVCgJNMwyCFi9Koye7VoNw7cpnPP+xJ0XtjdCRki9ukGug/oRZB/TBdCt5H4xwNuyQPz/JNmdAAxaly6tb29qgr1NR17LmnSiJCaHHWtXCTqEb8iQFjTC5G4jXfEdSqyVZrqLP8i/p1qBRJIIWzFnbCs4picc49kj2R5cdsvCgqfFEXY5r/SgOZG0zw0UOB67sTUYuQFsYNOgsnjT/R4nkf0ShJiv48E90lSbiiE12etaxJTrticY3ZP1AbrH2hnLpp69vvfbv+4wCOUZYbiYcsgviwXJxkH7OF+9a3MJVy74UwSPHNkHkVFyQRsWCotKa+rvRqyipvZ1aithGN4eg7Oblth/oCzfg6O6Y256GR9zdjEbG2SNA5vVPadCuLox2BotmSv1eDwYOaQvFcttfPoH3/VinYxoYchU/YMXM93sq1MsWmxPznJ87IzSKtXlAlgZ7GGVBEZhmRDa/Pm4imo6epBP29SfTii4CyuA7OdoFlJWCTpoESIyWhIoypteWjhIFBeYiN8gia+f4zI1M2IY95vCSYOY3r9txnlFl+wFtS/QkntAd6f5k3uQeUgiDzWLWvL0krjAEkk14PZWp13+j7zVBlzPrF4trQWUpcoeuY0iQhaVpQKOYxzl5bQezVeBJ8RKOrtd71hranYNl+w7xlSV4o+z9APWS1N77rXolbnCrQ8nmNwwk0MBvfvP/nIi8Stm9DFv7xAI084EhZFWd/ggwQCbS6GokK3NLWZ4ZZKHY54bGUCnQod8HL6j0KcbLhKUZvyc3Zgc/iXQzLStGGYgdPrF7R8mAzJdNLN8kn2yKZDebN8YYEUJMdRF0I3DldF/RRjfRIHWM5BNGS/9+Gvfp/3s+B8DsGhqm+9yqAyLgi/gFqZ7RA4jr5V1hWQJannDVqWs/k6hjgmOgdetds82kvZsIY2uGNfaFnOO3b5+FY8vocCXwpqVNHf/Xo+pWXsEBc592cDLzJJsxOxhjYJYg5oqWiNfAQun5chuApA3mXlTbe6/seCh12ASkTuRYv8bCx3rkNogl6YK04HeTojpJyDe+Dmx7OufpN4d0y3tA4rfymt2ZkxXuwBqaB8lDyC/VrlB5PDjGTXylcN3RhFdho6LBX36cpb7FUKWgYFvqYbVqwyiG+XyhMc05/VPzS2FvQEIcndedeY1JjA0tZj/RJSk80Xtq+gYrE1S0VACjvB5V99VHQm7ZLSvjbD+d2Iv6ony8PboQzhrB2YIsxV1t3q+WGQSVL6Ojn388DJuoswZL25FWD+HQvwiXHguPlDQjaqKzkNEwLWKoXifwb8Yhb5B3wn+tfuY3bHuiIeenm3f/SGBksWIIkTmUB/gt5rlgzYf9gvpU3skO3hBmdqeMU9+Zhnsqb+p2VBxqZ/MkBQiD3E32uQFu6xhmFWtonoG2XuCB3dyTyXdZUES4C++wdEEb1bydJ/HUQGHKxvZS/nfEB9QACOdb4HWtseDCeWwr4gNTZYO5dlIZ/fnsmsZ6P9U4Ukfrjcc1omz+yBaZeysBVlSsr7PvTVtb4GB8HHe5mhEihMYdGBSSMaCWq9NR0A8nFlyXs1GK82sTvSnJQqqdcQDakXS+iNFqfcNUyZXYGNurNyGm+PmcXWo3RxDME8EPRhZMLm2Xetm/o2PMHh6/5LRRE0K/c3ZsMnWUNTD5e7Am85kopGD6acLJ+WvDy2VnnbklWDMsNcCJ14QO8HM0bmqnYS2ccyQJNQfbZ6i12AX7VrqbYqgZXxmQiutgzeILtBu/95Wxi4BN1ObrhWXT8LL3LdxRsVBEM8zfdU2I9eddmBhaEKHYTIy9rjkjrEPr4EYLcNm7jQ1z+yp72I0LeV9TjRpU9aGs+wNc790d4ZdlIUQic7RSuMFo60P6RpJFVbQhozkjm62nQ07K83nox2la3hEnsib7tHWpY9c+qX7LBqLV54TYTv4uATMeap8TsRt6ufSRCt/HzMTC8f1ewHy4FmE+5p6Lj+h2HNoGc6Ttkz0dDP+eT2Na9Hq+Svc3uoC+XnVP/5kvGIzCx3SlKTkn5XX4RLt+2O6cFpzKSMqMEWMzUuwaB+lontEFstFQTsCGKPzSNORAtO8Jk5yQgQ9pBz58xWpimgwNMEpiBzB1qyiM+kDDq0XgS2Nq3ulCZvL5vQNbVZ9y8I8S3cYqjXOw/AhzuR3x/edRwwYreLrdeaUQZlps5sUIwSmNNZCcDF2YHKG62/Nq/Ifaw0nI+XV6s9FXAQmIEFVXDMKtbE5aRbJhf1CU6aevdKFzWfcjPG1RuzSOoOGGK2XUq4SWbgpMPe1adRlDzbVRMpDTGIYYOVEh8p1BHVJaz3XSUdK0I556HnnkdfwDCP29+Z5PNg+rB2fhfHIJhTn0BmyvnZgqWIS20gBZWumng3bxtjB0i7wH8cXbjEHGAxk+ivfxzxvwJ9+9v6ZWFCYssB3TVGUTryv7skjsPCl71qHuX07AMK6DbQNda9im4Y+dxRRI8L1enmhQ1hTSddIPtspyXJDG8I4bnBgru789+s6Nr9eiwJim1/CeZVSd/Z7dba9cgADWr38snS3T43JNMzDw3v2+oOBAFlr9BoiFPx0R4/VrH+ImKTwajBXyyerUXCjb37L9/M/jUx8vqBIVmfguiGs9G57lciX9cWoakETFOLUyu2ILxm8iZGejHbhm0jWVN2F4ds45ZuuUM+qyEo+2cTLUjuZ+/WHqGYJsBjsCg9s7u9R5ermx7JZ1GoN/7smb4LaKXV86sjFKUGNsOWXl1RshwSMSoRzFmnbV7wRF9U3VrBXPdysLBBoB2mCR49xwe1zT2F76GsT4xteBOuKAdf5ffscmw42bzhF7DdBAdnptaOFjHjzFo6kJ8N5M+q9kjZw0XHKe+FE9n3H7g0KS3yZgcU5wMHv4CDi6frXCsZPHJqKsHz/zKXv6KN6frWke+81aWLwgzg35garzq0Wfw1IF0AL+jCZHPOiyF4+39OF6BgPYCnkDzYjbscXQg0qQ4lap3ikOFzVGIeTbdd7lewDfb/gKmTOnAYMMAO6+CeXpzwsFZxpyletcZKLKicOfy0WubAlLuVZQXIXG2MzpWfukdfIbA4gYt22reeUX2tOrXqvXqwQs6Xulw896BAPVKTaVky1aQlQbHKGDhDnsnKxlWRPCB/5LzjDw38SVKlzFdkgTwem2RYVln9ZoAe/8bglouYdCxue/ivV2JAaHmr5Gh3BEHWAqwo4i+WE2CWDL97jKwhXvMsQqnRRjfnKziIKUtPFYUqoOua1lQBtpbOfpTEwHtA2AmSHvIO3e+uT82q48fIyU4PzriharuVnYopYNL/RAnMRywJ5vhQENGLFjmXxbsbNX4bOxPv/1Gd4D6Matzwg2eLhGZYnA870Vq3r71AhhIXGB3Vr9vB58ydyEvY5J+OAdlZcdJvpW435YTHfBu6sJ97a3N0gv/1dv2GLQREHbhWdd3a/7mRwH43P1HHV55A2/wX6BFkDF5N2HoMdT4XG5dMYZ5ZcKgsT9pRxipqOJ3Qw16An7Hc7nc3KQz0o+Po1iA6qOZLbFOIsf4BD6zpRZV++KHvwTgg1LZADtmC62Fb+cM4eZIMxhooFjLqo8xzcYc4Q+JbqDd7gl05E8XfY+ZAKt9/RRMpzKy4Yyumhvtiu+SeJm8M0ab2tRAQtFJhjVPcHYBzHjAoZfW5jTrLAzk6WD3pWskM9oFSNUFlErAUIEhQrkdd1AOwuJ2Ev4henD+9KsOGDDZ9cCdLlYnwzWF+ngDLs0CeyUuZmcWpvyT6soXck6NCjQSXWHW8i/7X0mT8OKGiavKxLTe7d1URJEwC1mlZjWw2MmAaJTZjepLseGYHjZ1VYweFWFYW2uCujUwwewZdlITwWIc63hd7aOFi/dApjCj1pDkMjNqlUmCfIIs3diOV6P5uQQOqX68zIpNpJAWwfyhZG5j3bz+GxTBroZR3DPzTcLwDFJEzq263WT09j7HYTJntFjmdVBYV0j9Z2BX9boqE5GJT42C80rd3vq3NzFIfl0Qq8ANPlaxq1u9Plqnjbaa+3yziIs9rgvWcGwDBHgUEZpkcFQdfEQAsVrDBnrBB6DI/AKzNZXKEIN7WGiz9qcq6LCUGgHp9k7pJKGPSt+88G/qqKLeXK1yNzJDS9mBiw5rHWvMXaTPH7q1RIb9DdixYvwLGAJLCtObyuU7ZdKh4wrm5vCf9VYXQivxdPTnVJ+iW4GzoCLm1R4jWqfITJ3Wus+4QX54jiDrEV8/3tjLBfYD5LUjaP3sdoq8jTb6skfPvlQyJOmMM2fR8zxCaOnHjcTO2y85c3ww8/dhfuvsLZQ+egzLFpKoZxpimOP/b1w9bI6qyVHqHti1jgm0JUNU5lmNQd5Bq5llLF/f0UxJIeYJSwc/5HkunmbYHVDPLcwPILmZkHc0NIOdQvZy7O/IL/1ESGHjytBGWdKKP58PQD/gO4kSaUi2RXBn24gD015tD2L4F8eybzvB3phy14Z/x687qCPmxJcpTYgzn4XyYEPw3jprOJlpCuAoPGX0RP7nC6rSCVEhkHpnSxt2yq/7CmqslRt6MXAwPooTLpiDBQUR2Gathnut2uqfV52hSg+Stbkj+GRs4dY7fUXWsBv4Vc7RioaQ1Bt4+9ZD6deJ0CvZKYs/6OiFIOCuomNU9br1vaTw41G23vNlC6eIyY1nU+Tk7jiRpKjoec67PklfxlUhCZhwM/ikwVtNsPPpxfqaofYfm8aV/54lj3WtPwcuCmCrtD9IklKYYStb1v0BZPX3jrUdgKiIjmgoe3+6nghkTtW0ghHO0PusTxUnw53mofo1Qx6BAUAfLaZmjX8fvsMqcnINvS/9ZAlRWdrBDL3IyuZA2zRh9Xo6lBwlt1jZERti6Xk0DQjWm0AO+SNdqnmMQmbyJGg5kEyPN9hSvd4TL/AQsgBThlBUf2Mw7P6DYjROqNwRtnVPeh5SDAZy54Zcbx77Rj1OUxBzquiLVqWIkTolgJYLCFxOOFkPRNMSt2dRb7NlBoXAuh8U0E3hPzhHit0SSqXmOJACRfCvt+Z1NFtUDoBKz47WbQKvEUQ4ZF3aXwn4/9doMd3GExUEUAsJO/Bzx84iphc8gULERr971kYc3yuggfQlPy3D9INi/7ov3F0FUa6MSpnx17D6xHsYpPCUfCZZaV52O6eJFQYyxHHcr6EkOcL1eohYkqJ9DMZmhX91XWhDs7UeHPiEsH2sofkvH3DULOAvf/L/UzcM0d6h3wg1g41MZ9XezfezSS3nLmdn5/AQplS2r2qBiCzWbX6GrIAKl3cfTFT0FbJJmFSqjInDpGjRgGpWx8cg6IRWaryesALMrXOXypxO7naOoswmW3iyYSx1J/3efFPt8BXPEXd9RJOMHoNGLz5KNXV2rdjtgkqnzTh1K85WEOn6jR74pN88cdld+6p6fVPJmuw30imO2V7YKEeC0/6uMOQptc/p5xTCenvKUrVMxymp5UijT7u7utVY5m+xk4y9APJtDYHVhbwAqTc7tzaLx4SYl2vGwpfZ4l8x0B087De6ejCCZNnOmAfID6r/eP9tr7qNFjiHt9JDWDcSwZW4crFQ/7tT3PXuG6PXPtup2oL1b7d86zagVJkbQdep9kAIw10hsFmdkdlGNNuci7ht+n3ipKf17r9RT747KDlcLj51uq1aU8gE6/KQqSusGTNojjnRE6M2Wl+1H4Pf7Y3Ef5orj8aJo2pIXKGKu8qcglE72S3LW4fVtKhGcuzrmEGw0ZhVppAiMh7pRVJD6S6AsPe+l5dpm2pdU7vqDCSxaeqXWL7+YsRcKDonwuUGgWbebOGPKpJDYJQUM5lTUD7Ao1+DB8z2EmJWI0KkdYVIFC2ohbuxjIIp52RoRpsy6V/cziiGirsXP+V9WOgACfR8M1n7ePA2hfvuRV+4xDCr5yu+fDTQANxqjBGlcqptZTcI3tNz53Zavufz2C37xAEye881RnDidmR3Tya04ZHv1UnOlW0GzMyyPK9jhV4kySck3RttXPJ4E40ddwU7IgKrJ5jxJv3BO5JmXdDVlf9kbRD38hqIAf3ClZy+t82pjlbqgYxQ3uaI7NR4KrMLIroJAe7rMBKC/q2puZXrrlAeJr5a2WW9znbDvDLE4e1hGKTEoVDtOZQPn9ykyYFinWj7TTKTkweQW07KcBRv7c+dqRgXHBldA6hntrNLpr3fjKeAEqQ2j4qDhIyzwMqoPrk7Q0OdsafFMYMpVW24o/6jXBNkHqwDej+/BP5UnAzPggJuKk4pnpDxOBIyyoRAdXoSMrJjlGtVujw22p2tgJxODCgyaQOI8J/LNG/ClkpfgmWi1Yku6LI+ApsrIPAWxUwjriXTRF8nAotrzfA3ij0v2M0VAcFiTJozIR/UGLGmI8Tb80yyCutTD0q2qVK4u0HC82Oj6yMc6Jqq/2Tq7l9kilOXBhiJQOHZHRiQ1LvXGsODmDUVG+mzKfvEnM4kJFmUWPfJ/NqtOQ2Q46qAQ1AfeF8AGEmz4Rui/YfMrM44SpgB961Cnm+66dZOOfQS0StoV+SHzTwCzTB185gQ9ByyIdow5QkyieVtnkV57jkaVsvkiGIb+I4JENYwkdcWF6bfvBh4b3Z+dQqQlVjGZRbnJ8rfJNPNJR8Js5tfVUS501Od/XjdqBIYdq1ykQDZEYcSAVHEue6eypgcWBkQY1pT1XfkAQ3uA2/aqlCtCxLh0Tm7kUfywPL8BlcAb+AK65y9U541pAp4u6NzoDOJISP4eWfkbX1wy3ZCpjwqx+GuUMmRi2gHCZqOdC019RU6PzMIptk/gp+Ygv0XP5c3U331jEGu/qqmwzQ4SB5Ar3ZozUVZVW8tr664NPjxnX9VOD7GTkcMz0kqwJNYofN047O4MrXILZRvADsYOZB+7W5OgNCZqoWjUBufQXDvDZu6v0RsLzM0e0zN+DELfO6EO3FcG9G93qX4K+idify6g6mk/K2T911iMZKhALUFIiCYkN1ZZtbN2Fjg9TNRVmQ620eIOCFDaV5hMrqXPhclkd4+D7HibkfBzjQ7HQgWHfVdbsWE5es43xRWvA+rL/bU8l1/mQYBOm1bMzr3u5BQfPry5D5+6agv05B5KKc4eLgF7VB63BFIhg34u6OoDjo8P7DbpVeBRZPWdAiT+XN9/CV/RKkBZ1dY+WJEcje3K0JlgDwyrLm59j4KzcXhfLbnEiqLmUBxljWJy8quiSPW4p1RF4uljfMN8Ob7x0yIb6yIH0OE1bBHQXp/MyHNnPjEZ8Fsqcso2tXEo4lz6SPUVItPZmcxK6DsaqNhJAUKdeuJfqazHGMKaAopEI8ZXvfTIAb9Nom4QIU8Naq92uI0TL5mXFgqSE/zer3znh6Xg2TL8lxJInigM0kKgJMJRhw+eEKaLeikjcdKvH5vXkC4eaL0ImW3zK7bPwrSUoSCku+n5FzlaawbaI8E9q+DIY4l5t/QY0/J1eG84XBH9rnLZttUSR/b7WrPXQ8VMu7ASTTe5Nsn1YLEeuBEZmzaZUsuj3x2nKfqsraVtjgySZP0Oo8pgt4WjbhyWUxjcghqv6vPFuctOy5ij+ckr/aia4uN8z3YlI4CjK6+jDdlT0/NlQXoHOwa3gAkK7DS7ZzAHKlQ527/kPvqtwcGnzbFF/09KLFlJHFW9uHe+X9mUXd1/IOXQC6rxuky4n+GT30FVbDA06vjGIM7rkNfzfy/wItA7Gjq+DhNrWA/vgWIf0r1u5QFAcdXNbbcN+MLTnlc4pzu0MuaoOVgMiEHlnYHQn9+vBZ5xpaCvwitXv0H0WSLNh9c+mpqnjxovVBcpY4X5J8SiWZpUI7wIIOqbSUfB8gvwmEWL8KuD3Rp/AxrCEClUzWKMHYG5iYrL2yy05C/uvhNYcxo0iFcW5i3DQ/TiUbEVffdq/cKwYEAaS9E2k6BPI4n2R+nhIzwndTHgwxBa1zIO/eIhF36c1gVtwUPa2OodFpzLdM56p4HDREhR8Nw0s5X6wYODoJSy2Uq7Biofo2Vslngwmw+WP4bqz2MgVIXqN9BjkLQRTen3zDAkHkDfGM3Rin9TSg662zwoVLYxx5U5r7vFfhNu515DSoG+DqHjYatpG1YK64JlpIlwxPp9P5rWRbFAeVoVuA9B7LQWSVgdfQpGKJpEY7M3SaGPnisC/BFwUxntttModMLx2H3JWOaG7vmF98fGbM7YUrOxVvLCJQNeF22MR8NYaqsuLb1wrOgSq+YuyfSEyHutvY+sn5N2ml+PWXezF3OeydZ+XuqKgSySwaYW1z7Qm5c08MEimLX8oxepHb9koe88hx/pnT5GkP+L2Ybsgc1yppTle25aLY2ji1YlumgMilwNsg/DrBztvgTgIfUIX1Xbr5cCY4LfGyEJBm2gVAVT13hfsMfn9pSeQru6/bah1t3Bt+cLHZVKjVzJA4b7RVin212Z5FzT3RyOZ/CAyBiEJKtCIZe7KV6yGMJz5HUuufcqbPoYo5KECAE4wKcM4g3eH/BowLyl2o5Gp1Q" title="Mekko Graphics Chart">
            <a:extLst>
              <a:ext uri="{FF2B5EF4-FFF2-40B4-BE49-F238E27FC236}">
                <a16:creationId xmlns:a16="http://schemas.microsoft.com/office/drawing/2014/main" id="{01AC3421-2215-4CE7-9358-1AC018FC161A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 bwMode="gray">
          <a:xfrm>
            <a:off x="339372" y="1904246"/>
            <a:ext cx="11500891" cy="4204424"/>
          </a:xfrm>
          <a:prstGeom prst="rect">
            <a:avLst/>
          </a:prstGeom>
          <a:blipFill>
            <a:blip r:embed="rId8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btfpNotesBox117783">
            <a:extLst>
              <a:ext uri="{FF2B5EF4-FFF2-40B4-BE49-F238E27FC236}">
                <a16:creationId xmlns:a16="http://schemas.microsoft.com/office/drawing/2014/main" id="{7E44E26A-370D-48F1-90E5-E337562E04F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</a:t>
            </a:r>
          </a:p>
        </p:txBody>
      </p:sp>
      <p:grpSp>
        <p:nvGrpSpPr>
          <p:cNvPr id="26" name="btfpStatusSticker352718">
            <a:extLst>
              <a:ext uri="{FF2B5EF4-FFF2-40B4-BE49-F238E27FC236}">
                <a16:creationId xmlns:a16="http://schemas.microsoft.com/office/drawing/2014/main" id="{8BB358E9-6A2C-493F-8255-983DD40EB2B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100356" y="955344"/>
            <a:ext cx="1761444" cy="235611"/>
            <a:chOff x="-2280176" y="876300"/>
            <a:chExt cx="1761444" cy="235611"/>
          </a:xfrm>
        </p:grpSpPr>
        <p:sp>
          <p:nvSpPr>
            <p:cNvPr id="20" name="btfpStatusStickerText352718">
              <a:extLst>
                <a:ext uri="{FF2B5EF4-FFF2-40B4-BE49-F238E27FC236}">
                  <a16:creationId xmlns:a16="http://schemas.microsoft.com/office/drawing/2014/main" id="{38BBFEED-C7A3-438D-95FE-3590B4B4D8FD}"/>
                </a:ext>
              </a:extLst>
            </p:cNvPr>
            <p:cNvSpPr txBox="1"/>
            <p:nvPr/>
          </p:nvSpPr>
          <p:spPr bwMode="gray">
            <a:xfrm>
              <a:off x="-2280176" y="876300"/>
              <a:ext cx="17614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liminary</a:t>
              </a:r>
            </a:p>
          </p:txBody>
        </p:sp>
        <p:cxnSp>
          <p:nvCxnSpPr>
            <p:cNvPr id="25" name="btfpStatusStickerLine352718">
              <a:extLst>
                <a:ext uri="{FF2B5EF4-FFF2-40B4-BE49-F238E27FC236}">
                  <a16:creationId xmlns:a16="http://schemas.microsoft.com/office/drawing/2014/main" id="{FD0823AE-28C0-4326-9545-42F2725D8F70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80176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6" name="btfpRunningAgenda2Level651721">
            <a:extLst>
              <a:ext uri="{FF2B5EF4-FFF2-40B4-BE49-F238E27FC236}">
                <a16:creationId xmlns:a16="http://schemas.microsoft.com/office/drawing/2014/main" id="{292A15FE-C5B8-435E-8448-E330AE2E307F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0" y="944429"/>
            <a:ext cx="3793375" cy="257443"/>
            <a:chOff x="0" y="876300"/>
            <a:chExt cx="3793375" cy="257443"/>
          </a:xfrm>
        </p:grpSpPr>
        <p:sp>
          <p:nvSpPr>
            <p:cNvPr id="33" name="btfpRunningAgenda2LevelBarLeft651721">
              <a:extLst>
                <a:ext uri="{FF2B5EF4-FFF2-40B4-BE49-F238E27FC236}">
                  <a16:creationId xmlns:a16="http://schemas.microsoft.com/office/drawing/2014/main" id="{28BF2379-CEED-4965-818C-FC39025EFF21}"/>
                </a:ext>
              </a:extLst>
            </p:cNvPr>
            <p:cNvSpPr/>
            <p:nvPr/>
          </p:nvSpPr>
          <p:spPr bwMode="gray">
            <a:xfrm>
              <a:off x="0" y="876300"/>
              <a:ext cx="3793375" cy="257443"/>
            </a:xfrm>
            <a:custGeom>
              <a:avLst/>
              <a:gdLst/>
              <a:ahLst/>
              <a:cxnLst/>
              <a:rect l="0" t="0" r="0" b="0"/>
              <a:pathLst>
                <a:path w="3793375" h="257443">
                  <a:moveTo>
                    <a:pt x="0" y="0"/>
                  </a:moveTo>
                  <a:lnTo>
                    <a:pt x="3793374" y="0"/>
                  </a:lnTo>
                  <a:lnTo>
                    <a:pt x="3738653" y="257442"/>
                  </a:lnTo>
                  <a:lnTo>
                    <a:pt x="0" y="257442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btfpRunningAgenda2LevelTextLeft651721">
              <a:extLst>
                <a:ext uri="{FF2B5EF4-FFF2-40B4-BE49-F238E27FC236}">
                  <a16:creationId xmlns:a16="http://schemas.microsoft.com/office/drawing/2014/main" id="{0E1DA5DE-FEC9-49F2-9013-8B1E365E2B51}"/>
                </a:ext>
              </a:extLst>
            </p:cNvPr>
            <p:cNvSpPr txBox="1"/>
            <p:nvPr/>
          </p:nvSpPr>
          <p:spPr bwMode="gray">
            <a:xfrm>
              <a:off x="0" y="876300"/>
              <a:ext cx="3738653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ikelihood to switch</a:t>
              </a:r>
            </a:p>
          </p:txBody>
        </p:sp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3B056634-C9A0-4D9C-B6E6-745DD8D44735}"/>
              </a:ext>
            </a:extLst>
          </p:cNvPr>
          <p:cNvSpPr/>
          <p:nvPr/>
        </p:nvSpPr>
        <p:spPr bwMode="gray">
          <a:xfrm>
            <a:off x="1158911" y="2341434"/>
            <a:ext cx="1273203" cy="3250662"/>
          </a:xfrm>
          <a:prstGeom prst="rect">
            <a:avLst/>
          </a:prstGeom>
          <a:noFill/>
          <a:ln w="12700">
            <a:solidFill>
              <a:srgbClr val="C0000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58163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btfpColumnIndicatorGroup2">
            <a:extLst>
              <a:ext uri="{FF2B5EF4-FFF2-40B4-BE49-F238E27FC236}">
                <a16:creationId xmlns:a16="http://schemas.microsoft.com/office/drawing/2014/main" id="{C1C84325-05D7-4D91-B349-69380A94A58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60" name="btfpColumnGapBlocker255840">
              <a:extLst>
                <a:ext uri="{FF2B5EF4-FFF2-40B4-BE49-F238E27FC236}">
                  <a16:creationId xmlns:a16="http://schemas.microsoft.com/office/drawing/2014/main" id="{A3F31424-0323-44E6-9287-9094E12FCA32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49" name="btfpColumnGapBlocker901294">
              <a:extLst>
                <a:ext uri="{FF2B5EF4-FFF2-40B4-BE49-F238E27FC236}">
                  <a16:creationId xmlns:a16="http://schemas.microsoft.com/office/drawing/2014/main" id="{90BE5E2E-D898-42F1-84E8-D2E6529313C8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2" name="btfpColumnIndicator205442">
              <a:extLst>
                <a:ext uri="{FF2B5EF4-FFF2-40B4-BE49-F238E27FC236}">
                  <a16:creationId xmlns:a16="http://schemas.microsoft.com/office/drawing/2014/main" id="{5595F526-EDA0-4173-91A8-D796B0AD6875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btfpColumnIndicator199854">
              <a:extLst>
                <a:ext uri="{FF2B5EF4-FFF2-40B4-BE49-F238E27FC236}">
                  <a16:creationId xmlns:a16="http://schemas.microsoft.com/office/drawing/2014/main" id="{75BFB471-BDBD-4355-8898-71161493114E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btfpColumnGapBlocker770259">
              <a:extLst>
                <a:ext uri="{FF2B5EF4-FFF2-40B4-BE49-F238E27FC236}">
                  <a16:creationId xmlns:a16="http://schemas.microsoft.com/office/drawing/2014/main" id="{E024758A-8B4D-499E-8E0E-70B5E10E1074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1" name="btfpColumnIndicator825907">
              <a:extLst>
                <a:ext uri="{FF2B5EF4-FFF2-40B4-BE49-F238E27FC236}">
                  <a16:creationId xmlns:a16="http://schemas.microsoft.com/office/drawing/2014/main" id="{0846EA58-9BEF-4601-B227-8BFC80DAF237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btfpColumnIndicator508059">
              <a:extLst>
                <a:ext uri="{FF2B5EF4-FFF2-40B4-BE49-F238E27FC236}">
                  <a16:creationId xmlns:a16="http://schemas.microsoft.com/office/drawing/2014/main" id="{1D083CDB-7B27-40A4-AF39-BF7E5D6F2A5F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btfpColumnGapBlocker432741">
              <a:extLst>
                <a:ext uri="{FF2B5EF4-FFF2-40B4-BE49-F238E27FC236}">
                  <a16:creationId xmlns:a16="http://schemas.microsoft.com/office/drawing/2014/main" id="{BE7C4AD5-4834-400C-BB3A-E42AC343355B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4" name="btfpColumnIndicator870112">
              <a:extLst>
                <a:ext uri="{FF2B5EF4-FFF2-40B4-BE49-F238E27FC236}">
                  <a16:creationId xmlns:a16="http://schemas.microsoft.com/office/drawing/2014/main" id="{A5C9942C-396E-4C31-8C95-97B662FE970E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btfpColumnIndicator326546">
              <a:extLst>
                <a:ext uri="{FF2B5EF4-FFF2-40B4-BE49-F238E27FC236}">
                  <a16:creationId xmlns:a16="http://schemas.microsoft.com/office/drawing/2014/main" id="{34216171-AD7D-42FE-9B37-003F8D3EF500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1" name="btfpColumnIndicatorGroup1">
            <a:extLst>
              <a:ext uri="{FF2B5EF4-FFF2-40B4-BE49-F238E27FC236}">
                <a16:creationId xmlns:a16="http://schemas.microsoft.com/office/drawing/2014/main" id="{B25B0E14-A4C9-4070-8D9C-6F451C439C13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50" name="btfpColumnGapBlocker853696">
              <a:extLst>
                <a:ext uri="{FF2B5EF4-FFF2-40B4-BE49-F238E27FC236}">
                  <a16:creationId xmlns:a16="http://schemas.microsoft.com/office/drawing/2014/main" id="{CD72B5A9-BE9E-4307-9D46-0F63FE4592AE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48" name="btfpColumnGapBlocker943140">
              <a:extLst>
                <a:ext uri="{FF2B5EF4-FFF2-40B4-BE49-F238E27FC236}">
                  <a16:creationId xmlns:a16="http://schemas.microsoft.com/office/drawing/2014/main" id="{5726F45D-04B8-47C1-9783-A0CA5996C681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1" name="btfpColumnIndicator816325">
              <a:extLst>
                <a:ext uri="{FF2B5EF4-FFF2-40B4-BE49-F238E27FC236}">
                  <a16:creationId xmlns:a16="http://schemas.microsoft.com/office/drawing/2014/main" id="{542D074C-B5E5-4632-8F9C-87897FADB685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btfpColumnIndicator348400">
              <a:extLst>
                <a:ext uri="{FF2B5EF4-FFF2-40B4-BE49-F238E27FC236}">
                  <a16:creationId xmlns:a16="http://schemas.microsoft.com/office/drawing/2014/main" id="{74B81A6A-16F0-4A13-98E3-8D6DCFB1DAF5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btfpColumnGapBlocker596260">
              <a:extLst>
                <a:ext uri="{FF2B5EF4-FFF2-40B4-BE49-F238E27FC236}">
                  <a16:creationId xmlns:a16="http://schemas.microsoft.com/office/drawing/2014/main" id="{D2F71D80-251F-4622-B93F-814ADDA37711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9" name="btfpColumnIndicator135399">
              <a:extLst>
                <a:ext uri="{FF2B5EF4-FFF2-40B4-BE49-F238E27FC236}">
                  <a16:creationId xmlns:a16="http://schemas.microsoft.com/office/drawing/2014/main" id="{7900AD23-B8F9-4817-B30A-F5E046C1036C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btfpColumnIndicator934673">
              <a:extLst>
                <a:ext uri="{FF2B5EF4-FFF2-40B4-BE49-F238E27FC236}">
                  <a16:creationId xmlns:a16="http://schemas.microsoft.com/office/drawing/2014/main" id="{CCAB14A4-6F41-4482-9396-E8E4D06ADBA7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btfpColumnGapBlocker227711">
              <a:extLst>
                <a:ext uri="{FF2B5EF4-FFF2-40B4-BE49-F238E27FC236}">
                  <a16:creationId xmlns:a16="http://schemas.microsoft.com/office/drawing/2014/main" id="{130045A1-55BC-4513-A289-BD98E8667BCD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3" name="btfpColumnIndicator541798">
              <a:extLst>
                <a:ext uri="{FF2B5EF4-FFF2-40B4-BE49-F238E27FC236}">
                  <a16:creationId xmlns:a16="http://schemas.microsoft.com/office/drawing/2014/main" id="{80501580-28D9-486B-A591-603EDE7F03FB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btfpColumnIndicator636783">
              <a:extLst>
                <a:ext uri="{FF2B5EF4-FFF2-40B4-BE49-F238E27FC236}">
                  <a16:creationId xmlns:a16="http://schemas.microsoft.com/office/drawing/2014/main" id="{1B562019-F4D2-472E-93E7-023AF1045474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3633B12-3CD4-41B3-8D42-7C174A576B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~</a:t>
            </a:r>
            <a:r>
              <a:rPr lang="pl-PL"/>
              <a:t>x</a:t>
            </a:r>
            <a:r>
              <a:rPr lang="en-US"/>
              <a:t>% customers using </a:t>
            </a:r>
            <a:r>
              <a:rPr lang="pl-PL"/>
              <a:t>X </a:t>
            </a:r>
            <a:r>
              <a:rPr lang="en-US"/>
              <a:t>as primary provider indicate they’re likely to switch in the next 3 years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09E6CCC0-99EC-4C7B-B762-68BC3FF03A1C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334964" y="1650634"/>
            <a:ext cx="7502788" cy="43705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</a:t>
            </a:r>
            <a:r>
              <a:rPr kumimoji="0" lang="pl-PL" sz="10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  <a:r>
              <a:rPr kumimoji="0" lang="en-US" sz="10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How likely is your company to </a:t>
            </a:r>
            <a:r>
              <a:rPr kumimoji="0" lang="en-US" sz="10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witch from </a:t>
            </a:r>
            <a:r>
              <a:rPr kumimoji="0" lang="pl-PL" sz="10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</a:t>
            </a:r>
            <a:r>
              <a:rPr kumimoji="0" lang="en-US" sz="10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0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the next 3 years?; </a:t>
            </a:r>
            <a:r>
              <a:rPr kumimoji="0" lang="en-US" sz="10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</a:t>
            </a:r>
            <a:r>
              <a:rPr kumimoji="0" lang="pl-PL" sz="10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  <a:r>
              <a:rPr kumimoji="0" lang="en-US" sz="10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What are the </a:t>
            </a:r>
            <a:r>
              <a:rPr kumimoji="0" lang="en-US" sz="10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in reasons </a:t>
            </a:r>
            <a:r>
              <a:rPr kumimoji="0" lang="en-US" sz="10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our company is likely to switch from </a:t>
            </a:r>
            <a:r>
              <a:rPr kumimoji="0" lang="pl-PL" sz="10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</a:t>
            </a:r>
            <a:r>
              <a:rPr kumimoji="0" lang="en-US" sz="10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 the next 3 years? Please 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lect</a:t>
            </a:r>
            <a:r>
              <a:rPr kumimoji="0" lang="en-US" sz="10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up to 3.</a:t>
            </a:r>
          </a:p>
        </p:txBody>
      </p:sp>
      <p:grpSp>
        <p:nvGrpSpPr>
          <p:cNvPr id="51" name="btfpStatusSticker631408">
            <a:extLst>
              <a:ext uri="{FF2B5EF4-FFF2-40B4-BE49-F238E27FC236}">
                <a16:creationId xmlns:a16="http://schemas.microsoft.com/office/drawing/2014/main" id="{4258FC03-EA46-4E96-8EC4-48578E10574C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100355" y="955344"/>
            <a:ext cx="1761445" cy="235611"/>
            <a:chOff x="-2280177" y="876300"/>
            <a:chExt cx="1761445" cy="235611"/>
          </a:xfrm>
        </p:grpSpPr>
        <p:sp>
          <p:nvSpPr>
            <p:cNvPr id="52" name="btfpStatusStickerText631408">
              <a:extLst>
                <a:ext uri="{FF2B5EF4-FFF2-40B4-BE49-F238E27FC236}">
                  <a16:creationId xmlns:a16="http://schemas.microsoft.com/office/drawing/2014/main" id="{AA59E53C-45D3-4DA5-92AD-FA2275E7775E}"/>
                </a:ext>
              </a:extLst>
            </p:cNvPr>
            <p:cNvSpPr txBox="1"/>
            <p:nvPr/>
          </p:nvSpPr>
          <p:spPr bwMode="gray">
            <a:xfrm>
              <a:off x="-2280177" y="876300"/>
              <a:ext cx="1761445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preliminary</a:t>
              </a:r>
            </a:p>
          </p:txBody>
        </p:sp>
        <p:cxnSp>
          <p:nvCxnSpPr>
            <p:cNvPr id="53" name="btfpStatusStickerLine631408">
              <a:extLst>
                <a:ext uri="{FF2B5EF4-FFF2-40B4-BE49-F238E27FC236}">
                  <a16:creationId xmlns:a16="http://schemas.microsoft.com/office/drawing/2014/main" id="{05C62B3A-409F-4CC6-80B8-F7EE9583AF0F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80177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4" name="btfpStatusSticker538999">
            <a:extLst>
              <a:ext uri="{FF2B5EF4-FFF2-40B4-BE49-F238E27FC236}">
                <a16:creationId xmlns:a16="http://schemas.microsoft.com/office/drawing/2014/main" id="{A35BE023-A2DB-4BE6-9430-B34F9326446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8214219" y="955344"/>
            <a:ext cx="1759136" cy="235611"/>
            <a:chOff x="-2269853" y="876300"/>
            <a:chExt cx="1759136" cy="235611"/>
          </a:xfrm>
        </p:grpSpPr>
        <p:sp>
          <p:nvSpPr>
            <p:cNvPr id="55" name="btfpStatusStickerText538999">
              <a:extLst>
                <a:ext uri="{FF2B5EF4-FFF2-40B4-BE49-F238E27FC236}">
                  <a16:creationId xmlns:a16="http://schemas.microsoft.com/office/drawing/2014/main" id="{898A9E82-8AAB-4302-8866-5C978AAEFFB3}"/>
                </a:ext>
              </a:extLst>
            </p:cNvPr>
            <p:cNvSpPr txBox="1"/>
            <p:nvPr/>
          </p:nvSpPr>
          <p:spPr bwMode="gray">
            <a:xfrm>
              <a:off x="-2269853" y="876300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directional</a:t>
              </a:r>
            </a:p>
          </p:txBody>
        </p:sp>
        <p:cxnSp>
          <p:nvCxnSpPr>
            <p:cNvPr id="56" name="btfpStatusStickerLine538999">
              <a:extLst>
                <a:ext uri="{FF2B5EF4-FFF2-40B4-BE49-F238E27FC236}">
                  <a16:creationId xmlns:a16="http://schemas.microsoft.com/office/drawing/2014/main" id="{E5553999-77D5-4EBD-84C6-CEBAD324D97F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69853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7" name="btfpNotesBox632539">
            <a:extLst>
              <a:ext uri="{FF2B5EF4-FFF2-40B4-BE49-F238E27FC236}">
                <a16:creationId xmlns:a16="http://schemas.microsoft.com/office/drawing/2014/main" id="{27B95BA8-5470-47EE-8313-3EAB24525BE0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</a:t>
            </a:r>
          </a:p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39FFB7C0-55F3-4D57-A716-B657B1C90AA3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8378296" y="1650634"/>
            <a:ext cx="3478740" cy="43705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</a:t>
            </a:r>
            <a:r>
              <a:rPr kumimoji="0" lang="pl-PL" sz="10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  <a:r>
              <a:rPr kumimoji="0" lang="en-US" sz="10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You have mentioned that you have </a:t>
            </a:r>
            <a:r>
              <a:rPr kumimoji="0" lang="en-US" sz="10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aluated other providers </a:t>
            </a:r>
            <a:r>
              <a:rPr kumimoji="0" lang="en-US" sz="10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st time your contract with </a:t>
            </a:r>
            <a:r>
              <a:rPr kumimoji="0" lang="pl-PL" sz="10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</a:t>
            </a:r>
            <a:r>
              <a:rPr kumimoji="0" lang="en-US" sz="10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xpired. Please select the providers that were evaluated.</a:t>
            </a:r>
          </a:p>
        </p:txBody>
      </p:sp>
      <p:sp>
        <p:nvSpPr>
          <p:cNvPr id="59" name="btfpMGChart834952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nDqnRi2rF3dC7/3vzSMoeWc7pCKX0F+d942NXGsvNxutEpLBc34F4BrTQ6G4zsIKosRoVu5KBV8s3E2/qe92MZOYboHlILOFcCwXXd4tUBO+XvZWVvUsSf20rFz2ZwFhnL1v6+F2N/kwfngH0FerW2FTqrghRmJH/APqPnHHLVvaopGdW34KJBfVpXQ4nWghHyk+9PM6YDE6Ox3x9Q8dUs1wsarYsjIKqmEMcnBQ2IrzmFkgK7YQmRN0fxMLdDU1dR/s1c/34lhao7bNRQTsLxzP2CIfziwkhq04dYOWyZrZPqmx543cWnnbYrhemB58VqyD6yxLZmI0j0mnIJwxA7SDDiBzwGCV7JOpqvovxqlIqgSjhQMsfnTPIH+22ekWAuOqXUi2PU95aL2CrsCMdZhd6tzDB+K0ByaLmuGbyyC2FWuCCJ9dr2m4q/5MBoutSaM8gGNO215kslfVF0G8d/nNv9ENLFrztUMWEomAPUJngJwlkpw+8L1fi0ygaCJDVw/++0iw93LNVyDliP7s77J9tKHDRL9WGd/XVgfGFjjXO4tbXWv+CSdmYbcriWwC6trTn8bzjcb9yt0V+5onEHKsKNjVqVUqgoGAkiN4ElB+/31GWYCbK+3rldh5j0L0z38tlpk7dyZ+7XqjmVAGcKHK4sPa1l68qSsaLMEjgZYSpbaRizDpAHBs+s+k6cDNGT5JDcZ7wS5pLSBphcDssJwoP/uU84Xbf2wg3F9cMpKsEo/5nXrsxgPIYg9qGUNYb+WROA6M8W5QoofyNFltEWVg02SXaMOLLWjf+j47K2JtWwYQiXHw3K9DfcOFKLXkTRdL+e243tCBrB2dRrdWSoNQSB6B33UVq4KXHYB14HLpiMF5/u7LaLthRWk0LoOXK1twMrOfrZHrQK6re6Qa0luWjKPgj8ZCRbeswhizsmBbegbxxKeT2eoavkbVS+F4y9fX1GxtLhJKq/+xpMbvxf5G3KGnSkHrGAhUhkycVvtvRAlTdS8RmDgn42qlai97bEXzRiggkHwuNRcRrfmWUC5I3JVEC1k9up6cqIro1AI2XZRNxP+ZWowtCOR3r8/9WQDEwyK2KfXkXTH3aqVkSW/hTWgkNLFTZjug/ROULB5BzEGwaj54O1qiwKvF4zqXC7/pTFm1QH3Cr9vdhtz7UaJaZQwNeiVMVBlQuK6rLlckZ3DDiK6jlR7eZpyfGOxenZkL4xlrTNByHxwBEogWsF0msuzunNNzh2p9N2Qz24AdCyZiaCizIVkKLTfoD980TOoWoC1W3KzCypojLtH/M257W1csel1aAnmxvC8foCZqEr/nmUaVozjZ1mCHccXfb9bgdvMLTpfngEDtSq4GMUcJHOPM3Hk+OCNeFrZjaW72p+ICD2yHHgnyxkPdkCapiUkH7auE+U4DMfYDVNRIZkI+s98kjqxwnyBw6u4DrHHAkdEi4+bHqmpq2ydKyiW4/kBnZsqVyWMGY+NnVwmxvUY7NQQWzlbV0unncSMbi2zPMjiDhLOaRRVW9rJUI4J1e6RkMHlhZmKLjRPZSNghVZgkLnnxFTDwCWz434O7bLVs6f67z/fUmqst8GH12LDjQh5qFNkyIsvWZoO0OM9hRZeySBz0BxIC09qHgGcXZ3VeSXpDery3kDb9s9rBbduZPSO+mJOBDb4OYeNybtygGBdgW7Ashz5E5PkcDn4FV8DN2O9Q0CtzC4VNyIA5dwh6HOxtc3uWf035ULMZU2kpDiKVu9zJCEZP2h69KeRbVCwGuS/kkvHzHbFo/XqudG21U2WF+aYrhhNZJou7hZ/F44PebWi/5781dXvsmsudf6dz8s91fDfORDjOfsLSJlT1HVqklVJ9L509Zqv2qsPItjLcYk7Urw4n5m/Z+kD2WsCqLAlbfY6gAIMUWP8yqeF2X5agp4Fwurrf0KMe1sVz6Ym1S+j0kwyIivl+2cqsO19VunmbWhHJfmLKrlcp1/CLrKhgAOto4IxDu5+qxB3y7lphsvtVTIyddRvUpBwl/ch+wuPXNItflrcCbs/B9SWMQ6XC/ZRgQn5V0mcHUYYWGTcaZc8yDcuZ06Q9W++6ImTLPmpjKX1sotW6be1PVKqk5dwALOqDwO/xax8SDbcMz1w+tJDEvxEuoudH6bdw4T4qe43iF90yHPWgZX1YaPxJc6Tpfgedhrj1fY53FiAc4YGEHVm/FvYXqPGnGJ5s5c3JCuPXETsJ86sf01nV/D+Q3g2/aALRmUdLxy3Gjyg7VCmqKb4Mr+E5fmCuoLxpjqZLlgfSe4PfFMOWA+1if5hR0wsZddbbHBaLiqAQHn21l1zMFmDMhypf06b0ZD8w6bGsoHeVBmhGo3DSPl6K/8pDTtQgs2R10t9BC1CpN7XSb1lrJbv3FDJqFPVIxI8xMEnOfz2z2ndoNlaTAdskk0cTGE8NLDcPo6AziPnInz4jJNNap3sgnzzSH9hfyAz3O8RnHvHoGMIB3giTFzVW81eO+Fe/X/bAllEXnP0zV/ecfjZlFKvK4fKyd+VazQOkaHwo64sSRv2hwZyyBgLtOQeEb8OEmyVDMEe50RJvjEZfBvo2wZh0g7vZqnXb5JT8yIKuOOd2bXHtHuVm36E2BjkKtvqcuPOsbMSXbp1SWciaHrUWHh6xKxdAhPrSRz4kFUJFAAsP/ZKH5ndHvM83RdNO638x+mtksNP7hFb6Qd/4Xe0T2ltV1+6YNXxh0jPK+lKohhyrkXdE9Fq9Azy1ZuR/vA37jf42tDJmiHEwR161W8femaI7hFUfRlqvcxMsCalqwwHtIW+bBfhO37zsHZQqrHLRye1TmxP02tOljedL9kRaPN2KQJY5O57Dt8hsAfUaiASpbayPoTl0ljB8hX+oKos8zaIFkTyIpqfv5aDGhpzVgx+ND+iECr5ZIUfSXlQuPyLTlWbGxAEguSQXMjGjDC46wGA03d27ZfBLpPyO6t6L/6O64flYZAPtxP0ltkVjJoqKNzswIDIoqYtRp3lX2sIFU8cWroX/9LRYrdYVABWfVt5uzGyauifCWykg/3+TOruk6N+IlOKeSliZW0B6HiQoC7n0F4tm/HxJ4FgQ66Xgdygel8WfDCegcNuXb6Mi/oNjayegA81OzFurn/+yvHYG0GYgEiwfUNxZCMovGUxbeJqeNSU9RtsrVRGuEfstTKeBUhf2d0C9hnyV8Jyl1RDkGtgRgqpzMOmscPFAdT3VcaZQcXcozi1UBczzwAl2BtpXcaE1k+6aaoyXhAoJ5WjrcL3ugyDVMjD61uAYzYLQ6/fy8cMxiKYN7Q/LD9c5dKlW+xR5cjEIahMuQAGUFKcMb4jQOZWqrBzEvq8ZVAas6UZTnxwPBrVMLy+IW4xRJH+AQPWd6dQ5oEez8bLUFjIw1iqRJ5XfvLZteAvFsz2tptlURZggrP0MCZ8YLAbd3r6aLEzRXSx0jmdYN2G27G0baRCj44POW32LPJwgjppy710/AgSCI651td5ayvXRMCvMOV6I1KYgIF+nhqSeoFHcmOKpXxY4qntT5FHDNlThicLKpy0j/RIMUEMvLhfikECCkNXcBuX1Ha802cklH3XPTRR0oqTkdsYNJ19jdphi2WpMQTnCqHfrp2TSTaGp1t7ea6yQG4WEsviZlBxhEODBqIeZx1iqlJjXNtSvvMEKUE+IzqR7zuk9paA5eI1vEzmb86Ky2ejXJx/2UvYpCNysbpuLw9jn3GLnj3v+HDRMfgdojKKqxmXKK+h2w9vgEW7qW/A+O3mKv7iuLn5r+VI7yCJS1yfVoUtWjw9z+cbswKAzD2BNBc3/aiuXEElRbf6GkjeMxkJc7adZTXsf/TOO8Y2b83Yh/FrLJ36r6jVySjUiYAGb1iQPm31Yic1BonktCfcie5fRL6U28+2hO1ZGWIiO4ExuHQTXo2X3JsICuR5HrD5ZitOdNiefpzg0VKBkx1wTxa+3cNtGkmvwOJf1A8I6YcegtMX8AUij1nf4NZwDROQ2VMP28vJzLpVEJFhHxp/51CRbhE9XdKmn1RfomTg0RShCkspzp2c0wpiPBDxock4hEJBkSZQwLCFhb4DwZhwk/Gsb2HS4w49ohA+ckvEACFjz908SBDzfq1DT6GB/qOBNYWoELN0wv3Cf8TszLgGM6wClvbbiuMc0Gpe+NnzMTfmOcqYJCbUMjpUIyvJAPN9Hcx2jk7R9U2uD9+cqfNvpJK43HlntrBo/KANIPUxdiFsIj68ovf1xlFkDWgZV0dVV5DcbUGa+xIU6m5RPs/ZdIO5S15sllzlbCbZnamWo92eDYkTdnXobnTvO0FetkcEUe8Lst/0T1IbWxUD4Mb2zijTXjJlsJ1zHlBzLg/IN7h1xN1uYYLbjA9Xtxl+Y/zUGu/WBgd7iBy28zifPYTEYprG7HtZVmz4oP4f/T8piirkaFIq6wkW5yGM3D51zIYbHvcyY1gehHweN0Oe6apOzxHF9Dy6W57ojyof7Df+bzOFwIVajzoPxZFXYpIv22AE9ASxsjzIEzjdZy4nNMsseBsd+U02xI1MGMDkYoBCw59XW/l+si70DKnsBOAZvP9nTVdoC4d/prwUns3XJZOHbgtVjwd471itmitMKxmqtu/OW1cMmrjqODgemq9vg4bwKFN+TDogHzddnvIZ1QjpEFBvOXQID+4Qgu8LT2UCcnFiA+3aMd44fNGD2v5HGKNwsi8kAZUn83JiAgFSZKsqVZNxC1EqPdAwRHmHTGjq5El0stV1kfaPxnhdmphqwf0HUiGJAvObeK2HwRfttSttEBx8pn2PmbKyYk3rY+Tku9CenXn6PUEmlVXgX05xVtggUWN5palwW9QILvUOYjj9XxoM+jmdhBkxI6xLj99xiTJgz5FmXojm61MpFUagjbjsq5crbKAEKk2Qor18iP7+q6A0quAf+5inboKFZLf82bBloCdAZqgl+bX9I4du/AV97hSqYMQLQwqmVp0qz11VNpc+rgKMGVAmcwqFiicMqkS1ilgV0DTvH2vT4e4TioVAHyBn7qSYXaw5Gp9jSuj0bZIUvi8ZjtKL7tsp01swtB1OmVuEtODujTZZX8rAFGqQ8jEOdCBqNyHDPqrsIB3tl/B/iO32QLm6NLIMYe186NZD1F/A6/GYx7O0JA7qJ1JvhbRjR9jMuBH/iGmotvZezT3wd5bDWRVO76MvuZh9eAOgap0k/+Ms88Qp45h8ySsAUrFeboHJ/Q+wT5nt6NhqQLViJH6DKGsOzkipnWxfDgzeWwIAYxZb0ePPBv9i2Cck9zd7A+d54Jqcaf96f+wlyOq8fiqN39e/LDF0hR/qZgMmMX6B1mfC8Uk7sT1QQEJZZigi1YJQKMG/iV1UBBhSje8g0kCNogzZZGYUgns0jTt1aPQwbGmdB/NHsOGrOffWHPDoqMGWxH/0MRZqo2rH7wZijopnp8cA8DJUoL+F7r3IgQ6yl2vS9Qoo6rJSi5SuAWtbDs9i+1a0eY4Iv9PNloJ6pm8yCNmU55MSXeyiS9IwrFYNetU/5XZNQyFi8M/BCW5U9jyserQ6Lny/5by12AA0Blu45z7qATdBUSyoZNPuDe+/A5Db9qEhglJ8RY1SCvM7uffSam6Ic2apkphw1LoXnz02IwpYL1KLqocmnixKCXRo2zQLquiRGpLCbpM5QExMTvrIykJ24JG3c36VzujirIA5JxD5s59cpOGv71kmcj0XW+m248832lde2AKp80O9a8LGXg2Jj/SnCihUUkp90uzaQu0TQlGuwv1a4zj9l1yAVULyd5I9vYHDfeYEWqgIzmCm6kH6JCyP8fXYpbfZALfnYQ3pqYt+9X2rwQNsnsFKDHEZ5ChH43pPJhu0GmEAwsA1leB2kCYK4c+jerpyIrPf27mPnQfwSOEufTRBp6j5CHt3jDmvuudbYTFt26Yr2rcgrFTd13+bm67cEsUKSpABpQOe4Rj8WlotQfTuP1V/iWK1XCakghiQVLLDTqYVl1pIqCOAjDqED9qMELRi3A8Rt4DkBuaElj/3FniYyai+fS6srADeXFmZTRv89bGcxKrBNIooGlTD8kE9G9cjksliNIoBlJzoWV03uolCy/7//VyKhfhcy1gsLAdbS664vwe72pIiqiBNpMjsQwtKaxFfTRDV/DvWELSHRjx32tpWahTAEebCTZktps1CUGSBenry7QwizCfAaKb/lJy+TNM5DUDDq2LFX6XuV96Jnq063eKDRr6rG+qyEn71y41/W8VwjTF/j+w3A2u9R4WSYhMC0AjfvzOHkVHxBa3j44JsXyFaqCuwqPSUlEdD/6wN1WUY2VySsJRIpa+vnnjPwN3wnztzZQ/WkNSR1QVRD1A6GyCrVfIFCPc3qx3gqmP3NxQ8SlQ+4X6JnizpwvgXU6l7X56k0Ti9yPC36z7RFM5j6DvZkFqGQpR8lIPCuHZI4pVc+7A2Hrn2GJGJEDyuw0cmJ352UbzfnvoqYrckuXHcN50CMQJsAXelnTMgdEBfmOBjhda2/Qgq8I+FdLUjq8Rly8s/tEg/f5tIj3dWCI1Z+iafL8aoqInbNtkAnatUvHcJ8nnn4akNUwqUu8TOtxSJwIYOeJ1uixJJmk7xW+nikPid+ALyPYiLq/byW7xx22H1GzUCFBs1i1SiVJvdtERLsvJGZnNnWJqu7SPhXdLydgpuFnANXuPRZiABzKnDWSmprLYYkiH6XZuCvsWJGjRqgnMADm4vzaA16cJc05L3Ep9uHAhzLaD+o0elnLrG7i53bNPg0EKkTXn/zEYCQDZ5pHtSVzCa4bPPGFN/rNFWonUsGUPgxm5YUMSQWOTYFQ1jT6PfPod/fa/pFWrBHDQD2tM3PoM0c34mWV8GWy9K4n4b1MKjctg+aiEzN6yDXLTF97lW7NJgiAzX7rg2bXTd7/lh4ymtiOvQHpUxnhMSILA09/rcixRi05IxWCFl6jeyt2U66uNLkj4CVDJh6qf1VLqE7GYxoWM7elt0j3SLw1NxZls8CJl/59ApaYNYtPC+KSaEoHpNXvqCMmt2sgN51LywsIQngaiesKQmx95dKs2t6boX52WLQBoepvvfmw5LACo3U9WaWZMKxu1z2k+3WKHhRKSi0HrynzP5TW7ppl3AlebcTHzovdDdwibGGBd7l5Mz/p/h6LNvukNZnea1Dtzj3wnjzx+o0TBkns4RLHDByKU6WLafG+ChMylICVPKM8ltmVyGopCjmJJ5wfhKI9rXBijzi37tBuk6dJK33NRkBSKoOWcTien/8UTU8bxwIonEiLbeR5pyNNAvI0jw+mX2WigHK5hQq2+LF1gP66FYZ4G46G+5o4XQLvKJZ+FOsMX0EMOFyH1Uk6rY+hxw6bXhkKgmxyKQO7irggNcO943wQ3iPyppUqHiDPp3BpI1+B2H+DC8GlkDaOu1SfdDTx/CZVn2dwvcH5D0YHdNP9305QA1doQcBpB7jkw9f2G+pdT8Lhr55ZIc9UpyFHV05MRGUyJmR70esu12LywWo2ORrMoXU+OG0aN16Y7ZjREFB77SzjSaW+EAODCAEqYoU3/HSWQLDFcSNnmF8e6aY479omm55C+nVpWZ9hA4ynkQgUloUJT5CbYeoBrDfgDgAVTIkHFtjp2pND4LY6rYSDPV4gcjRtHoLQolG1fVJnTOv0WLXDNFU1sjBruYH0V4ChfVGCSFcvNr5eXQ3u6ciqV7XuRVTttNO50TD5JZvkr6XBYq4TWRUVoxt+CmHOKDLVOX9SlyfvsTSIJgYytcOoDIWDJ0OjNf1rHlsgbA286MvLvDrML75kmTy828zxutwOs0sqaVSUPp5xIYUt/XZT416AV/SOySu3a6aw30r9fWQ8IWvMvccwKo9KH72pLPmPNxBUFsCU6tx+FSgjazpRLnXUBGiBd7wlIl4TuXJpkgzh45EyiMt9C/0MmBpoG+BxZmjdL8Y5QCFbB9FPvvhkwvkbUYV56m92nk6LdQdh7H2foKuMvSs9Lx6GyGWQUWvhpwPuGUPl547K6/PL4Y24k1rfcwiS5WiznfTFow3NpDRXSDutiMKwgdiLf3Td/RDslTYhPyyEuhp7TPY2ynMXna7qAca6PVmaTTkg8++H4TRBqEO6PNssAuZPJH6YsQTfUCb4vyXjKgmZTXaAaUUA6CR320AU6bVevUO8MZ4jVMEbMk/Qp9aHPquw6R4Ey5FIJ4Kqdp9Y/fWpiKpRopJfjqLTqwNWFmawkEXcEvfbkkvcSjwWvtkfYSbwu+95utM6cvAHpZ/7K0duiNVs+OEj92RE2H3qCqtts06KkOTKrWcObdCfoSPp2XD7O/4wYbQJRd2AGLYVt5KRLb9U126QKw/XmgIR/oAbk66X+KhV5dmlZc5qRiylUQ4r4p0fwm9hAogqTv+/Z9zgu0+jP36r7y7EJV8eV3n+2e77TvCHhIgqwBPXAIHKVldcGfRgrehLB1F3KOeGYSCQTp/rKBBoa/s+SrwJPLNYrAvxN9dryDvEVyXTs5oWHQKCKP/2j6S2/tuSuppYaWMUQ7TuT5bJYoMp/RMxEwjYXPelwICS2LUzSiN6vsP4QJh3P2QCyOIw5PWqg1m0pRc7zfj1DRcc7YXmHkHEGpDzrv8nVXcVdjgv8RpB/ky2mwpZIpB99qHaKoDnBcKAq+q/vgcc4gX5/+o9muu9DfXhKlcuVv2jdxiNKu8MSZlkHAboXnh6OhEBUmVkZ/TGtN4j/UqLw/9elV5z5Lhw0143U80shcxWcHeIfuYsFtt7Lj1DHf5IVvc4oc+vRYinbuTpyCn4LB0FzKLTv1OJiq/QiYijfN3bEc8jW+t1ISEkqLQLbt4Gc2JRDzC9ixcEoQGbLmn37MHlarzaEZafcu3LZFYhxIqL0iDSWx9QkHkw9ODeYIwvwmFrDWjPMJzjsrmEiXUNu7nwnGaIuhs3pc0Szhr6PpWz+OkYDnL+HqpAv4NahKeRcUj67Yzx8BnAmel9RTqt/BgkEcpxvGFeKyQ42BQdecHNSECdMlFIpHynyOmYK1yjLrYN5nkE+nt/YlSn9jgD4XudtHSowKINS4T4u+I1O/2B8zr39Q6hzRYGpPAdsig0OHs9SknJ4agG1i3wbzm6yQCPmG3Y9kUgm9iLltNMPoFNct6npUCBDuVSfCtZFZNCpTIwQgINdzhMpMwkHRCbwrM5yjRGS8ED86JnDXtL6AXAhc3cHY9u7eO7pNC2/JBjXoZU9D8oPHV//Ko9yKgSfq3wlOakBb1kljyaFTP6RXkwb7+CWXJ9CitTSTYQrfMh6RpwZJqNpUj8faFpNAm/CkPbDfn/KV7AOzh/j0vuCoext1e+1fhIunvzKuxFC9XIN40J8mYt93lyN3Ytndf+iULFMhZ552L/IyiQv+hBJgZFBHUXJVgH/GHj6s6kmg1gypvUp1QfW0WCfMKNJ8+DJxQdb0XNBnKSBtlWKmM0rhMojcC3smpQABRNrYYsX8Qcx5oUI+vMjE6I+ksBOAnRq6nc804DktoBIMP/OYroxcf4IWvqwkd95fTB5dwQtZ9pqy+ZVoNJxLjJMRghdCc1kAiFfIvy2YWMcsKaqnYjszVnE5t6MIT2TbG8qH1+KpCEc3CydvGjl3HV15G+iPHiY+NxgkR3VbWZ0rnInwF3wMpSQZ2TI3EX3bHl45WczbRssd/D8yO0bOaJqzgJTzmyM5zFufaaQiAz70DeFpg6v3yjrJE+PdXYHyI/7OVe/NmQVy8z0QGOW4cmNEBSDw5mExaL+jl9K1IFpRfIoy7A3VB3bV4dqN7dkp5BxWGH3xEOAsU7rzjJiB6k4IkB+JSresPHC/NnAtjqDNJEnnOQqN0aEvdi61BfI8IkK7avB6/9bovi/HdjjLKbEk1BP0RvrwAMUYkZATDhMA00b57MUFPb+SHrzvTru4mlKrRE/+TN7Fa0G0P/yVS+H4yhu5tYgVi1aJ0CcAe8frNzu9LPFRrmmL/p8D+++hyNmKGiV8/Shb/qPwor0qxodi5ZMPN00ANYSzgwg58Jz4GMfW8z0OR5X6d9ghA20YYlplMbVckebzUsbDaIdJ+AitPeRs6NJWEth2Bsz69PNCx//0iHwRQrGQR0P9+Ix2saG1n6MP9lcE/j/bvaJRoUtGaaq5fqhnDa45xIoiiLfQlY7vzCfJViQilhuniZfRczc94XDIB1xH6zYpizl+pLdMi9pHL7hhWGSm+6JTUq1YC1Cf29hQIGGlWIg5VXQyRgltcZW6jNw+YU5d6lg8n0lPov7FWIZd7FWWuiiZiIkoARyfTH/VcMj5j71hKLjkAofkAL++dw8XJFCXUH0Cg09v3IoJ2EHae+QZpP55fc9H1L1HcRI/xgh40IkKBXib19UlEH8V+tpa0M5s3P9RQN2Zmd2R7qWwxo/ceLjr1aVUm1WWcrAod/94pSR4y0+B0vcsG2OO5tPv6p8Izq71PI7iNtZG5qyG9wg/wRVrAYKr6r6NqW8HFRZu4EVO4Qj0a22BvEuzLiIHlwSXIH9SqWMZ0WIQC4IwXbsYh9NT5ECeVggcVFTOiZNbCHpMQ7giFX/yARtTBQgmj/a8QwZy/ICg9gHVLzw7sPDcj+fCS1ATQ4BwCmkkLAbG4vs2z+CBXYxtbxBL2uz4MlYchQ3IsNMPUVg8GkGjWjzWnoPpGZvZ/RtxPI0Voi2DUSrnMa7iRXtYzYTorAhQBMq+5Bi0+IA4rt19iJgP8yWyHfKep4CGWbS6HqqTS+SBn6z9hwEKIn7oG5+et0fmmAFL/9KveupHEShWpEdzBqUBePp7ezjvPMdB8IR3wOKNlCBdcw4bprnSUNQWuKw43q5vjdavIFiTJhDwz6S/T6gOMKR8xyud//vEgegZkITG3D9Nuc2oGnErBvh/rBYwZ39aNZ0jSYGVyG0Vjn1Iq+U4RhaEfirHRQyZSdyBPNxOWxocUE1ZgnqFLdtA8UQtSkmJRTitLJ2BjVrcVJ4vv7lXxz+X9kluKqwmALqm1E7Vhk+Y7Q4a1tRH9iy5Fd8LBN6DnL5XDcDF+19anXa0rIxQx3Z6j/rSRE7dFuChTeK8ihwaj/Ujr3m8N3jZ5aHZjXhVATpJgJTw9fTR8w5WTVXAefJFcuKpwP7FbBIsp9EaWh752Ky+SSPGPdEGbBslMkWJ81mYC/ZuhzbQ9bni2ti5yJa35i9YMOzO/z2WfHRvrt2j/8R65pki7eGkmDr//LQ+YcoC0cvrLjIUtRpG3yAsKQVx/XISBvYvknMq6kTlJpqjt1fTlc7XTccDRneljJOkVbnjz6Ec395M98pOsp7Fc4OcsgHUpWGlo9F6W42SjGKYps2KjavAmLUOT6ORBAT8cSR1RY2Qe65sObPyITjf3MNNwHRlh/Fs6bGF0GkBHR08LSLOEDxDD7q+NYVpdsrNlc+vMWLgCVzMrKROYFYi9hhveo6Vsxp2PCHIxGkqJ/rd/bqVTpGq4tkiDzlmpjIrvRVwTEnKMZqR6smzmDM2M23kYYKNdVbuSvZSxhEQLd2wk2H3dyLqqnroMox5ImPjF36eG7i0MY4XQ1/IXSJqfXArgHyEFCs7lJhM3D0nxehxALQSRON/yTCvZSWUNl+dFasxZBSIWMNHTAx8ywnLVGPclO9J4kNV9ask5ih9bQl34zs7PyEqTK3qBlT1pw7TX2ksfmYFhzKJVW9uM0Aqv0ZEP/aspJHqjllKvshmHF+LZVKdcgji7r6zboujcj04JFNt//hQAON4GYakUBL4A7TK5DieAyX4eFRdruFkpmZdo/Xx+VaBQccQPW3IogNftLBmz3eYXGfrR5IjrSRLY9gxjjhcsfED6+Boo9V/gZUu51Uyyuz52bkwExpjJq7A0d48hltHelEF+BLoPb/Fnz2EMAevnDlOlXzLVsg8W2lR9QLp1jWhAKhSJH9bVTQFLnKPxnDa0wFH0700Gp+hGcopSsGctuiDCCrCQa4NZhZx8tlYMTu2OYLbJOxccLjwlMla+C3OFwEqIuO3skMxwniFwKtFt89yEJUtfdVeqjmAS0NQElV4hfBX5rbv8/aPuMcEtzEkN0DJ+7OL7f8VdXYO3h5zFXydAk9ZwuiBH7Wuqd93OLFFuknPkGi7ZmDrfnYt68pbhw6XOkc5uWSf/9b1oprrFuov/cOzmoBjZrIuEKFb8ywb4HBI0LtinEaNNUKeZaIrfmKSQt687AScoHbWgGqFO1bbQ2fpGJPbuxbq/RqFtBqlEsQJR//KIReE6QRjeusmE0fQujdwRok4c5AhS2EKA/bdEuZThFwR++kqjIBNA6nQPN9WEuLN2lp2u8nf45H/Rs+ylfgH7fXSG6QycEIdm0z0YCOdeltiOK+yTT3m/Hxlv6vtOayd6tzZm4cDrm0eP/Ju6dgJY12JVwbXPCfaKIfCu/HmDvEW8AsFce+8+uMgCnSTFyVQ2ASK8zcvDnJFCkK7LTLU7EHBP/9Pj6q2cadxTtv/uFKGZKTXIN4VGstYj1UhdLMeJ/G7IHkdBoyizOMe6UgP6mgGEzqE+jfFvCiLUJnSvSK6/2EpVGdAwL95mrMKhlTazOOzz8OnsccQYeFrisv8drw15u5mByEf54gEbSf7oF3RLVx/FdDDC/p9VG11G/HsAaiRu7YZiJw1ZXmvI8jSjQ9bml8a7+QX81EdU9wA69VT72ZYyduDSKiRwSq1EKo7x0CtaCKqfCDGdX0hndSghQqDK2YT3pSIXHi3YX0cI+pPDz9pSNbiWM2Uq+TfXVO09Syq6rJbtPldjGNmOWczrNzfYEVfyUcjc3GpSEPQG5p/bAZbIwgOybB6qLNDcpnM5z+CGAzsWGie3LPOGrL8FVpD54pV1hXrJQPOpsg9Dyeei6PsjAjkqioYZk5vyl1WrLsf4LNDvRtB9h1TuSaXSnmDD45nCcwlolkQzuI9OMviW4ktlLcg27HtxkRybqEiMFaOkrVO1I8xrPiiWqE9lnmwdqHrS9gC/YAadGtsFH+YujrVCjjHGKAoxRNcQHvbOwpIA0d0H6lMKgBHhZTJllTeSG8rdIrQYhIHTzDs7qdal3BaSCJ13ht8EdPT3KUpA65Y1wpG2kZ6Z72qSOcFkGnnELYBK/Ncx6Q77ZD2OaiPHSb1c+GsATW+Bm4eQIEw7ezG0A/aHpiYBx23kfy0nnEdKrr9hWOb1Jh6glpmCDpGDsTGHVhzxsuz31AIKAZ8w4F696pPeaKvu/0nyKmdgAwoYO63Z12bvrOolrXgx95pry4okj4pJAXBz1v+rmTuulDTyoSowplRBsFZcIDFzN6WsFNjKqyYerwYNkzUke6RGecFk1e4TF02tJbka1e80i0EydSfG7zVYSYwi2/T6xYMdUnx6fCjetKciH5KA8Nz8rhJCRu/JVoC9qMg9YyJLlofCDH0TQ+9Z7C8181tTCrln84ORVH1sd3wpYeaXvZabTATjr+xCNdPkNP3KtYNXB45KyVM7slifCoHFteGwjais1e/ZPBjRx0dKqn29OdRVhkfCD0xltUwVNp/G+bw4/nrs7P7KK0r0t5p2oDR3ZGN0J63v60pyRPY/ununfWSK5K1jDCBGNMffIUIycIK/mZW/SwA3fS1G9HxLoH1Y7Hk6NpzG8lsfXWCVG1PVqedqq5t6VsBs6v+nqsBwaUeLpPB5Tmx+aD5tCn6fjo9huuHOCBLOtWedbvA535vOGid0jUxyfq36ZaqsvPwdmZYqB12KQOuufB8044OJyFmgXNaWx7aHVyejbCmw9f+Wc93qvrfA0SZtBml/1137x77wSsYVImTzDu+b7gJ187DzHdA/3/+pE2wP+rXa8fnyVxskpTHASdYdK4akxIeDYgoRaOmuCPlLcz5xNfHEFK2POAzNoc9UU8s4En938eaUl+EUSVnXeh5JxRdDlPGdPdPrPlq11dbJwvwhHpX/ktNYnKUQ6YuszBhEn5eLn0CBmnzR6eVFNmNplop5+TKkh4ssRXnfW9+RY8ebZEZJficoXd71DwiGB+Bf9zvZMDfNd/ZSeh5z2ECWoGtVUvmE1QkGffPm34x1axc7/Hi6+M23APbcYoU5icPC01bY9VpuOBCqTJMqBtg3eLKYvg3yLTKjHnlWq4n5CkUl7dtlH5qxWiqjotuqvWG75zz/W9XDr9fEy7nNgK6cTtdfYktQD5nX6piL6hZPe/PbsaATB8ZOcDnNsP5JhljvXH95/VmpHv7FHqto78aug/4jOFUsH6ioAk+uENO9hmoN5Z4ZYBvmLzFlujKuzl8ROi0D0B60bguGxfh+t1el3Xkk4U+/0RoxklufA56fwjdgj6QzCpee11Z/rgK12bhWA9f7bCHho7JHLK9HrpIyQPu27wYuaR56HZqGyFxeJHxdzkk4ixUbP0c8rCBcDYqkiqR5iDDMV7y9r+VYkYKzpWDLO8GTx5krgD1QBpzBsP/8Tea3d19F2ivdWc2/h6AQQn9YQ7nBeW9qs5H7AG5OfqaMesKbvdwRA762fLcY6NFxonzsB0lUlLF7zxK6kx95bYewe0uvwnVp/rv74z7xccXXn/F7aaR5Lh2hshVNaGnButjemeKAyLFcqsS79MylZUN/l1dHFAlcxu7Po7IuMP9qllFiCsA8YHx+ZmSV4II0h3p8US/eHqkEN6m4HzEJC8gaJBlVXRq41E4lPzYYsTyp9n4sSwhzotIU+VMOoSftTMolyT2rRg9mY3qsh7pDzzAJ17m1I50+9/XTHViMT28RO/BkZOiAfpPxKxu5/i9yLe7CvJNWOsV8hm0njofFKkdY393K4M7GYZq9VWOdzm47pm9XHTdTUw8H0eITYrelEFCW8NafYXn49VfGRGJG/s3qwT6X739qgh+YDz0i128zK2dSd8YTYbfA5O9HxY0NewdEBlCvjNxgFsRieqFgYzOk7oAZ4I/6NsdOUOQ2y1LvXZidOucMoshRKBMzHwjYyoRQzloRvRvIzkbwgngIjQJmCvpMZPjV8Rh/g+4fLPbIiIVFtPbjpISmRhFSzOFylEomuFUrjrSkCvyGpmDeHdTBYtHVghQZNj+DKdFylqlEGtKepLT62l2RC+F6nq6Y70dod3zwHl906Yhbgmq6SlWs9+cPb0ZDpTK+80biz2almxAHChzA3vRm/3QinZwhz9mu8tjjZ8h3PWXgXPESw6+fWjzDe6UIb5z8rFhyn7feEnvvo89Etzj7A4TVw2GzFAp7X1fxfNnO0354Wjp41q01gsNS5esfIwtuuqZNsO2Iqxr3BNQyah/HZImUjvLtPbCDP2LmvCxLbErRU1IkYeI64azWQut1MJ1YFpaIxnNb2f095AOeeT0TTtvtRGLWC9D/cywAQ7H9SC7kDql7iMGCBdAwCEbgjOfL7n/QCKoVP9dUUT9+f+ayHSvO5+0SbdIMrcBUoDVzw+UWKYXeSIo/O/rc8ebY1h/TSJ+8Ff+qHFIb3Svtj/UJ0dNtPRd0ETdZX8/wOln4qJGfeO2w1/WFeIWiUM0pnhqxFwUYDzUzT/BpSq6aTZS27IIVkN6Uvuitt21JfVcNVrWjWeh/5AtWU60OgAjx0BaRNos0IUomru75J2ytA2/uEOBLNksLjoXvoYK2yGyqihnLzB/vqTsC1G8QIQRUBiDHzrgKaAi/3zmlL5esks939DYkeEmG0gXqOBPM7cZqgYsLzi/HYVfJiiGQcQvfvbIQiPB6y+4zQf3WRHahAmta9BhnSCw/ChvLH4Ey+er/2L4Vg10f1l+q8U13pLmR7SnwCPF9+5KSTTh+7C9apyVOO1dTfTCcNJe1TMWD1ZqOzJMRU+apYkhFsFpxjNYaMMYZxkNVcxnncLPrDPOpXGakSWbcChPt0MOlZvWiiMNGk6jEaMjwA079zLlUBu4x9pgV3ROdwhek3yQ2ftIZpe54ZS/HinybLz6tam1OCHrrtlxe1sP/lnb4ApRq2jfxhcZuaUpPlHBI4BveQapxgcMyW54KgoGpCJYitkLtz8lJ5dunAI0g/vtW+zNPV78zZ9heftoUuUZOCl+weiObCHC8eKA+CJsFvldMzhhGVL4Tx/Js/AWKl6SQX/EjNbjAiWL85CtLwLPgmSnTav2BV/bMAYsvnScAMx8NVsFY9LNoPL3GE2Ky6t2Y6MgwPkHVnIP+kvpzMvk6lJkodpWXsY84rtSGh7OHncVnRJJJ5y/wCmjw+6zDI8RJgGQsZrViKx4uWthEBwcXWL9GJcWIWzCSkOlVJFGMx84Tmyd01CvCiM+5bqulbBQlwPJOGW1OximpJcXBTDbf7tx1zjAkIP06O9IVivswteLVOSEKGibsqVddxf3xjC+VRMAVY+I1sGzjJny5jjE9yRLf9rNiuyE6F9GKhRphTZBVKcsLCfnpfBWcv1EnMga6YgaDnxrKQkB9D+ReTw3llE1zAGxfs2Uoc02WADFxhCDxFkUAeGB64u4Z7FEwl3jNHg63fJnYY7Di0u/e/Ev1KzrkgknKNirRHiW8hVF3lURekjWcDbOtlJ0ADEsuBF+Q2HA9Pst4mOZOLgxkZMqpKA8DCmd1yVYlBGXQJRe3p6AZ6gAtOWQepgmjktdLdQd1/hhe/IiTFS+HEGOBDAOhO5WQt3HozogGLpJNqF8WCbeVra7Nbbt2EdJ3OQz9fo3jE54lZHBORuaCg1PErSwZRbBo2eGP4gBjQ2vXjGtvIrBsgxon51G6rKGpucm08rXuszbjqK1f7x1SzYORYuxA2cStwlZ0LkDWsvA0n//zsxLDZybX4GhXT+a+2E6B7LncjPlwcFEn7sBCMSPTfh1b8Ydj0wBsGQ7aobvHAQ5Lm+0lE6AMvTHyJLjWf4I1wlCi1R6OfXVCqD7M41j59qzSEYuMWSrSjAsTLGcPRl9LYKhoc2PfcilXn1DR44C86S6ls//WiTa2GwYMQWkm3Z8UpYVUrtn2TAIzXmIEX+flZ/I9Nf+mvg9Re9Odtycp6+kzdteuU0jUWzX/eUdia1J0wMjzWDGw7Ml6/NJx5McsdCKLGgPLINHkK9SLzK+jtDExloWgznzkqz0CvBUiaapJlZSvh6wQ3UoU2l58S9Mc53S72pvRaYaKTVQyIOBnSGqlihVu/OJY6pjY+agkWV58kFF3u2hJHo1WpnbOXZkqZeGyqkTjyp/oi9oktd8fZrGzSh9youd88rgZok9fsciGv7FYI4L8ClHHx09vLVPL3yGm5jnKF3w+ttbgB8fHlW7Pe58HxutIfMHb7T/CNW38IIjAGGN1DZG74mwbcOBGvkcLjnTxKcM1o59R+ag+foZplVxv9J0y73I3XVkhnMjP5xzV+yYfmd423xtwy7NTvkOGNcza4nWV11sK9tUOkkBiZ20OB5WvIQnRqjh0i+amTRB9g2xK+37eZcN5ChJwjd+U3GC0xtLEBz3kb5pS42dHNjeBLhOo0AV0ct0bjDO+G+ggPeWWWB/5eqfOlZAk0hK5T53YTtyWnNjH9Fk0OZfJx04PfkInlVaILLqGyDJdaKRONCn12rY5zPxKoWg+8YwyfyBiUTKUJCA3AOTcU2OYAThNfblj+MsRmWeMsaRg9X4ZqpygVtfvwXZqsX20dOqU2W88lBcGFhV+5RvZPTgMz1fTaE/PP40wPtVKNeezk8lO2T20MAUwI2SlrfmwkyIAKwbtnK8UJeO2afnR/f2vj4gP74GioBcVa5ZMsML8npIf91hThD2Wsh67USVuJ3Dg1Bt+pOqYIVooKiCcvGyUWPQhLy6SfizzHbKakwmUeP9lviwtEMvVZO+5a/vU5JIErj5PFB3qEfCEiKTjF+u66rk2GU7Wh8xJ3UEi5z5nK2W3ERB81iHT11DUuLHTOt33ftF8QAzjFuxi0pHLZooPW6hIhD/upuBuRDRVYkBV/Ht7IKwO3jp3mfAVKUDOy14La2pwAD7DZAKt8h5YeGkOvS4BThmd912D/YWMN57Et0AJG9jmLK0ilg9uOe+1/PEPKCRlX5WYN6zS9rplC9gdlIMNrfHoaVOKJIl7G/O/xn6oQnDLB3iwVfL8gkfKwbETHnHe5woFDTwvbzE/rH6995o7huBHyCYICRH++yzP9lg0izVtGpYTnhIeWzpTmABQm7rtH938IhanIYaAAYFDV9eN3fQ2y6HRX/G5Q+UsLZQ4tE4S5pj38V73saToCGOgjVtY3JE8tvnohnSiA6a9XdGT9Mx3Xo+5/zfzpeanx7NIHU7vwIySMiJ/XblI3AeYVYRL/y5ydRuU1JimfITiu74id73+RJVsPL2tMezEgv9BdDx1STI7iDiIgkhE1Lw63AxR1YfMKNYyvB3ns0lk7EDUX/anEhuBQavBERTwA/j0Ys4jdQ1iT4+ZtnY68pg/jSFVWDI/MWogP3kYofi9iXIUqBvTmc8/ET4SK6Fb94ci2iy8ce0kCPHO3N33wUXNqA2yzuY7V75ivrBB6F9jvqF+YR1nxyTEMAmOkbH9TIZ+K0NQ02UEZUDijYI4toIusQGtKhjlElmDyowVCU63hreXfxvfXycEnFkt89PZNpiUT7FZf5Brfpbx/BzG6epTPCmDGol8hWFwfsJiEqX3DWZNnozuRzXAXd9v4HplylhIYOVlwYCjzHFttidmWeVMCWBgahH0Zeqb3Kbf+Ivm9rSjaSLNCKESUXdc3iX6UngPlgZeWEfqOrsr0Cm03E45Elw+VF3kT0ogq/Wre29X7KDihER5tjyzoI9BOqyHQ69q8V/1MjfktfMhiVfuDaxwtYkcDHL8ncwLbLe4VUKR/CIZRI2zB3X8VdZ7U3ADkUZY80AaAPhZmFDEPr9x3j1FUaZPRxnVNxCRnpW+Y5bRFn9HTxCbZNvSNvDe0jkJjaRsptOmpyQLlxc13+ZDCNuXK/uq5Mg1FImGrrkOA3EUxOc9AgyTYqvfzicdEAM3xs+i25wmiqRF3NFnAmDCg3fYUdwkpsBzho9tEZFnjFu35QmHBHLijr0TgwlyUvvaxlQHtQgSWvQHmOSZozpQ2WUsHJ1fbP+/E1IY97fz8c4RfKsPby6mt51KfAD0hnNJRSdOPb1tUfBH1dRf7bC9JEITOxcTwhclW2KPicsHNS1iMI9/tpP85ZDZFLhfEVfopMLjg92BTRMMXup4TDlCadlJq373ftuq1fEZTGyfpQ7H6zKdoP/PH1/1Dq4h1Rqwe0qph68DxjIRgPGo3IwdbTctiwyoEcSTQwa7Acm90EmTzYGDG8UpverSerbjKT1vL8nOhrx/5lpXvuety+RzDeC2LrLJQjYBjgfYShdG1KpF8FB1/j0PJsDS+PXqBnZrqBp8WMiQ9ftfi2N/0EXKOy0dPKoTyMMWSmVlPGpRpewaVdunZtdS+YeFn8+8wGnok37WyW1jSyJyJcR2/V8aqtsEHttFWyy3l7qGDhQYDGu4oNC8pjez+rzVUkxLm+ja22pc5o0Vi4so/t8OLORUUfF8bhxL5ScM//U2l8z39OJW+HDm/ydoDINkzYk2pcRYtC0YjMWLta360JLuLic7QzL+my7DXy+K9xiSdl16h/MK4pwUMhqcrE/Vh/fWSZLalTdsr90x9+yw9kIPXfG2sDzsuclwRBkYMbiT30Yfzgpkp9RSsMWF3r0ssTw1j0olHvI6b96gNCBvFgGRUlYTHSBcSc8EX8lmCrJUYux/mxgWYMHuej68W37ZEIGeS9p+bpsGoKf4Rx4op8H3EPIbv3yDqPc12YgI/9NE+LXY38ELiNtOnPLLefaxGe0XkM1dd6r2aegDN/IESWnJ0SYItMkpi+3uEQRjJpzUhIsR5u9QitlZkaCjMVTr/2nHyz4rtucL/h6BEwiC+PS7yoVhHs0lzrF/UPb1KQmm/XgGSLcS8C2XxPJgFsJQFIThR9VM2Winakdk0XPGgCaFwFT4Q1hDNsIfGSaJXeyT8nAYAulRplaEiyFuQ/X/Snf816CmgsD03L3738CZvIdrSIfZATfn+IGmimj7bCiLaOQVXoVWU9AiwPjKCwaZDGkFAV5uha+UDZNKJC7ES+J8cTfxWLU0ejQvkVkP4U2O817KZzOVEKoxPITA+1Tal/GTpO7CqFncNGTa/GbN+H0RoeVMObfivGpimMw5cDMX68JXzTvV581Hi/aWXc6xS0BAlJKenJgqULSF79n5EQghHHns0VRpV+TiIzoBeyyUB5T6pp4z4hTVzz9q9sDVuIvbBI4dKanxerMkwdR1piWvUrusAXCscIOnhEhl8QRIpjHpV9Eyy29W9md7wgAcjNRZfFK6QbuyL4zwoy6QVBMqcNoMbajNy/mTW765rIQLBk6NQlE8K7kkgIu/dnChy91Cj3k+E5ueJQkYiihEk9siZ0k2ILBshrAe8J3jvAWwEMnK5/DLV39aWchnKiBFbmwUHY+G1BIfqXT8WPysHtC5/wJzVF6q1wYnKBCbuGMVW22eg+CJJSPbZKCu6I9GE7oiueeKAkujtovh3T2GfzDUnbz1ASakfUmlghW2ONomI0+62xv13r5pDg5srAz/33dhDRz/4aV4hiXaHlM9wspOwitA/9rVBFv9obvVFId6Gj65Nq+JgniC3KSKELySLmaexR9b7kq67MTjOdtGEsBVxcycHa0yVcNVybPIeQdvIKjPDri9FnZS2tbIvvYCojBiYr7jB0RlrJGyWr6vVLbn4BanvgZkxBZgamXDCDrfgN6+qNrqUb9TfneQgG5cOrflLGSClh4Rz5zdK09wyc+iN0SbOKBHzXfagYwxspyRZKnGcdDLzkfhC28cgRR5gbZMdusG0FaSqTdO4Qy2g92XzOL/nIYmH/1gX5qXb47LQqI7lGJeHMyRk04SK/WKTKarNNQou0XjzLb3BKUnLsNSFK9fMb1WdIJVKOBxAnS2kJScYU//H1rGIlL1uKVN7YZpzSM6ebSnert3sy72HNRWfIq0TPAk8AJUi0gl8h872jGfKHNoFsnNg/lnXxpzdJTdVUTWU2BXf5h6EXjatU/EPj4tbWSvg0g+voaLuYPc0AJbDST+N/pMspRSxc6j3HnXeTXrKc/yTAPEu5UXHYTLdRwzetTbI3kRmvxAEgJULeuqDJx2dOa6QtAay9A4gVc8DVa1AFjMb1Bb20HiLe4c+d0LsqBu2XNoHeiSZd2TXGWlG8/S9NKa9yoqS0VhfwJEzCj6GPg6hW3Pju5y2srmNit+0r+dtrYwAVOt710BHmYJN438JW/BeMr67uGH9tPWy8aVZ/3voJ3J0YJoFzyuGd/WNTmGPBUfmc7mrUs+ymUS5FeoAeFo5aEWjMf485szfj4qxjw+Cx/wOpQiG1suD6N1F9WZQJ/U3VwOnjpENKicfg8f1NI+BUI1zFsgY3rnj/osCLelfyp24s2ggOfvNp+XIqRfVEqgI6ZNI1U5TnxzKXKdtCr0MtHfKjPFfR2g3Lh4Bxgk+0huVZeO1W1Cn/rm1cUBefX85Ww2GHt7CV3wOYXGpGcXO71ldje1Z6xHDvbuZyrc/C540L3XeENnAhn2a/e6EhDly8rdRipmYeUA1t3/PoIebjsM/DGTC2d1aj6jXHQ8/eLRyX3SeFfwgRw5PkPyB9MFtwzplxXwGCH12x7pE0NOGe1IEAtl6P8CB8/DPDVPpSMjlJrNrOgVuHC7gssm+eng09Zym51kVHlPnu44HaRN/lSn94aiZcf9p8G0WaOc64Qvkpo1lQiesEyz7CSM9f+CSeeqxGjA5u/rLeXEvA4pSwGgA4X6B22++WtzRbpU2RKktXiUaTWLyII1SjyubKiaZpYDvgN+p8jh5uo3Q/cOGG2OjuhFawoHKy6GkekjoQIZKqfyMgQ+dzWyJHXdKH95u15Rt80NOWkbpUAchNJq+rix5TrqZo2fWHF08NhDoZuVOK/b3XFOMXgLC99qF0INjKYB6a3VZuk0MOPmWjNR757GTRLLy+94y5uWMwFa8bLyj6J08vIOaX2lrj2DBtekSXDT1AageBbV5G+BkeYmTjcLHeJ1LruMqGgCTwRyp0q92PuGytCG9z2kctj8ZLYfdzFy5RgPs2HpdfFcmfso5g+unNsvb4Tp/uYrQDEVdjKLGwFKSRzubqF3kUNtZe17Ln/LcMu7rgVIWx1B0FPHRu6YWG1TJ/CjGXxJI02+85MQOcvblQHn9GhedjWJHrkBNv1WJxRGGf/Q3t5ofOmhq2JdlBOR4r19yLsbJS9lpNUD0w4tqrIHQ10b92wdIZ4+eiGBzcYCus1MaEzZEkAgPRQJsIwPUzn5vl5cenIN2rDB9nyq1JWbKZeqpdMxLph5dzE5kKvLTWCaQs/KIoeYO57yXN0Cgbm+El/3YUr2F07vREcn1En9mpZL6qXWvL6cMtCytutwKIcs/uO1Zi33V1tGr+lemncapFpg8Uvv9iwBw6JK1vgsqi32/Y7DMVngDFqopqpx3Jlm4eiWCoZJYAZL1EZ3lXDptvi2aXP3r9uonXgIb+CwSrBgJSFsrTEvCBIt/gmG9w5BPaOz8nHLPbNkr3TAOhyi6/pVSsSsqAhtNoUjkDYCo0fnbSqPlps5dwhGo372ZaCCTYTFFOV7kTpdKHZhUO8X+Oy3r6KOkTcSlBRAYpvii7Taj1/ps8S4EdR9izP8FCQrL21we2KQD9Bj/b1grO93WYXVk6VYNzmQu6GBqkRB41l89/CJ7x3MgeM3ZG5VyDWmCOEIkPR0IE8Cpxtj4R6xrl3CM7eHVmd45bgM8pWDDuOh7QC49irJTCGIuyOD4U8ETkDN9CYILGPHCIaXO0O5aGdH5g1zYwzgZpbgRXRn+fE0/kI6VyN+L/n8ThXaU8guSDe2CknxBXQ52PFnJ/GyE9Eey6S1U5k7wBrhR+UoQLPTG5uJw7vdKnPc0H72chmXRENJSjoXZurbx1kr+6HToiSyM43MxPlzhFODtrLK0sN58UiVrHBZQbRlwUEZ5mP9FgPFLxwFl3GFYXfJD0JoQh6t7inR+AhxyvmXGU8o0NgksKfQj1HR9MNsDt3r+5zvS4i40xKBhTnw53p2Ua/Z/CGfwStVygAwb4ASXL+iOx50WTWYIxTZQ+G0TAXwis1T4KJj4+/R1qpR1cX3WgobHUhFqxGDO1GQ0ajQXg4NPMvsqH9wSaIPFF50Dobwfw8/uzvdNjnd+Jb9nhyszdaOpx24+a8rPq6Bqf4z9ZyID0y14NKPIqYHvOEvTKciR5KmZCePcP0uoeWr81QcnRSw+f3OBWUbSUaybFwriUQABmwVzs7hJALEZN3khI/1TtdGF0vpwK6yBhGzsOGRBlG/lW+NAt/smD8UYtzP3z/a/ED+oKJ4UIpka5aHpLuZJg5QK6sUYNAgBc0Yhyb+SCZaOm7evMB7rCpn3ycrOcxXHWssYH7NemEnPDY24ygxiA7D6z35Iq6+3kzJKZDHxkwDdAVs4bL59IZnPjdP3InH0vC15cIUTTLD54Nz7b+5UnbzojnKeIMLIKDuOGnPcobtCQLWSjQ+JjRv3rUOVxoiohk/OTduEHwc7A78dxWBkbs4s0ofyt1MA4rBdmsJOPFJiuXv5QJ3iXF80Gg3wnp7RCc7pn4+XCH+pnI2v6nM7ZwLc4+FJTkmDmTpgDpAOdAdXWdFGHwnOl2TgbD5k1Qwd+4LmEEjhLXTWqvMLwF2mrAPlGIkldSGCa+wfGS+dRgKS8lLEA8kDfxcoItjMDUFP2JZ6jfBHRy7TPSshfzgTo56/42E7SHk8X5vn6UHsUbLyJbpkvN3nuuAdOO4lGIvq0SjGRwU9X7AfxW8dzlLlhXj580FG0IUHrXomBoCEd9xW4CZt0hc5YdNN3moMwgoxDIGSPEUYOgTvF54AT94EeaYAk8qkEDdePRA7ZBB3sfgKDwhp63KTT1ljLx7LaXCiK0fvBX6oOVgbFxjgd6vEiXsmYovaK7Fc2xMh9J5rKfdv8WLFPStbomRsiCz0Mg4bNCI6eeLqdVieGa1q7oB4/CqHLb4iI9b3GmTKYvOuj0WHdmWYUnCkw0iIy865ohveW21j2bXAN/2V05WT8Yp+EEGCwdrZuzLE0ADxIeo5Ra3HFCCtB+IeXW5Y1Y30/zGVHuUuhaoT3i9u2zvNx2p9QcZF8BTMfOqwxV2zGaT0cNjKOKrA1p2yZ1apbot8xBwGRRBr/1EGGj6WncalGEyjc4hFv8+WdoSNxLdYEKzrNKY9cdXn/fkyTEoDU/s8abjVc03FoukA4YDUZqSR0O7KyIrXu1VRu8deMxpD5sM0wpzliPZNiJyxfYd+e3KDRFVSUGrO9xJfn8xsKRIonbDp6IkNWu6HW8S2pBkHRTBGRLhkwcSR7EdCaRZTpkwTvAOpdIKwXPa430g7UM/ui/lhzZMOpSWo9hIcw8qVaLTTAa+cqC8gcX2IRkyQJ+11UajTJim1wRT/mBaJu2usphQRdX5k4QpK5aSVlvG5sZRf0vhdeiQMBvsuLx66jmM/uUXfL2LoiFAY705pecCKkdL2M4Xccqx1+ZBxNWLhI+teBnU7e+Vda7DB/O7wz0Dmux4iw8WeByI4t4/Av+Ni/mJuXPc+Ag8W12U7OWHDgWPAaqs3cWLHlWNVjKdqfOHuK+zxl/SmhgFM9uS+Gm1Lw3etVYYLkIJEYky4EBTNfkKH7+KL4eKq+C32fY7sRrgo5DDjDwZqmT6iAnLMP9jbI4DvC1Z/OXw+X6GVKBp8UZbsY9jUNTizApyxUhoSRlEj7y65BUZHkYm89vKHiHYUYqFI9zQtTLtgf5UJuolCsyirViwkVqyxSIyjF53ftZiOl+3bgTU+kC4nJC/+uC1Gij1LRPprpjeTZypHsyKJLZBN9UwetVK1Xou1qZpq/ZXTJaYPHXC5PxYBS1dvVQxN5S+naHrBcVOQywYF1hP0T6BgZn4Sj3Tt4K++Mw0aQqPy7tIO+Y0PIGFrGh6X/9C9mlcgZupQmFPFjLPOg0etQkhcp9lDfYBzGPSlD0cOODeiiUUJni/Glgd+7m5rqC24RKU/DBORA/FfnlZ4JsMPgAe3aED1c6NQfdBs032W6giS6fpmsmhMA/1Jj0AHhmPMXyr/0bWsDMZjYE1lyT7L369XIefKsCze+R61jE1Hh3EC8VWopFxS+AZ0bOv4HKRoy6tFR3zCtaneYIO3vF7+PGN6Qv2upnoAi92ZJnyWGfzF6H5QbLYgubfZQBx2CaCUK/McknqnN1GyAd9NbnUq/lxYzqEzcImqWukv7VhtfvS62TxEWbjVS/IS6MgkxThMDQXXazKTub/xr42HZOIhZZSHLOHP1orAmMXo6mF8aO8JbcK17yubFjLkHwn8wVcO0U+rHJeO1SEJlTDnasLeQhjsoNIVEfBoSiab3SCh/zCt6qihBcTtrp/njL6gj25VKpPyqCTeiTqTkX1M6fe5XTQRJs54NKeEbt65OBh0cB2OZOL3nS9YIrKt01+APt1i5nb+2lUnIhWn2lTNIP4U0XQeVJjjngD58wcDTJgWu31WJpwvMRPe22cZG27HCFyXm7J1H6EmaubDqZWddOPpgMXHyaUL8iWJPtG90GWfFpIo/6/NSvyRsWqeE/nJK6UdhTqvVJ4xU+vTdDjs6RjFaDaXSTKI/qlaa/z0RwLBjXoghj38bjmCVxu2UVwo3cHM3rEn4dUhEjMeAtqVDR+rRyxtWj3yhZjQI6rA89CGL1Cl3ltPkL+ovzzL+RzLgmx3Hh143LNB3uIX8R518X4oZ+zJeoGOayXtRctkMWeN++TiWkaGXGbrisReDeCnWtQ+B/cbwHhIbNZacGVEMpbr9nuaFCiWXBaNO3gkyRMuvwe7yKIp9G3nVzRd5ef1oOe9TL3f58MbDPEMJ0trXxPVas2YoU4SxugZA/EQtnJqL6d+hh6ZYg+EGO/kKn+6nwMvFwuVVV9cjy/op0HK9BRFDWiNK0xh3vdnk4lxHwZCmcaMtDrZ4R4EMCruWyXDeFpDr90Ee32nUJnK19ysVBLHbdyYrDUnK1MipNNlxnCtT3zTHHxNF0d4PMTXTXiWwDPXe0+NTrvLzNFFkehib+f9v7nO0UsvpAkIl0O3uS6oDbubNyGayW3hNtPkbHpN6b2+6FUlCvzJMh/gPUGmGJi6xzmrnte/ZMx3LT1leCnDufMP3P/zLHY/pNv0wLpNW5H1fJP+DEPrtaQ33qwuS1eZGZS13OjPu9yuls8mkNauy/PUJkbSOWV9VTjnLJ+fZSJdvBQ1DCCprdZDqla0rEJTRAwWr4hLQK2n/zuMfkwXx6kTEesa4EwjgRbipcu6Eo/ndojOAFlTtCGDqOaLd3UIJwdsmh3brrDxQo6Kz44rbKx5TzAsm6/JQ9J2VilM60ei+/XwpzA6EJNB5TeN/Pv7aKDwiLrYMd6htnubQxPJB3y/yVz5gikiigC7UfMzviwUk4/fyQ+r/o5IehCSpJeIEZrkg3WSPmWkyOL7coUllN+kHXaeyHWJkckWJOLblxxzb5HHfCA1mVWIdWcj6ZJDVn2nlQOCSVcZrMii217789B70eL5KppJQqn6QvjKRVN4gYo9uEdyGsJrGtiHbG3/q8QjStjQR4rUApLcBf/j43i77G95hNIcvqEuCPYD2Ut+2YyyC87/AcWE8kZYSanwEoDn753Ons0cCROMwaYOqZGswTFDGa5SXeMciFQ6MTKADq7Oa/FiuhKnUZJnixL/YAaK3NAGP/Bfo+Q5VX5i7iv7kYXcHGzboM1nKQLG6qDPo8Qrs+wfUBOi+azVINb3oEuLJ7GfVM3QqPxgCJRnrUyKVyU86PdBnzI4zT41WfYpPGdCqTnLIGnpsskohywG0XUY1aOV7FR2/AGyhPs3jvEWONq8GcsN8VSUR1KQGKTASS9UV27dR/DAK5G0v63mjEcQFvnN6GxQ4KZmtyjWreOec8GVhD+uLkvoUoiN/1eM4qS6umVVBFHvBIjkfp2nnI+MXLR7i7ySY1IuUtWtNbRfSOeVbFVzA+pWsdlGlaJyt3xbKRo9K0s3vZCSGVtsZVY4JvZe8KfoY0EA7v52ugthNy4yOMhf3euJGBDQ6Y3HH/f7CTHhTRm/OfDkr+JgovFe2FJEa18Hu2oNEwwpDB/57IdJqOBzSLxXg4iTxAsHRxq/adFE9vOtmv7B7WL7Yme1i8NbGqXb51lJYAkEYp1YkaY2b5tqownrl2KHA6+TxYdQFjQptE1kwpvqzpnIgLIVmzDRiYyaV+Kf0Ii0snrYgDS//Ta1vHHupm23+DBaK0/UhBUWuFK6syjIEhB6wrGQ6LaehZ0R3EizSR3LQ1GRGTkt1ChLcL6TtbcfiP2cXrNXUMOO0+S8PV5hh9h471kpWHlYZzSwA340aa5zw9+2N3oaOtJ7jIehPECVjyXzNaduuEafnwD5Tl4vLyZFA1ZRZn1kL/3Bh362mFax5M8hRJ99TxH4hN2rX/7lkBcA6jNA4i+yVjNSU92sJhtRMTXxsCZpu+EhV3vD8gsvOMKCUO5pa5sVbsYV4hFpMc+4sj/oejuRG4YrDtCMU3AYG+g4L9vUentI1HiVw17oJdSUY9yG5X2/lWJXNyQPCDI+rZ+YPeknkn2+egiz+oGRF+YJcLmPh5FCrd7B4c3ekGkJbjjHsbT951e/KIwLl6Q3tS8Fk0pVl10Y/5/uxNyRgQQyU4Kng7dYA0oStpTHjkWyylzaObWszAUNX8bJj9En58b9m9RE6x4+d5XGBvT+Utuhx4XVL6Zo5HcjSYWQlcoi9yxj4dXKSJCRI/Ee4jGGeaG34T2HR2UNf+yjq8Whl59pv0in2eNnvrZl2g9g6CGgzhBgC0e3l7SSHLbXVdO9xHJeMEOqD/d2wv7qH0Rnhrfb30g3GuZV7Oy59ClxKY+EDffUMQBGPT38a0+DpxSGSyBjND0b5tF7GqxgW+Y0P5r1iSS44YUL7v1oBg/V0WjoiUiI8aB3GAkgJDv7giBL51c1JVxhaA8CvTRf5cWr+i0tk4veB9T0KEuynbbZR3s01Tur6tQfqs56n2D6tmmGaEojtp7zvva+e43a2QzivW4lMwr3dbwHr4DHxqckh3G5gkU0SKNUf+lmRL3ft3lhcOwKHBIefBItU9goz2a35ZfmmKHlLyMTnL/jTpAzgLukI60TILGozlFRaitSeXPFdUNaYe0hUS3cilmScROf4gCqePW2QNIBIjZREiVRvdtwq0MDe6Y8YvQLmg35c9RvkA6rOcfnOGEDdSx16bIZuruaJx2+dY3HktuKP7+1ZYxbgb1XWmLkPtbUNfsqicM+3OqDi8caHAqtkoXTATHMV0KCRtbz+M/PTRSzav19XZjcbZbzBglYIWB8Fzu/mgu362zmt9o308IhoseFaYPGJ+tps5XBrWaz0w/RbfIQ0jRxC5BG1QYujNdKyDV8fI/yfhejKFk0Wg6EVl9WHqgUSZKhL2z2zBiBm1y/qhrJ07KWf9qMj+zfiDyT56rnOOU1tfaT3gRZtMr4m6FM/J3wEdg6pLUAAKJB9EgsHM3l9iU4XWa5/KM3Fn5NNeVowp8cjo2F5dpDfwfFnhYvsk9xptUEcN7j02MEB32tJHJB4/L0oz822mjq3YARfEfYlQ1s4S7W1H4h6h9n6KTWTBVqHNAkYZdwuzSpNO4Ww4Tz16B1CQHafHf5mfPm9FM1axem56F/zjahJMNCdBEQZqNmrwqysAUubaUn0PekEKcAbzbDz81RPfGUzknZ7f+TqfYffzFj8mD1yI2zrK9rBN1MdCgLuXgvUsjzr7K8MZJ53XmzTnq66WFLDYm4RAwoPk19qfNW9991p5weMqvs4pCPBD2rAyYYEP0ZqlQKQxtL+0wXxs7H7jo7ujditPU6HBo5BiKrJIAqSkM++HPCqTCBXHLyymWo37A3Jstv6Oo6a29PtE1XOmneF8HUV7R5Z2DLt56f+Bv2/ItpVdI+88NAy6uaxT6268fzmQhUWF9FSorZQlQ+tsm3T+xbOAUXFdy+J9TyouV9S+miPSGBXH03csxM8kl2JZVjohvTBoMwa1NE35g/Pg6alIHIkq75iVZGy2eradRGZUmIcYAYis/0VW6T8YJ5bTTW8wN0hwUifhq5O6/zagUghlh4QdDhRhC2BI0Vv5ZUQ7NkBAbwUFPIt1QnEFx1ejo2PsHeLxAInN+2cR2m6ZzftswJqAhku+tpUgoP42x3p4+hycf1MEutfiEURvJOVwQzDIN/vDz9j/XH94GR+cIH7WSKtSjjgLLKJx+8eBWKphRXML5qqjOL5SI56BlE/l2EUAcX5diVPiO4t8t8A8x1HMRqU/JJOC5p76wZQakiwhqTYpyr/JUCYlVSFOe7eRtfNwHIZqpYwmrlLJjjo82FkD3wJcUmJcGoSkThpNtmoEV88x92OxZ8ZapWmYgx1dUa8DFAbKdPWTJ8+CYqfO+1njZI/FGh88yVQiIaXVJRYfUHBa1tRkrrUXRYpXWmahAy8S8VP/bCFVhaFWuaPbQ32a81o5Twiu9XJWXIQAOWrgAZYxEgJnM7s03wzq5FWXInkfMuau8nnhPtg3da455PrEf1awmj9/Twta5D9fJDwYjKur+r0jfoB+h3FwcUKOiVnvQDkxES2Pd1SJ+s84yFs8t7bqo0c0EIHQqMW2XaozKyHyYunSK/nCIkgdZahkF5yimn4DyQwjc4CQ4M4Ic+T8SsBrmoJSZgwwi015KKh+L7uELXIBxqKYOejlMQCL0N4+jLbZnASeTGc9EE1H/D4U6xzmUeLxrETOklDT2jt7HmTU6zNW11Bh+7VUuIi9WJzz9I1CyqsNTQfetDYGfKvnDGm1CB4NX9cJRk5OyJElkD0/PZYD1u3nQuXKvVtP/p0WSZ2gynofVKFbBVMSIq97HtpjYBA36EVKFvCiMI0VGM+Uyemz4JwzkKRbEcLpvH1/tcPDBpBmKzAcM4Bh8vqItI10yZNa8x/zP0C35siToo4VnQ+NfGe25vySWFa256BdQIzREWztVMZaqO03av3UE1n0Zu2AyN9fsgOoRMNVZy/CuQXhnp3vOuk+q/PEZZKQ0SQjnJFd6zyFWONSyQyoQgMqB1dhKAUZjWmSZg3QHtJxOSFbdrZ5oHgC6W12hjavn4wkVn0F3kjimFsi6WKErG64XlpL6y3znyr9fbcmw0KS2IDU0WMtr8KN2oeqACYRI7QCPMIDFmjNWJ7wuCAEQaGD74WvZbfQCVgusnkIvp1kLAzAw3e4RUSHG/eoKw8zBn1vpwxI7Rwdxc8SNh3zL/m+KshyyqKllIAjSuDXkOxbQAF1aaFr1ZowrRjIf7B+vWj8ITVyiJ9+uCkVXfxdQ4/71r+bnTYCp2fV6OcX8i1pBkRDarKQxfKZ5XZV0YLIlvyMm02AqdE9kjdsfjbFjQKEC0hw9vsAs3Bzmdq7J3+XvodV9y2zjXRo4x5BG9iGzizLRdp2WFaALf44T/TVD1RHpNTXCX/O5YOU5KUMc2vSZScV3bmHC2y9vyNQwhFOhK7p7bsSYqa/C/EQAoaKndJeSBNjFGR30dhKOy+z2/CmgU7qKivRxlXo3fyQWBcQpZcOiNHzTgHoYNbWvw1er7YGhm7jiNqSvaf+4lsM7GrRcnBOc1HdcYGYWl7LwomWHWmQ0Pn+AcFpJ5ovB/yuGv5jsbpZU3PowsU9/aFM8xc4W9NJobDQdf77IDsZ0G3w1lkUp012uGQPcQ3hAeiJA9e8Ub42WHydH8By0VOuQRVBrtFl53Cs6e35N3lNhufoW04sVw0u9Oa4HFYdaYPgQIzNdXh+UvS7eI6lrTK6aPYs0pXhuHG+JYZKAJhlRsyZrCJ7j+uwOas5auy+biIxaWV4FxBQFEHO0mKfDGsIWKwiQg97YoPUkZBecpKQ/7qrTq3PraYKnUAUoI+zTE3j6cF191YBUmVsZH7+RhPN/3RzgWCvLcHAB2ylWHtmKwwTM3rbyn6sQNhJgQTIHnvmqBEByH+piwExeV7XzHj236AYj4yrUbSHeXGqzyWhJ7haX3nivLqN/Hv+0NAkrvT57WXS2oCEO0RE3mRd241frjnbGXSvs5rvtkXKACLWffkx050GojBnkX5hyhSMW1WmeilRl/vwizguJo5VsIP5fYgMQmVq58+TTZBiKf2oXDZ88fIT5+mfjjCWPxThJxPCNik46wUIRhVWlTDaXroeSrEbmHVY3ZhAglFoasXO5dtSXR7GqIkdl2YFgUMGY4t3w0oXjtwZHuMqrtoDvR4HGngz40bCsQnjZEFgtAd4RLH+p0W39EDV3aMufVJnYUur8lxwZQzYyuseJT78YVFBUTgj6wcGHKdsnQRvXdH9GVQKp+w1EvjUDcKzXJZ34h8CA5bHB+QL7pxoX1f+ArldXz9HyWxBpNX/KlD2uBRJnx0utiZHlsshuq4NTeEZqV572Y1coDgnBBOvy2ybf32ppjmdtPxJnOVmAnPEEpxPVMB93svyaRyXW6FnDqNgGcP6DyK7EsJlfE/w8MkcKjONNt+qc25Q8k9rk7gNkhE1BpgGv13UB08C5aGSEdMAyFcQgpUTZYPODhZVdGfyUzVqsXqi3QGqPx0tZCaDYOVoJapbLUGzjle9yLAEOFOZAJKdRYh1/+Bevo4xV0JXm67L4ciZ2WOYJrmF7Tq+8JdR190wPnFWmSQQAetEDfPyE8QmjaZXkEb506yDazwcV1YPAXsuvp/wspyypV8DMf78pI/mlSPce9oIQFtK3dRyxIxcFWutQYiT6nWQz75AZ5sXs73wkRVCR6+Gn0Sp/zxiqsXLeVdlkRQc2D/LkdnknkQguH8E0W7uKBEaYjWU6HUk1sODCzs2XvvzDqhyqin3CbONBK/6FCWSJEM9cLg+IWqgPIdzYap5qWHJo33Bb97QYO8cMoC6OUmMx8Licgr2llZ9VK1RN2w2x1BNgmPn75KVn3KpjymZZZc7CYs8HC/VuPApzAbT1fgSY8GcTziIOnVdUCM/6SzQ/i4xKpzPbSrqX2sKiWhETWQ5IDfRAgVMOuTb6NR9LWxSXH88qy05st+64MJZa93jmeil7xDczo5KiTFMcBozpA5ZcgTCebaItheu5K8iMenByI2ZaSCdLeBZcym9Tc4HDfqTAg5l2ZO5XI99O6ohgOsBQ/nXt9ML/iNYUIcX7eWw+OifUlJdJLfmwEdwONB69eTp1CfH0qf55OReEe/s5IF/is8gWEznvJe1kncej65DjJ4kIdjD2yGPP49JAxh8rvB2surLWvY/0iNEq/XEQg7fALEn0TYZpyctyCI5Q9QfgqKN3Pj3J0+YoMT553cSzXqON4t1TbFY3wWoQmJZcXfArcXQp1Eh2Kk2HBCco8cSx0azoXB50WQhrcvsGn0nUGvZkNrVss4TYgJmbKvEh++wux6UnfLWb/XmPadk4zLzZ/2G/wP47dSTyhjaHGGa/W84Ar+1naRCTsD+DkbU3NNszuTUpPoHwR1lTTE/1BfVPDiKUSvxzCoMgqJE31lM5Gvdjt2uNAnjC8fSfiSg7ry6lLst+7mPW75+pIszKhv5EwaKgFAfphDLcs5CtGUzYAai3fR0qFuh5umCZHufaWkJ82abyY+HCV65uFTj6GnnCT+V3imN4I2bRDDKR2mVQcddTwqQrIY/CJTmbzPhn1SfClZRMvBbq2laFu9E5cpjYEN5GKY7nrF83Zmknnig9B4dv5PT2gjpUBBDUgVQfxmlhu13RE1Ypek5sAV7IoOWZesjHxOFGCRX7JtgZvEV8V7iByFS3J/LEk9o9vjbtygdP4+3lqsZwlKV6XTdHBH7YH7c+qJ5G7MXotc6DXf8gbHvTWKb9Ro7w0jsYSdbk8rTJjInKsI7NQZLAw1scDbNRtRIuNxCEoMet9p2sg65WZrdF3xuASPG+7DM+LY0kWrgFD/HgMuXLnZYrpC3vkySyCbGdrdmhbXrf0KowZa2c6HwyfnhCmLSxo4SjkCc0g9Rs9Jx6GgzD/wcf70wcNHwT46kxq1JJOQdClSnck84zySHxKIwexTl/B22x6Q7eJZ+TmFsp1WZzgIdD6+wnW7wzjZbjMaFGpRf4vNbQafdneFDhxLvWpN0C2wcjCRGQdp4Da6e7KQ3BIfMoWFdy4WUXoWHvc9dOA6MkOTxHuUIE4SGGRo7Z9ebJ1hL28pV5mu3hgOz4W6hIUc078hd8KeReV69GoiOG83KZSC58XzdGG7XyDXbgHWea9TRR7sfMgp8qbT/Be/3CSLp+l36+KP7mYJSEbthMZEhvRfrtcvuA2LVZPYo1FAZ4RUEmD9VmYAff+youiTiHEWgwjUpdQHqrTDmoR4m2o8Wql6pv9VDAM/4UBz7IzyYj9fRuv42UdaK92i6sjP6+K7S74CuX/RhpLeu2AArNn9oXMobbv2EqtLQd7I6CNkxVHQ/RXv60ABpIMtDwTmjoawmcfQMkiUJTFKJy/LamAhmiYHnzY0Yfpp8AwlErP2hCnih0gUZ5Oe/JMkXKZHWRh0SxsgoQfQ/uCWtVcMgWPjTIi/GrBX8E2xnsU3OiyOWx4xOU6wN6XYKjdqCrxhcY/e5LUBe5fAm0J7ossgFsPhdA23Y5cHGVK2Ulla/etpku+UaXr/GKojMVEzxnAuP/g34MMzEFswSbjNzN4tSeIiMORHkoW6zF85yUIEhEoh1yD+JWkIz39v9S3RguKpwotg0lMkHi74gGJoZOCLoo3rkgqxVjawRHuOZGUTHcDZv2fUJgCbmJdDII4fA6czZv7jIvzfmCBYXIw8NiXXwGHWrMzM1IS2WrmJM00AdSS0nih0rUORizSx0CpofaNEJUIrs2VGKjlq7+Q1e91tHL4pYfuIUfsztlEDZ6GYvXrDra5qJ/nMevdXSK+A124+KYqO+JQOeJraKnMu+DSLBvXWReFCfbRZm3poTG/JH/H1fkhFvtisn+o0kph2FyxbJ1JVEM0p48cBdS2PdEqVa0hkJZBZULsKyQsCRfK5qC8GomqaB4jCjF6N/nEjv234u3Asj+dznlxDJQbVp7F2SHzIXb/7YCt0UyY+AReonrsb5SrlzP+iZ31C9kLFExf0PQ7XaHEJTodG/j81WOMk/NUOTILs/zegQNMWBhRqODVxps6sCRbkpkOBXLID95F0FDo9eAw8QyeeeLmKy6qSru6lVRD++F4nLXy+ePBzszUtbp7u8UDzdGA1zbbpCzeWaPmaUrUZq2nmGM5+v5Bg4EIYaxJONwV/vLzGtuvkqFP8hc1jXHbqXaD1dLEUD9eg+LW9nadxvrJkdrG1ykgktBylyP3Rlpt1D1wzSL8EL56rYsYLTLq1sq+wKOYOUoo3Tg+j/3YmBai1qTd4737hxUDMR1eaxMEnMp16n04KvbuDv6o2qPb9SPO9Dd7iVHpcGaoYyYhpasg6FPdBbsNvoYMkysxZw1LvoVGvqqaJMVkQ45vj/lFa+3/0aLg7xxTgFKK2bBGuw1bkgtszatCoklefNAJRcyh2IE1bOpWhyYbiU79sA7mfC/EpEpMC5iktBB0kB2VVWfS2ATv/iog1FsVyyKfHkED329NrxzpVqjmPYuNB5euCSFisOV4638I0+PPE7SUYtjH+9iJV+f6hTru8CrsdJE6ZqoRkj/MF6fWreFKY33XNn+jRKTFasZQ3bL91CPbsfUyYn+KBmMUsh22CEnmI08oYjZVLiMO6Br3eWlu7cKTgP5LUsFeflxPTCiPiTy/sIj056157PnnP3JrDKmILdVkZdf5fl7RDyBpClo/c1aqZ6vGkK0nIN/3nMaiyphYTeq5racJby04PbWVrEJWqtGpwaSSQA6wLhbMPuFUg2XAwo/tRW+toa20euY8MEaqWvAvogr/2x4h7/YQsYpVBzl5xQFzn7uhAT4yRD/ROXVwkj5BAGt/nLX5GAnV+Kyw6P5iGL8e0Wz5EiDvLIDtEY0u01UtuEnUcwjFWRRlIM0eWBuDJEhU7I/C8kRumWso4/yziHGYSd+KOuQjnHGjP+Dp1UhspxhtjJp0xWEurdGxZZYr0uo01tES29SJwSepZfErR607TV68jitCCT5hIBMNF1mqZq4garBOhuUR70d6rTJ1ogFc6TlRMScze9lo7Sbs3dcRnPdFxQpw8yG1TX/eKzPQVGUBJi6A85Vszytdz4ihyNqb26BkvURyZ5MIqbgZVAJphkA9BpvAoX/MHgq/qHs4XcdY+ZKMZg5sd2EQkrp+zP//d8kqv/pOZlWLQUOB+X/MyDFnD3z1a5iBa6Wr2Vj2JekF2baf9BX/UFnUqN44vEhQl8qigY6Q4/pTvDgGJ6KtQ+0imEgC62bn2FhVBvyG+YTMC7ra9jIbZlrxzf07nEgzpP7ioL7g35MzKvSTWN6knzcUD3n8GZAaYLZc9gOqiF0YB5/qId1jZtO5tB6tjHkWqUvaVy6rLG3x5S7/vU4m2KRcR38ANKVGwRFrN8+n1Mh1JynquyhJQ/H3d3Dg0/W32YgP6YpJtIGrmT1wMW8gtONPveuCPkIn2kg7e3GnJSZas4v6nbAxSOzM1qIV6egPTB1r+I8IQKwfLL4Bw3BPUic9g4HntJtFBJ6zwYI4IHIVYhLfDbVKRw9Br2NEpfpBRKvZGUO8SkOyirj93S6z9fthn1t6G8HLvCUGgIEmoT6KYTAL+esPABgPS419v7670IGzs5nsMsvS6Lw5jNhGF37wUcNLkp80gT8lzSEvA5mMEYt5NHf10VaiK5wn4t8Jr80B0RTZfm9/lHvG/hQlTmQceGBEuZnTqJyK/2JtC7S0RDJq7aT6f/THSQQ9F6ldqpkk+LrWScKijKPsaiJqcwMlgb/Ni3rG979GzGb4ai3lA74+3UU3ZnCC2h7TCWIZ/8GZ5daESBN5/XTW1jEhgWSREjAJ9q7UGY002yE5pOTRCfzl9OuY1/lmrT7OEdq3rZ3ShP17Z/sdl6kDcxU4+3UQBreitAfqxQIKbPAGg+K8UdbM9sey9/R+eefg9KRin+fNpHBYl31XFNB3Lu+PewC9Zu1+FSNEdXJuJAn5LOKCuL0sZmdKPZ0pWsrQdFPDXZjzUrSj2sXyf451KLyXOiavZySQpV07jsckjoK+vygZ6s+GThbinMw5l1TDAFFw6Qmd+FpguMTo790gbSY9i4/ntlGI3WwQh3zGPWED/YdP915Jy8bbFC8l1QaSL/L8o8tkHgUEpWFJFmewfwhdC1D0KFtH42zT/xraAUrnPuBYiBcdIhaEM8j/QiWIMbGlh7vX/uywreXFYwZccVM80I39ObMeHUS6AspC/0C+jFvHpoF7kOTbxN6GaqVc2EC+uHGPgybma/V1zvevQjDCyc0LnmEoWIJBF3AWBAcEn25Nm4W3i4C0v/5/x+hwQJg6plTvttMDtN+Sg3/HTmDregv+PDd3VsbP7BDVSwJ2sKfCelw89TcxFLMys6uLWKIAo5rLvM6vlqlMpc3iseUBlgRidt6VFFesuQaVyJxUM1zQpcmqW9SpvCsCM9kOpTmHHQ1rttjb83GaiZKAi3LCDTR2QY7RcYWtawVeKhIs8VmV3FHLUXlXPbwXeEJ9y48/sdNwEpI8bRPGQ+OJJlNJv3tGBQ58ZKiYZbeLuvCqzOR/8piYoXwrg+bbq9U7Yn2W3MVWSDmerQfXth4FmDCBRrmDYdiBDGua0eZhVn1YbYyvbosSh4XF7ug9Mq8lvc/E5TtasqmNBY4SKCXd0mPQrxR+4PEz8kLe+RH6Aw83XcJOmQ3nFvgDZVk15QhaIkirOJChyTMlNzLPM0fRWNJBe8VudVWgxoAB7iNDo5Q81xgsYo4Ecyh86CK/4M6wKjEbK0UrFWL2HpWxcFUu8XX6jA7mTQwNMNfilRjPbe+HNRawyvrVW+50VrClc8XZAqb6Ms8Qv5wUuD3ZOzX2zhMlAHeoqIg7VT5BZ5Ccls8FEiDV8L4BsgAE81ddq728YHs1w1MD6TDpZDKXVeIA/bux39MDe5b3/Zl/x3uTUy8H4eL5npAgC9kN+HOTu/dDTnh4yIQ9DBaqplrDM0e8QFxOqSsZLLutUJyhO8D89XH1Xtt+5cNotDB4fGJdrZt0D1WtbsbU/DadNsrvJ+pUdV8VKsVzxA7h8bhZK32pV0oN71cLFfBVkqqrllJF1kYH4DGXSWqwLgKWq5I28Yp0oepIBSqu++GYqFQzhC9czn1RpfuaDZj7+g8e4Hzl2ATLf268KDsgzGQrAP9N9EWDpBWLKvqMFrlVhuHOSh3Y+iTIHr3wmyYoa67GHS60ZXzTZCoMARY8ICRypomc3NhGJC/rwecYc36VEXaeFxYAG05NtyK9MT1utWv9EL97ItPYugmi3pCkycw33jWGha7Q34QriWeVw6/mxCC/qJ7WOK5lGRLmVQNiP9euiblXGqhmWcs2S06LCDIo575Ijle8Avz5UWskxjSkmeHBUlmL/ZrVTlHUo6jhEzulfUMQVXzDMZyNRpDRSoBrXkn1wc8c59BZfrzcOcoNeLBL3zImW2adQb4Sduf58DOusl1dGPgQmhT0yz0JEvpznQe3XdEjXi4BB++8VedqFLkuAlNaOkfXcBpVRiAPPtyHUKbUasYRV7AofupgKeOnraky1d98hBMcwkSy/rEVQZqjrzIL9BQT63O/1RMAqb5cDka1L0sHf1fdLFm0WPWjpe0Y5IwJHaRF3nosKQv521NTLzZSYiHOmDctHXS4oNlDJ5wYRTxABI6lPJfQi/5Dx+uI4AkbunSfQp/qlY3LzWcllvYgwNFZgJKtnDw/mOI+AQbkuvmOni+AEi9ZXTJPNnCseLaTM+2fkur/8N28Do6Fx7RPYvnTM0oa7TfGCbrPsBAsLTq+nmEkDNA7qz6WgHEFYISJcUQl0AFdgQodoLqVzU1Sn9bYuruRUYlbnzdsRYa7mZQ5/q0PY8jiRN0e+POhKlhHHpDgp1uxL6jaTPskRFfqxNrf/0nwaqqHBAj6Zuyl7UzSZ/u6KYjml02ecTfUxNMS7LHXXNHEcLexSTynUC0fjbLsBoxEWHg4LtOAF8eI4m9PSf7wR72BlJjwBaZQgl4HrixM9YJj0AoK/Rby0eHjcAe/a/pSoVuDETznCPfCMfi4or09AWTO7A0FhJ+hmMBNO8xp5pyulbbFNge07Bf/xKx0By1EyXy/6RUKFxC+nTkP6Kj5+PwveZX7qpxYcz9/PgtO3NZPxa8/AFHpH7NTjm02JQGtvf3UPs8rwbKkTYQhQLjxtYIi4JLyr5Cf10AhociHlbdH76u2YrfedppoQYRCUJro2Nr8trQ6z6pLaEB5dzYvfk+74p3h3WxDyYrXPsFhgK0pCl+DEYQVvCYOQyLwBJq52r/1bah5YFpLKHq6eo+enhECmlEq+0veC5nr0op46fMeTZs0mpdRozRRaD650C1UH9we6bzwnv0RVsLqw1Brn2gCG8hY/txCXhuHocHCw3fchYw940Yy6aRI3dyVN/wujCRzg0NRIH5wKqonO5IAF6Dod5wY/ABKBOfQl3kx83Yauetd5lwt/EpAJjCs8vrzzMDxkjw57T6yFGIqICSTkntxeZN13/gn+sLlMMkxLv4hId9+pS4Gh76zSEvubYOOmf9+V5efZ4aKOdYZOwfuqYZqPdtlsqYYv8tGjJqTB0rSVqObKul3s0s3or3GM56o3quS3yUIvrfwxQBBUmzAgq5C91otuYyqa1B+fiKPYq49i40geNthau4x0yUj71oVnSEbbw4BGal42hYu8EfuZX//bQwl/H8IsTVWdZVNZm3V+A8gXzUDZ6R0dVG3EIZLXIGxx+hT8Dho2Z8bgkXc+X59F2Gvi6AQh+2AGQ8o15PoGQDTc/d1j9+YRwOfZxp8oAlKH0AgTV4E5BZcztAXhO1GKUDze3qpPw0eG/NI1ZdCq5+4b9X/mc5986Z5032/HvjTlIbaL1J7BpYnpC3tlAPRPyeEzJJFdyHlJ5AwN4M3gZyMAGjF2H1h4GZQAQxMIKLalY4Agwc7mXVFgWzEIgjWMyVkRnZx9/4YemHegh2fWgCup3ktVALKX3ziOxk3//QBLXnkqwcv+R/PoQzdj2ZQkdmrG0alwq34ef7eZ/O5FoV7EiEGdI1z34jlfR3EaFRFVVuGpKjoSp/oVLTnO8RvtXT7DEJDPxOB22n4A38qUA52v8qiG/Msrv4hL6ry9EwrrutvsLcPdwTDFLJ/dNoGyrc0jhMp5UW0SBP1zJ3aeKFN1OSuQshgEaJv4dYXSTjRQxKGwL1VWUx3bFhOhyh1uQmhK5pQs/5z2Zf1w5kQLn0KTPDv6RPB4VnrKUoz3V3qKBZrp3EykBbCs5X4mpf71ti/nuz+vzof2xZpNzB2MfU+1UxEDI3jngEW93B6SZ63ee2915O5N+pxCk9eX/SLDsYYO88jSlBN+k16bHRoS9ValFf4lRuELIOGIFV1PtsxaVl918XZHNEQeUxjwm6LpzO/RE430AtkBTrnW2nAkOahA5ADvxmeQWb8Rq/XeFsXqd0Qld3UqPRmUoLBhxC5yJ6PL5g7LFW+rjma2TIqr4rbva9iNVW+oMLJ+h5SmUYwfRBwXQX23NBJdzeuC6j9LuP4ZytGWils1OWn0rElWeXhU7zZ7DGevUsXP6Lu6rHRmcfOiitGEhT9Q9PU53C8n8IPpVhkdGeEe8qEJeklKjxfus4PJJUdgZNNBo6WDLdFY+LMahnDbbP1erGNhhtBQKSsNJ+23wBl4PDqf/bUojnoFDFf9E2PHXmL7on2b7U+uVsMiInJ664MJVluUm+UDGyxdhEsKv9IbgFPVfodjgG/+TV9/Yomny9v67QBORwDLq2UmRo+X+2zlbiP9bKYqEf2Wh7b8rBJK9WdCiRXPGVcBWLzgRhf/VoOnTyFcFaG2NAOvh5jFfxxeMEf8/CyjoCnCLIGDo2sh7fG3AJwx4Ya+S6/vvLE6HQ31uEGFL+xG+F4ZbesCGuWQR+DK/cziU6VEA27PJrrcZAX2on/q/5xQt3QLqm1bZbyVIvKISwKoUb7b2n3H8AuLiNvonjcm7KeOmqPJ5bqJtk/7owRW5FS99Ik0hWC69biwd5xlGJGV/1qU9NvRL/FKOKcxodtsm2156SLaD4zDiNdQZX4LCEhnhfuz3CbIWE2viDC8E3GnaX7RKpRe/bKIvFizq6tiiOMGIv8enMI555Byeeko3XlwpjL5ZQYv8exPR6P1T0IV+ajTZ8QTRiMyFo6tXrpwUgMVysEpY/wNsN1Zz0jlZVr0dcfLgklcePLhb05AFb8+X7VyVCRqes30ikGBa24dtedwTYKzTkUNMtnhZo68kzrwBp85ZKewtqBoPWsVfPh2xk1FpJuXPi2NQpH2qnCb23GSid2V4/L1cKKLxB+4tIP7hXvuGlG3S7LwONvkI7TZI49AtahujmFNFXPhx4fcSVepu6vTmV+6JDB/7vXQjeMQFrVjHgtNFWCREXhR+GMFOHAOmyX/CMQbyCJFtxS4k66F3Ry28JwVMt6s8Ek0Mk24X+QieIaEC4eG834mR2OcBqUREm3k8ZOqVknGcpqmOI778zEaQpzRH84edU1rgcBWWd8vN8gVaP1hLBiO8OLf4khtiEyxoJj9MTPrN2eqKbaO0Ccsql3P41YnfAjSdoePc9saEGSgCnYaKqiX9ZemCLCwI4YNYv29l3eGkur9zj5eDl5QSXa5CtWjwISHLdqw+MN0K9lVGA+NNnRjiKaDztIoLzVQ67hDdlGYw3KREWUDus/a4HuwK6/Vllvp8dxVpS12EgC6IdzvcDGZatVHsNefU3g02feEfECux88/k8c5ZyraTtvrQXoD5d+itBOnqDTO6vNKZ7ZxBDqF0fA0EcrYFHIrzFyz+9yN1JQlCla+r2N+JqL0s5t+cBRL/CZGgHDQ7WhWmMst2oPaDHASknvsX64RVtdfAygCG6UUqY2Npm+97Z6QwNKG/1afCbtqNUxzLt+Dlk81rJJqNiN1aQhvjcul9WGPBnlyJbTmp+yTH1hTWU7zCy9p3CnYn7GsiqHlJcsgr03Og852wsfyv850TMsnuP7RKzl+wRCX6olv7Ml7DjCgcjY4xeVbIn0JYn3JD350sO1g1md+yz2UgnG4KSH26R1a0B0A/nz3rbEcAJ+Ozl+/9nssJ1LIVVAik9I0EPR9MC7kSBSHn2do+6TCHWUbA+XLPlR17H/6ysY9qXIhr6S7oBvkISaonAWc2v9eEXEC6lr2bGDzVU1SsnIFEeXCVxfBIPn5nwz7H2rSKVFmS9vTx4TKlqdP1g2bUsG8A0d/4ln8FrcU/iKkKaRL5MWKI7L0UqxwZ5PA/TFFK8KoiGyR7CAF7SomqpEt4GxE+8TW1N4dzILAGa4yCGlCrMF8vkqiIFQS3Kyt4rXrTxcEEvcPdilS0R2aybSIh02+zSa3LU6DRuhvQee6fv6mhAjSCDZEjZ9tAzIPng0y09mEo0clk/GmmeEzo8hP1pjcaK63fs1a6bEXUeGsYhUt61BhEP9MhFt9JGeLsGuD1kfJKsp49iMTSylp8oZ2rSLgywMbK7fuOMbj6nTvpqxhXXJrgpZ3VkJkX7waLeiR2gpCzfj98+t8hqAMivD8KFmCKBs4lJiUiuuWECvziuI9fUw8F8ff2oWZvA50fHmRxILpXlb73adsKQFGDWw3bEb1MQ+0gVMBLTCp32LdifNNEp+E2qVaOT0EO8bpZRN/8ctCytCGz2zNHJ43QzyJcJRtg7Tnsq/SyysLCvZ2dabKPDvh5kCSrIjAlknjOqlz4jlHWU/K2O49C0ymvZKxD4vwvfGvB7WSLRdh6CqVoaG5ITBuAXc9IIYsHKtxgV+T8ZQEwjuQrm0LMj/N8EscRQffDkeGshIB9M3/m29v+KBLvJIOI7U8qYcBHjXhhgbj7A7i8ZnTrZaYsTwDfxXZNjMV5BGKDkfmrJryNJsjTGLZokjN8RemH/WC/ldIpoNpsB6UAzVo3vhqCTNFvV0EOHEcJaKywDz/eiCdzmdYTg2awhC1HSxQKYXvcX6a/C5aDdBUc2vKPaKdBziaAgFnJoVvw7i8GLVeribDsz8BmYdpJqldkwwnFmc+6miQMMvnCN64lmW1zn8u+ymcskDelA0MgZVXmWSY5F0uUXPXoksqRiQecQYBD/vCgRheNV4FvIAy0fLrgjpPaHe0cbuUsgthJar2vGbl8FKo3KYrQPOwA19LwhmI2mduQQMxFCPbzUfNw8tzml7S1WM77yuf761T2/JGpePxsjpCfOXYSDQc9c4xCbVIyAD9DpO/l0j3rhTaFWHqr3FuAT5QnO7j6qd8XS72f5TGl8gnIAikCWhRMvrvD0Oxnhp3LuH7SogtZH9ReGFIapAzn+DVadmMmOXEBO+Njb370nEEX1VehEDsXeS/oFdoL78c7Rc6uN7CRgbCyPBAFEBHqznhnfvQlpY3qx5ifv2zafU12npa6iXOOmk999W4nnrFMQifdq0K5uwq+s46QqK+MYQdTCmiT6qpERGKMnPIivfI/+zFBW1+93NsD4y+GyA5ZO+nchWUcSdF3ieKkTovVmnvF/2zbAlsGJ66ZsZ5JcUfEckkuliYABvR2lVCIFhN3ShogDBH72JUTxOFBeCL69cKwkhsgFxD87AvaUXQVDlM5piB3Krknu7XEuopFveK9DbAFpZn8Ao08CwzBLvsG1m7PV3IQ4oDcRO6UlBu8ZhVZAY1JNMfzcjLFmxjtwx5+/PMHTD2oHXh9owIv0c/hlibCPSDcDdJTiFrout750SuJct9XkqYbFoDQy3KOnfHT40rM9KtHvw9DHC10Q/tIy6CdGPEhq5OrOcFgFasjdGiRPHz2uRrahs6yxoNWILUU+maXZlyb6SV3tsJdEtQTmSjXde6EHJiXcy67Xh3xED1N6SiKcZF36jgILR/s5AnXrvwrdBztOk+yL7z5h7RhIbmhoRDWLz6C3mlA2eeAcovmfxsdRZzBQ4D1SGuLBfW/ZnBWIdfA6WftaL+N542MkuLZ+LwORSK+oNTDLXo8JvnfIvRokfclHwl86jICnt5Twf64del3Unpd4/XzydSPhs0pCxtNUaKwU1EEtbKkDd4jNsSh2o25+tJXoO3D53XElHCjlRBOdexBo+cG/BHR95FKC4x3RkTk1YRWJHQCdZfVrgbngrPyfmVG61t9O189NZJFdRgk/bkzm1uN8bZC2/MKiXTcyZ3ZnQWQziXq/VQ8PsUDgrSP2ftepsDl0yi0uj1AKF+hoDBqKkkleOx/70rigdZ4JbsPgDZZDofY9/JnRHK4XS63WmDZVc6Raou7ODtKK7z1g45licCUq+Cg6OTM3XkC0uFfD35v6p7w6XP2fUL35ObXPjAczngLO6berLeZMSdP8CSqVtffQDeSKazpYuvyPq8W+78Bd7UhqQiUr5LZIZsP+Q9UmsXUW7Jaev25PAl4qdDB7kvKgrWMCtXbLAmBkLq5IA4EKfdYYBGIMPMwAQ1uyu5Wfz5jWDpKFqRoNttxvYtngJzvYhlbmscNmSdJl1vFNks+xDnaTh+ct7PwnBLfE6GxjCTHP3h6ih37uUAXRHgGD7VRKZplVa9A7BoIw9Xgw+QNRReQGQw3HkVQfk1NxyGa+xnCTNcmTQKNdaXdJrVJq+VaUctMoknERJXZZ5rE6q6/izDsCIZYI8vKZJvRBMPR2wbasohDEOPM7mFUHe8lLK+/YjUrqtXuJB9OjADtn/zYohSIw8Aaujh9lSVmHFmvRYiDCHbxSlNLsOQRgKuxa8iJPkYyvWIfEfcCheeLaatGAQWBwD6K8sbdlrMxjDfOUHC0iuuv3QhmurUSMK1zRy36eXrrQnn/EVQCs2yMn5ztkMEsMHRI4qwzUsXRW5My8mWaoi8jTiIwH+x4vcqC7lTlG8Yc1ktyk/CXCpcON1pRJY/+a2oLjlc3wANiFwQdQgANB4s0U3eDkDet45POI56pFNCVnZmsLb1524ZAahs7BsydJeBDQBA67Ow645PUFYkErkhzcMqwBm7RZalh2X7t4Z9O+kWPTbXqGyASjtiL2MapYJ6fUnyai6q/Qn+ie79SiKLW6xIrM359XpdoSLMGOSPZItVaiSjUaXrZ+oD+mw2iF7vy5YewIINtoO3u7lRSMt4tQfzR423wAxkt7LuyfK0+hUaAWal6GSmSsEBuBWay3zVWyMVAw1X2dIoGy5r7fAQiQiS+MfgrcNzw5KWdBATTuNolcRzlGDGq13w2x3DJa2v0yu8NeswVI/IN19LynBohnUw5IdbNwoJd7DJ4LIF1hGxXH04vd0z2J5L6RjibLWwLufL0Tyo/+JQ6Jox7HwmUeq9WZdGLHik+YJq9MLC/dki3Mc645qSZgeaC1dzamfDUz3p/9KHX9TdQ5w3W2uWc8/XzMxXdWaMoSKNXow9hlujp5xGyprggP6A1bBDXxx5ltWu0tQ4EHNi2KYE16I48Nynl3o6VPbQ/sS/PO+FUCBJr1eGEfrt15/GJeyVOr9OSf4Oe/UAXTdfhtJWLoVFuWQzVjUPqDk4zrPEbPK5SdzHybSILcwkWR9bmnHXm8NoUAu7UNOJ8SQLWNUHuaspcpavKl1TpQMeDIt7RV+D6oPKjlsR+4abg+gwrgRxX6w5o1dBWtlwRg7r7N1Kszm2VjQ90EHSVjU3LjoKZeo97hg4j00LXnLqjL2mbYKELybirJYZT++rMWTQWTD3JTfMT9+8GL/8bgYeWS5/K+3X1RjvVn15+ipB6e2ovvrVfCiBLia8CcRtzUe3xYNqpIhzHf6yVQrv1lVCf1bf8/3LhwuXnP4BLlJr6G+Y9xKR6eKTlzhg8GEOL6yaX1lCdFEcwB3rDdSJLJjYh1XJmnyb4Qa8fKBgsM00H1Nh1pvMFsEeIR+MkaolF5K9y+CoBdkDvWHPjgf4sl5b0oKSBkvVDcv3ZxWADwUwoCgCY0EOPK4FIPob52RF9Wh/k4BAwf9Hna6CTRTgc/Gbh4NIiMY9rtbd/8+gfb5WR6gRnnohD8FZHws58H0aXotwjz4+l8q5Wr53LiajXx+lqVHLuKKXxYeIdTkrS9+t7Fv1Q8u5YTdG2uG1K0Ojnpk76Fu0r0Ja1xDpmLs+7NFUTY2t9i1wmhzIBhHiOO+3WQs7KDP7du5318mBhbkqZRI2h78bNfL6ifHkYpB76zBAhAqg1DraCA5u2p/vpxCeJH2O/kyRz0+WNyoE5BuJKF0qcwRuAreGYihdPYBMa2H1ImOuHChmsD5WuvHMuK9508sKEqYMPgkNaXf2DDbfivKUuIBJguwJn+/jV0ZC9SZSMdkRCguDYiWJx+cbMvAKNNxDxlilAo6vZh3VIMRuR68a7P38oWjkXaa7qvTxn0YqEBKAjh7kJ3hbrHfkDl3YtCEbexAY5WsnC/VoHlCYjstZY95NaG+IhasUM8BFDFCfSEkCarmvEA3qYEClgVuTkYPzqLVSZQ9DMxkm5QaDply2BqyDP/d7EaJ+VgnIwIrm9n9jzMcu69HWGGJrjF6TR3iPZOVwJyX/2DwzJOjvmz3kk/1iomxJbDws+QBngBJw3+3e/8slNdp4Y+e6ZMj2H1LTmchcCw9KNucjzRXfh4JDvVPEDv22n6XrORILdYKYhfUp18ckE4+QC07xH3gMvXxq44mLdoWylt/ThrGIVWJNqnM3VyHYVEqJz/YM5pmsCZDmVp6ndjTvh0a4vOHOOKtSIP8ypQ82GTaQ9uWyD0MUEE+zf5tIHKYk7i5s1D/uRiGJjz436ns7VNiaEdC35UchyA/tjDg75Gpc1gl0MoN/KbYeT1RRZ7GxYLs7RaEt7fTg9LHZKcXTgzxJ9GXygB7xXRp1oP7FMwvaQj/Ckh7EpvldgjO+LsUP2w1W55WTFgyB4aWiozq5DNK0sNjZC6TdG5usV22d2GZUN73ZOfw0lpYHQSidoi90XKEaMAFvbhJnMNxEvYAafbgPYiljIX4tvystQSh2WffbEpWLIlevyqOAmYOawzkreEVZIs2lgoyHt3Pk1zPP4lyhWlDwwMV8AqDqomvRfWKcTvtJOUki+65AtDUItaCcaus4rJ9ZndHQgNJX36i9b8TMHJX4LD3ESPjyUCwxqmzIq1DrKWF5QVoNAnGobChV5sQclwxVNgOEDOjBwGP+nPh4o9nJn4UtcAD4pE8LNyW8JlO4GtzNP5a5BAcFWCQFP/hcFo5ZhVXVvY/+e5uiAwzdMRSsMu5zIy+LE4chZptFGHzLD/3u+YNTsjYCF8LzBsEMwd63aHi3CajF3Adhn6OEeNXKBQlWZoLHK5AWnN3tmlY6cBDF8tL8XWopI/Im9tpFmMGBh/eXt/opESyzduos0ZwyB3Wrx08jflKIL71sH15TM159XXsaHS0AelN82PIzzWYST8E9SMugLJa6yRFEBXtI38WP9BqLtgO1CZb6zovKEcUi1knFON1sKeKT4TcRHrnxdn3XJlNsaDtl57M+0ro6bSWAuSe+frppbp2emmCmxOzbTH4ykUp/lARpqubuPxnhEtiEZJ2T95DmXvmVYTnjvae0OJ9dcofJlHdW9HtmzxMzi3vk6Sch7mDVwqDNHqkfEIhxK0aVKuM1ewy7ZEFeEZvxTBlvqScnE+k4FuREwhYXE27QcLqWr/WU+snGT731rhzRRB96wtqEDMGuw58pOaaHmC4wGoPoZDsqG5vpdSDIQ6LrtIOeZPMnjiOyed3jo3MA2fZjCuuda3WCmRteB3KqJbsZMtd0Xg881MQYLTqtRuZ2ZaTY3NuL85Endf1MV+P0AL92Qt6hul/e2sbnzpe4RdnwFcPnICm8nctmzusaF+xPdOAvtMgldp7eZXkMsp4jO5EIVFbo1e2ZBTGvIHNDB4tQqKsriIU8nuUiAQin6gXeJt9/IGdbj6aBS8vV5Q51Or0kYbChHCJFNnB9dBWd5y0HSo4emEpitIJg0U/jht91T/Qy+4DkfCDQHRWjWHLEMrZHVifQbfIJeCQkLFKhoHK7GJEFwYavAaILQaxHhpmsb3+FIO+ROVaA07lZcBHeP4Xo+RZwYNa8IrFTNHURSkCZDt3E62DEW4f0xJdPx6my9HoDB3Ev8dUmRLCouOagtOp52stBKScHJhEkgk7R/Y9XHfOS3X7MS7J4T6xNtEILexL2SuNA6jUv+fRqW3r2ELvuZbeHDfdsHWWfsejiVNWk4RTcmLOdpTDeFyydmQl9i5pkOzRg/3Y9Exmh3ICBKPxUJ97hUBITE0jkLHy0G5Ai9FpkMAszl7BoN/x8KBKYUciPOF4d8TjNzaMXjU/aPvOC+5ujjjKJlRNuIS5+uR7RBe6n5ypViNlWumLBx8yB9oqFsRxh/3KFG7HnNEsPxsP6jaIbJpjEEyWYT8NbvP2bXzGQSLgpdUIknAAyMmRQ1ucnSij2q9xOx1hNSi7NKk+rr8sxavBNyIWmKm/ruSt+Yh7wi9SSuNRYXOLNm2nqvZLO9ESwzXYIm85jfjbr5g3GCuIV5+bFNlAUYs62r7kfb56VC3OYW3RFx80DLx6yq9aK0CakZrEpM238aZLCpwhE3JpYn0qYcSLhJ8zA3CpL7lRwLWlhwdDlbqLHh/56OMsmaXZwcYmMV5YlUrOgVNAfQ7e21/DdVv57yUUa4le6irHYuJpWtdyBs9+u6oDCUT9sf1mbBQ2/xXjTn5RkL/rzRY1Rv8n4keJ6VI4UpTKpEDfEbNECwhX5QkKqAGGbGInPpUXr2Imi2ucA3uXci0SXdyaVgMfFO2rYZD5aLNOXX4AwOqbzuc1cZk5ZWiftu8usudz9I5+N6T//xpMEHbCfmTgpft/vXFmZs6XlNZWOAGnBzGe1nWXCyIUp5L2HwJsAl0OwDBlobFcc1f8Yy58iyPd+beJu+vxAgPBwDoDSUNWajc7I38XQFmbuH9foxm8eTymnLaoQXy4HwDEqU2y7BwnT2ADQjAa+IuDJ0fJWzHRusWXcGnG5jac88sZR0HSHPz3RsTc1dNAYy1XvzJ4bT6Ob6WDJ6K5t1UATmByPfT/mVRPPWGkuY6tImmZWLjuBKuJ8QB2ooxZC4bj+sjGPGHI08JBgEgIQAU3Oes9PWN8rj9ahD3vyK+vINl4cXMbOwFferefM28BwmHyDAit1X1h6sg2l0Min+Q+KQD8KmYQsiXE2tKeK49CRJXYhuJRHyTLCB3ib1904tbQXZJJPGDMVKP+8H6UKaS9v+JlIxfPVtaaOmpRSRVTbAOJy5FW/gG6+zP96CPrSuE5WLoj3oqWNV6VS3k29HJg1uiC4gqfHLKN49EOTX60w6iuWxyvBQ0JOUy8eIeL1XfaagNe2jLBXxEQtfuE3c5Zte/ivLYu8AzZzxJxtrOMs7Zrn7bZPpR0O/YZTxHZeON7g5LE+wiAN7fvZXBKKX40lRRZGyjBxEDJM22tjGxdavQbBQd54zubn56KcYsPKB3zoDHL/fya5i1WBzxRanYgDpEux/ipI9z6fxuFR3gbDH/NQrDJJDxCCXvsShWvr3yF4MbGzSn+DOsw1qnkBQTLc4hn58t252SasJS5cLIOZo73BbKqI2Q1GSclHuGIfTj+N3N0n3f/Djw6dkE5PIHjKbXgc+LABiGLsKTsN4gBX23lRCRt8hfTWaRJKsOrORhzmZg7f5DKPouffn3jbG6JrKMbTh5hClvcH0IL0/SzHDhR33A0i952gFXnI4yElaZYFIXCdICY0O68HyROde8vquzbc4huCSYi8rnJen5zuueZqr3QLkeKsYNOxgwDHg+9rQDReXpQBaniHwnnONaQaHSksqe8xVLOETiC4NUkq2v5kk+axkM/IDe+1GyhowHWeVSdStkEGrvDbXRc8WkTps5Xm6CHLoR2F8KU+q8jh+FwWOGrSoBArNiTInzicHB2XbLwoQNK9ys/IRsapVq3P6smurthZfkhNzdsCqZcGl1v3iaVnJi/BcBnvUld9Tj9+PEL01GWEswwHkJvQWfL/rBYvvXRoiJpbpv6C9vHm5dTsDAZSoyosPSGeqyl2lvmofGrsbE3fg7fzMMrnPzhgDpgClNlHjLWzIK9JEiB5WboEoIDXl3ZsKp726coWwFBbkPZka6/PAgrlnbdgdL1ULwcdDa91e3tnmS2cFncUJIsfmDT2kH4o/swYjt9uKhMujBHmeVLiiE9sWTuI8x+x/0Qef7FKSnTQecP01OTTx0FMQMGd0sLvF65zxICURJRmWMEOChUFoX/T/4zlf4un1jo5Wq/YzXD2yR5Gp/eewG10LHRWk2ZVn3gDjIqPlDKtzsqiUkx7jsqB+urS+yTFMvJqGuvTCm5XsKexRb5actchMj1O+REIptSWSEXeM3UEzUB8/+Tm6iONU/ZGA1az8Kb1K+NADaS6VKqYkylh4Bc/u0IgZKGUcQBMsxuLGiEGJkIeGlm0cnYeb2ECMcMe2T9LyiNE1CrQPxe+K0uIiBEFxz9v+xdxyY4iWFSkWUrvf2Bj1Zb5pAtuSf3eSeLnzai5y7TREE7U0TEQlCiNV2BXpgupD2hyp4LpaXph2BeUHyK2M631gEIRHKmbD09G60tXugKCR0qxT5fBaNcnQE1+KTITqyXOlnmoxlGtCeb6mfFS1xlXYAbeb5Q4mtmDVdOidi3z8whymfSdUTOjrYvKku9nuFYPU8HD5ikKsugHxhH2ffEYiSbqiGBXMOnf3j+pnRgydLHPlyXUiRQPdnAvoCyn5Srjm7HCelLHnrfTXGLfmqd2NeP4Ti5Wt+DQHk31IUUCirD91T09XvrXwtMBSY6d9lvybbsDxd73HD8XLscGJ4KiaEfT798piaB7Vw4qjIXzYyE5bg0cJKRZYrYzZeWPlBetQJqBOUr2mn+A4tKnUXLH9I3GhJ7eB3VRhf/GHXvYxkPmhABraIpjZeFJYn+MPC9tULM2Bh3KwBr7KoZBoO+RwdmwmNleG4TVvk0dVJR13Ze58Mkijtb5lOAkM6GXJJH0WTMnQfmh+Rj25L/vUQnFpqXpeiohbg/2nc4AdSZ9laCucyPTIcjdALOvGf+zgH/DiqHXTM1pfvulkmDtFQenbuXXyAS5r7JeEHL/flt/aK63yMEhxKYUCQQ2INqmKdNxitJe+Bpxk6nR+rYJ4kH5IOjGT/yuohabyjUnWAvgN+pt2Pr6znGGQEFAGhcaoEz+qC507yFCkO92bx10ANW0FW+lJap8WRrIrsE+oEJJ/eZwH5zpXqNk6Q45RsP/AT29OH5PVoAi7TeMZgkNpp/61j51bnMdJxezkdmNumrtQdwwB5ivvSF1m0AxB1s59m0ROA8GzJYI8fiQagKA1TdA5FMfzt5+8JlZQclmBRXHccG9vp3J0crqIU7MdgN5wao/6Orl3dldfaGui1bWMchUDIQRtlWNYNAhPGee5wDlNkZWTicZ+TMLbbfDLmw8WmL4K1+1Qs6m6ORearysDJl7PZTVw9KK9m/JdtkwCBmAa/QcN8fQ7Z6usiB5LVwCesG/TegNUlkpMNDv8pW/B3/2jUmICI6/c8xt7YLaGQzw52Ls20DCoeSqDpGb85FwwmnnJvZK761Pf7KMYQbMkjdbE3xtrr5EqUCbFTJvTiw51PwGDJ78bkR9ct8jVdZbp+CJpmeokcv+/vKdvRtqDAxkeNLMyPIb5bvNuI0ZU6h/+rPpYrvMy1x0+9FnB4o7NQbCNtTSb3UydXIzRxR8yFUFIoR0HL6hum8FCZJ/NewAQmD+KkiVPEBPZ2LX2lknvd08Nd0QV0KD7uZWCHiQDft/EthPcz3VJO/++sqbVVFgb+WbbuILpT3PAyPmHV4+/4smQG0Az2tY8KmBLaDNAuGXphoIdkoZPaGjtHCH2Eu6TRJyYSA6a1zfhxfkpVYuePVxUV61aOz/XcchCYQ+2tR8dN/XqTrVY02Si2WqyJ8GrCXd4TpeBvoeNVbuUOnPuu3ZM34aKgwcjJ1a1uLmHImvUtIoLbs9oQwjiaV9Teg8GA5EIKk9LVAvI1AW9dHz3ZwU19yv39uXvJH2tqmR3++i3Rj9CIdaPh6CRm4e9PlJRRUGgdejU3IEuc9Fmxc+5lTu35XW5L10nIU3XUgt4pG0+V6KD3mgLlnyfwpD4OqUi4TZMoFPC7L9gf4uisZ66Bp11q0z4/dHvk9vUiEi5zFrbOR2eayG2QkP7G6BszbX0e0Qdo7Pa3kzSVT3A7N5cCCfyLoyhEK6cl7vYu4MzN1exNnKe7aye6Ri5izUWaWY+CICKSUN68GXqIJibIpk7j0kiSdXBhWbuNf6UCd6JhTtAsMYE5M5Ws2a8IMf6nqSMH68mgaCMMtDGCB6H+IrspSgtPh9j1o5KAOy6Gc3nEC0P9KHjdmrNLhIXCwOxGBXfJGt0URmwLrL6PcgZv964k5LOtEnI7SGitXI/V3p0iPN62dXNYyq41ZYxaXGkMnvYkMreJxOABgaTeTjoHNQDqZjkiuSCt69BvyFfk32S2WXSTG500hmdmdyHucZd7uwc0s9W+/+ebpQANIgm8eg+xw2+MRuR9fuyF5cICB0My/YA7OHjq6fmG6Mecs3CLiLRCex7Li08MmQdT94r8CCwzhgIY7eau0qkv16Y2LsPIc3DvV70BWEmCJx7dA==">
            <a:extLst>
              <a:ext uri="{FF2B5EF4-FFF2-40B4-BE49-F238E27FC236}">
                <a16:creationId xmlns:a16="http://schemas.microsoft.com/office/drawing/2014/main" id="{5AD3AEE6-20EB-4C2F-BCEF-A2DEB7A778E8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 bwMode="gray">
          <a:xfrm>
            <a:off x="334962" y="2038401"/>
            <a:ext cx="7502788" cy="4422667"/>
          </a:xfrm>
          <a:prstGeom prst="rect">
            <a:avLst/>
          </a:prstGeom>
          <a:blipFill>
            <a:blip r:embed="rId14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7" name="Rectangle 66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z2dD7pS103gZfJ6l4USC3jqtWOPR/ue0umjYEY9KlLthURXCUyUuZbmGDPUXB2idlVQc+R1c0j6vNnMaKvr/AqD8olcr89gTYVdcqbCtdArH6Z2k2y4aISxjp88dPRA6bnqbHRbzygIpTcypIoUPuI8iXrrqXhhrZFIE+LVZ2kX/FoJs2r+BDDh++58iYuP3SFs1xTjAl8hjlzcq4bHPQa09RLJr0LboVP+rNalYCQ3HAoMXXgyadxR4oAWUxQLwe3LO6g36zm4tJ90997UZRXMjiZ0BsKhz3zSI07Mit/Lw0y7f69LYTMjl4LiZ/G4B9g5mOjwEqg5RD11U8BlgBnJj9N7iiMijCl9/U6m4JOLlt1a/Ni7xRPddbTxkWczslDuhSfVEHtzNaL0fHisDeWCIII1SnekXbT+bqNZgfknbMgfuOTengBSpzmJBXVBv8pQjUdbbcbhBJKUue8XUr5Qj8dwDhWkJHVTWsfExLshTUsqql9JSN/zBbkdJIT52XgYZuRDUfxDF/udv0IVXWqRAAscjR4C+gPzld5S4WCCJrSs7ByYpFn+yuzkNdvGh+ZDyxDPIYSj5duMMMebRLIvijc6HodCj6jbs22zOJTke8bH/Wi2uytYFtXwHd1VezkdyW+PNEX94rbU2TMpbyZdRZbOJjLwoICCoaeDs10Afa37LKzLjVOGTbts+i91ESJAl8ZWc4G47KCDoSBjzFy6FuPEB2DtyN9iaLif6kaFIm+bfMkqByaCp7qtT6wZ3wR5HQjkUPlE9k5o9Wcfj/HsVUsZcKzmpankkEUy8bwpiPlrSWVaeU6UHmP8uYEhz+h0xDG5YErr+epJ22U01ISUxNRK5kpdcpmRDnRKIWeuLN4C9Me4SVLyl1rCKaRMSYt5uEI/rImMnj7ZSRENnBeYkP2VCAhk+7avwwTW7ATbYwVI7AqPhAoeLvxKuN6Z+1vhf4LS8bh2zBNRW4GTtrVawq1l8zUHVl2ti3CW/ayIVlS+FpsCkiin50RcccDK6FcNjoTY/du+FHaT89SOV9fHHBQjM+6zIGFjTpVIJw7n2R/a3d3FC0oXcNUTni77rUeSlmKdBhpyMpNDBCxVu+XEs3+CB91z/3ArT+xuDRH73G+Z53wdu/sUFV0ZcLwcV0/o5x5oqoeSF+4JPiTYmeFrynlE7q/fnLWAyjo50nyNXGD8xEh/JjssiwbvwIgBRWWKj+trN7XcWU1ql7HRBnZ5Q/scBFzxsrjMmMI6QDhEt6c7d5D4rpmQSWTeUpd6rkxbOf2wNhNCZx7ZchS378AACCu7nV0MC47ndOFLX44aZlt7+5EaISDJjwuMVXIRCawy3y1RQYfWRJU1sSj5h4TjB8wSmek4qCd42ershYssa/0viL4hdzmkzR5qp/wvT4OX3walI3tkwirFIPYEjKtDVJ9eiQrBnivG+aTY+E7kgkUY/V0mEM2N4C2MtHOj8orFt6ogpLYu488wJreDlsXAogEypySQb4GB7wGH7VcJ96lXafA0IjziUNnZaW67bl62WFuVJhMN/UHKfpVs1GE+xqau6qth3/WEh5pj5xZaECDPQ0R3mNYUY9XyP3sFwlP67zNQK55u+Ucmxx2g2AGdi2yZ2SllsdYiA++g+6Wy3apxRiNl9f8W7mfYZTs+gj4vnYgOCOtHBU7sOcvi+30ia0n1+2G0v2yhUICVwM79aKlTm2Pvc+FBBVvYNPj+0luxnEQEyN/TezMyi4oNeFfF56n7/pMIUdd/BnVgJs4arQtQYfm1rBLnZiDB7NhFFmAfHpSQJN9Xu6y8eSZyzon2pHgwa/SIQrvmAm0iPUhlQ3uNBTyJGIdpP4enJ3Gh2xsE71MILwcpocnNrbpAGSh02gmtO6lX7oNwzgXW4/xsup8PMmJ9gJmWGHgAwdDMvTNUpcmcs/CT0yGAhU9Qq84uUuXSpkMV3oiHyrX3Eq5UVFgGr7iyoN8/t9oniIPx47MoaLMIwGRlFOuL4HMo4DWR+dNANfS8kpjXpIKNJZYjMwo+p17x6XKM30TaJqrqeVeT3acPxADABoa3flgM2Tj7PCPtbyn2CludT6q/vTMgLFNZH5p9a+ix+XrijWTn8WH0SpvQ0PPEqSARa47Vi/L6TGNyVUKfHyfZGB0EdRZPPIEkZLkLcQt5yJOhNbXXDzmjt0u/4QdjAaPzrycxKSI+h0pX2tfr7BlHT2eZrPj4fsLIMB9w3hbLf1hPJ2GfQJTmVRvnC8Nq88Ux6wHUTzXWWGzdmb4O61JLvg3qOWzjFT9gZiP42NHla9qF33Nq3Iecl9go1PwjtInp/aXXS1FdDC6/n5jR6a+joX2HSk0WnkVvKZw3C7SVKm9UgdH1XLQrIWjlOCBnxQ+OMSrT1BsnaxO9J44xHsxNTsM5DA4I7im76nJK8waW1leORtkcdjoN5hhMHneXkQfdaH7cL4ZF1Nx3r1s1b3rLhjcDKkL8QIt+5l/Iodk8ssLhwWNCe6Sjz+MicEnuGwIs43osNEwpPL0qBo7EIk60zbBSAyDUum2T3xmsEYjxtxmiLE7vKbQ40xtf2Foi33XrhnRM7tmSH4j1rKuDiJiMv2PeLj6vaKKe8UioLn7b3lClAqTYJMJbE3sBNRE+fmpFuf15BcW87wRV23L6bW5wB3Qk/8gtcMH/Tt/dl9euUA9jj0qsZ2DebzZoAQcwHSzd2n8bFannyX8fAg4A6bcdfftAMzd0b0l2+qdWvY+x2aFxayPziZBp+B2tZel5yryhhRiZhmokA798+79VOMh42qgMFVWaokfZ/Bf5p8G7YMU9xqKQzlkM1gbJ5lfObhBXpNvYnE+FX7NgdGrUpUK0F9da7rXp2FSOzTXvfiM/+ZA7Lg9VVzKPTo5YccpoW8BZSEaF4Ia4vI8y33JU+Coa30VtCgj045eyfY27j7M7nNjKO3WCK9zgRWswl8oWxvBxwnPqQMuyVsaLobBJvIAe8WoDy3yzxxSA2zn4CqWk+wjun+lgXNMWTBS4Sr9h3tj9eEhbjffrh4SyMSA2Ob6J+c7CAcUagHVkso2sHRYN5f9DjYtatCVMYy5ynYDVexZ3WqgtuJdcBBLzSoXoBwPyTijuFn3V4hln7bel4f2pmT7mm2y98rEvlZnye6Z+i3nUH+NY1G+izvAso9E4GWT/Dreb+FHWLcd7lnz6mSqDhPkohBf7wviM03v8cnPjuT+kohkTFRTe4P+212qYRaZoSbG7jszK4EBkqL1AKjwHtTUzBlDJTL5PA1OZvfk6Y9W6vF5qTSsOXMraLFrMnVW1W1WB1iZTSTCsEDkdMhGz3UMWA29nstQIgfl/6Zhpvg9NBLfD1TBecONE28pS0lsPXlu7uSJ0qLVtTtC+0q3SN4hMforirQslw24lc+Wd69tLcy0wpS7x4bxd0z6MhPvIptxl5nVtt788OI6eoKsYJuBLzrXldZjrnC2UbxrXXeV+4wC4/oF25n/8RCsNV6MLKDqod8cld8w8tF4jdw78tsRn0AD0oEpd2bB5p3gO0x5G4ZPapldm2ZkG+SA/fvZmkcgN6RFrfOLPtFCIvYiyUMsCQLM3xsH/2fi0lG3KOCvb6MYhb+rW61BPiug+RILP+geVBV8mf/3JZ4MVNfDZQuy0TPrICXZss0sL/1NJyafRSFPDGAciCR+u2y4qddxfToVFBxgIEo3k3AF1BPjSpNulCBuaR3q9Ps3+KvhmASCD9RQt2V8xIgY6u3wnf5vCixuXcvzSRrL3euKztTY9E8uEB4G3/0I9MAoD4f7fst3it8Jz3U69LwLlRIx/vCm1CLFi/RXMa8W3PGnOe2A5k5f1wFjfQS+osN7yKpOlO/DG8qoA8HnBXiaK3IsHMR0oSXNI5HxnUhnOXlzeXPWPOCXfHoGvPfw9KckM7UyUtoOpJGW8lxodvCO2aBouVLvR3PXL/6vl/7Gp4kQn631eLUQo6lDsFoFaolBRic8Y0rOaL6/1Jx3/Tp29fr0hRJc3uSsdPQlbkd9Ld6EjJOx9lEkt/mgMMdQj+ZlQVVTp8gnnrQkyQiguufqiHGmPLG3v8X/Pn05+/XkoLhrCeFckege510928QYtOpyGEaDH+oMifhY2ZJLJyny8nGn8iVuMrDV5WrUc7xlQUQKsI9Tae20oTKGrzXdwjTqwBjkgUW3nBud2m0sJrlLkTVpV6fXOI6dsJJKbcQ3nXkj1gLobutaM/yyVXpeQ0NxS00tqZzZLhp992hQybZ3diQS0AiJnmmBkeWjN+hI2Fgnl66yiL7KfxwreOdrX83RG8OC5cM/Ac+zYbSdHhq2tj0kAy3rUUbTbyIG5TJwKLdU08Y17eUoRnKnVAGWfmwhQAKp1g47MGr/6tZ+CZcSHb28vEyKOJTGnGYOQnOMPnO0J4qRf+eze/mOXzPCldz8sG9zX+ESvk9g8nfY22R0Jmk+u0IOgNDA86B3fVBYqACPIAaO+C9bfNxOPvWMoZPoB9+ehvlrNS6SdHnJmwjcHXOWiAWEYvP7fK8arQCamhEwfhouCitXEkwJ/Cy1vAaG8LZV34rMKt35NYhYE/P6dmsrOAazpo01XOECdx+ZS+kpd4YYfQ8UDgYjWha9d+yMg7gBvlaznr2ygxID/YGuzC04cxb2vvM0X6E96VKwhBbS366MNV95R9/Qb7IGmy7V4U+ZmKDzGvokmSS9pLuIVAKsQiKWoaTv+6mz7keEHlHFKU91jFqLfqenBlqss9LJuamgN6Iz2sYE5j43GZmbn/M9iG35EGTYTfqHVa79ujSBK4fW2w1T4ADqsJkQojAdRKIOag2wZUuMjdgo1z/au9aAq/HOSJVi64abGV/dK9sH8uGbqxkMv2A/og2Sdfb5aRPNbApSykjk5TVTKoWdOsH6WVR+7pWJRNl0ZI1+XFumHf+CDei3iWlo+k6yla07u5n43lXA/Pl7q083roFE3/fIR+p16Ju8UKegmpQoPNjcc8N/5iuBCQaeP/1VXJZp/0zX6ZlQU3uiksW0NOTu1YHym6Hhxy253oeynI/2nvLHmxC2V3whIsZ/6I/7y2P+h3GwOcpD7obUezAAPKgZLAgEvV2rnUjAZVutxxQok3fITSL4MIPc9H95cpDMkrnoX5WpILC7BhzSZKK8JcwAvENUF78oPbgrmE9PjhXs5a0RlgekLGTvK+WwWjkys3MzYyh+mwEbrbDsuBtgly/RfnItGNOxREH2pb7w46D0Q1RD7YGiACv/HdwMmcGPQAN1WeTD/yPWKUbdyuYBuQlheJzKEkzKxLqF4hMSc/6L72N5qk98kh7eCV+e10rSrUB5jDGzJCqDemQgNd/yQnPUpNJ6GAwu3ZjhGkbdUU/OXs13tuMzckmpQZzgcD6UE/dMumfvdmZtFm7uynmd/ALJXW+ypfTiMvqFcbtkOqYuie0Kd3iNph/I8t+HqUgx8F4ixPm4vuY6LGwmCvTk6S0hv8Of/FABs7B/Z6cnYCyh4JcI73JNJMzlfknKlYpqVphbJbOTwnrTJwJq/DwJcdPuZrKmJpY0XUFMWB0qe15C6ao62ef83fBIPichyI536ihvl5QHc3gOduTD90WnOXEDOoxF4Nc42xAFH9bEqM4mZMXX5CyBaFARX+o5XyKYxEMShjST6u0TUIZlh3Bsn0Hzdw0tmNcHViYPVoc6Q73VZDqQ8X6JkSTuNmVKD4MIUQ7Jlwfo8pia2T8o3jfwl+BJuU5PzHZs+GnryqXn6/LiEb9j7vNmqCqYzmC86/CaZQfF/n6ctB9zfm9h52ZmGE0cqTB0Ti42N6bAXYyUgC+iD8Q5oz68On767XyBn0L6fFm2w0VkIwYtQwKWetmAWWyfNNwL9WRVQbVkygCwDNRyGl6Q8RTAo4wp63Ai9y3C6rN9NYpeR5NsJeeAOLabwb2HUTK/CJpRmQ6PRDClgjhZyFRPJtX2ECu4bxoSwL7LDVkq/HcoO5O1ZS/3dTymLYxGw2/ViGqyMp4NVMmWYuLG9KQWgPQk7ixOomT4u57dOnk9vyeu/+XRkdAFit/hZyb61djl/IsK90/Ha2uuTE3Y3jXqYsdi+/OlRzASs6sgC6/G8CPNrI309qC4isHG+WUbC09RRNxl5ukYSxYpaZhGNqaf8XcoVT66J6YT2Dp2ZfXpa9jjoAaN4OLOHUDBsGYRGMfEjh8XN5Ze9H5pkM/WaOvehem+yb1ipcvSsaXkkR928xDYfDeEcKiT4jcNsM3HfQos7GsePSjTpKa1Qt2oKGU6rK+esBopbDWEaI4yIPrpTeaMO2ErH2ssBDw5nnl0bqul/XRjgUHYkQ+yYTBN1W4HocIAwnxRX6hjjghsFOoqSkgkK/y860bUaenCTuysq/EQqcHBGojk3HoO/79VXwe/FSJu5GX4bTya8d5/O6N7Y+s8dgHtrzZdG3ZrxYQe9lKvZG0nXJAfWTPNXPvtPGjfDmdFHF3k0hQ30+MLNfeln6fe1tY/STMa5AoKeprvf1Vd9QPet5NArtzpT1R2v+piHK1cgrMaT2tSaBbeevHUti02z6QoAfmn7NmRD/f6gIe7R0NDaEDOhRKDQeHqxis6dTRgKGa5oZnD2JgpYvAh09HSPSHcqXUO7DNj+bsYQzs/4JV4q56l009ufUQrYIbql5HMXmhAkQmk+rXBxlaq44zO0fT1Pc5gVKYisiYOt4/doYLlVDosO5qC+Vz2qq96aSSS3H2ZizrbaPnuJMR1aRUYJRzIUCK5H7d0ZmMh1q5oiAb/mbWpPj+nr54Sw+xKyw+jViJZmShYdz/i9mE3YDVzoCaJ+m/5W1cdCBwTINMkvszMfFZ3UnOgyp8TRRxlNqA5KvHeiKXt7E2NCLeKr5Hie5KZGroWiKY+xp6KgJJwEGTKBiWm7sYr7UCbGdUUU2NUCpo0HAwR/8xVB6mSNR8JT2KisZK/7D9LTZHOgZX7IKwD7CT7FfM0DR8rP902tPYLyfxbivLDHzq0xjiL5S55IVAh2G9egKDRluGJOUqfmfjtt+Xyy455uKwpWLUw2ecmo2vRacYz3VlnFYj8CqpsD2wHj6p3mP1dNKIH74Y8gj8VhUnXYb+ZHXwq0DdVpzoR9bWzCbXCbebrzrbiWfgg3FRhcnbcL91v9L6XnSIq90Oc2B07aj5v31SFhLlln3XTi+2ckA4UrXZOeEK55IXRicCfBZgfDO9ovlPmQ2K4uUUpsxPdjA40ghcJVlIFLZZKg4av02pCQvNYFItiKvPu36KGcDJbuyW7yhVxEbg6MyzhzQdPCR+D6ndUZzdZcBqhHCoBirEyhQNHuaHSQsizs2QPXbpmFjIieFtWbXWtsOI6nJwgUmghV1gwyK9z/m9Zskz2nY/gg+PlddGDgzRMi/7uBITGBiPMZiLGAcmBBpS5fjz21AHoEkrkSDnX5BH0GuY0Y/xSHA7Z4eHRTV56MAQ++D4zdSUj8fBYYcCdpBHLsoYagHXxLmj8Kqe7OsjrX6d2WuCd+fMXRgmzvScHUVdm+jTMDmAymHG+0rgc9kn+fpzgf/arIPFQ/nYXioDQv/vyYj84he8xuYzbzz2nCQf3cBy+h7zdSlm9SHedtoqrCUN1de+ld6KiG9z0lYHUjl6e0heIkv7EMgyiWxrBlGHFyl7GvzLK5eyyqqnef2uIOT3rMcUmMjiF01kqfRmF/FdClqgxyT0r9CA+FGz80C1VI7XNpqyernuxmEYBYUd4XlhXyjZIjtmSihhLdjLCsadWlwoH9J/ywyR1wQ7ENzVfATo+ACKxZkSCGQ1GoKOzB9C4Mm819u41xBG/CD+KTs/j1wDT0wNWog2sbirc230frhsY/qvQsWXwAlihwkMbdsT3XbO+/R2cb1dw6isBdgZ9Kfs92F2y4NmOPstWeb6Hnuiv59kd8m7UkoYNavsWhNPx0tyD5/oLgYYZDJHzZ5OcDVZcb05pjF6kTPW9JCt53Heo1AinSee5880HLpmdKxH0J+gm8Y2y+qZemqjFhE/OlghN2d2h2SknlTlg0fwk4+FN1WQlpVd07zVoaX62sACbE/VOMDj4hW+gzwW8GGn7OANJ9NszhTMLas7hDlFCf0Ipt5KDwPDogeCwbPvPo2B9D9X5nuYIQlntEdDv8uYO8kJaE6kYEs91Ocknku+rT97VXVm7KyhYYyihnk+yYFSCz3QRTR1iCfiyMbVjMuSgjz/MNxuWNqBzX/WOpLHb8EaiIo40chf3KJJvB64Nfa/bZ172WsJl25Cx0+iUXQqM/s+1sK52eUHlmxIeaQQrnMvJJxPX4Rrq9KxWiFtvHlhx8YCRIm9eJs5Ram9vDHCWmud/M4X3qeeofOq0vBpXAihuiKiJeLLiX6TuppClUqqPBmyUn2zTjY8N2c6Z118Jgb4OCXIBDMxGKMyHBqo3751KY88cUvhciFEKNnj8POLnWLlCsfGbvqMqDC31V25rzIHW5IyZznwCgWIiqghBdyuGvAss7zIRrtl4DoQI643CAbtTHyo5s6GxzINEaQTNfJTrcW2VMEksJQ6cMcwBNCqVyUlTRuSwido8cntIUkRE/RUW/yG0bEhcgLtKU/dJVHlIDLvGavUx2JD1uBZixgzwzAGAyhN0UlwXQ29dWGs+volbiSP3ecVL7PHGxsHeueKx8jDybwE39NnmZXAWkt0pz3DIHfGYvbF7YdmFvls1C+nVJ2XiTLFnJcSx2iJQcUYfooHX4mFicFxD/oJEpY+tte9BtulsO2gY4RufY3htQAvbxWr4ihRUF/AlqS0tcJM2F7QT4skSNuchNfsz7P870FrHrfa23iA89Tq9TvcrSUbtX54Cel2n3e4+nQp/ahd36E9ZkucRIB6IOHu/saJs092OFxz51nckwE0qHWwAuXO1BOxsCGzPa+3qNcnsJXXI16N504+nAkhOaGO8SdGo4jLLb6kLLF0yLG5VIc9pyCSfa9Tx90m82AmmM70doG1UyWcfudtHpsOMHdLYhsOOhMXksqG3Tvcfog+NyWKuq7vr1R6nN9+lfYwvZKZCZNab4xolGwoq27dldAgOAr/ffPSFflce/nOZYJXoraOPMgLIdcM6/MyiJjiYYzr533HEiTf8d/2WHx9weIUUCqvDcgiKqjt3VDk2tnZHG1ksXFLOt/p6PWUWHGnJIUc2wi8+AtZX9q04W5LsuOzi6tyk4C63cd9u0fGx4mwh3JmKJgSlHlfT5roWytKuMily/MPaiLB/EMWPMx6BPDrcJdCemy8gQoFpK/vVcsWRjPRivMnBIsHVdhK8br8QakAFoBYeWKSLIvWrTSPh8we85xRtne6QF5FgQcqntKv5CGsDSVzXfgKq8Aif7hkSbKHisBpkD+d054UH1jiEg4EcPblwzxA58ugSuMhsGAtv65PByB5f/QxMPtMBsZH59rfHd5nSz2XNjMtXphkfjThbHPvxV9iYEkIGXkd73gzem2nfw4NemNsp9BLMXd7ghSU8jZ+wpZjVsze24dMmjZWLPFmDwGs/RhbX05JNz1h82XBp+nURV0lCsygdhCcqAk5z9PXzJeZmBLEWE5n7ca2C8F8w13RZSh6rScvEQn1bL7rILU0bcAsMB4KXQ4mDBIEYc/kVOVcouejlvEzcQtyWsiimo24wxOA7veK4g5gesDn7q+VEXt3L7ybNGqKxhal8RstfuyHc2v6hqEjLGVpcKG30P/7GkhC4pF1A4MWCd5AF7rYUaIquUs4kdLHCqSpgXvyt/dy6Ul/KqkEdlT87Rndn5XnP2Ez3ThOUa9VSV2DJdiyI5l+hb/ioxqK9CtaS40p8d7i3UqK1ltgOnHAgFwWxDOey2s+y2fU+8tVyrkLGlk4PSp0avvzwmcJQ0QochW52HAoAnitTlLJhrxbxmNRP0pz70upH+p7TbNggF30n7LffeplM2wWp9tifXD+2R+H060siJ/sKil+qzA68FP7WDp9lcCwtpg/nGiIuhAG1bRSyoazRtHR/nb5HaT4fJ4QNSvvYYBTPoSOo9IjizyM+DQ8OUobafSWosqy8oYjImsvZ+amfBkmO2F1mjwmNXC7l6I+6vYDtzavETHoYuTpOE+ILRhek78cT98d+KlWZR8JLPgRFKmBle3XGunJmBGpuo0b1+/qG0NIPvZliQgjLOgWOjl6gZYZDwm23uv9GX0JaAIA2CZXQbCFkkAGfcL0tOVtUERHvKkH8GZc6Y0eu8nnNjdBUDi3SALPS8qXyT1EwaqBLGvdtzdhJ4hcDKA1jgSKyvA1BP76AEC1lJ8r5gXP7cUAJWSxwFw21JTQBzDIMHYk9OEBNHgKbvjkSm69NDGjTyhXDU9I3/3coUE47kAkbRG4fYcSg/cnXy/h9j4mPuC8L5uWQedNRHFgfGcfqsa9fIlSMP6Ol7sOjUtbM8K4ibCAIgoR42IjLTNITch0T/XqFyFYkNhe6tpdSpF7t4GMqU8Fj24jPgLUgCciIkwQnrlQXKRQkFKv0JCsQyNK+5pEUqf4SXXNGLvD5Ap+5h/gfGrf4EgKBFALAbXt4ii0yHixpaxinmOxHZRom16oEUL4gy1RU98EbEvvAplbeYjSN/PTx7qklp2z7nE5lSLK+/5E9vAvp3wTWl5iloV/qN5gH1bVLAmFnNSdGEhtiL2dBuZBJzHNsZ+GQLkfG6twuViVvdkmb5Unacq/jmjTOyF+eW7Wym3buTa8OE0o1yhwyI0Y41s58Lk06ps5VM34mhL3p+8B8rjZbwhXtdqGS196KArGIBGRI4qPEJrVgKh4odpIvtv7wI6b/92oYsIaMGmqor6dXo2ab4Oi/UZ00Ej9f1ayttcRMI3cDLTRlrD2qji7BS0WQPab3kJrCu1Y1nDsoqzHRa2yBZd+WyQEpto/N7vSmpqZp8CGjCp2WQFXbj11Mtt6fhfs2/J0MZqTLd+sBA9vX9zra2Aan5G7jBS/NfvbfAFxlJGi7BD801Ycvk4iuZNTxaBsHgt5oaqRn5PvsBwCrclo81Un+8xJ8TPIr26nrC3HVOuXKNKmhxLR5UAUWhh/PQGXDlf1csxRekapJHpNgegjFRriv+9hNgGGI1TN384+AjsvC3+tg53vws9AhYmhHcB5aMevKg8HxsvpFuWizqaB7TbvY8yJIGqiDZVaxIgOxXdUGunVrL0/ARGdcFKRTcOAyxG0OST5/KqWu2YktR5YWRG+3KjMewIKY8DcPDyPGbzrBtaHNzDZkzy5MThhfGtSSC5/jAgFoH0At4ms/fjTnfr6vfgVSQRcSVzUgiOJQMzcXP0Oppw8WaKgfepCn4f4IfoZICC0JdRi1b0M9+zvtxIwR9Te+51dPP1LdAHAF+I8bVgCgiYS2/ggJxk28uRu1QFJH/XmlRwnGma/FAk7Gsjn+J8EFPRcoWY6CJfy7nXYNX1y04Y9qqq/KhreX9lmtP/auOzsaTBau1/Yy28PAImHHJIgl/W4uzLUEBpb3+LJdl+xbC+yhG2fpZFAwapLWjishBpCercAG6cZ++sslPAb36x6aF68SBtcfV4cikOUKu4BjGJ4nT27vk5UeO6OJlnb4YYwIgYe6xthlmbYhv/ehMKuefRx0KbTYsqCiBjf0ygplCor95XrKXEuHc4o833wygrXKDn/HMG98lrWw7DiYDFCTfDZyWWhbrD/ZYhgyrYEa+WE67IHA5BFw736hFna7FMacd67NQ1gE9wtf3vLdra/ndTYZntbc+GDoexpxrJtXzyEmWAUCmy5H05YN/s0U+bDxE/iBEQqICdpmBGWpFpG8O8RoZJaWRgYX3m6DeF11CS3CDAfYRSLAGWSVjS0UpcWzgg2elNHZUaT9nZhMBSHZHtCXyK2reppeP8svHq8/PWpvQkL+XvofluK0kp7w7rY4BjQ6szZmltkfRcHFJ0RQT2ObwYvjM2b9ECi5KqBKc1eXlh7JxCPMrc1ls214fxlWMWqKG6YEAyscM6zxlIGay+hN5zb9poNoY18k3Dk7fRkk8tgoakhS+wNaLlMD02HuGyxswfKCkqyYyWA7RVCYQkrZOM7/Tdqhf4IpX+V0rFdbvAY4JKryTS0erwragzcP9PVW1/j1r96P2HQr2N8djDhQsypaLWfyPBcCZ2TwmRHnFdCBxQwNNYOk+81YOk3s+MJbelM/evMs3VvbCmadwmCPaXq4uVodQXeBJybpjG1QQh8hyIUQsUbRSd3NcUBawuNE5gcHHdqXEu9HAveq9MzS9W2kWW+F79VfZQzJCxPkEdyoeLfC8c/GB6LnTT5vY7dyUM0lsBZb0sF3HdPk4BWYIizZSXI8av8OAtDkf62ON6ob9LG0LJc2WPu90h/KuYTR/wQDwvOsfaaxNC1O2xs6NZttsteAIs3SIH+VRwdOlOxvFLGcqwV8oCTXaKjNhL13by4wET2la6F12p+mlb3a3CYo8VPQO3VKjrTWcNOnI0RqqqJ1P5pdwHn8VAkkgHDAJ54A5gRJDsjY0cQ3c/AB3xxElxg9CT606bkDV5oIcu3vQDZD0Q3R1kthcP0dB6cFI0lrdgJbljtS+/Ac8Scw2QTd4LkG9dh7aT9d/Npb0UPbqieWiab2eR3v9iJE5kByIXMSf/52vgo4bG94jyzuehiuvtOg73obiOIoLN2fh5IeuR1K23zN/38zp9u2nSm/7eljSI0eWbjreIC45BR3rwcfAPGRKbfmIUENrjEKs3hDXi4FYCiYo2hN3onkSqKhEXonwbZdShLy9WmYMdmgVUTnAsGNOGjUKUmmKxRDkAObaITXhbHo4ytyJ0BYEiOAT5wSyllyKEL65R3fDQgIphOSVZ3743PtAi/OUIOaiRViBcsAOUQT8Nr268L3XgU1/OaIOhl0fMyPphzDY6TeKNE0PeBfvLm4x32tnXDEqWvSFV63hiLwYECv2T3QaNfP789oN/gq2CbjVJGjnT5NGe8JR/MA0FTlNrbq3stp77LHUQzllj8hol5Ci6lfqhA5vXatSG9AGHqWRZWd/4YImRvXE8zWX98Ny8TfRVo9+xlVoMpdL1LzEaNkJoH5t8GF9XDXisN7Z34WoBupE3Kh8umQ3F/kXsIVdY2RrSNN9iivtKn3O2eLtAkpTJSkWeMc6njDbi3exKY5fj2sopB8jeGpZWwcijtLshmZpJgzDZDZl5w3IVjlTpH+T1YRNQG3CBe98XouHdr+J+YtjzBy7jYG71VsSvY8Jobkj8MQyTlHsyMDCEpKC3jhTsd53DT9yM129+Mosq2zsTDCgmV35DG2fxvMcg7oOrkbACBFpQtljNwGCamWFvWQO2sMrW6AH6oxfurPdvgR4lCryptF7gN2i14KNNjDIRMx71GI6ExCmfEytxjglM35vsLmq+0o6CZqRIk1cBolVhsLG3EfFv5GeX4csa+gTlMramh3UV8m8M80SDPmxg0NSMnLenES5ifAMm/tAWNh02CNYcyx84wsEsj8Q/GhUS49CFogWOZ74hW6ZBQIwwMF2RWXtto+jy39MamIBaMfGW7jrkKWY1Mf8ikQwgZ3pIkmU+aM9i95BrZfvYrbBjsBm6soBSyhJj+g0hEc8BsDUVlFcL7/VhmaxYL6JodKdpRdzoE88uphEN9vWfEPh9mS33Vrc3ppvFc2WwTkUYOv9xB+YrkVeJeiS+W9oKqRNAw14jWeH7YZ/FhR6zNyoQRTgCOjIpK/jLl2HTY/O7CanbqAzhbsCZAR4Uamb30aCZy2SpBFrC4RjFTWKWTpEWLthI4eOLEsloWLWkg9EtWitj1vizrx9YTPudD8ywozYiHEd5s5/Fe8x1vzM9PJeFAtdwu+g4rwGWgCUvBUTZmuGq2ROXyywGQ0RFK137Gw9eajlHHmqraswgAqcIiKXHGhpc/Zf2ewTEMNoYXikCNHuGENCqCE+7vmgTZ3kr5QD6t9g6lqwJ82mjEs6/bHG2W/jD/zXTZEReFoxjrmgao1C12OVTOTIryRWufkV4nCvRgzIDgy9cVcNb3TwjSGfML3jlChWkYFkapr7t1E2pGDMdrUYR1lpUSH7jv1p2XGmf8eFau9ZBOpW4Ts6/GxboK2DwVwxCXFYH+jFuvaPGGJQ0Nbekk+CWb3pkxKdj+3MoD/QYQfVGcX0+VOzA7rpSAYMfa+wJywL1BHQqpqlZz9UZtaSyedUOy0x2DBAYCWAa5WEDAYkeTy6YFkIaPS93J0wxEScpu/31QtN3wRgqXHd9s52MoppTFNoAXvoRa5pGRil5QjrhnNL1zNH+nQa+GCedTpQJuzEba/cBGGFjRpviSdH7RFLaCzarkgkCckpWtnDOr0BQOluxA3F8+eBkrIGhmZNEyd5We0EmTOoTrmJlXyH3s9c3hHtmTa5ySj6O4pF3r0DjMAuf9eRNMpDToKZdOwOBPKft01oDwsNesrnlrhgUd567omDWqtVvHGPK+KpRrn3ndSLoZLkDED13dItT3UKFqfDKG+Y1wNTcu5VClNRvG+5oCS2xR7ZKUycCB2WpU8e4QpTYzOZ3qDtGNBQRckoki8ZO+DTU+0y/0xRynUjhIu/HHdEgr9GnXkjRlEvt9Cd/ort44QsvOmKtTE6RvT+JvbMomzKWhFfTYn0uLrysPxYcgZK/HG+Qmkbc+ct3ZDd+WltsMqhvGurwTUp205rizMXBYz0PIGu/dLhDBrJGd1ao+mqYHpInNDfufccn0+8D8TwO3W+aqZDrKnsHDfSNLiosGqKcW68xuClWZamjLPZZSH8LJFFRafOYVjgD40dvtfA88fa8VwnZVa1VglQIHD7kkx60i7At7LeXlXn3LeCLY5fpBJj9yNUAas94Tem+U3bzlN2xtUl4Yu3HdwAtb5nfoZemMeOSlKrPZ35o4fIOuCEWnuDXlz9ohBypoKNsmFqUee5ZoCeoNx3pZk8OyO886LLEISAqP5XLZTwYF30UDdLp2Q57nQKaBhpBn4QTqwJyhBzp9gVM2sfEDib+ghdHm2L7Vl7fykj5qv29zwY4tEZLHMHXgLT+W3RHbd68LumLv5vzhjlYbRJEN0yx+KamsHY5DwXynQWGEum894+0QTEWq9zPSpmDrG8723dbn5U5PDXoh5h9ja1REFB93honmgQTAJqzAMfC/p34bQFwqWqLdjbxfUldgdkcKZR7cjTAzHxKMDCqY7rzI9NPbxVH2dBdw/XUlTFrrrlDwcgEwBm5ol8IQlD3bFEjHpXaZ/ZopevfT+H6qrDkDVfieBI8IEf1vRXlYQ7spqcVWN36FxNSatMYlIDtGvmH3zWJoWa4S0vuLB6kGF8YDeDxtVXBuYydykvIqJLkWeqRxVMZI3JmEJGIFWlYoQGxpvRp2KT7NqbCjTooYtMWQ0vUp3V2+GhRl4MhjhznXDqiaAPub4plgBxIVPyVPyf5MQ5vfFRanG5o5qMB/hJhuwwYSISGgrDs6RuxgtKSar+GZvviIWMp8Hai1CPd//Y+evZKegsyKBa1dqcY4I5y/euJJGFqPfLO+2Tb4QC9CXeUAE26lqUlzWzPWuqwbgpBqjipS85Y9yBuOjprV6bUKthvIfmcsdy4UoDlVvtUsHSD4I9czrxazM5WOpNpWjxe/+DPsnXIiM1TEqvB1WoLOX/WqawTf3Gq+7Y3MjmHzTJMm5Jyz7G7sx1sZaOycBlj+K0Z6VH1U5YvYgysk+Qtxpt5x8d2m2s0tWORNllxRHn+yaPGpNgk7G1yFsEEuK1ZHZXcKvqbwbzNlCE053duG8kvVPfrShJZmLWqxbwV2KqyHr7h2jgZJVxVmIBzQkP5ifpDMlfvp5vvhnqeddvF5gNh3VxkSpERAwtYj/l8dKMxuFQRvL5UjEKX240IzseTIe496l6rC8iW9EtT5+kg2wAprC5b/bufscjb6VsCkriy/WbgclavvFJK3vENYNLwPRoNOnOWhxvegX1D/KgquxZ72fdJ2i2Y4M9fYmTKrZi1QFWxiTrZwAr+B3BlwEm+jd0Hoby0ipB4FflwrGUIujDE8bOBPAXmDekuOvn4ZXd5UKY7qOTjfkWKcZ8t8p/Dj5wC/CEve2XsXGTADbtSbLNkSNcSS7vOB19srRjL3dX06BaVyRVozDUG/vscMnsMcNHJsgDt8AqO4BHzpycq1DHYHYSF2eCUK/ceofofku1866V8KM5lWSF6MSaB7xEGDuLCHv81ujcj9Abgz5eW4pn2JZipoAeL4PEDOeFN24Lv4yKkOXTG9EdVGWCa00f/xGXlmwMTy5OUKqAr7hqawADE3C7eHXPKkIlZTPwwM1dR4ndSQMZl/Dzp/7xbqUTIroIWfHRbzFEOBB0FowDumi/BR+R/S826hYHaf2Vqm8j9jFZkzevPNk7MPw2uYpoHh00+DHjKovg6gLFh/S6Ok1FDLaJ5OhcpH2TqlccFM4FHfK81MZ2cQgrrYjJugKMuQlNTnhsDgH+7y9Z4IsZiqMG/EczYZOD1sPnxGe1KF9gSSXXMS2ei3lZ6VrjOn03MpCoPk7krICrLem8e4lqSlfiCXcFD2YgZZGiCFXEa9fx+SFOph8ONI3dvEzBs+GXa83ueMjRQgwCbsFCHcVNw3FGxFO/XEEqDv+Dv5s6/g5EnAilgoIacwjWjNKSw0TMwUm/mad8wG3GZOpR2GdG+X8/jOlhQXo5qv+jL/HpUkso3/eN3vnCsyl8u7H0L1ZSqAxcps00jojVRIVY8ZlJb4aRYgzTwhH5mPq7Jo/Bw800+C0Of/Wqk7uiR24nSnl3kZipQt5cU43kgbXTpLxuzlYM8uokFUBGn3teBZwhLjRmiBA/6nJAqTmNOBpUqVEi1FEPfbOSfMYm5TqNNvLZegWPllYoqNcZS0vfd15YonvHU/g7org6wVSoVZeR/LE7cBbd9z6qhWnI53Y5eDQ60LzHAm7HNzI88J4nlQcUHqnObRjKBm4SNKubRMUro9Od5+l7X0GJmHrO4FnG8npDaH2c1ECxVpgXLDQad+hMqUki4YfasQ0WGLPXjl+8jYqjSlIJWh7SSPP7R62KiqVoOCJyS75tYX9KRjaACX74p+Dn7uGBYlIAaCpOYYHuws6KaPf/TPKwdHMGgfpaWAhXpgClvcPa8GvxDsDcrMfBwgDPWCsR+gQGnW02Hw5Vkwa4q1F4c6P/gTv5OOg4QxxVw3r4vtn2X4Zf3Bs1ToTqj1k3OdI2G91uOnwozrvMryKoyTZrmZrtsfBAKX1/sNhB6n9iplCBC7lyV4rqoaokxNKM+oEYMN8UN+BAx9jBCD118uujdwR739xMk08YBfvUw7jfFBsluIEgv4ibq4cDBGrnm3HoVfJAoWgx8ccS2xYbV6H20k9eQTb4aKWvF1KCJQHhcIh/gNpL3C2NFq/rGELD09t6Sn2XqBfsUyKZL0TyLvgkLCq7/knXHOqn4YFOpQOjQULVhYbNT/vekR9Ws8wELtFMk7nZ3x4tm4eivxVi8uSQnlv8YJEVwDOicJNTKKxszWPqXKq5wsxQyXBtqM5AiNtI/QDCnYLKZ4NLOzgGliOiPqWh2Wddti2PoK05WC44F1s4u+Azeqo+ehPSWckbi8FdMrU/D98m0aZePr6FgErh7cZO3njtsuXT6ZNkkm3qt4dI8+/OYOpokG+yIKFl4EnOR1hHWSekWuC+gOGLMNuO98QxW3P8MsLlP0KCT85zAFtRvW7iLpxOGVMNzv6gKck5bp0zn3k2roTSd4m7tZ/2uBwNk/C4wHM9QIN+d7Oaurr+9HUJwlllWYlW8C0d6WdvCwCPbEGV6GjmzVDpwxFJTny8i93M59H+4QGP/fGvWVSI4+REZot1bbHjRhy/qJ87k5tHQhGmv9WVBeb5UgcslmsFWLeQ1YkN7O26JrYriT+FRCxhKyvWv3AjEXFk1cS9nMGzgLeSWxownouQ2a/+UpO3kGY3grawEvad5Q3Wj/grx83rSYkp1o+aC1N+wr6FewrvMkOGXRqV2lJK5iqS3K3NQrkqFCDyVjZcHSJfI87B9n7Mtvn8VXcOnDF12U/thdDnpw28cksA9P/qQ28mXCfIgZhKyL9z/hDbU6Q78BQfnEjuYHcQ2BheOQbIvBBFZZmygHnmbFFVZ+b+NL3eM7Su1w4V9JXh0gYtgu4iADJ4HQlNsh4nqTZuaKgl4ZGjXWHsWGR6vgv0eZl1eSff6EzCo47JpQwq9WBR/5uM8QMaz38l74xsIRhS4/HbV1yusUvm4yNwVPyj8NiHMW4IoKTok2hwijIcU/LF+u55L3RR8cPUAVRbi8uxCO0REXTnapK5KRE/I33Mq+e/YG8iByGkE/0OwnJ6e9C9QKDOirCp7U6/TnuPeAksE3+8RQ86aetizy7Lcf61/rbZA+YXvGUUqpI5avhV+5WBrIFxcSe0vSB45Q91AtKha6p51tY+5VBaAfQiyTzdaE5GIT504nk2uwj42Cy44ttt5qxK1mxzF9tBMieKIiIlOcijjruGf3jDUpC3OjE7b9s0pC0ylGH/xHT/YW4/+kk+xQU4ozcA7bIfqMHFKgNgfeey7556LK56VvsOpLMITr334EMmAyPo93S7CQ4Qwgq/wAUlPae4WXpiSwrTKWyIfjVCDUd21+fvmc3eG+8+0z0Y8O0y8lIaq7A0TJ0qy1PajxsfKfNeUjfhjAX67VQ+OpronsmJYJBkXhnFaSRzBtfjdI+qDYGvZXzq0mJIm+WS+LxvwogzwoztddfqGxJSK5bkm0C/iaL7UC58JpUUrDmF2dK9Nrgyj11vVFr8sMcoTWgBnVuGiyET7e2xLZ8qVlk8tf9ZdfpFwX1ziofueN1Pd5H2lvOzDLx3u0m2wXbAB+Gl/Yd+t4HNuAA8iyTJj8jDmANSKqwPbwfs4QpbJ0Fk42FL4/aslG5yvCZhQeCbtwhMoX1Zh/D2JFl79Ko54Ke0ef3bcbsgOvfTQR4KnDTnMMo2Zb1s2r43lPX9kr+kfyiLwyd9qKD34Kc7n1esGeG/cE9R78Lp3fKYlrW+GTlncZ6q/cEFdIlAxBWD5vRl1zuHCIiWpVRFLTuA+F8PU+yiuzu1Y+85UeNOC0TekjdR24tJRUneITQQKM0pEWYe1gg2Mxpt80FvuRMHk//MyqY/EI8rf12aXAebvTrQ9CK4DqqeyPaUJWY1iPF/rYJ7c6ecJ/k2AtRfX5rHGVVbU1TCWxPZ6dm4gmRhLInfNb/RK40oGBmHKN1ovvHGEeMwyhMWk8/Iis+Aolup8FtN7vNkRMKC3oL9Z7FX6/rIgwloVjfZJIdQoERCGbgUi9qseb9rv44n/ny2y90hkPszFdvP3BTbFadetowBSrOKe9nZu78EXYYg4PZuH11BykEfglMLU1WsXm/0ttyNhnbMSW+U13U8U0NyNUIqRcSNHtE9JHW9QBECtOV0g5ioHbDYJLc5vbp/ElB5RrQlxXQcdHHtf9olAg0RWePIN/fDlXhGnGlfuC++4vCgJQFv2YN6B7G3agqED5NxVetWxVYAUIliD10Fhvqhp2NCF1iqa0SFT0mvOI4rynyoOjKs2s7FxbK+ynrxPtZjF7qKvWDk+RkFsPpzmMnN2Dfh+4RavcKXyFwszJBev3iYy8yYA412YzK7H1OaxZSGgTZgsWpnYSXDR+q3QutLEARg2nhdWusclIHYARjr9oHWLbvx+a68oM4Ej46jEVeO/2sf2m4SBkp+L/3LQmd8TpJfxuf3XXl6plfklH8RnhnwmzotJhhd0AKtFl7dc0SaHbGxwWvP4ocbUb7ckEnjoYYu3nBik7xtW/r7+QM1K3Q83PW1kUwjst4AgxondRfpHJ4V43ypVRG/7SW84ThezYnujjH8+KucZzVdyPxr62sjpNLYPvKPlpsfuMZ/79zxZaxFA1H05J+jXS5brpGjVmX99hB0TGcGYlzpf1qOUxIRoEZLNxKyLtqveUb7RoYeBOYdjT0J8i53nbCqVSaZ0gmVnYqkNvD7sg+ZO1T78pDQeqE9BPQqXPVxEia0YPKnSqfV73BZie37p7dCl4+vw1ZTi26sZr0GOXTkAN2FDZJYiQLhH8cpbJBwflZGpFZhIrTdnrP0mHA1Pft7KiL+Gv4L/nAAzMxv1hvtt0NTYgP+Z+u05xKIRHB3lDa2BB8A5MaKrSE3MKNqTzU9p+xUkEoepN4IQGCetdnZgdjoJT2pn+AeoNYc4hHj0TYbHy3107Qxw4+fLAkVW6m+LEsQE+GQ2VAoN/57DjuGfvTtwA951g41XExXjgugh+cvHjJWMpDo1M8PDNSOH4Sq4N176CT2R1/UQut6v9N5vP/WGUXsdIyrgsGEririUyytdQ0A2uMIb7KEtyO9PMkq6NJ6Ez87bNS1wpEzyyvaff/0nXmq7REpxJhkV1AFG5KcNnOn+VozDq/+kFZgGR9L/7Q5a4KoUpKml3xbCSnH4NCuSHpynPsruxF6bcLLwM1eGpieV02D7vDcHYlEEvuHLBIGxIh+eTbIAjflboio/kZSAmhSWH5Ce4WFyxn2wyk5TFyQ02C8oI2ynxN5NYMX03cEA6TV5ieQ9GSKkOaoB3yrTeH8apJ50pqak+wLNUtomhSoBkAMgoLQTRG4G4/6P0PHOTgctANq6pywoW8wPVxWjFA+85RnGBEuBD5Gy7+bAOcPHWMD+3jkZjs0Rt5zU3zujbqj7vLPVr4TriH/xFvdT5Nhk0AsIYq/uH4JsinHh6GA/KZ4Z4giGU2LqC4R6jgMYLJGTM/ZJbvPKaactO0fo0jiGCuw6t8M3S223zntadFY4tBmrLsX1/X4da9ssB0mjZywPjToFoQodTMO0Qj3BYc1gonn4oxgzviO7in6JuAjpta43vONEtDXIfaubF0Dokpy4oTB51vzwie5n+htLkJxeikzWKTpABPlnh2fChtkymyTbuUYJnKEHEtCbH2idwIkBPclA/Ejpwx8WIbkWPKrWs6JW9Ds9H7Z8ZfJFwfxKExHS0iT9/8YgBVL7uzShHXHHBlhfLTARAuhBOZOAboD7rWYT8HpbxPlJLnYuvurTJJpYteQA25IKhNrR5n8DRcFZ4jGJuhocVEltta8Ea0QFCuYYG763/V7wgGmDggrI44XV8cqM3PcueHvrI4fUGxoxNZ+XzYDPNswYnrlIy1nxNw5lqKg3F2rBF8r454TLxXtafn0V6fYZZxvGKmJVgLSKJbOrvEr60+PtJELYfaxiiFw82LE2oob1s72R3iYHP65KbVDOEr6yE4HuLh5hHyPvDjQjR9ch5pigrxxuMEAUALD8CBDY3dZrZqwoePedT6BPQ+dgWXBY5pgv3egR+Q5nKSlM8WBYk4iTKPYa9yRoDb5IDJhW0euKcwrLBplo0Fg+1qrsr+huVu1cTUX7YN4sFIHs/jFtgWRvfJom4cLVsg9ZxTMDFaJIrLuyFuNmB1g921GPxlf2xddMO9XgKSQzOvh2GW+m03l5Q0uLx+woaW0G3QbABcH8/bUrBzZfbT5s3n6/+fynM3p7Cowry2Vm/PWrW8FvJZXAIcIAR9TeoDwYoaR+gFT/Cou0KwsHphG9N1ardX/xxIOj1BBwEvXS6Oy6SAaeTIrNrk94nwvF85VT5dg/kDFSzc4AZ7IXudOx787G3iok9mlm/RGhVK3hsLVLba35oBhxA/56JQKTaYWKrKP33a3LXbzRfLEe5BSJNZBcDeUp0FuxrNbRsT+ZuOIYQX8jdCivnOyXTo0Bene307qNVdfs+hR4+9vb0RaMOUwDLlLRc3OZyCe7xgxX0w/fBUfS21kFSLP9my9XtoLLo6VSMN/L63UZI/6VYp0Z3/4M6jRvuaoaG5tJ28e+N26qUrg31cwTYlxAc+1o25vZ6+gIHFTpxga+fEOh7NSC+yKkxRcNthHnX+RZtEy7aXJHm5JxP+0juNeU4Lxc6B31fR1LSrBU92YCR9HoTRpNb/IV4vZXdU9WLUd0uENvvfFlKG0UFVh4/aMUQ26M+B8M/ks79bo4XmpmQhABUQlKh1iybAyhWopZ4FrlD6sBtwkWNMcxAoVKWcPB2sZrhQwLAPoN68c8YT2Ler74wb5fvLxH+TOvkIj145OmSPofI0djNrVWPjnL0TnBD1MKVpRcK6K/l+mkviF/0rCuFuQWaQTXbNahFEUwKiXhJnO9N1bHcSbgmJnx3Ktd9eP2PVXofp25VC8y4a720p5IoyyHibCRCLS2d/q2ylQjpe2F3FLWFUwHkvA1sIhChuoS2EwO4ElVRIp9U22R7eKHaIdairGejqgtxiPnd+VFMtU6/Oqv3sgpO4XSb4o1YMfCoSc+cq8LPi2maC0P3ejeEmnB5mjKeyk0zL2BeSaGs7YGxiPSVwQXUy1NH1Nv83mXnL3rHuTPNpzXCrqHY1uRf63tvfFqGPJHQIrIwOGIvfzAl0eyf+bGvmDxfFwdB8/oJy+bGikRpfri6eG9jK002nNQq5oGk2lwuurUDJZ+RUW2H6W1lfAW3V3Hnuq1Yj+ZGBz4SDGHXn6q//CXAuLa/rzww3pu+eijWnRG/T5DhWz7afTC//t7bCBoQwPW4CNwl06vhvg+OfUFLtbRo6AmXQXmPBU23vkcRoTe4/bRNrMElnWcBfZvpzDxwL/jE9RgcA4CcQ1fnqBC4071GnCgnHTPQ6wVdFesIefU2yUvDdOcC4cwz4m35RY3JFnIbeBC/Rndu6iwPXEvQftkW/4cwkqeXnQoJf9BnM7J5M6x76TfjrAD6+/GKJ156FfIzJ7iK/i56T1T4Llg1f+vdhq48P27VIEgOcU29fAjHA+t2E6WO09GLryL/7nSBymlVzhOHH6VnOe3z9tN+hpakYobA0PRIKsg+Dg4xg4f0lLTJDPL8k8971p5fCz8Lisxu6nqdRrLgp1KyRf0KiUxFpJ5HV/NfXiyR3sShDVXdx1a3f65c/6IHDC90AMagATyDAwvY3SodfWDTNjWhdRucB0dqusTbzUC8rkmA0WaQdhpRTQcUmustEL14nBSrINst+bTzE0C5LmpF+8RXZzomeNstm9et8MW63Y0sKKfHkVoMYtPObZ5gqmgZEKmsfZyAUP5pndlwKsJZNtigcA+zchklEdWA4b1ilRFm+5LVhKQ0P37kEbnyWj8BHfqtSz1KirVYH6r43+8Y80oxsxQmhI/fyW6KY495Vq1s9p950EQP5kYlid6IvEmqa20wmyt2dNABBAqW39yMfaxG9PSQx2Xmo6RLa3mV4A3Mzk9mPmWztIIk4geGQSdXPjUoD5u3h5lquLVN+uk4IZrq//QGckdhw8IKbHO6VhtZ1m1W2RvbcoOZ/IVIw0fB0p+wIRYGqPN1RtHh7hoDd8f9NonCgnZwRtAKGEGO8MACGekV37D8rM6dmu+5/9iE/LbJFOrs7ZNVs5oIfprk8n1Ds7s74zAbG+C25qHQ552peZnIlOZxJzSi/x+dRnC4rTcuMXTfsW69aLlPTFPfM5NIz93hBD8z25Kq+rGQ+2hxoztiQ0sbZZuwf8BT9OA6z3g92IPZt80aXq6OwzY8AZ2wG+1f1iVGL/kcqWs1ip4fSvd71qV8zdGCarriM/Xs7aAJmUDvdj5OotgUHgHPCakeg0JPCD5xYaq5kDjHNt+O/ZVcDRZXM4meWKoTA+sgMJ9g3kGZLawhQIscVdK3fHPMUl2GmMSIl4YZj/Yg6UFDRRUw7fxnt/JV2Bj0A9DC1dzGfHeUFg7zqGF0auPJQawZLgdAIG7e1OtI00/ZJN+kYSZl5k01PjubkqqjVBuriMryo2YKX1zJotHps45gVuWBEa8ZRqKRF28OEkahY/xiPAFQLwDQgaMt+ny7jaHpJPUnWzckJOzSWamUEnNrUdzDEifPBb1JkPmxE4Bm6AXSDHsfnzLVFuL5agavUKYus3qcxZIGth5zXADnNHuLVjXID9nBId23HlxbJ3OJ+JQKRBUFa9P99U9JpNEjAQHXCm+24Fn8oVWIeT798/qTk0zyJQtW+PamdhgqjVPN8CdWH1WezB85YYx9vOfKzTHdGtu4u3gEvPlWLuInV/2SxpE10VQUFqwW6bee/W1xmMmpKGsn50ahpwvR1O7esBYu2d0400xj9i5N2CHLqSwFMP9+DpHp0XhL1gPgasHc3LXCCkNTSQEzL63mBAVa4DiUzbFixGZDavlNWqwEeKkhtoO3QKMvyrtpueuya87ADrj6yb+rtv8CMKUIRB2nTzwTNd25ASzrqkovKN+dzkIMi+7MRaNc8WXeOp4fVz6dQJ90aoZl0+Wkr9X7k3GoGOT1E4bVwgB0AiiaB3EBaw8k6ku9yOpcgRp0qe5WXMEa75VCI3/gyJDgaTDxsGZMfXgVFfPPLCzTx/227Dq3wwL799HaGdjJydE3Sl0z1hVDrYMNvdSDgiMKp6GqcutCXy3xRHFSqglgPFzu6U221JRLWl8kxsdOgV+G5eOT6TYKGd8EZzggiDEo/70NOzz7c4FQ2SzgUCy8en/0ROjhUc5hn5UwJWh9O6xPb+9ja5mSRs0nAT4ICIsaNv8B7+QkzJCsAJ6Tp0ovB8SNd3wzRyJ1JhhUu6cgEGRmjNSS3MeEDroO0BKYi5kmGzkUEKiArzIng2MZqt6uZdaTHaBRmUyV6nTsA6ETIJMJHdMq/KSLLGnMpWLamldjSy+YV5wlO4HJ3/tD8B8RNfOee2v39KM6ANJMWJvc+fpViXEPC1MyQ1YCTIXdmIxoBStkE8HLntPIw0Y76eH1AWmuLDiit3LJ4Cd4IKp9XC+pcXB5F1YdR76HK63pGwfm+N5gfcKiLpAa/PzpHi1ybcZrQGyp9+gzVR649PNLjga19wjn7ywRrZd4JuBJ1YYNqxHFT0gAUI8iH+zKjjUsjRaPoiw7mpZH8+g79CnAZnE5hurv50u15nqCd4Dgl/EqoSs6NxPKtDeNFSPtxuAYjRWshQjauQLSY4uqwVx+Mo/8JJyUBvATtttWJHHek/NRQYngIpnLyh63fjA7weJURlN75xsi/BttJN9SMcpLkAExvx5gjAAW3pAffHfFHMSOWEISssmZj6p3NWTlnn06loNf2kZnPePtLfW8vD2j7bMuW8yr38cLdR3qLnEoWNhE27Yeg8Y0PMk4jajA5U4VAq2A98uuZEZ0t5C4aBPWedGl1MLQPxCdww/0UvndEbgdmbv2Qfwo6RFaXJNdhOUnrnh4X5eRjItSFwnc6GwNU2wWjeV0JiMDJiV99/aul1YoIgkXDKE3JEmlWcEB46tcR2WxptDldOzimn9rbEVZOZxziiKqxjjf18cUjfODJyHKDb3ArNZYupxyOC99RtQXzS84CDXYccehS9nJu3/ZgPlsi5XV5kDbGcDVXG6OjFdYgDMklGMTe3N1YkvIH7pEGYByVrRLq4Jf/Mz2gNhYIbfAm2tFnc2Jvn3sK3vifWX9r56TjLLgcPXROf17VjtQI57PpKEjD3noPWJspZKdJCKavLr4+ZDagRSiJ9mZQ3L6MmKZf28EIapE2JkXrQwtrcSON9DV6KjgmpT6FN/sWJ0V7V+HuZwsePDMAwO8tayy5hV18QXLqouRjlaj7Tams0WwIz2aLv5Q2I1ephcO+0aOpyrjchoj9+8R1ATi3j4yySRZgCDXwZHqXGTOViATXGlt9RlOsfS/PKeU/5PTGDiLt7Y4s37MDdZcuzcXnsW2zgLTacogiZ8OkcAfKzPf04Y62bHXs12Sdnq8fZCaf5jlj2svooFJJLCuk9fRhDUNK90ilHsWmXKGiMJJYRT0w3dRq7Ld1+v9aIIDJ29pAYvSBi1KwS+UUwDypKaPOdt4Wbl9qYGeWhwZr1+A5G590LFoXal/rGOx2WHC+K+exNJoFYYkuCit0u3Oyr6oipiYCx02rw2Qzfzm+6ASLlwxSEI2LAJP9uPUDHXgdhWd8bXuOXdtr2UbRSRjPsDaYJ1haMnf6OD8GiqEzTIcUhh8LlZ9Jg6xU/lrO5rC1J82jmdYtUmiU1dflPsDL7f0zmSA+PHXDBxM+Y16+3zRtWxDiLX7LWoCZqDx0M+N3dQPpCvXoELeBKVlElWOl6opcjc19Hx2/VAFDgFQwGyZMFwPYUIyXFZRExqXKbK1Dq5OFLs4Wi6pqmNXpzkwkpOAt7+yIMpamnXB3O9P8MlPwcRHVnE9T8ffpDYYD31/43ZH1EnkPwU0o9DwLzdSHBVCI/BDP/MbYh0qsZhpwvYTr43DTuiXnCD9F+tkfP17+YXcVw+cgc7o4eML5nMp8dLGL/4Zjf5YVXhR6lJzZ7+jfr/DEIaJ5T2HcKNDit0C8aQ5WJrt782mSjHnVYpJ7eUHxDgfp1SOCIThHAeC9+x2meXRgRU+WZu3ahbpabUTLpXVzVcV3JHVNRaa7C5WlmM38WVCnO+3gwcLkRAks5peGaVKDTETjClHHKqOCsEpfxurzx0cFjPEQbd8pFVxcCKlL1/BcjlO9bDg0iF+stHPrPvk2LDM6cDE9CfTcOB6RJzcm38/2+jaEjn4MtgijBrWv8FLz14+z/BIi9Sm7gFfBwHxgDC+FOk5rgmSjjSzRin04nyW4qZbP6CfN+cVGSLicNvglwnBe1RDWj+b3QjRMSgGCKUHlLE9Jc/4rnly+CbS5O6aU/AiTCqC/P36Dm3JHNbYJaAAZPPaAczhYV5e622WLSKeZ6Z18HO6+lyL7YCov+f9i6T+qe1w5mSkq8pbJqFvp2txMOob21wnmLEZKWcW1JmsIZ46xhJN2HMgQHn+s0pHe/2VeiOEVyMyKfOGYkNYctTzid8wfdMeHkyjME7DHWG4X1yUpyA8jp2j4UQDGrnPr4e6+XRgHu7L75D0XwuTsFaLiKkzqkfP9+5rLUa03iqRyFGdsSfIlbHNOpI6fiSgOwphmkQqgGmmsqHkYvaEJnOpxOyMApI9J2kuLx68RA3SQ6o5NcVwshyJQh37OVgvnlYhDEvYXbfWWLLuUl/rlFrZ94dm+/XywtPlsQhhfVQV/XDWfGOx+pSAkzW7ZiAmjqaDNKdh6sL5ZfC5sXG0rXQFI1qXsLa2SwcmXmWxsgyMR8OE5osK02hKZskMTZbRDNxjy5Rd9523Wz8o45EqgUxQVH/LQnv0YJwRfsJhyg2RfKuEoyri8Cb2eklN1Ed26V9K84Qw9VLMCsDYKaszsp4WAM9PdwkT0lI1xdxDNJC0gR85H7obt58hPXzekjZhkBakEtJV9xyv49RWupOj7cOawG0eMWKOWbiHBSHxMQl8DkT6818SuAuA5Y9VuskEXk8aPCaCC/9KtxWO77yS5lz4nIVvPUOrPKhdCM87w3etmVJNhXyih+wl4ets9PNZ76SmcykxHWWSVKF3FnxehAfNXfsAfvwlPOV+I1zPv/7V2+kFWcOGP7k9oBc4qY51bu0L/OL9IdPfJiWDCDJx/sxYWyhqBVzPZMQmQHYrm4a72BXU9WDVy6KhfnwARIXgEUapiAmoaYUlKqM3mL3hSSmma28F/qi74d5zPterDxWgYs+yyxYUxzSq4Rlm50Z/nhAzX6iccRCz1ZRBZ58YCEHKHRfV+5Cwf3UvSqhKlwjq5CG8wFx4gJagtmgtQVAPJpb7qnmTby6cQXVhFxyU6gjSxhnSJaOI/Yeog97ZB0Ge+WgXM6J7fmiQlEfRlFPxqP4phg2pr2QRfcjHFhgaFb+R3S7IezFT7797vsPuZvK/vUl2FRbtGgra3VOkmH7FPVTAArbZHE3f7f0b08bfqpQ+o9qEmeP7kfYtG9laSl+VO2jnuSV+6dUc9IsmqvLSLJkS49iJMsQelJq/p9ZAwujUP/Lvf9kEYQFbb7NZ3zpILqfdUofYekoKVctAtk8lD98uUZ5PpkRA0YlZGTdrKMiz4mJh8aDJsLpy7KzUWtW+A0nhKeNxGxi9p+oKhrAweyf2QXt8oeTjdCGK50KtSDlDkk50ClF+52I9kEwaY/H1Se2tAo8VmUvwD6n/Z3UMUi0qA6oshKg8ssxwj30rqniGy6yDF5bDAUIYTosZwmqmu2IFMsmUe8YpE+aUw3KlpmZ/2spD+TyGavsh7VPBB0840rBjIf9NoOPdQwpKpED7S83qzdqXM/vXOLSnXmYqXH2dq9uDu0BJqiGpfsmXxjkZuoDNCRqBe+/ja4RS0a1zEOw9bZAZGQHtPH3SfgXC4RJ3al8gggfDtvCUl40J63RbXrP0I2NcipN3LiV+P0iOwt4kIwvq0jx5PxoZ4lPhRB2AMy4Dbm192cE9a5l3UaUxF3at6tv9abQpw7Wq2LZT434dJAYvaNRDfrfJ9TqxSsA+hbQ2ZXuzT7rpgU8nM005qT6sUmjM4tbDYvcGJUSDIeOyfOEqgSOpJxZT8bVKw7aPtsgcCqrJBP4v2pPumbiXeWs34cMiSdgCKGiB4fK9W8HQ7sUPbIkRG/aVrBO18PjpStO246AwwaKoNWJLkbuKfm2PvwRgQvWRJinFINzzTGFEX2EGZtqlnSmMV/4zaN20igwBx29bmGRAV9FLWUr7dgqqFIFvISNzj7Wid2ODTcvQUg2FHHJn1M7KM7TdgcD2PhAs/4PCE18C0U24PUaXLsOKOGmSH4nR78NXCsAAWx9Lk2YsIGzU7PlNf81XiVanFOh9eW4qJiZA8m9BHI2gShPn0wJ5CKb0UMzMwS8fqjZjA6xuSQgk3Ccn0981+OiWj964bbzomKzazrk9PktN7AjYEecU4wWSEef3/PL9sa0G4fQvou4ZMgSzqii6dJ5Lc0i6WLI+sSYWQQpCKQ6blLFPcYrrvE66HCvZUdQ4m0cvF9mxqJp0aY+WYupJaunLw6z+QrlN66VYfRbt+lW55SixsLJl9h+Nx95WJBP52oM9+uNCyaM4pDQjkbwZrwiVr5qgU7bEWoYNxQVjCeuRGiZIcBEVqNksg2L4a+xIft+BVKk34hQk63hnJcEQHGNl9g8cN07lVZ/OaH9D1ZguVezgdD5dIKu564DlV/gj3at5aw5ujbdQgVPK4rKDNNpX4tzLGBuWzon1xN4TQj0PdbT7PHOdJiKC2t15Gsi+7eIY0TcXK60ZvANmXRWrT+U8OMJC9tIc6CbV+A1pCB9qnYjDksR9MzysIm/9Jw+9uwQIUKYRSOj3QmjXEVOEiDYgLWPfL687LoQnDyf2R8n1EOd5sFe4kSe6tHoujn0ZZIPa1gWSWlff8UqFwLY0DIK33nowkZ41SXnew1GwYKrwr5/EGfmvJVAz9bUU0CKCh9lz8+SMvaB60FrIP8HwekUKyLOfIXwrS2Ln7vbgx7PBvT9HlZ/35Q/4LQsZro7f8B5a6tflhiYdebXr9gB1AKCvJgnA7r7EpEoJYoj2OQyxhfze0Ja7UfHCt/UUhreXuEExufva0LFoo3tR9bEX92R1Q0pfyb4jaDbd7AIuriI8CXA18f0ymANr1bjzYk+yGmDMWqpwvKQDGqWqyKraMQsRlNU4KrildlDWmrzHSIRC2hSbhvQLWkWW3W/INNh81qSiOJuWlKqlDaVjwfbIzcFiQEZRM60Friw8LcJgFog/Wf3Ba2fsWuHMpxJBo+Px6MP3VCT7BLT+/QCFTnpOSGFakbIlzfkmHQa2lg6zZfoyLBLfSw3VvddRVTN/B3xfdK523u06eKoeGz4Eak96f4sT3UbxNfiTV3UU22/L+D6qbvFY9chHYuPy2BgM12KFwv+B2ymGZJecyGdX8wEnNX3atYLS2M3ObFos9XAj3Mc0BvQS6x5Z8Yr0TnebpgaVT3BrcF+TQEUudnyT6QCJ9kpZCjmsi1dRZZixmBCe/TT7dD33ZbrJZbhVtgN/hcmOsPqsoKHg9OjBYRICYFPiWAmgVDSPzwktQ6HCJZ3xro78csCfKQQbXQUhgiSqFJz//7jCkT1P5y7B5nUYsDuU/9wzYX3HowzrZt75WmRFqBZZ05K3PTMyS85VZ8zJW4MPFZI8c95IKL6QhmB32xs1tAHz/QEe6RpXaWQYO9x/1MDcj4Hxyh+3uRZT61F21TqOSQztNONF9De7vEHikvgWqGVAJxtQgRuFTtBbFj6Y/CQyg8bLbJEj+m/yUQrmzOgaqmOOrYtg4RKqoyinF0ys9HBtfRW8zvbOwkd/njKQtIwnrgNVd5/n+leVgmQMMoOjA57TL8hVS6nWpo7ipXRpqwy0Fsu5Cq4eqej/s566vvv8HzwUcwdHSOTBVR0K/OGhj24zLRhpej8q/GKTgxXhf6Dc8UB9oeYt2b2QT3XjCEuxRpTWVe0dAnkPg14dacMSHBcJ6rELg0ntAlQeWso19rYJcewSEqmHNcUMdqNY7sz7ANY9QyBWpezDQqfu77DXc10lMKjjmd1w8Fbevv0Xo28i6kkFA5bNeqiIZAu7COkaez2YAOBAqND1XSsvggLVQwGau1t0JRT3jgyaM4DNUxNLo/y5jHrWNKyjfM2gHtpgOPNYJDFtLvXp+dhOoBhfVjsyuf0p4iLv0ShpO9g0KFLFs3g2auM9UPLJpHDa4ZjmBjOzWcQz2ANfvjTsmya71Ct5VS5x5FZZJ+AWj2kciNH+lDXMFkM+3ZYJusPgb7msT8xxbSyaj59qv4UuFzmQhpJejWXNjvFOfUwTfuVlOlV3sji15AVjAkHwvtxcVr7c80D8TVjn9JowVauE3/sFnPlV4EvrRzE8prN0NUeGRnudrXq+kLko/gzsPGfjfEG8X9I0ObGmfzsUcg66VjjHI4EJ9IqoG8W7YnD6P6XeVIKKtrGCAc0KJpVSKLZ4AqeAOGbAxkhZvhzHP5mCgaRM0R2Uu+2wXRp+c5Fx0g487hraLIq3TPXakiU1zYFiYeXLVAN/yvi8rHwIJdJRNDc+qk+xvXXOUJ3IuXLHZhxezq9Rl9ekjTiJDH+aNtRKuV3VDrIrpQSwxHA9o6UVfIG8ZncIyQmKR3Eu1yT7JWYlXbCV+s9EJsf+qrcpOJ4CEmkvOh1u7Yh5AHjA26rVPapObe7XEEZORpJv/t0lKJ0u80++dfPeFfIhzxX46T+w+1MD8B9RSkawjcS+xlpl2Mni9E3ldti6Rt3477q0z9p7ugW3CmvRp3fXDE4ZwokqRJ7sHHVeIJcwcyYyyc4Xdi3z7gFJApgWenl6HdUKumXCFLC8wthU9K9GhuulQHK42d4cDAb0xPQFAEuDWTt27ApFVguiTZsAipnv2M6rPh5aCvNEv27YQDhmaNMES0+M4Fhh96Pq+8giZksz9jv3gs61cQJmhsKzByZQJsSScI7i6RXauFy7abLR/rJSLhKUCbnmvFxf0+R0ZbKBYdUcZXifTsaXNwMaTeRn5518bKbHQEPtSrmGNJlj87iDIijBJshXoInOdtyxdQTm2n4h7pTLw1x7ydMuGAwBK/8aZKFZbj0KUHtc/giaxV25lbj7BeX+YsXZd6P92TlHzZlsBlAQanBFlJw0rFY+Pw85E9j58iEBvHFnciDknNGB/iD76+ZiAWjp4b1eumSs6FsK5iba0DYsOeoeRlKpA/oexxrMTldSp7tShaQdVafG6LcvAWbTaQyFZ9yjpWBAncMCVDaz9UZGSN61mHGQiKOs7mV93U0DL7DT49Nt1TwMAdA26Zs5bxZl5ykd+DvX/v7AYR+IVVFz7z8RzEoxMeA+lJGoamCPhiq2Sme1dP3vJDj8SV1b3T+xQmmzaoKdw0pykZt4k9tQ3EJKeJGaTZWRWKvozyFs0OcFVICaweoruY1kVuPzHSkNS/f7xWOqT/BlTXefvspiS8WnPce334I/15oGnhFNtKA5Yeb37vE8b5gxKUopHroHwdSXzDlTBKy5mQvhM2CPV0P8VEc/JSIX9jV4modef7zd++AkKkDVKuO8nE9UTrsgX+S8U2U0SO6Dq+CFnVzIYeNFpP8Pvcml98dBWgi4jITfqwEB9+b0oqglvHCRjhd0zNwL4b6PPoIlcg26CB/K13ozXrsBu8nlGEgGnNTtpLT1dV/eHxQRH8LJMZlVtpxhCEIST1Xxgj9dZM0KSUQc36PY4GoovhtU7vvhqbn+HVdjntTd3wfnbZyo68q8+LW+14g/db11Fbei2CYOyCk8Nvur0SFPj9LnRk9SwV/7nXPGgUbSvcQ1yVnFHRBMZRogjm/Zn3knCH583JxW1caHZv+S8tT/ZlEcB0dhey38rSqPNT1cXswa/1F5ks3lF1IVCbGkwdYBZkUc5AW8ir67HSXWvq1n7kKvur8oNbxxgPUFMnCC5Fr+oIgCWrcfdcN5WlUx6TyqgMobo42Rv90lhsINfYB1cb9nqwJa1IYO3DnbmvTP+fy2JXPTyW3j7FBFs8GfFhlMPgj2Q3xrmmAUi4z4KFy2Agba2GxSx0ngYjGAzK9mJpNPvosRV83KY2EGW0KaNYqgVxT/MKieiKe5huOveaKWNaTYcmhR6wbpoXUdrpRz7h7BeAr/n0HB5PqrQaUH5r+G4WyaCi1UrPUAUODjLboYWf/BovNtlT4q6XY6l4Wl7gWvzWQbYQudOJSroMqRM/lIufhYsyMRIP70Jbg/O2/URS+yPHzSd+rLUEUbWeyjZeTiPsjRFWlg3wLZPxGIVC4onNXQnsyqB9wWOvcQluCktIgrzP0C6ktNL9+XisHVDxdZh/guNhFPM7shpqYfeFZaMB939X6XYJocwgJzPwvbyHi6f1HkS9JjtxlAguDHQk490PORZReHKgxaU7DTOcS37RlMzwxxvvJSUSoivxa+6zFoeTZgr6CQOdmxycXMW61UmvLUnu4o0uiYyr9YTlAAQR9x5OMADs8aeJ2Q+slfjz676/brmjhwGQQoVKedBrrX07c8xQJG2HvbsVF7AT1cPHsEAt9iq3CNYSGuf7ypR0lb2yI/wT2IpnCiQhNizhYAJJo3jfkEpuTLGOwtTGTVVIs5O6ecSbfvrFTOynM/gRxa4OBEhrNWjLR2QdVktZjaq9y8tBcHurCu418eTrqdzFpMcpi1VFCu6ZBdpMMwVoYtF+RuS1h1Qa5DnaEuWac48eLQCGfdWt/1Ss7A9qpD1qe1jMoiSJ2cuSydZsI6rOBA586IqBuWJo/q2ToihIfjHNz3ZLxSBujVKwE66TX5rdXyOtKzV7HtiMftty9z6NqGfiY8NKQYLyNp8VZ7gmQaL2f8pTKNsheBRgJudwTSbN3s10qmXYh1/qx7RRiMerQZRt3BQt7LJWXHNfuH5rL5SGtl0DZjTH1MBAMwZW2ITWCvOcG3R4Zj+5UWacQfn0SKJmq7Ei7stj+nlErNZ9b/vP58wI3lM1jZLQ6R8EPfIHpKfWSsKVb9F0A7jI9J9kG++5RNo2pRqg1FR5lXSNUSdupghL4opgVrBylwHKczYiBF9Ze/YlliMJLkD6WTQRysTCpPRIH9PYnerzgagCR4wra+NWYUezkw3pnnqwjawLHY3VhSJ3NkcDy2xcy0EpVlUq0IQ6NxsLw78CZnC+5+9codGD0k2I7AlqEiVSGlVNuJPsMViRHfsVjJ1Lozk7/4AmnCDyIjfQ76VfKaNgkE2UJ4C1B3vjxGsa08Lz5oCfZnCfK2OX3oG8bqh3pVGdZf8dGQn3DY42Fjd8Bc5Ark0rGAgOJbROSYmeM/WLnkR53kWtEC/7H9MqtGOwCCoKOu8XPXP7OZxRFVTQLpTu1FUh0btNMvALQSv+bEw+Vucb4rGQORNBCYajXfou5D0tylGcMupVyWEM7f74Y72v4M/JpRj+I4aQFZ7OvzcWXWhPTHMyEGb1DE8AMDLYWu4bSgE1nLPvv/Iv/RSl25AUthlMNcNbMC5ecT0+nwLxJdbfzlGC3T7zBLRqhxj2sit09SgD6XH9TX9pFbYpHkjh+bIbZQI3225hhLAR0pXr4syOoZa8okT9cIghRDNwFG3xxPJPQi9Fjfm67/NZhNWdjbMAFNUpJWoQDsa5adHq/IsTSX1XA/thr56xHYqfcGZlaCgmRmpibd3CtqmrEfe9ddsXPn/at4TUA57pEc3HKp9Thkaa8yNxfMEjOsMwJFVAcF9nNsuX/nX5Hx3hPn4LS8HEe/uq9yrpAR01hm+NCIfK7UVeqaTpFOKIOD8XAwf6cAFrep6TW4AZlg7YUA4Z3MzR3hUJR4Ec2vI49cG9JtMGyTeigdulnPcDg8Tt64T1ypUfuDYO4Eod9W6qliJDARc3S/Ssg3BkvtIVUGv8//LCmtvF2v6l6t3ZhHtTo8c7QRbkqSs2+b8U92CG6sJ3wIdmORXdcRfbO++c1LHq+dMJ0aM1X8sKX8pKm43BKwODUsNH0DilTujHfDEglgPwo8JnFEAbqaFTUk76oBC0y9/qlEvkDg/Mk5gYJHCa0bYJsJsmTNMf8KNBSj+APORSnWEeQxsdhxrRymjkyvULjUftr/8DtSMSJ5L1CN07zdZJT5Tm4RhV50x1l/3twHIriwNFkCJLFHYSvqG2om21wsiUP87a9ma3pfEgYKFFEaAzjHVtCbup4IZBuHZyFpI/YqL1+wxLNjzvnAJb81hKXvC8DHsecQNNtfNg8+StSptdiu6QAEs7/6QywrE7dFnMw+zcltnGAyNGOPsdMgkZrBR6GIVPeu/5hcKusCiVOg2lfp7yeaNNoxR9qEqNnyKzXixSBY+IUpUQtkd0FBEa/LEQwj8N8G3RiivFvIpTrR3P28ZBCPHedygKoBihmcxu4im5PmQenAK+rau/UZ7Unrs7Oqf2uVM3ReZTkL6ONsQpselR1ss3QnUTSsR3o10k4C/GW8LVIC/c53mSm3+tH5YGd1sOOAdgATVbT9Mf038BzzrKib+9vALJoZ9AQqJCF6JeNqDZ/jdaf2cc6nCcvnPQvcnigaExENypNBiFev3UDUiSLFt+FK8WwjEmDqGyZ1vqwH9HLt6BCzPnBQO+5RuLgZezig4tGTv75MZVDfB+WHMlRxmUq7aatEBQk10O1UGpeFec4MkwfUOgxtrY061BiMQa2Zlkps5HAq5SnIcsmN1Eu/e+rTBY3fFX40OOhYDTfwXml0o6hJxiEcChtD85ibmzHMp8pwt+ssAY+OdOs4XL6QNeDA+db16RlxT4RzXyBqpgi8SXwKRlZNHsygoWofGXEoL8uaXU8KNRyMPUvH9J4iFFBcikHZdbRcO1ZtUqnhWhlXaafrGV2mkR932A8knqnXrstKrkuZCalcVbRtyBW7IpW+YqV/F/LdfnFoir4ZltbkCBMhiskJvdHzrc1HwwttKZeVuD0V9+x9JOT5L0WcqBHfKpQs6sT7jaZvFwk/TepJNxp+sPojj6wuhEA2/LZSn401fUqaVY49nsYNmtU9FM9ktCdKAMT/mrSc0uYeRSA3ifPAevsPY+9Ky7d6incoggBYj/tRrIknbKzgYJbdhIPA/6p1n6tx5j7oHhtt5w2sPvDjh3qO+rEy4GEzSM8rBZ2VvjdEqTepVreokqjjdUb1gSN+IAgkBWZ1QlLAhVDeaVPTgNoqQfOLiYnSPYu4zc+DQ4J2vx+sNFlZjrilI8Q01xDrxzPqEvVRXR8gDo6ArGjkKhYl6AwBy14LWE3LpAzn1U6+Jwhn4xPNMcBnDNzint/KEYAAfbLznXXvuIijAdgYj6dw8VZu3iYmTYYPpzd/fckE7fXwcZAm2b1kZ/aztvcMeyCHGCNUs8uUr3cLdYDTg/oXPxiX3iGjCAoNTgIeZQKc50QnEEuIAAEZWIG92Zu6KBBhNpZhL1qTLi5Im2AyjdVXFjPI1+Tlii2Ze/4imInclPjcQZ7JljfSor0OqNt0BtxbxR0GxS2EnNhR6eBjn06slBTgcuwVPJ9eeOgRFFQR2iu44yS6ACvTEoC0hnPvj0RlJB19iOWBehrbuy6OfazmNrNG9VlykTDcTUy/4o12E5BwBEAp5rs3PHpGXO63CzwIyew6OA4uCoeSeQT76Sdyt615bwpBnV+A0qAb2I1lBBDbBQ5Vgm+PjgUvazbfEaXRTxUtR3qyfvUqQJ41KkdJ8Rl4BbZYrkJmbBgI2MDDENOrZmKC0+iiFXnqdcoaB9Epz4j8Zz49sNPQ2hXvtSt6OvM56e09iS80y0VBYe9LC9xBiQGVDPPF6BHsrmRLRkS87KaxfsnkyrB21yY7Lva6tnHTHoRGz3KIyb+ZCLDHivJK5mcnPl24azS9N6FSj9LbUYF4miO8wbf3BxYY5AkmJCqR3hc4A+dpE1Xgmr/kTRCRthyt9NHBAqxTeV26Brs6qYDq3xYtRE9kM3XsVKkSMa5L2zUpDuHT74p9SmMmE0BwGfAvyc6voVo5ePXDof37HkNdG/5Kf8qdK5gtxLg33hTs7I5sJATHkZ/iL83cE5ztCdr4A2ymduUa7jSwbkUJPj5U4Wr6m9XKMVNFKTPhm768UqUtRDgFK3RQzqik3T8D9ya+MWLE0sBh05/A/n0cwG5zKYxod5QCZ/zaKRv+L2nKBp8tN7sDqJelvgawqdlZlOSHSLgzHNVS5Mk/Q2VrXAjKPXyn9wgOs98bcUgKQZmEtNIq25Exu/yB+71znb9F8bij45pLIULllQkLl3CpiDuIYcS8RREWWnIOEEmlrizjgrbjvt6DvO2Vj2YDMytPdqd22jWw0sIphjN79Gm8+Vndv0hr9hEcsT+fciUSE02AZOXcENbjAENi8w/f2y0oSvs/8/qvgbP2RJDJ6FhZWsvAzlss1G9tvh7DHy7p9LEsdhlE0opzKUxFlnXYPWnxt8SdTcVAn6tWWVoKLZwGePE30B4Su1nq0kDSfRzU4HQCD0SnOnEbBSGyTaZ+HkbWdu3PJ38NwYIJ0U0cJPttN0mkZo09dXPjy7Cw4m5IMeMj0ah0rBIPRbU5ypyN9Umt0CdU0Qv40AgbAEjosLstvpWz8V2pm4kKLwGpL6n2n4lufVlfZSe39ovsUsOQPlN3xYZZcGZhaJcdLk6ZXlb/R9uc4gWSSf1otvax9PlkoEZT8w6e3T4ddfVX33Y8IVbjQBGL7jOSSFOyXZnmTxmj2OuHGjOGwJS65vM/x9llFBIyroPStVzwuy4aJdo53SVyTxI5y+1oFoJSn96A6T3aI/Oqf5gDbjiqoUezYL58G+7B97yQiPGWEf5NZgOP5fglksWUjBK4t4BtePAqCFgV3Fk1Md4498BDUSOuuRQKP3Dl19rfdYDvlbIJBsNafI9s8wfbxdZaGF1d8G1GNqAVE80jaYO0g3VZveXuZ0rdoV8SbbhNAywSu4utuYUN1IMMu63bXY3LUqMKgA/0zNDlVQ+NGyDRK7C8TA7P87IlAKsOQp2aZtSXpB7y27RUftZZfLTNwgpZlgQlHzjp8R4rjV4PtSzbqNUvBjd4U6EWGsgx/yCIdroiHynAnad1UidXlXG+p4qGpCLZ8dLRGOjxaesL5kkfoctC0BO6lIE/j+bKH8CxdbUg4r3zpuT5cwiy2kJntxe1s453+ohjrszuko76Ko4F6RyJD5Pi7OVQaIgIexO4AH45e1p9ujXBvITjfRRMJdJPd8Ys3QyIrFb7naddSVeul3MBwA8oAjKk5e8fV013A7Kjtj4aGXFCAMKdI1/ye9ic8ZTDXv7bAKDgqKENCY1DkfpAW3ujaBzHi4wc/JYa7EEzyzMJ/Lk6t3Y2LFn72iPWaV4ISOve3JAM3Tn+Q33T0XbnNNcLKWNfCv9JXsLemFukjGpiSgWMmlL90jUKdtDY7TP3+ilCcfUsUFVgipjz2W2j06pVDRzssHsreRGIj/XCag7samUPIg8QV4LiiUQTcGGAXROQFFxBzbIv0nwkM2FExn3haynAVNU7PXsKvEq6ShQ96TEE7nrx266U9M0oBY/1H63+1YiFiHTBlxXTXW2zy557pUBAYi41Io81JlZsJ64vE5sK8QZ3qgRUuUbHd8HDiZWVXbolmNvWHnJnR1ZHuaI2tvwehUT1KZplJqK9q/UjVUHEDabZw0OKjBSQwm3qTTLTDc=">
            <a:extLst>
              <a:ext uri="{FF2B5EF4-FFF2-40B4-BE49-F238E27FC236}">
                <a16:creationId xmlns:a16="http://schemas.microsoft.com/office/drawing/2014/main" id="{28C41288-388F-4CA9-8C4C-2E62AC34D1F9}"/>
              </a:ext>
            </a:extLst>
          </p:cNvPr>
          <p:cNvSpPr>
            <a:spLocks noChangeAspect="1"/>
          </p:cNvSpPr>
          <p:nvPr>
            <p:custDataLst>
              <p:tags r:id="rId8"/>
            </p:custDataLst>
          </p:nvPr>
        </p:nvSpPr>
        <p:spPr bwMode="gray">
          <a:xfrm>
            <a:off x="8378297" y="2038401"/>
            <a:ext cx="3478740" cy="4422667"/>
          </a:xfrm>
          <a:prstGeom prst="rect">
            <a:avLst/>
          </a:prstGeom>
          <a:blipFill>
            <a:blip r:embed="rId15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7" name="btfpColumnHeaderBox866284">
            <a:extLst>
              <a:ext uri="{FF2B5EF4-FFF2-40B4-BE49-F238E27FC236}">
                <a16:creationId xmlns:a16="http://schemas.microsoft.com/office/drawing/2014/main" id="{D2089E46-2619-4BFE-92D0-DB24C0AC98F6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334964" y="1270000"/>
            <a:ext cx="7502790" cy="318997"/>
            <a:chOff x="4354248" y="1270000"/>
            <a:chExt cx="3483505" cy="318997"/>
          </a:xfrm>
        </p:grpSpPr>
        <p:sp>
          <p:nvSpPr>
            <p:cNvPr id="15" name="btfpColumnHeaderBoxText866284">
              <a:extLst>
                <a:ext uri="{FF2B5EF4-FFF2-40B4-BE49-F238E27FC236}">
                  <a16:creationId xmlns:a16="http://schemas.microsoft.com/office/drawing/2014/main" id="{E60D1459-A329-4414-B3AD-A4E42E2D1A93}"/>
                </a:ext>
              </a:extLst>
            </p:cNvPr>
            <p:cNvSpPr txBox="1"/>
            <p:nvPr/>
          </p:nvSpPr>
          <p:spPr bwMode="gray">
            <a:xfrm>
              <a:off x="4354248" y="1270000"/>
              <a:ext cx="3483504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X</a:t>
              </a: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users unlikely to switch to other vendors</a:t>
              </a:r>
            </a:p>
          </p:txBody>
        </p:sp>
        <p:cxnSp>
          <p:nvCxnSpPr>
            <p:cNvPr id="16" name="btfpColumnHeaderBoxLine866284">
              <a:extLst>
                <a:ext uri="{FF2B5EF4-FFF2-40B4-BE49-F238E27FC236}">
                  <a16:creationId xmlns:a16="http://schemas.microsoft.com/office/drawing/2014/main" id="{56BE0677-DEBA-4210-9AB9-0E03C511E202}"/>
                </a:ext>
              </a:extLst>
            </p:cNvPr>
            <p:cNvCxnSpPr/>
            <p:nvPr/>
          </p:nvCxnSpPr>
          <p:spPr bwMode="gray">
            <a:xfrm>
              <a:off x="4354248" y="1588997"/>
              <a:ext cx="348350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2" name="btfpColumnHeaderBox866284">
            <a:extLst>
              <a:ext uri="{FF2B5EF4-FFF2-40B4-BE49-F238E27FC236}">
                <a16:creationId xmlns:a16="http://schemas.microsoft.com/office/drawing/2014/main" id="{9FE2A660-9CD3-473A-8413-166732A1FD23}"/>
              </a:ext>
            </a:extLst>
          </p:cNvPr>
          <p:cNvGrpSpPr/>
          <p:nvPr>
            <p:custDataLst>
              <p:tags r:id="rId10"/>
            </p:custDataLst>
          </p:nvPr>
        </p:nvGrpSpPr>
        <p:grpSpPr>
          <a:xfrm>
            <a:off x="8370027" y="1252904"/>
            <a:ext cx="3478740" cy="318997"/>
            <a:chOff x="4354248" y="1252904"/>
            <a:chExt cx="3483505" cy="318997"/>
          </a:xfrm>
        </p:grpSpPr>
        <p:sp>
          <p:nvSpPr>
            <p:cNvPr id="66" name="btfpColumnHeaderBoxText866284">
              <a:extLst>
                <a:ext uri="{FF2B5EF4-FFF2-40B4-BE49-F238E27FC236}">
                  <a16:creationId xmlns:a16="http://schemas.microsoft.com/office/drawing/2014/main" id="{59A698EF-ED8F-492E-BCB2-F215DF04B609}"/>
                </a:ext>
              </a:extLst>
            </p:cNvPr>
            <p:cNvSpPr txBox="1"/>
            <p:nvPr/>
          </p:nvSpPr>
          <p:spPr bwMode="gray">
            <a:xfrm>
              <a:off x="4354248" y="1252904"/>
              <a:ext cx="3483504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Y and Z </a:t>
              </a: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ften evaluated</a:t>
              </a: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70" name="btfpColumnHeaderBoxLine866284">
              <a:extLst>
                <a:ext uri="{FF2B5EF4-FFF2-40B4-BE49-F238E27FC236}">
                  <a16:creationId xmlns:a16="http://schemas.microsoft.com/office/drawing/2014/main" id="{035B516A-3D4E-45E3-95D7-EBBFCB120235}"/>
                </a:ext>
              </a:extLst>
            </p:cNvPr>
            <p:cNvCxnSpPr/>
            <p:nvPr/>
          </p:nvCxnSpPr>
          <p:spPr bwMode="gray">
            <a:xfrm>
              <a:off x="4354248" y="1571901"/>
              <a:ext cx="348350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btfpRunningAgenda2Level907511">
            <a:extLst>
              <a:ext uri="{FF2B5EF4-FFF2-40B4-BE49-F238E27FC236}">
                <a16:creationId xmlns:a16="http://schemas.microsoft.com/office/drawing/2014/main" id="{E86BD9DE-47E4-47E8-A474-29AC0F9D02EF}"/>
              </a:ext>
            </a:extLst>
          </p:cNvPr>
          <p:cNvGrpSpPr/>
          <p:nvPr>
            <p:custDataLst>
              <p:tags r:id="rId11"/>
            </p:custDataLst>
          </p:nvPr>
        </p:nvGrpSpPr>
        <p:grpSpPr>
          <a:xfrm>
            <a:off x="-1" y="944429"/>
            <a:ext cx="3254317" cy="257442"/>
            <a:chOff x="-1" y="876300"/>
            <a:chExt cx="3254317" cy="257442"/>
          </a:xfrm>
        </p:grpSpPr>
        <p:sp>
          <p:nvSpPr>
            <p:cNvPr id="19" name="btfpRunningAgenda2LevelBarLeft907511">
              <a:extLst>
                <a:ext uri="{FF2B5EF4-FFF2-40B4-BE49-F238E27FC236}">
                  <a16:creationId xmlns:a16="http://schemas.microsoft.com/office/drawing/2014/main" id="{2D9DCC7C-E7D0-4A28-9B86-85BFBA98DF08}"/>
                </a:ext>
              </a:extLst>
            </p:cNvPr>
            <p:cNvSpPr/>
            <p:nvPr/>
          </p:nvSpPr>
          <p:spPr bwMode="gray">
            <a:xfrm>
              <a:off x="-1" y="876300"/>
              <a:ext cx="3254317" cy="257442"/>
            </a:xfrm>
            <a:custGeom>
              <a:avLst/>
              <a:gdLst>
                <a:gd name="connsiteX0" fmla="*/ 93477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34771 w 1816204"/>
                <a:gd name="connsiteY0" fmla="*/ 0 h 257442"/>
                <a:gd name="connsiteX1" fmla="*/ 88005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34771 w 934771"/>
                <a:gd name="connsiteY0" fmla="*/ 0 h 257442"/>
                <a:gd name="connsiteX1" fmla="*/ 880051 w 934771"/>
                <a:gd name="connsiteY1" fmla="*/ 257442 h 257442"/>
                <a:gd name="connsiteX2" fmla="*/ 1 w 934771"/>
                <a:gd name="connsiteY2" fmla="*/ 257442 h 257442"/>
                <a:gd name="connsiteX3" fmla="*/ 0 w 934771"/>
                <a:gd name="connsiteY3" fmla="*/ 257442 h 257442"/>
                <a:gd name="connsiteX0" fmla="*/ 934770 w 934770"/>
                <a:gd name="connsiteY0" fmla="*/ 0 h 257442"/>
                <a:gd name="connsiteX1" fmla="*/ 880050 w 934770"/>
                <a:gd name="connsiteY1" fmla="*/ 257442 h 257442"/>
                <a:gd name="connsiteX2" fmla="*/ 0 w 934770"/>
                <a:gd name="connsiteY2" fmla="*/ 257442 h 257442"/>
                <a:gd name="connsiteX3" fmla="*/ 1 w 934770"/>
                <a:gd name="connsiteY3" fmla="*/ 0 h 257442"/>
                <a:gd name="connsiteX0" fmla="*/ 1103086 w 1103086"/>
                <a:gd name="connsiteY0" fmla="*/ 0 h 257442"/>
                <a:gd name="connsiteX1" fmla="*/ 880050 w 1103086"/>
                <a:gd name="connsiteY1" fmla="*/ 257442 h 257442"/>
                <a:gd name="connsiteX2" fmla="*/ 0 w 1103086"/>
                <a:gd name="connsiteY2" fmla="*/ 257442 h 257442"/>
                <a:gd name="connsiteX3" fmla="*/ 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255372 w 1255372"/>
                <a:gd name="connsiteY0" fmla="*/ 0 h 257442"/>
                <a:gd name="connsiteX1" fmla="*/ 1048365 w 1255372"/>
                <a:gd name="connsiteY1" fmla="*/ 257442 h 257442"/>
                <a:gd name="connsiteX2" fmla="*/ 0 w 1255372"/>
                <a:gd name="connsiteY2" fmla="*/ 257442 h 257442"/>
                <a:gd name="connsiteX3" fmla="*/ 0 w 1255372"/>
                <a:gd name="connsiteY3" fmla="*/ 0 h 257442"/>
                <a:gd name="connsiteX0" fmla="*/ 1255372 w 1255372"/>
                <a:gd name="connsiteY0" fmla="*/ 0 h 257442"/>
                <a:gd name="connsiteX1" fmla="*/ 1200651 w 1255372"/>
                <a:gd name="connsiteY1" fmla="*/ 257442 h 257442"/>
                <a:gd name="connsiteX2" fmla="*/ 0 w 1255372"/>
                <a:gd name="connsiteY2" fmla="*/ 257442 h 257442"/>
                <a:gd name="connsiteX3" fmla="*/ 0 w 1255372"/>
                <a:gd name="connsiteY3" fmla="*/ 0 h 257442"/>
                <a:gd name="connsiteX0" fmla="*/ 1255372 w 1255372"/>
                <a:gd name="connsiteY0" fmla="*/ 0 h 257442"/>
                <a:gd name="connsiteX1" fmla="*/ 1200651 w 1255372"/>
                <a:gd name="connsiteY1" fmla="*/ 257442 h 257442"/>
                <a:gd name="connsiteX2" fmla="*/ 0 w 1255372"/>
                <a:gd name="connsiteY2" fmla="*/ 257442 h 257442"/>
                <a:gd name="connsiteX3" fmla="*/ 0 w 1255372"/>
                <a:gd name="connsiteY3" fmla="*/ 0 h 257442"/>
                <a:gd name="connsiteX0" fmla="*/ 1255372 w 1255372"/>
                <a:gd name="connsiteY0" fmla="*/ 0 h 257442"/>
                <a:gd name="connsiteX1" fmla="*/ 1200651 w 1255372"/>
                <a:gd name="connsiteY1" fmla="*/ 257442 h 257442"/>
                <a:gd name="connsiteX2" fmla="*/ 0 w 1255372"/>
                <a:gd name="connsiteY2" fmla="*/ 257442 h 257442"/>
                <a:gd name="connsiteX3" fmla="*/ 0 w 1255372"/>
                <a:gd name="connsiteY3" fmla="*/ 0 h 257442"/>
                <a:gd name="connsiteX0" fmla="*/ 1423687 w 1423687"/>
                <a:gd name="connsiteY0" fmla="*/ 0 h 257442"/>
                <a:gd name="connsiteX1" fmla="*/ 1200651 w 1423687"/>
                <a:gd name="connsiteY1" fmla="*/ 257442 h 257442"/>
                <a:gd name="connsiteX2" fmla="*/ 0 w 1423687"/>
                <a:gd name="connsiteY2" fmla="*/ 257442 h 257442"/>
                <a:gd name="connsiteX3" fmla="*/ 0 w 1423687"/>
                <a:gd name="connsiteY3" fmla="*/ 0 h 257442"/>
                <a:gd name="connsiteX0" fmla="*/ 1423687 w 1423687"/>
                <a:gd name="connsiteY0" fmla="*/ 0 h 257442"/>
                <a:gd name="connsiteX1" fmla="*/ 1368966 w 1423687"/>
                <a:gd name="connsiteY1" fmla="*/ 257442 h 257442"/>
                <a:gd name="connsiteX2" fmla="*/ 0 w 1423687"/>
                <a:gd name="connsiteY2" fmla="*/ 257442 h 257442"/>
                <a:gd name="connsiteX3" fmla="*/ 0 w 1423687"/>
                <a:gd name="connsiteY3" fmla="*/ 0 h 257442"/>
                <a:gd name="connsiteX0" fmla="*/ 1423687 w 1423687"/>
                <a:gd name="connsiteY0" fmla="*/ 0 h 257442"/>
                <a:gd name="connsiteX1" fmla="*/ 1368966 w 1423687"/>
                <a:gd name="connsiteY1" fmla="*/ 257442 h 257442"/>
                <a:gd name="connsiteX2" fmla="*/ 0 w 1423687"/>
                <a:gd name="connsiteY2" fmla="*/ 257442 h 257442"/>
                <a:gd name="connsiteX3" fmla="*/ 0 w 1423687"/>
                <a:gd name="connsiteY3" fmla="*/ 0 h 257442"/>
                <a:gd name="connsiteX0" fmla="*/ 1423687 w 1423687"/>
                <a:gd name="connsiteY0" fmla="*/ 0 h 257442"/>
                <a:gd name="connsiteX1" fmla="*/ 1368966 w 1423687"/>
                <a:gd name="connsiteY1" fmla="*/ 257442 h 257442"/>
                <a:gd name="connsiteX2" fmla="*/ 0 w 1423687"/>
                <a:gd name="connsiteY2" fmla="*/ 257442 h 257442"/>
                <a:gd name="connsiteX3" fmla="*/ 0 w 1423687"/>
                <a:gd name="connsiteY3" fmla="*/ 0 h 257442"/>
                <a:gd name="connsiteX0" fmla="*/ 1592002 w 1592002"/>
                <a:gd name="connsiteY0" fmla="*/ 0 h 257442"/>
                <a:gd name="connsiteX1" fmla="*/ 1368966 w 1592002"/>
                <a:gd name="connsiteY1" fmla="*/ 257442 h 257442"/>
                <a:gd name="connsiteX2" fmla="*/ 0 w 1592002"/>
                <a:gd name="connsiteY2" fmla="*/ 257442 h 257442"/>
                <a:gd name="connsiteX3" fmla="*/ 0 w 1592002"/>
                <a:gd name="connsiteY3" fmla="*/ 0 h 257442"/>
                <a:gd name="connsiteX0" fmla="*/ 1592002 w 1592002"/>
                <a:gd name="connsiteY0" fmla="*/ 0 h 257442"/>
                <a:gd name="connsiteX1" fmla="*/ 1537280 w 1592002"/>
                <a:gd name="connsiteY1" fmla="*/ 257442 h 257442"/>
                <a:gd name="connsiteX2" fmla="*/ 0 w 1592002"/>
                <a:gd name="connsiteY2" fmla="*/ 257442 h 257442"/>
                <a:gd name="connsiteX3" fmla="*/ 0 w 1592002"/>
                <a:gd name="connsiteY3" fmla="*/ 0 h 257442"/>
                <a:gd name="connsiteX0" fmla="*/ 1592003 w 1592003"/>
                <a:gd name="connsiteY0" fmla="*/ 0 h 257442"/>
                <a:gd name="connsiteX1" fmla="*/ 1537281 w 1592003"/>
                <a:gd name="connsiteY1" fmla="*/ 257442 h 257442"/>
                <a:gd name="connsiteX2" fmla="*/ 0 w 1592003"/>
                <a:gd name="connsiteY2" fmla="*/ 257442 h 257442"/>
                <a:gd name="connsiteX3" fmla="*/ 1 w 1592003"/>
                <a:gd name="connsiteY3" fmla="*/ 0 h 257442"/>
                <a:gd name="connsiteX0" fmla="*/ 1592003 w 1592003"/>
                <a:gd name="connsiteY0" fmla="*/ 0 h 257442"/>
                <a:gd name="connsiteX1" fmla="*/ 1537281 w 1592003"/>
                <a:gd name="connsiteY1" fmla="*/ 257442 h 257442"/>
                <a:gd name="connsiteX2" fmla="*/ 0 w 1592003"/>
                <a:gd name="connsiteY2" fmla="*/ 257442 h 257442"/>
                <a:gd name="connsiteX3" fmla="*/ 1 w 1592003"/>
                <a:gd name="connsiteY3" fmla="*/ 0 h 257442"/>
                <a:gd name="connsiteX0" fmla="*/ 1752304 w 1752304"/>
                <a:gd name="connsiteY0" fmla="*/ 0 h 257442"/>
                <a:gd name="connsiteX1" fmla="*/ 1537281 w 1752304"/>
                <a:gd name="connsiteY1" fmla="*/ 257442 h 257442"/>
                <a:gd name="connsiteX2" fmla="*/ 0 w 1752304"/>
                <a:gd name="connsiteY2" fmla="*/ 257442 h 257442"/>
                <a:gd name="connsiteX3" fmla="*/ 1 w 1752304"/>
                <a:gd name="connsiteY3" fmla="*/ 0 h 257442"/>
                <a:gd name="connsiteX0" fmla="*/ 1752304 w 1752304"/>
                <a:gd name="connsiteY0" fmla="*/ 0 h 257442"/>
                <a:gd name="connsiteX1" fmla="*/ 1697582 w 1752304"/>
                <a:gd name="connsiteY1" fmla="*/ 257442 h 257442"/>
                <a:gd name="connsiteX2" fmla="*/ 0 w 1752304"/>
                <a:gd name="connsiteY2" fmla="*/ 257442 h 257442"/>
                <a:gd name="connsiteX3" fmla="*/ 1 w 1752304"/>
                <a:gd name="connsiteY3" fmla="*/ 0 h 257442"/>
                <a:gd name="connsiteX0" fmla="*/ 1752304 w 1752304"/>
                <a:gd name="connsiteY0" fmla="*/ 0 h 257442"/>
                <a:gd name="connsiteX1" fmla="*/ 1697582 w 1752304"/>
                <a:gd name="connsiteY1" fmla="*/ 257442 h 257442"/>
                <a:gd name="connsiteX2" fmla="*/ 0 w 1752304"/>
                <a:gd name="connsiteY2" fmla="*/ 257442 h 257442"/>
                <a:gd name="connsiteX3" fmla="*/ 1 w 1752304"/>
                <a:gd name="connsiteY3" fmla="*/ 0 h 257442"/>
                <a:gd name="connsiteX0" fmla="*/ 1752304 w 1752304"/>
                <a:gd name="connsiteY0" fmla="*/ 0 h 257442"/>
                <a:gd name="connsiteX1" fmla="*/ 1697582 w 1752304"/>
                <a:gd name="connsiteY1" fmla="*/ 257442 h 257442"/>
                <a:gd name="connsiteX2" fmla="*/ 0 w 1752304"/>
                <a:gd name="connsiteY2" fmla="*/ 257442 h 257442"/>
                <a:gd name="connsiteX3" fmla="*/ 0 w 1752304"/>
                <a:gd name="connsiteY3" fmla="*/ 0 h 257442"/>
                <a:gd name="connsiteX0" fmla="*/ 1853291 w 1853291"/>
                <a:gd name="connsiteY0" fmla="*/ 0 h 257442"/>
                <a:gd name="connsiteX1" fmla="*/ 1697582 w 1853291"/>
                <a:gd name="connsiteY1" fmla="*/ 257442 h 257442"/>
                <a:gd name="connsiteX2" fmla="*/ 0 w 1853291"/>
                <a:gd name="connsiteY2" fmla="*/ 257442 h 257442"/>
                <a:gd name="connsiteX3" fmla="*/ 0 w 1853291"/>
                <a:gd name="connsiteY3" fmla="*/ 0 h 257442"/>
                <a:gd name="connsiteX0" fmla="*/ 1853291 w 1853291"/>
                <a:gd name="connsiteY0" fmla="*/ 0 h 257442"/>
                <a:gd name="connsiteX1" fmla="*/ 1798570 w 1853291"/>
                <a:gd name="connsiteY1" fmla="*/ 257442 h 257442"/>
                <a:gd name="connsiteX2" fmla="*/ 0 w 1853291"/>
                <a:gd name="connsiteY2" fmla="*/ 257442 h 257442"/>
                <a:gd name="connsiteX3" fmla="*/ 0 w 1853291"/>
                <a:gd name="connsiteY3" fmla="*/ 0 h 257442"/>
                <a:gd name="connsiteX0" fmla="*/ 1853291 w 1853291"/>
                <a:gd name="connsiteY0" fmla="*/ 0 h 257442"/>
                <a:gd name="connsiteX1" fmla="*/ 1798570 w 1853291"/>
                <a:gd name="connsiteY1" fmla="*/ 257442 h 257442"/>
                <a:gd name="connsiteX2" fmla="*/ 0 w 1853291"/>
                <a:gd name="connsiteY2" fmla="*/ 257442 h 257442"/>
                <a:gd name="connsiteX3" fmla="*/ 0 w 1853291"/>
                <a:gd name="connsiteY3" fmla="*/ 0 h 257442"/>
                <a:gd name="connsiteX0" fmla="*/ 1853291 w 1853291"/>
                <a:gd name="connsiteY0" fmla="*/ 0 h 257442"/>
                <a:gd name="connsiteX1" fmla="*/ 1798570 w 1853291"/>
                <a:gd name="connsiteY1" fmla="*/ 257442 h 257442"/>
                <a:gd name="connsiteX2" fmla="*/ 0 w 1853291"/>
                <a:gd name="connsiteY2" fmla="*/ 257442 h 257442"/>
                <a:gd name="connsiteX3" fmla="*/ 0 w 1853291"/>
                <a:gd name="connsiteY3" fmla="*/ 0 h 257442"/>
                <a:gd name="connsiteX0" fmla="*/ 2013592 w 2013592"/>
                <a:gd name="connsiteY0" fmla="*/ 0 h 257442"/>
                <a:gd name="connsiteX1" fmla="*/ 1798570 w 2013592"/>
                <a:gd name="connsiteY1" fmla="*/ 257442 h 257442"/>
                <a:gd name="connsiteX2" fmla="*/ 0 w 2013592"/>
                <a:gd name="connsiteY2" fmla="*/ 257442 h 257442"/>
                <a:gd name="connsiteX3" fmla="*/ 0 w 2013592"/>
                <a:gd name="connsiteY3" fmla="*/ 0 h 257442"/>
                <a:gd name="connsiteX0" fmla="*/ 2013592 w 2013592"/>
                <a:gd name="connsiteY0" fmla="*/ 0 h 257442"/>
                <a:gd name="connsiteX1" fmla="*/ 1958870 w 2013592"/>
                <a:gd name="connsiteY1" fmla="*/ 257442 h 257442"/>
                <a:gd name="connsiteX2" fmla="*/ 0 w 2013592"/>
                <a:gd name="connsiteY2" fmla="*/ 257442 h 257442"/>
                <a:gd name="connsiteX3" fmla="*/ 0 w 2013592"/>
                <a:gd name="connsiteY3" fmla="*/ 0 h 257442"/>
                <a:gd name="connsiteX0" fmla="*/ 2013593 w 2013593"/>
                <a:gd name="connsiteY0" fmla="*/ 0 h 257442"/>
                <a:gd name="connsiteX1" fmla="*/ 1958871 w 2013593"/>
                <a:gd name="connsiteY1" fmla="*/ 257442 h 257442"/>
                <a:gd name="connsiteX2" fmla="*/ 0 w 2013593"/>
                <a:gd name="connsiteY2" fmla="*/ 257442 h 257442"/>
                <a:gd name="connsiteX3" fmla="*/ 1 w 2013593"/>
                <a:gd name="connsiteY3" fmla="*/ 0 h 257442"/>
                <a:gd name="connsiteX0" fmla="*/ 2013593 w 2013593"/>
                <a:gd name="connsiteY0" fmla="*/ 0 h 257442"/>
                <a:gd name="connsiteX1" fmla="*/ 1958871 w 2013593"/>
                <a:gd name="connsiteY1" fmla="*/ 257442 h 257442"/>
                <a:gd name="connsiteX2" fmla="*/ 0 w 2013593"/>
                <a:gd name="connsiteY2" fmla="*/ 257442 h 257442"/>
                <a:gd name="connsiteX3" fmla="*/ 1 w 2013593"/>
                <a:gd name="connsiteY3" fmla="*/ 0 h 257442"/>
                <a:gd name="connsiteX0" fmla="*/ 2217174 w 2217174"/>
                <a:gd name="connsiteY0" fmla="*/ 0 h 257442"/>
                <a:gd name="connsiteX1" fmla="*/ 1958871 w 2217174"/>
                <a:gd name="connsiteY1" fmla="*/ 257442 h 257442"/>
                <a:gd name="connsiteX2" fmla="*/ 0 w 2217174"/>
                <a:gd name="connsiteY2" fmla="*/ 257442 h 257442"/>
                <a:gd name="connsiteX3" fmla="*/ 1 w 2217174"/>
                <a:gd name="connsiteY3" fmla="*/ 0 h 257442"/>
                <a:gd name="connsiteX0" fmla="*/ 2217174 w 2217174"/>
                <a:gd name="connsiteY0" fmla="*/ 0 h 257442"/>
                <a:gd name="connsiteX1" fmla="*/ 2162452 w 2217174"/>
                <a:gd name="connsiteY1" fmla="*/ 257442 h 257442"/>
                <a:gd name="connsiteX2" fmla="*/ 0 w 2217174"/>
                <a:gd name="connsiteY2" fmla="*/ 257442 h 257442"/>
                <a:gd name="connsiteX3" fmla="*/ 1 w 2217174"/>
                <a:gd name="connsiteY3" fmla="*/ 0 h 257442"/>
                <a:gd name="connsiteX0" fmla="*/ 2217174 w 2217174"/>
                <a:gd name="connsiteY0" fmla="*/ 0 h 257442"/>
                <a:gd name="connsiteX1" fmla="*/ 2162452 w 2217174"/>
                <a:gd name="connsiteY1" fmla="*/ 257442 h 257442"/>
                <a:gd name="connsiteX2" fmla="*/ 0 w 2217174"/>
                <a:gd name="connsiteY2" fmla="*/ 257442 h 257442"/>
                <a:gd name="connsiteX3" fmla="*/ 1 w 2217174"/>
                <a:gd name="connsiteY3" fmla="*/ 0 h 257442"/>
                <a:gd name="connsiteX0" fmla="*/ 2217174 w 2217174"/>
                <a:gd name="connsiteY0" fmla="*/ 0 h 257442"/>
                <a:gd name="connsiteX1" fmla="*/ 2162452 w 2217174"/>
                <a:gd name="connsiteY1" fmla="*/ 257442 h 257442"/>
                <a:gd name="connsiteX2" fmla="*/ 0 w 2217174"/>
                <a:gd name="connsiteY2" fmla="*/ 257442 h 257442"/>
                <a:gd name="connsiteX3" fmla="*/ 0 w 2217174"/>
                <a:gd name="connsiteY3" fmla="*/ 0 h 257442"/>
                <a:gd name="connsiteX0" fmla="*/ 2318162 w 2318162"/>
                <a:gd name="connsiteY0" fmla="*/ 0 h 257442"/>
                <a:gd name="connsiteX1" fmla="*/ 2162452 w 2318162"/>
                <a:gd name="connsiteY1" fmla="*/ 257442 h 257442"/>
                <a:gd name="connsiteX2" fmla="*/ 0 w 2318162"/>
                <a:gd name="connsiteY2" fmla="*/ 257442 h 257442"/>
                <a:gd name="connsiteX3" fmla="*/ 0 w 2318162"/>
                <a:gd name="connsiteY3" fmla="*/ 0 h 257442"/>
                <a:gd name="connsiteX0" fmla="*/ 2318162 w 2318162"/>
                <a:gd name="connsiteY0" fmla="*/ 0 h 257442"/>
                <a:gd name="connsiteX1" fmla="*/ 2263441 w 2318162"/>
                <a:gd name="connsiteY1" fmla="*/ 257442 h 257442"/>
                <a:gd name="connsiteX2" fmla="*/ 0 w 2318162"/>
                <a:gd name="connsiteY2" fmla="*/ 257442 h 257442"/>
                <a:gd name="connsiteX3" fmla="*/ 0 w 2318162"/>
                <a:gd name="connsiteY3" fmla="*/ 0 h 257442"/>
                <a:gd name="connsiteX0" fmla="*/ 2318162 w 2318162"/>
                <a:gd name="connsiteY0" fmla="*/ 0 h 257442"/>
                <a:gd name="connsiteX1" fmla="*/ 2263441 w 2318162"/>
                <a:gd name="connsiteY1" fmla="*/ 257442 h 257442"/>
                <a:gd name="connsiteX2" fmla="*/ 0 w 2318162"/>
                <a:gd name="connsiteY2" fmla="*/ 257442 h 257442"/>
                <a:gd name="connsiteX3" fmla="*/ 0 w 2318162"/>
                <a:gd name="connsiteY3" fmla="*/ 0 h 257442"/>
                <a:gd name="connsiteX0" fmla="*/ 2318162 w 2318162"/>
                <a:gd name="connsiteY0" fmla="*/ 0 h 257442"/>
                <a:gd name="connsiteX1" fmla="*/ 2263441 w 2318162"/>
                <a:gd name="connsiteY1" fmla="*/ 257442 h 257442"/>
                <a:gd name="connsiteX2" fmla="*/ 0 w 2318162"/>
                <a:gd name="connsiteY2" fmla="*/ 257442 h 257442"/>
                <a:gd name="connsiteX3" fmla="*/ 0 w 2318162"/>
                <a:gd name="connsiteY3" fmla="*/ 0 h 257442"/>
                <a:gd name="connsiteX0" fmla="*/ 2470448 w 2470448"/>
                <a:gd name="connsiteY0" fmla="*/ 0 h 257442"/>
                <a:gd name="connsiteX1" fmla="*/ 2263441 w 2470448"/>
                <a:gd name="connsiteY1" fmla="*/ 257442 h 257442"/>
                <a:gd name="connsiteX2" fmla="*/ 0 w 2470448"/>
                <a:gd name="connsiteY2" fmla="*/ 257442 h 257442"/>
                <a:gd name="connsiteX3" fmla="*/ 0 w 2470448"/>
                <a:gd name="connsiteY3" fmla="*/ 0 h 257442"/>
                <a:gd name="connsiteX0" fmla="*/ 2470448 w 2470448"/>
                <a:gd name="connsiteY0" fmla="*/ 0 h 257442"/>
                <a:gd name="connsiteX1" fmla="*/ 2415727 w 2470448"/>
                <a:gd name="connsiteY1" fmla="*/ 257442 h 257442"/>
                <a:gd name="connsiteX2" fmla="*/ 0 w 2470448"/>
                <a:gd name="connsiteY2" fmla="*/ 257442 h 257442"/>
                <a:gd name="connsiteX3" fmla="*/ 0 w 2470448"/>
                <a:gd name="connsiteY3" fmla="*/ 0 h 257442"/>
                <a:gd name="connsiteX0" fmla="*/ 2470448 w 2470448"/>
                <a:gd name="connsiteY0" fmla="*/ 0 h 257442"/>
                <a:gd name="connsiteX1" fmla="*/ 2415727 w 2470448"/>
                <a:gd name="connsiteY1" fmla="*/ 257442 h 257442"/>
                <a:gd name="connsiteX2" fmla="*/ 0 w 2470448"/>
                <a:gd name="connsiteY2" fmla="*/ 257442 h 257442"/>
                <a:gd name="connsiteX3" fmla="*/ 0 w 2470448"/>
                <a:gd name="connsiteY3" fmla="*/ 0 h 257442"/>
                <a:gd name="connsiteX0" fmla="*/ 2470448 w 2470448"/>
                <a:gd name="connsiteY0" fmla="*/ 0 h 257442"/>
                <a:gd name="connsiteX1" fmla="*/ 2415727 w 2470448"/>
                <a:gd name="connsiteY1" fmla="*/ 257442 h 257442"/>
                <a:gd name="connsiteX2" fmla="*/ 0 w 2470448"/>
                <a:gd name="connsiteY2" fmla="*/ 257442 h 257442"/>
                <a:gd name="connsiteX3" fmla="*/ 0 w 2470448"/>
                <a:gd name="connsiteY3" fmla="*/ 0 h 257442"/>
                <a:gd name="connsiteX0" fmla="*/ 2638763 w 2638763"/>
                <a:gd name="connsiteY0" fmla="*/ 0 h 257442"/>
                <a:gd name="connsiteX1" fmla="*/ 2415727 w 2638763"/>
                <a:gd name="connsiteY1" fmla="*/ 257442 h 257442"/>
                <a:gd name="connsiteX2" fmla="*/ 0 w 2638763"/>
                <a:gd name="connsiteY2" fmla="*/ 257442 h 257442"/>
                <a:gd name="connsiteX3" fmla="*/ 0 w 2638763"/>
                <a:gd name="connsiteY3" fmla="*/ 0 h 257442"/>
                <a:gd name="connsiteX0" fmla="*/ 2638763 w 2638763"/>
                <a:gd name="connsiteY0" fmla="*/ 0 h 257442"/>
                <a:gd name="connsiteX1" fmla="*/ 2584042 w 2638763"/>
                <a:gd name="connsiteY1" fmla="*/ 257442 h 257442"/>
                <a:gd name="connsiteX2" fmla="*/ 0 w 2638763"/>
                <a:gd name="connsiteY2" fmla="*/ 257442 h 257442"/>
                <a:gd name="connsiteX3" fmla="*/ 0 w 2638763"/>
                <a:gd name="connsiteY3" fmla="*/ 0 h 257442"/>
                <a:gd name="connsiteX0" fmla="*/ 2638763 w 2638763"/>
                <a:gd name="connsiteY0" fmla="*/ 0 h 257442"/>
                <a:gd name="connsiteX1" fmla="*/ 2584042 w 2638763"/>
                <a:gd name="connsiteY1" fmla="*/ 257442 h 257442"/>
                <a:gd name="connsiteX2" fmla="*/ 0 w 2638763"/>
                <a:gd name="connsiteY2" fmla="*/ 257442 h 257442"/>
                <a:gd name="connsiteX3" fmla="*/ 0 w 2638763"/>
                <a:gd name="connsiteY3" fmla="*/ 0 h 257442"/>
                <a:gd name="connsiteX0" fmla="*/ 2638763 w 2638763"/>
                <a:gd name="connsiteY0" fmla="*/ 0 h 257442"/>
                <a:gd name="connsiteX1" fmla="*/ 2584042 w 2638763"/>
                <a:gd name="connsiteY1" fmla="*/ 257442 h 257442"/>
                <a:gd name="connsiteX2" fmla="*/ 0 w 2638763"/>
                <a:gd name="connsiteY2" fmla="*/ 257442 h 257442"/>
                <a:gd name="connsiteX3" fmla="*/ 0 w 2638763"/>
                <a:gd name="connsiteY3" fmla="*/ 0 h 257442"/>
                <a:gd name="connsiteX0" fmla="*/ 2807079 w 2807079"/>
                <a:gd name="connsiteY0" fmla="*/ 0 h 257442"/>
                <a:gd name="connsiteX1" fmla="*/ 2584042 w 2807079"/>
                <a:gd name="connsiteY1" fmla="*/ 257442 h 257442"/>
                <a:gd name="connsiteX2" fmla="*/ 0 w 2807079"/>
                <a:gd name="connsiteY2" fmla="*/ 257442 h 257442"/>
                <a:gd name="connsiteX3" fmla="*/ 0 w 2807079"/>
                <a:gd name="connsiteY3" fmla="*/ 0 h 257442"/>
                <a:gd name="connsiteX0" fmla="*/ 2807079 w 2807079"/>
                <a:gd name="connsiteY0" fmla="*/ 0 h 257442"/>
                <a:gd name="connsiteX1" fmla="*/ 2752358 w 2807079"/>
                <a:gd name="connsiteY1" fmla="*/ 257442 h 257442"/>
                <a:gd name="connsiteX2" fmla="*/ 0 w 2807079"/>
                <a:gd name="connsiteY2" fmla="*/ 257442 h 257442"/>
                <a:gd name="connsiteX3" fmla="*/ 0 w 2807079"/>
                <a:gd name="connsiteY3" fmla="*/ 0 h 257442"/>
                <a:gd name="connsiteX0" fmla="*/ 2807079 w 2807079"/>
                <a:gd name="connsiteY0" fmla="*/ 0 h 257442"/>
                <a:gd name="connsiteX1" fmla="*/ 2752358 w 2807079"/>
                <a:gd name="connsiteY1" fmla="*/ 257442 h 257442"/>
                <a:gd name="connsiteX2" fmla="*/ 0 w 2807079"/>
                <a:gd name="connsiteY2" fmla="*/ 257442 h 257442"/>
                <a:gd name="connsiteX3" fmla="*/ 0 w 2807079"/>
                <a:gd name="connsiteY3" fmla="*/ 0 h 257442"/>
                <a:gd name="connsiteX0" fmla="*/ 2807079 w 2807079"/>
                <a:gd name="connsiteY0" fmla="*/ 0 h 257442"/>
                <a:gd name="connsiteX1" fmla="*/ 2752358 w 2807079"/>
                <a:gd name="connsiteY1" fmla="*/ 257442 h 257442"/>
                <a:gd name="connsiteX2" fmla="*/ 0 w 2807079"/>
                <a:gd name="connsiteY2" fmla="*/ 257442 h 257442"/>
                <a:gd name="connsiteX3" fmla="*/ 0 w 2807079"/>
                <a:gd name="connsiteY3" fmla="*/ 0 h 257442"/>
                <a:gd name="connsiteX0" fmla="*/ 2908067 w 2908067"/>
                <a:gd name="connsiteY0" fmla="*/ 0 h 257442"/>
                <a:gd name="connsiteX1" fmla="*/ 2752358 w 2908067"/>
                <a:gd name="connsiteY1" fmla="*/ 257442 h 257442"/>
                <a:gd name="connsiteX2" fmla="*/ 0 w 2908067"/>
                <a:gd name="connsiteY2" fmla="*/ 257442 h 257442"/>
                <a:gd name="connsiteX3" fmla="*/ 0 w 2908067"/>
                <a:gd name="connsiteY3" fmla="*/ 0 h 257442"/>
                <a:gd name="connsiteX0" fmla="*/ 2908067 w 2908067"/>
                <a:gd name="connsiteY0" fmla="*/ 0 h 257442"/>
                <a:gd name="connsiteX1" fmla="*/ 2853346 w 2908067"/>
                <a:gd name="connsiteY1" fmla="*/ 257442 h 257442"/>
                <a:gd name="connsiteX2" fmla="*/ 0 w 2908067"/>
                <a:gd name="connsiteY2" fmla="*/ 257442 h 257442"/>
                <a:gd name="connsiteX3" fmla="*/ 0 w 2908067"/>
                <a:gd name="connsiteY3" fmla="*/ 0 h 257442"/>
                <a:gd name="connsiteX0" fmla="*/ 2908067 w 2908067"/>
                <a:gd name="connsiteY0" fmla="*/ 0 h 257442"/>
                <a:gd name="connsiteX1" fmla="*/ 2853346 w 2908067"/>
                <a:gd name="connsiteY1" fmla="*/ 257442 h 257442"/>
                <a:gd name="connsiteX2" fmla="*/ 0 w 2908067"/>
                <a:gd name="connsiteY2" fmla="*/ 257442 h 257442"/>
                <a:gd name="connsiteX3" fmla="*/ 0 w 2908067"/>
                <a:gd name="connsiteY3" fmla="*/ 0 h 257442"/>
                <a:gd name="connsiteX0" fmla="*/ 2908067 w 2908067"/>
                <a:gd name="connsiteY0" fmla="*/ 0 h 257442"/>
                <a:gd name="connsiteX1" fmla="*/ 2853346 w 2908067"/>
                <a:gd name="connsiteY1" fmla="*/ 257442 h 257442"/>
                <a:gd name="connsiteX2" fmla="*/ 0 w 2908067"/>
                <a:gd name="connsiteY2" fmla="*/ 257442 h 257442"/>
                <a:gd name="connsiteX3" fmla="*/ 0 w 2908067"/>
                <a:gd name="connsiteY3" fmla="*/ 0 h 257442"/>
                <a:gd name="connsiteX0" fmla="*/ 3076383 w 3076383"/>
                <a:gd name="connsiteY0" fmla="*/ 0 h 257442"/>
                <a:gd name="connsiteX1" fmla="*/ 2853346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076383 w 3076383"/>
                <a:gd name="connsiteY0" fmla="*/ 0 h 257442"/>
                <a:gd name="connsiteX1" fmla="*/ 302166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076383 w 3076383"/>
                <a:gd name="connsiteY0" fmla="*/ 0 h 257442"/>
                <a:gd name="connsiteX1" fmla="*/ 302166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076383 w 3076383"/>
                <a:gd name="connsiteY0" fmla="*/ 0 h 257442"/>
                <a:gd name="connsiteX1" fmla="*/ 302166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254316 w 3254316"/>
                <a:gd name="connsiteY0" fmla="*/ 0 h 257442"/>
                <a:gd name="connsiteX1" fmla="*/ 3021662 w 3254316"/>
                <a:gd name="connsiteY1" fmla="*/ 257442 h 257442"/>
                <a:gd name="connsiteX2" fmla="*/ 0 w 3254316"/>
                <a:gd name="connsiteY2" fmla="*/ 257442 h 257442"/>
                <a:gd name="connsiteX3" fmla="*/ 0 w 3254316"/>
                <a:gd name="connsiteY3" fmla="*/ 0 h 257442"/>
                <a:gd name="connsiteX0" fmla="*/ 3254316 w 3254316"/>
                <a:gd name="connsiteY0" fmla="*/ 0 h 257442"/>
                <a:gd name="connsiteX1" fmla="*/ 3199594 w 3254316"/>
                <a:gd name="connsiteY1" fmla="*/ 257442 h 257442"/>
                <a:gd name="connsiteX2" fmla="*/ 0 w 3254316"/>
                <a:gd name="connsiteY2" fmla="*/ 257442 h 257442"/>
                <a:gd name="connsiteX3" fmla="*/ 0 w 3254316"/>
                <a:gd name="connsiteY3" fmla="*/ 0 h 257442"/>
                <a:gd name="connsiteX0" fmla="*/ 3254317 w 3254317"/>
                <a:gd name="connsiteY0" fmla="*/ 0 h 257442"/>
                <a:gd name="connsiteX1" fmla="*/ 3199595 w 3254317"/>
                <a:gd name="connsiteY1" fmla="*/ 257442 h 257442"/>
                <a:gd name="connsiteX2" fmla="*/ 0 w 3254317"/>
                <a:gd name="connsiteY2" fmla="*/ 257442 h 257442"/>
                <a:gd name="connsiteX3" fmla="*/ 1 w 3254317"/>
                <a:gd name="connsiteY3" fmla="*/ 0 h 257442"/>
                <a:gd name="connsiteX0" fmla="*/ 3254317 w 3254317"/>
                <a:gd name="connsiteY0" fmla="*/ 0 h 257442"/>
                <a:gd name="connsiteX1" fmla="*/ 3199595 w 3254317"/>
                <a:gd name="connsiteY1" fmla="*/ 257442 h 257442"/>
                <a:gd name="connsiteX2" fmla="*/ 0 w 3254317"/>
                <a:gd name="connsiteY2" fmla="*/ 257442 h 257442"/>
                <a:gd name="connsiteX3" fmla="*/ 1 w 3254317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54317" h="257442">
                  <a:moveTo>
                    <a:pt x="3254317" y="0"/>
                  </a:moveTo>
                  <a:lnTo>
                    <a:pt x="3199595" y="257442"/>
                  </a:lnTo>
                  <a:lnTo>
                    <a:pt x="0" y="257442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btfpRunningAgenda2LevelTextLeft907511">
              <a:extLst>
                <a:ext uri="{FF2B5EF4-FFF2-40B4-BE49-F238E27FC236}">
                  <a16:creationId xmlns:a16="http://schemas.microsoft.com/office/drawing/2014/main" id="{30B8B266-C251-4737-A315-BBB94630C49B}"/>
                </a:ext>
              </a:extLst>
            </p:cNvPr>
            <p:cNvSpPr txBox="1"/>
            <p:nvPr/>
          </p:nvSpPr>
          <p:spPr bwMode="gray">
            <a:xfrm>
              <a:off x="0" y="876300"/>
              <a:ext cx="3199595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uture switching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87339436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btfpColumnIndicatorGroup2">
            <a:extLst>
              <a:ext uri="{FF2B5EF4-FFF2-40B4-BE49-F238E27FC236}">
                <a16:creationId xmlns:a16="http://schemas.microsoft.com/office/drawing/2014/main" id="{13902C30-2A0A-4CFB-92B2-75A8DFAA7CAB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0" name="btfpColumnGapBlocker618174">
              <a:extLst>
                <a:ext uri="{FF2B5EF4-FFF2-40B4-BE49-F238E27FC236}">
                  <a16:creationId xmlns:a16="http://schemas.microsoft.com/office/drawing/2014/main" id="{F38443CB-E5BB-4C16-8EB5-3C6B44C8663E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8" name="btfpColumnGapBlocker579260">
              <a:extLst>
                <a:ext uri="{FF2B5EF4-FFF2-40B4-BE49-F238E27FC236}">
                  <a16:creationId xmlns:a16="http://schemas.microsoft.com/office/drawing/2014/main" id="{E086820D-7F43-4ACE-98FA-0F1657B27759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" name="btfpColumnIndicator411973">
              <a:extLst>
                <a:ext uri="{FF2B5EF4-FFF2-40B4-BE49-F238E27FC236}">
                  <a16:creationId xmlns:a16="http://schemas.microsoft.com/office/drawing/2014/main" id="{C2D92577-4281-420F-B905-78505F8EC1A3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267480">
              <a:extLst>
                <a:ext uri="{FF2B5EF4-FFF2-40B4-BE49-F238E27FC236}">
                  <a16:creationId xmlns:a16="http://schemas.microsoft.com/office/drawing/2014/main" id="{39EC2236-5413-455B-955B-19DF2369AC79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btfpColumnIndicatorGroup1">
            <a:extLst>
              <a:ext uri="{FF2B5EF4-FFF2-40B4-BE49-F238E27FC236}">
                <a16:creationId xmlns:a16="http://schemas.microsoft.com/office/drawing/2014/main" id="{2630C725-9A89-4AFA-B88D-387EC79CE33A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9" name="btfpColumnGapBlocker203260">
              <a:extLst>
                <a:ext uri="{FF2B5EF4-FFF2-40B4-BE49-F238E27FC236}">
                  <a16:creationId xmlns:a16="http://schemas.microsoft.com/office/drawing/2014/main" id="{47166FC9-E097-4FEB-80F8-B76402CB4042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7" name="btfpColumnGapBlocker680698">
              <a:extLst>
                <a:ext uri="{FF2B5EF4-FFF2-40B4-BE49-F238E27FC236}">
                  <a16:creationId xmlns:a16="http://schemas.microsoft.com/office/drawing/2014/main" id="{29AE2CEC-EC0C-4C15-82E7-E7C068C148F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548659">
              <a:extLst>
                <a:ext uri="{FF2B5EF4-FFF2-40B4-BE49-F238E27FC236}">
                  <a16:creationId xmlns:a16="http://schemas.microsoft.com/office/drawing/2014/main" id="{5515AB38-E55E-44A1-81DD-15DF3347C525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851028">
              <a:extLst>
                <a:ext uri="{FF2B5EF4-FFF2-40B4-BE49-F238E27FC236}">
                  <a16:creationId xmlns:a16="http://schemas.microsoft.com/office/drawing/2014/main" id="{4E1B75B8-F7F3-4326-9921-D740F863C7CF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EF1B63D5-88B8-45C8-8D2B-10048E2B3B0F}"/>
              </a:ext>
            </a:extLst>
          </p:cNvPr>
          <p:cNvSpPr/>
          <p:nvPr/>
        </p:nvSpPr>
        <p:spPr bwMode="gray">
          <a:xfrm>
            <a:off x="330199" y="1681704"/>
            <a:ext cx="5495528" cy="54965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How </a:t>
            </a: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fficult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would it be to </a:t>
            </a: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witch away 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rom &lt;vendor&gt; as a vendor?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EF4FA1C-67C1-4D5D-B5A4-88EFB2B63796}"/>
              </a:ext>
            </a:extLst>
          </p:cNvPr>
          <p:cNvSpPr/>
          <p:nvPr/>
        </p:nvSpPr>
        <p:spPr bwMode="gray">
          <a:xfrm>
            <a:off x="6366272" y="1681704"/>
            <a:ext cx="5495528" cy="54965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What makes </a:t>
            </a: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witching easy / difficult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</a:t>
            </a:r>
          </a:p>
        </p:txBody>
      </p:sp>
      <p:grpSp>
        <p:nvGrpSpPr>
          <p:cNvPr id="18" name="btfpColumnHeaderBox566460">
            <a:extLst>
              <a:ext uri="{FF2B5EF4-FFF2-40B4-BE49-F238E27FC236}">
                <a16:creationId xmlns:a16="http://schemas.microsoft.com/office/drawing/2014/main" id="{8922B41E-B7AD-4DEE-92EF-27025CEF87FF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366272" y="1270000"/>
            <a:ext cx="5495528" cy="318997"/>
            <a:chOff x="6366272" y="1270000"/>
            <a:chExt cx="5495528" cy="318997"/>
          </a:xfrm>
        </p:grpSpPr>
        <p:sp>
          <p:nvSpPr>
            <p:cNvPr id="19" name="btfpColumnHeaderBoxText566460">
              <a:extLst>
                <a:ext uri="{FF2B5EF4-FFF2-40B4-BE49-F238E27FC236}">
                  <a16:creationId xmlns:a16="http://schemas.microsoft.com/office/drawing/2014/main" id="{10FD1894-4063-4E34-A662-66FBABD5E4BE}"/>
                </a:ext>
              </a:extLst>
            </p:cNvPr>
            <p:cNvSpPr txBox="1"/>
            <p:nvPr/>
          </p:nvSpPr>
          <p:spPr bwMode="gray">
            <a:xfrm>
              <a:off x="6366272" y="1270000"/>
              <a:ext cx="5495528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witching difficulty reasons</a:t>
              </a:r>
            </a:p>
          </p:txBody>
        </p:sp>
        <p:cxnSp>
          <p:nvCxnSpPr>
            <p:cNvPr id="20" name="btfpColumnHeaderBoxLine566460">
              <a:extLst>
                <a:ext uri="{FF2B5EF4-FFF2-40B4-BE49-F238E27FC236}">
                  <a16:creationId xmlns:a16="http://schemas.microsoft.com/office/drawing/2014/main" id="{B5A0FD38-34BA-47EF-8637-A6517A376C93}"/>
                </a:ext>
              </a:extLst>
            </p:cNvPr>
            <p:cNvCxnSpPr/>
            <p:nvPr/>
          </p:nvCxnSpPr>
          <p:spPr bwMode="gray">
            <a:xfrm>
              <a:off x="6366272" y="1588997"/>
              <a:ext cx="549552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btfpColumnHeaderBox254200">
            <a:extLst>
              <a:ext uri="{FF2B5EF4-FFF2-40B4-BE49-F238E27FC236}">
                <a16:creationId xmlns:a16="http://schemas.microsoft.com/office/drawing/2014/main" id="{5820ECD4-A56A-46D4-A436-F51335FF47C4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330200" y="1270000"/>
            <a:ext cx="5495528" cy="318997"/>
            <a:chOff x="330200" y="1270000"/>
            <a:chExt cx="5495528" cy="318997"/>
          </a:xfrm>
        </p:grpSpPr>
        <p:sp>
          <p:nvSpPr>
            <p:cNvPr id="22" name="btfpColumnHeaderBoxText254200">
              <a:extLst>
                <a:ext uri="{FF2B5EF4-FFF2-40B4-BE49-F238E27FC236}">
                  <a16:creationId xmlns:a16="http://schemas.microsoft.com/office/drawing/2014/main" id="{B3E83C03-5A8F-4912-9460-D7674448F541}"/>
                </a:ext>
              </a:extLst>
            </p:cNvPr>
            <p:cNvSpPr txBox="1"/>
            <p:nvPr/>
          </p:nvSpPr>
          <p:spPr bwMode="gray">
            <a:xfrm>
              <a:off x="330200" y="1270000"/>
              <a:ext cx="5495528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ifficulty to switch</a:t>
              </a:r>
            </a:p>
          </p:txBody>
        </p:sp>
        <p:cxnSp>
          <p:nvCxnSpPr>
            <p:cNvPr id="23" name="btfpColumnHeaderBoxLine254200">
              <a:extLst>
                <a:ext uri="{FF2B5EF4-FFF2-40B4-BE49-F238E27FC236}">
                  <a16:creationId xmlns:a16="http://schemas.microsoft.com/office/drawing/2014/main" id="{A7EA375A-FA36-4431-9278-207E31B61DD9}"/>
                </a:ext>
              </a:extLst>
            </p:cNvPr>
            <p:cNvCxnSpPr/>
            <p:nvPr/>
          </p:nvCxnSpPr>
          <p:spPr bwMode="gray">
            <a:xfrm>
              <a:off x="330200" y="1588997"/>
              <a:ext cx="549552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btfpRunningAgenda2Level651721">
            <a:extLst>
              <a:ext uri="{FF2B5EF4-FFF2-40B4-BE49-F238E27FC236}">
                <a16:creationId xmlns:a16="http://schemas.microsoft.com/office/drawing/2014/main" id="{93DDEBE4-768B-45DE-81AD-0F53BA452BE3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-1" y="944429"/>
            <a:ext cx="2282897" cy="257442"/>
            <a:chOff x="-1" y="876300"/>
            <a:chExt cx="2282897" cy="257442"/>
          </a:xfrm>
        </p:grpSpPr>
        <p:sp>
          <p:nvSpPr>
            <p:cNvPr id="25" name="btfpRunningAgenda2LevelBarLeft651721">
              <a:extLst>
                <a:ext uri="{FF2B5EF4-FFF2-40B4-BE49-F238E27FC236}">
                  <a16:creationId xmlns:a16="http://schemas.microsoft.com/office/drawing/2014/main" id="{E75E4F86-1680-49A5-9D56-6B528123693A}"/>
                </a:ext>
              </a:extLst>
            </p:cNvPr>
            <p:cNvSpPr/>
            <p:nvPr/>
          </p:nvSpPr>
          <p:spPr bwMode="gray">
            <a:xfrm>
              <a:off x="-1" y="876300"/>
              <a:ext cx="2282897" cy="257442"/>
            </a:xfrm>
            <a:custGeom>
              <a:avLst/>
              <a:gdLst>
                <a:gd name="connsiteX0" fmla="*/ 950801 w 3793374"/>
                <a:gd name="connsiteY0" fmla="*/ 0 h 257442"/>
                <a:gd name="connsiteX1" fmla="*/ 3793374 w 3793374"/>
                <a:gd name="connsiteY1" fmla="*/ 0 h 257442"/>
                <a:gd name="connsiteX2" fmla="*/ 3738653 w 3793374"/>
                <a:gd name="connsiteY2" fmla="*/ 257442 h 257442"/>
                <a:gd name="connsiteX3" fmla="*/ 0 w 3793374"/>
                <a:gd name="connsiteY3" fmla="*/ 257442 h 257442"/>
                <a:gd name="connsiteX0" fmla="*/ 950801 w 3738653"/>
                <a:gd name="connsiteY0" fmla="*/ 0 h 257442"/>
                <a:gd name="connsiteX1" fmla="*/ 896080 w 3738653"/>
                <a:gd name="connsiteY1" fmla="*/ 257442 h 257442"/>
                <a:gd name="connsiteX2" fmla="*/ 3738653 w 3738653"/>
                <a:gd name="connsiteY2" fmla="*/ 257442 h 257442"/>
                <a:gd name="connsiteX3" fmla="*/ 0 w 3738653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128733 w 1128733"/>
                <a:gd name="connsiteY0" fmla="*/ 0 h 257442"/>
                <a:gd name="connsiteX1" fmla="*/ 896079 w 1128733"/>
                <a:gd name="connsiteY1" fmla="*/ 257442 h 257442"/>
                <a:gd name="connsiteX2" fmla="*/ 0 w 1128733"/>
                <a:gd name="connsiteY2" fmla="*/ 257442 h 257442"/>
                <a:gd name="connsiteX3" fmla="*/ 0 w 1128733"/>
                <a:gd name="connsiteY3" fmla="*/ 0 h 257442"/>
                <a:gd name="connsiteX0" fmla="*/ 1128733 w 1128733"/>
                <a:gd name="connsiteY0" fmla="*/ 0 h 257442"/>
                <a:gd name="connsiteX1" fmla="*/ 1074012 w 1128733"/>
                <a:gd name="connsiteY1" fmla="*/ 257442 h 257442"/>
                <a:gd name="connsiteX2" fmla="*/ 0 w 1128733"/>
                <a:gd name="connsiteY2" fmla="*/ 257442 h 257442"/>
                <a:gd name="connsiteX3" fmla="*/ 0 w 1128733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29724 w 1229724"/>
                <a:gd name="connsiteY0" fmla="*/ 0 h 257442"/>
                <a:gd name="connsiteX1" fmla="*/ 1074013 w 1229724"/>
                <a:gd name="connsiteY1" fmla="*/ 257442 h 257442"/>
                <a:gd name="connsiteX2" fmla="*/ 0 w 1229724"/>
                <a:gd name="connsiteY2" fmla="*/ 257442 h 257442"/>
                <a:gd name="connsiteX3" fmla="*/ 0 w 1229724"/>
                <a:gd name="connsiteY3" fmla="*/ 0 h 257442"/>
                <a:gd name="connsiteX0" fmla="*/ 1229724 w 1229724"/>
                <a:gd name="connsiteY0" fmla="*/ 0 h 257442"/>
                <a:gd name="connsiteX1" fmla="*/ 1175003 w 1229724"/>
                <a:gd name="connsiteY1" fmla="*/ 257442 h 257442"/>
                <a:gd name="connsiteX2" fmla="*/ 0 w 1229724"/>
                <a:gd name="connsiteY2" fmla="*/ 257442 h 257442"/>
                <a:gd name="connsiteX3" fmla="*/ 0 w 1229724"/>
                <a:gd name="connsiteY3" fmla="*/ 0 h 257442"/>
                <a:gd name="connsiteX0" fmla="*/ 1229724 w 1229724"/>
                <a:gd name="connsiteY0" fmla="*/ 0 h 257442"/>
                <a:gd name="connsiteX1" fmla="*/ 1175003 w 1229724"/>
                <a:gd name="connsiteY1" fmla="*/ 257442 h 257442"/>
                <a:gd name="connsiteX2" fmla="*/ 0 w 1229724"/>
                <a:gd name="connsiteY2" fmla="*/ 257442 h 257442"/>
                <a:gd name="connsiteX3" fmla="*/ 0 w 1229724"/>
                <a:gd name="connsiteY3" fmla="*/ 0 h 257442"/>
                <a:gd name="connsiteX0" fmla="*/ 1229724 w 1229724"/>
                <a:gd name="connsiteY0" fmla="*/ 0 h 257442"/>
                <a:gd name="connsiteX1" fmla="*/ 1175003 w 1229724"/>
                <a:gd name="connsiteY1" fmla="*/ 257442 h 257442"/>
                <a:gd name="connsiteX2" fmla="*/ 0 w 1229724"/>
                <a:gd name="connsiteY2" fmla="*/ 257442 h 257442"/>
                <a:gd name="connsiteX3" fmla="*/ 0 w 1229724"/>
                <a:gd name="connsiteY3" fmla="*/ 0 h 257442"/>
                <a:gd name="connsiteX0" fmla="*/ 942786 w 1175003"/>
                <a:gd name="connsiteY0" fmla="*/ 0 h 257442"/>
                <a:gd name="connsiteX1" fmla="*/ 1175003 w 1175003"/>
                <a:gd name="connsiteY1" fmla="*/ 257442 h 257442"/>
                <a:gd name="connsiteX2" fmla="*/ 0 w 1175003"/>
                <a:gd name="connsiteY2" fmla="*/ 257442 h 257442"/>
                <a:gd name="connsiteX3" fmla="*/ 0 w 1175003"/>
                <a:gd name="connsiteY3" fmla="*/ 0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0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1095071 w 1095071"/>
                <a:gd name="connsiteY0" fmla="*/ 0 h 257442"/>
                <a:gd name="connsiteX1" fmla="*/ 888065 w 1095071"/>
                <a:gd name="connsiteY1" fmla="*/ 257442 h 257442"/>
                <a:gd name="connsiteX2" fmla="*/ 0 w 1095071"/>
                <a:gd name="connsiteY2" fmla="*/ 257442 h 257442"/>
                <a:gd name="connsiteX3" fmla="*/ 0 w 1095071"/>
                <a:gd name="connsiteY3" fmla="*/ 0 h 257442"/>
                <a:gd name="connsiteX0" fmla="*/ 1095071 w 1095071"/>
                <a:gd name="connsiteY0" fmla="*/ 0 h 257442"/>
                <a:gd name="connsiteX1" fmla="*/ 1040350 w 1095071"/>
                <a:gd name="connsiteY1" fmla="*/ 257442 h 257442"/>
                <a:gd name="connsiteX2" fmla="*/ 0 w 1095071"/>
                <a:gd name="connsiteY2" fmla="*/ 257442 h 257442"/>
                <a:gd name="connsiteX3" fmla="*/ 0 w 1095071"/>
                <a:gd name="connsiteY3" fmla="*/ 0 h 257442"/>
                <a:gd name="connsiteX0" fmla="*/ 1095071 w 1095071"/>
                <a:gd name="connsiteY0" fmla="*/ 0 h 257442"/>
                <a:gd name="connsiteX1" fmla="*/ 1040350 w 1095071"/>
                <a:gd name="connsiteY1" fmla="*/ 257442 h 257442"/>
                <a:gd name="connsiteX2" fmla="*/ 0 w 1095071"/>
                <a:gd name="connsiteY2" fmla="*/ 257442 h 257442"/>
                <a:gd name="connsiteX3" fmla="*/ 0 w 1095071"/>
                <a:gd name="connsiteY3" fmla="*/ 0 h 257442"/>
                <a:gd name="connsiteX0" fmla="*/ 1095071 w 1095071"/>
                <a:gd name="connsiteY0" fmla="*/ 0 h 257442"/>
                <a:gd name="connsiteX1" fmla="*/ 1040350 w 1095071"/>
                <a:gd name="connsiteY1" fmla="*/ 257442 h 257442"/>
                <a:gd name="connsiteX2" fmla="*/ 0 w 1095071"/>
                <a:gd name="connsiteY2" fmla="*/ 257442 h 257442"/>
                <a:gd name="connsiteX3" fmla="*/ 0 w 1095071"/>
                <a:gd name="connsiteY3" fmla="*/ 0 h 257442"/>
                <a:gd name="connsiteX0" fmla="*/ 1196060 w 1196060"/>
                <a:gd name="connsiteY0" fmla="*/ 0 h 257442"/>
                <a:gd name="connsiteX1" fmla="*/ 1040350 w 1196060"/>
                <a:gd name="connsiteY1" fmla="*/ 257442 h 257442"/>
                <a:gd name="connsiteX2" fmla="*/ 0 w 1196060"/>
                <a:gd name="connsiteY2" fmla="*/ 257442 h 257442"/>
                <a:gd name="connsiteX3" fmla="*/ 0 w 1196060"/>
                <a:gd name="connsiteY3" fmla="*/ 0 h 257442"/>
                <a:gd name="connsiteX0" fmla="*/ 1196060 w 1196060"/>
                <a:gd name="connsiteY0" fmla="*/ 0 h 257442"/>
                <a:gd name="connsiteX1" fmla="*/ 1141338 w 1196060"/>
                <a:gd name="connsiteY1" fmla="*/ 257442 h 257442"/>
                <a:gd name="connsiteX2" fmla="*/ 0 w 1196060"/>
                <a:gd name="connsiteY2" fmla="*/ 257442 h 257442"/>
                <a:gd name="connsiteX3" fmla="*/ 0 w 1196060"/>
                <a:gd name="connsiteY3" fmla="*/ 0 h 257442"/>
                <a:gd name="connsiteX0" fmla="*/ 1196061 w 1196061"/>
                <a:gd name="connsiteY0" fmla="*/ 0 h 257442"/>
                <a:gd name="connsiteX1" fmla="*/ 1141339 w 1196061"/>
                <a:gd name="connsiteY1" fmla="*/ 257442 h 257442"/>
                <a:gd name="connsiteX2" fmla="*/ 0 w 1196061"/>
                <a:gd name="connsiteY2" fmla="*/ 257442 h 257442"/>
                <a:gd name="connsiteX3" fmla="*/ 1 w 1196061"/>
                <a:gd name="connsiteY3" fmla="*/ 0 h 257442"/>
                <a:gd name="connsiteX0" fmla="*/ 1196061 w 1196061"/>
                <a:gd name="connsiteY0" fmla="*/ 0 h 257442"/>
                <a:gd name="connsiteX1" fmla="*/ 1141339 w 1196061"/>
                <a:gd name="connsiteY1" fmla="*/ 257442 h 257442"/>
                <a:gd name="connsiteX2" fmla="*/ 0 w 1196061"/>
                <a:gd name="connsiteY2" fmla="*/ 257442 h 257442"/>
                <a:gd name="connsiteX3" fmla="*/ 1 w 1196061"/>
                <a:gd name="connsiteY3" fmla="*/ 0 h 257442"/>
                <a:gd name="connsiteX0" fmla="*/ 1364377 w 1364377"/>
                <a:gd name="connsiteY0" fmla="*/ 0 h 257442"/>
                <a:gd name="connsiteX1" fmla="*/ 1141339 w 1364377"/>
                <a:gd name="connsiteY1" fmla="*/ 257442 h 257442"/>
                <a:gd name="connsiteX2" fmla="*/ 0 w 1364377"/>
                <a:gd name="connsiteY2" fmla="*/ 257442 h 257442"/>
                <a:gd name="connsiteX3" fmla="*/ 1 w 1364377"/>
                <a:gd name="connsiteY3" fmla="*/ 0 h 257442"/>
                <a:gd name="connsiteX0" fmla="*/ 1364377 w 1364377"/>
                <a:gd name="connsiteY0" fmla="*/ 0 h 257442"/>
                <a:gd name="connsiteX1" fmla="*/ 1309656 w 1364377"/>
                <a:gd name="connsiteY1" fmla="*/ 257442 h 257442"/>
                <a:gd name="connsiteX2" fmla="*/ 0 w 1364377"/>
                <a:gd name="connsiteY2" fmla="*/ 257442 h 257442"/>
                <a:gd name="connsiteX3" fmla="*/ 1 w 1364377"/>
                <a:gd name="connsiteY3" fmla="*/ 0 h 257442"/>
                <a:gd name="connsiteX0" fmla="*/ 1364376 w 1364376"/>
                <a:gd name="connsiteY0" fmla="*/ 0 h 257442"/>
                <a:gd name="connsiteX1" fmla="*/ 1309655 w 1364376"/>
                <a:gd name="connsiteY1" fmla="*/ 257442 h 257442"/>
                <a:gd name="connsiteX2" fmla="*/ 0 w 1364376"/>
                <a:gd name="connsiteY2" fmla="*/ 257442 h 257442"/>
                <a:gd name="connsiteX3" fmla="*/ 0 w 1364376"/>
                <a:gd name="connsiteY3" fmla="*/ 0 h 257442"/>
                <a:gd name="connsiteX0" fmla="*/ 1364377 w 1364377"/>
                <a:gd name="connsiteY0" fmla="*/ 0 h 257442"/>
                <a:gd name="connsiteX1" fmla="*/ 1309656 w 1364377"/>
                <a:gd name="connsiteY1" fmla="*/ 257442 h 257442"/>
                <a:gd name="connsiteX2" fmla="*/ 1 w 1364377"/>
                <a:gd name="connsiteY2" fmla="*/ 257442 h 257442"/>
                <a:gd name="connsiteX3" fmla="*/ 0 w 1364377"/>
                <a:gd name="connsiteY3" fmla="*/ 0 h 257442"/>
                <a:gd name="connsiteX0" fmla="*/ 1532692 w 1532692"/>
                <a:gd name="connsiteY0" fmla="*/ 0 h 257442"/>
                <a:gd name="connsiteX1" fmla="*/ 1309656 w 1532692"/>
                <a:gd name="connsiteY1" fmla="*/ 257442 h 257442"/>
                <a:gd name="connsiteX2" fmla="*/ 1 w 1532692"/>
                <a:gd name="connsiteY2" fmla="*/ 257442 h 257442"/>
                <a:gd name="connsiteX3" fmla="*/ 0 w 1532692"/>
                <a:gd name="connsiteY3" fmla="*/ 0 h 257442"/>
                <a:gd name="connsiteX0" fmla="*/ 1532692 w 1532692"/>
                <a:gd name="connsiteY0" fmla="*/ 0 h 257442"/>
                <a:gd name="connsiteX1" fmla="*/ 1477970 w 1532692"/>
                <a:gd name="connsiteY1" fmla="*/ 257442 h 257442"/>
                <a:gd name="connsiteX2" fmla="*/ 1 w 1532692"/>
                <a:gd name="connsiteY2" fmla="*/ 257442 h 257442"/>
                <a:gd name="connsiteX3" fmla="*/ 0 w 1532692"/>
                <a:gd name="connsiteY3" fmla="*/ 0 h 257442"/>
                <a:gd name="connsiteX0" fmla="*/ 1532692 w 1532692"/>
                <a:gd name="connsiteY0" fmla="*/ 0 h 257442"/>
                <a:gd name="connsiteX1" fmla="*/ 1477970 w 1532692"/>
                <a:gd name="connsiteY1" fmla="*/ 257442 h 257442"/>
                <a:gd name="connsiteX2" fmla="*/ 0 w 1532692"/>
                <a:gd name="connsiteY2" fmla="*/ 257442 h 257442"/>
                <a:gd name="connsiteX3" fmla="*/ 0 w 1532692"/>
                <a:gd name="connsiteY3" fmla="*/ 0 h 257442"/>
                <a:gd name="connsiteX0" fmla="*/ 1532692 w 1532692"/>
                <a:gd name="connsiteY0" fmla="*/ 0 h 257442"/>
                <a:gd name="connsiteX1" fmla="*/ 1477970 w 1532692"/>
                <a:gd name="connsiteY1" fmla="*/ 257442 h 257442"/>
                <a:gd name="connsiteX2" fmla="*/ 0 w 1532692"/>
                <a:gd name="connsiteY2" fmla="*/ 257442 h 257442"/>
                <a:gd name="connsiteX3" fmla="*/ 0 w 1532692"/>
                <a:gd name="connsiteY3" fmla="*/ 0 h 257442"/>
                <a:gd name="connsiteX0" fmla="*/ 1633680 w 1633680"/>
                <a:gd name="connsiteY0" fmla="*/ 0 h 257442"/>
                <a:gd name="connsiteX1" fmla="*/ 1477970 w 1633680"/>
                <a:gd name="connsiteY1" fmla="*/ 257442 h 257442"/>
                <a:gd name="connsiteX2" fmla="*/ 0 w 1633680"/>
                <a:gd name="connsiteY2" fmla="*/ 257442 h 257442"/>
                <a:gd name="connsiteX3" fmla="*/ 0 w 1633680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0 w 1633680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0 w 1633680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0 w 1633680"/>
                <a:gd name="connsiteY3" fmla="*/ 0 h 257442"/>
                <a:gd name="connsiteX0" fmla="*/ 1801995 w 1801995"/>
                <a:gd name="connsiteY0" fmla="*/ 0 h 257442"/>
                <a:gd name="connsiteX1" fmla="*/ 1578959 w 1801995"/>
                <a:gd name="connsiteY1" fmla="*/ 257442 h 257442"/>
                <a:gd name="connsiteX2" fmla="*/ 0 w 1801995"/>
                <a:gd name="connsiteY2" fmla="*/ 257442 h 257442"/>
                <a:gd name="connsiteX3" fmla="*/ 0 w 1801995"/>
                <a:gd name="connsiteY3" fmla="*/ 0 h 257442"/>
                <a:gd name="connsiteX0" fmla="*/ 1801995 w 1801995"/>
                <a:gd name="connsiteY0" fmla="*/ 0 h 257442"/>
                <a:gd name="connsiteX1" fmla="*/ 1747274 w 1801995"/>
                <a:gd name="connsiteY1" fmla="*/ 257442 h 257442"/>
                <a:gd name="connsiteX2" fmla="*/ 0 w 1801995"/>
                <a:gd name="connsiteY2" fmla="*/ 257442 h 257442"/>
                <a:gd name="connsiteX3" fmla="*/ 0 w 1801995"/>
                <a:gd name="connsiteY3" fmla="*/ 0 h 257442"/>
                <a:gd name="connsiteX0" fmla="*/ 1801995 w 1801995"/>
                <a:gd name="connsiteY0" fmla="*/ 0 h 257442"/>
                <a:gd name="connsiteX1" fmla="*/ 1747274 w 1801995"/>
                <a:gd name="connsiteY1" fmla="*/ 257442 h 257442"/>
                <a:gd name="connsiteX2" fmla="*/ 0 w 1801995"/>
                <a:gd name="connsiteY2" fmla="*/ 257442 h 257442"/>
                <a:gd name="connsiteX3" fmla="*/ 0 w 1801995"/>
                <a:gd name="connsiteY3" fmla="*/ 0 h 257442"/>
                <a:gd name="connsiteX0" fmla="*/ 1801995 w 1801995"/>
                <a:gd name="connsiteY0" fmla="*/ 0 h 257442"/>
                <a:gd name="connsiteX1" fmla="*/ 1747274 w 1801995"/>
                <a:gd name="connsiteY1" fmla="*/ 257442 h 257442"/>
                <a:gd name="connsiteX2" fmla="*/ 0 w 1801995"/>
                <a:gd name="connsiteY2" fmla="*/ 257442 h 257442"/>
                <a:gd name="connsiteX3" fmla="*/ 0 w 1801995"/>
                <a:gd name="connsiteY3" fmla="*/ 0 h 257442"/>
                <a:gd name="connsiteX0" fmla="*/ 1962295 w 1962295"/>
                <a:gd name="connsiteY0" fmla="*/ 0 h 257442"/>
                <a:gd name="connsiteX1" fmla="*/ 1747274 w 1962295"/>
                <a:gd name="connsiteY1" fmla="*/ 257442 h 257442"/>
                <a:gd name="connsiteX2" fmla="*/ 0 w 1962295"/>
                <a:gd name="connsiteY2" fmla="*/ 257442 h 257442"/>
                <a:gd name="connsiteX3" fmla="*/ 0 w 1962295"/>
                <a:gd name="connsiteY3" fmla="*/ 0 h 257442"/>
                <a:gd name="connsiteX0" fmla="*/ 1962295 w 1962295"/>
                <a:gd name="connsiteY0" fmla="*/ 0 h 257442"/>
                <a:gd name="connsiteX1" fmla="*/ 1907574 w 1962295"/>
                <a:gd name="connsiteY1" fmla="*/ 257442 h 257442"/>
                <a:gd name="connsiteX2" fmla="*/ 0 w 1962295"/>
                <a:gd name="connsiteY2" fmla="*/ 257442 h 257442"/>
                <a:gd name="connsiteX3" fmla="*/ 0 w 1962295"/>
                <a:gd name="connsiteY3" fmla="*/ 0 h 257442"/>
                <a:gd name="connsiteX0" fmla="*/ 1962295 w 1962295"/>
                <a:gd name="connsiteY0" fmla="*/ 0 h 257442"/>
                <a:gd name="connsiteX1" fmla="*/ 1907574 w 1962295"/>
                <a:gd name="connsiteY1" fmla="*/ 257442 h 257442"/>
                <a:gd name="connsiteX2" fmla="*/ 0 w 1962295"/>
                <a:gd name="connsiteY2" fmla="*/ 257442 h 257442"/>
                <a:gd name="connsiteX3" fmla="*/ 0 w 1962295"/>
                <a:gd name="connsiteY3" fmla="*/ 0 h 257442"/>
                <a:gd name="connsiteX0" fmla="*/ 1962295 w 1962295"/>
                <a:gd name="connsiteY0" fmla="*/ 0 h 257442"/>
                <a:gd name="connsiteX1" fmla="*/ 1907574 w 1962295"/>
                <a:gd name="connsiteY1" fmla="*/ 257442 h 257442"/>
                <a:gd name="connsiteX2" fmla="*/ 0 w 1962295"/>
                <a:gd name="connsiteY2" fmla="*/ 257442 h 257442"/>
                <a:gd name="connsiteX3" fmla="*/ 0 w 1962295"/>
                <a:gd name="connsiteY3" fmla="*/ 0 h 257442"/>
                <a:gd name="connsiteX0" fmla="*/ 2122596 w 2122596"/>
                <a:gd name="connsiteY0" fmla="*/ 0 h 257442"/>
                <a:gd name="connsiteX1" fmla="*/ 1907574 w 2122596"/>
                <a:gd name="connsiteY1" fmla="*/ 257442 h 257442"/>
                <a:gd name="connsiteX2" fmla="*/ 0 w 2122596"/>
                <a:gd name="connsiteY2" fmla="*/ 257442 h 257442"/>
                <a:gd name="connsiteX3" fmla="*/ 0 w 2122596"/>
                <a:gd name="connsiteY3" fmla="*/ 0 h 257442"/>
                <a:gd name="connsiteX0" fmla="*/ 2122596 w 2122596"/>
                <a:gd name="connsiteY0" fmla="*/ 0 h 257442"/>
                <a:gd name="connsiteX1" fmla="*/ 2067874 w 2122596"/>
                <a:gd name="connsiteY1" fmla="*/ 257442 h 257442"/>
                <a:gd name="connsiteX2" fmla="*/ 0 w 2122596"/>
                <a:gd name="connsiteY2" fmla="*/ 257442 h 257442"/>
                <a:gd name="connsiteX3" fmla="*/ 0 w 2122596"/>
                <a:gd name="connsiteY3" fmla="*/ 0 h 257442"/>
                <a:gd name="connsiteX0" fmla="*/ 2122597 w 2122597"/>
                <a:gd name="connsiteY0" fmla="*/ 0 h 257442"/>
                <a:gd name="connsiteX1" fmla="*/ 2067875 w 2122597"/>
                <a:gd name="connsiteY1" fmla="*/ 257442 h 257442"/>
                <a:gd name="connsiteX2" fmla="*/ 0 w 2122597"/>
                <a:gd name="connsiteY2" fmla="*/ 257442 h 257442"/>
                <a:gd name="connsiteX3" fmla="*/ 1 w 2122597"/>
                <a:gd name="connsiteY3" fmla="*/ 0 h 257442"/>
                <a:gd name="connsiteX0" fmla="*/ 2122597 w 2122597"/>
                <a:gd name="connsiteY0" fmla="*/ 0 h 257442"/>
                <a:gd name="connsiteX1" fmla="*/ 2067875 w 2122597"/>
                <a:gd name="connsiteY1" fmla="*/ 257442 h 257442"/>
                <a:gd name="connsiteX2" fmla="*/ 0 w 2122597"/>
                <a:gd name="connsiteY2" fmla="*/ 257442 h 257442"/>
                <a:gd name="connsiteX3" fmla="*/ 1 w 2122597"/>
                <a:gd name="connsiteY3" fmla="*/ 0 h 257442"/>
                <a:gd name="connsiteX0" fmla="*/ 2282897 w 2282897"/>
                <a:gd name="connsiteY0" fmla="*/ 0 h 257442"/>
                <a:gd name="connsiteX1" fmla="*/ 2067875 w 2282897"/>
                <a:gd name="connsiteY1" fmla="*/ 257442 h 257442"/>
                <a:gd name="connsiteX2" fmla="*/ 0 w 2282897"/>
                <a:gd name="connsiteY2" fmla="*/ 257442 h 257442"/>
                <a:gd name="connsiteX3" fmla="*/ 1 w 2282897"/>
                <a:gd name="connsiteY3" fmla="*/ 0 h 257442"/>
                <a:gd name="connsiteX0" fmla="*/ 2282897 w 2282897"/>
                <a:gd name="connsiteY0" fmla="*/ 0 h 257442"/>
                <a:gd name="connsiteX1" fmla="*/ 2228176 w 2282897"/>
                <a:gd name="connsiteY1" fmla="*/ 257442 h 257442"/>
                <a:gd name="connsiteX2" fmla="*/ 0 w 2282897"/>
                <a:gd name="connsiteY2" fmla="*/ 257442 h 257442"/>
                <a:gd name="connsiteX3" fmla="*/ 1 w 2282897"/>
                <a:gd name="connsiteY3" fmla="*/ 0 h 257442"/>
                <a:gd name="connsiteX0" fmla="*/ 2282896 w 2282896"/>
                <a:gd name="connsiteY0" fmla="*/ 0 h 257442"/>
                <a:gd name="connsiteX1" fmla="*/ 2228175 w 2282896"/>
                <a:gd name="connsiteY1" fmla="*/ 257442 h 257442"/>
                <a:gd name="connsiteX2" fmla="*/ 0 w 2282896"/>
                <a:gd name="connsiteY2" fmla="*/ 257442 h 257442"/>
                <a:gd name="connsiteX3" fmla="*/ 0 w 2282896"/>
                <a:gd name="connsiteY3" fmla="*/ 0 h 257442"/>
                <a:gd name="connsiteX0" fmla="*/ 2282897 w 2282897"/>
                <a:gd name="connsiteY0" fmla="*/ 0 h 257442"/>
                <a:gd name="connsiteX1" fmla="*/ 2228176 w 2282897"/>
                <a:gd name="connsiteY1" fmla="*/ 257442 h 257442"/>
                <a:gd name="connsiteX2" fmla="*/ 1 w 2282897"/>
                <a:gd name="connsiteY2" fmla="*/ 257442 h 257442"/>
                <a:gd name="connsiteX3" fmla="*/ 0 w 2282897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82897" h="257442">
                  <a:moveTo>
                    <a:pt x="2282897" y="0"/>
                  </a:moveTo>
                  <a:lnTo>
                    <a:pt x="2228176" y="257442"/>
                  </a:lnTo>
                  <a:lnTo>
                    <a:pt x="1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btfpRunningAgenda2LevelTextLeft651721">
              <a:extLst>
                <a:ext uri="{FF2B5EF4-FFF2-40B4-BE49-F238E27FC236}">
                  <a16:creationId xmlns:a16="http://schemas.microsoft.com/office/drawing/2014/main" id="{E1D587DE-1523-4500-A5C3-768D4BAF94B0}"/>
                </a:ext>
              </a:extLst>
            </p:cNvPr>
            <p:cNvSpPr txBox="1"/>
            <p:nvPr/>
          </p:nvSpPr>
          <p:spPr bwMode="gray">
            <a:xfrm>
              <a:off x="0" y="876300"/>
              <a:ext cx="2228175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ickiness</a:t>
              </a:r>
            </a:p>
          </p:txBody>
        </p:sp>
      </p:grpSp>
      <p:sp>
        <p:nvSpPr>
          <p:cNvPr id="29" name="Rectangle 28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vl5jf/09ap99kD5plAaxXVCNjEk7eSh8qzNCHVzDwg4tv+lTGG6Db5+KUUavBPoiliMC3X9War5X/WM20nA0a3ZyBuReIaqDHFemqWco9yxEFZc5RhIYFDxCCtaF63Gjz0TeNrdhkGnSSf+qIi1ltlKka5lPyi/+tQs1vBvS/Xu6/hNUjNR00hkI4NsjaUa+TFQ0+14gmi2A5DxQCRK74MauCsLncRDGt7qg2hk2F2935u5nvQTb/WciSuEZ4KRgYU3eIlvrvaz+A4qoRs/99jRiMYbUxnJGyfILRdmRvPzpp4diDEOCzKAoZbvvs3MDhumZX1U1dQdIxhztSN7MRh1Bt8km6fmd6aQdt1WLLaX0VkRuDRFc1U2ii0xt3leeNq7pEw15I2SUtSagYcSkZS/mox6NELD+TPQCtHAEBlmNegUINCifbYFRSmHwBtIOQP2me20vn3XxFWOCjvhdaOotzJAS0GfOjq5AKkR90cKdtRK49fKDsQcSWH4AdQtfhwxlYFTaesigQKh5pGOHTbvviEPSefjJWmgB6XQltdGav+L53OnUH1/xKFwG0tVpRk3P5d2BOfgqxw4HKylxiDnJdwX6onHcIrD8pQyJDiOfuzsrKPVHscxcnijLFmtdpFjmpJjXpdhGnVTNtfhpzCXhUKarZv1Kfe/9rS0YNpOFbf0pBxSjXWkQwDLilVeJahP6ReKewVYYUDh8CTwTgGirGaj3fqesL4+MjmyxxnURrWzvWo6mHe4pLtaLYhGKRCHucxvkIuA25JkZqbHyqX7XYZF1IPsjDFFTBiZY2tGky3zlPfQvT/9RcIoqs0ewXpBia7VS67UBUgW+8mS3DuzxDyQLmY8UCuZ49NZyCkcZBDjRjcEx5SgtmzjDkN2e36HXrJ/q1Mo3/dY/ngyhf8TTzF+9rlcJP1Qd7KnhpoH48zDQFz/KjHwVlu0tP4cjaKreNshdztIU/IXAZkTB90tBePx+VX0r0M3JqpdkwLyPs2liWcnqf7P90YXzGkeawk6ZdS5ELtJSH9sbzTBnVHosU/63AHXA8REggSW01PQEgv0DFNd0vY1GL2ymQDAwdD32QyNXML0d7AgLN9teld6JpN6jIrhO4POGKDshDTn6Ma/wdjrr2Go1fh/tsQaN8goXS4gAVJ3SFgI7Hz8FNgfprcvcClH3JPHDTMJUPwd7j8OFu/65LNNcLEnVxH00+9LPsb+esuc3SPri15uwZsuhTomtO0NqUtm2UJx/w/CwWNsBbKvkTGiu5jcLHrGIZz4oCiVm+zJqLMr2Rv3vjWImub1C7ERF5RGMry9jyDeyzKUnNelIXGrtB7w8HkpbQNTlJc9X4/F3FzZgtmgA3QJWQXp9JeVzL7T5FR5b3V1o3BL68z3HQCgrEOnLb6d1mO7TM9q1VWdXldsM8l3hMIMDKLmKSYf/+FpmULja1wc3XJK9rFy02U2hgd0RlBZEqmEhN+9/ZUUCnRcoceT2xJryDK6wQyapVy6cfXhFrAJx1N6xBR/GHWd6VeW902rT5edugV2Vim7/9aiEvWJujvAW34w3E9oocaWrYjdzZq0xvxIybnT5k0HMRCRYV5QmnTRvbfU3S1C4cKS/SltSDTE4QmPutWwd+CkfGYFregnzzcjEiz+lTBuZ7XssvRwegr4tKaOCc53+vQdV+MabZLfsaZ0taFgZ3dTVjJ2HWvPDnFMg+gbWd96Gzup4nFndp2MzGoi9DDrWdAunaiqLxmrSS5Bj3Zd6EoicF7qLfRQ+/zf6tGmcPgNRrhHs0EJxP+3TnRrsua6DIQNA0E1EIJZ/ZqWnDS0ZclTRDM1rGBu55fPVhivQ2Rn36aljSVSTXFwK3iK+8cEJuCHNTbbO+I4JaDTvZGq7AAC8c0RYfNTLZcpHrvMFjZFRI2bWJ/4qSMgrK2vO2uDrRiT8jHSRzcHNfuheOnbOTd/14o/2LHrSFvDJK6KpMtPRQZoFd2YHMySHaZGjHiLMJfnOnU1580+t73sIwtsAO0And76CVwZOhEubC38vATuvzjVmYn94sOB2fYpPFtzfvE0erpZfz1s3fWg4Lp+Xqay2rZ5uYmYgcmWU67IDXbDwr6oXl9YD+0QwaYtHtpi8g1++S6YDmaBgNPZq+pP2/41ZBXw9LS1Yx4YXcrBnISiv5dhUIH6LBVxPbZaVEh9bXGujDV8DZxCVtGtqMYnXk9q/2unBlUx9Fuf+lHZKYptnq97vdmuEo18wMCB04XYfqJhoDDVy7Q3CNryZwL4iZd00a29H6xurmr52djnZUPKUui4SHi++9PiyRQbE7okkbzLYCn1CPDUie0WsWFTdBvkeAq+MoHBjubXexApQTSclO6SdM7GQRnBoe48V1PpBxFAvqw4FZCS9zWxoB2CRNiyJxruzW8qjrSP1qdkWjf5S5SiHReuszCjDWw6S1+QBj9KkUHo8xyKWI/k7HfDulwKB6+GbPc60FLDu5lAcuhj4XCS45NTtCQ6Ir6DJJyc4KE6yGzVgXui15Swhw7ry7KEm17g9OTZLMjL2kNVySomcLfURUuNu5L/Tphi8JhJu9UD7aGVJ759CxnS1NxY7RA60bjGdQvIlJ3Xjj1gl53BO3CZHlu387bNhEBkd19yDtOb1tVV1WL7LHaBuTAaATlNUm2J9KZCV+nJG60sdYnx68YHk+SElBQGCGC1pEz6qXFxSsrHw5mYwEjljj31PMWPUX+4mzhCgGkTqCavwxhpmgQ21YjxYOup+1GyHzJJTmORGVEj44KKF4JZEa6jXdWiOH//ruTVWL8BNGBf/MqkqrYdXHsCCewsp3foBrwYe9Abj8nPEpnOMsbDpAA5HF8CisxYHR0FjuTW+NWa9EAMTYlzTXbKBeAYu+xSVdD/m+mzlc+GXBQc1thpAZwj8bc5tLfyxkwWBTFqxXWsLv8c9YrcHkds6vVQHxfbOm7nfpbv3xRvjHnYsR5rVhO4x1QburRnW0Ls6q7vihx0Qp3POWS135AMIVcDSbCCQfHHBpmD8iTJS4ouQeHPWU8Xhj255pXrRIVbXjF75uW2y8wGSxYw5/UnDUZwQdlZxDT91FKwAgJBH99/Q8qBNjUWCz2jGjDpZziX1z4JFKZ7/0TyVo9XsHykHFxxzVn5BPFoJA5wYaW7QWAPbiK7rXptDGhh3Rl7KxJRvjeuag9z3+VRf+KiOMvixil6JYuUSv2J+a6TUNV7hQorDddbKAPqvqsaaIm0l++kzoObG+wXZIKWL7F7UH1JbJU/4nmeFEZUf9x/Wsuchy5sBapYNndrsxTwSw6O2pAf3FfElul6i5XRo2kOi+FvNhl9tfqwdNOXdj+y1izrhseItVIBElaKEe/doay3iRyC3xcnvCGJ/Auul00yipRA7gcVudDb7wl+tgtRS+hTCWbd4mml5fZpL4k7WLGbFfgSKuzWDwFT/twp6n20KObNEPPvMqkib6K0cJAG8igc0ru+RGjAbrsiccdpqi9VaLKVmsscagt5Vxl0KxIdhRmn8YeJeL2FHlCmetT90uQS7RY9e8kf2i/GfFxqKnYW4jwgHCiUedodUKwDXln1eaiL9IzfU+suHWoPtdFJvwepUrU0iF6BjdAUGkdjWt+28DJSZr99alt4UES980AoepTVuUYx5KLyqzgNPwoqaysKqxjP0p2RuWhX4pIAwuxZeoVmLHssuJlPxd46GvZneXkvQmAN3C/jhvmZBX8vopZAUMqjh+xBwbhIojhaufGaBK8PxUSkUz3E8fEpkpYENzuuFYLyVc6UrYTLT32cxEjISiQNQKHa0m00jhAuCbGlnJdZWMoGeNRNwRiC8NvavMwX2bq9NEE/P080Olg3BF1qLIPnk7nZ3NGeoLSVisbq+9msSXOohsHVRB957liaOmj08K1AwKXOCh+Yufq4jD225UcbkriQZEu01PBmoEg0vbsVgTuGqbS+sWgeCo87LnRj6DnHdPGm6FQmfDi0oPRlpAozdyOLwl5xyDwD7R5xeoTeMM/M6Qz9OwXw/Z+OFHtgETpiI7FOEJXom7kKTpcX/PQWbN7H6M/9QybeAJZ00rw0iLqOI6u/yGOwpFXrcyLbTMaRXAeYxigBSspSODtbHB9Vy/BW/+CW5vaGnd3IWhagEs7p+JKVwdyCycCAcCOF8v7GljlO3l8X0EDYFYOjPJGG7ZPbnM+GAjWVernnXyeeRqxVFeQhlgYBWGvGuWhSaypc/M00w+SfSoT/XgTh+W3oFnDvta75eRpb8ljAAgEFeGGGTsyXAY0E7DXhiWDLu0nRac/ykrXLjUCnwOdnwuBXhnWRNhU/eJmccncqJgr0+z8dOzD8v2POtoMxos+Yy1J0Q/mJJT1gBxWDgn3Z7aaZVxvMt2pE+wPd0MPaFdo+nuaGDXUzpBBERj/GUWHQXa2/nyR4GSWPcOQbLztqQ+9FVVEJdR3jVvXzfLYdbc3vnVcsikiM+0MtKUNe7K/i6DGRYGXXZZFa7soqSzrjiem/2++WM4wdWZcN7CY4KxNNwss/pGn3xuvtv+17MHA6MpZXindeTg2RNKhUgh4SQnw/8hftBmKl0OBW9S2kvguCv85Q4TQc5QFKCgfJ4HlBGk85hSCoH3gdm0PL15Qy63MtlXpeXomGLzTb7P00hwWUKXVRc5kpM6RVjPU3wSLJX63xCufjZC2jav57GpL2i4yqc9P4tilAhuQ8Pt9SaPm9IGML+CFQ6GS78Pepe9LL8M/epiS0Wo528e6CxfIxG9btvvJ/YTDDGX9QjVWsx56ZSBpBYm+7bPZpN97sjtdKTZLnx7F/rqtcAnr1CbrZ1gpFoDTQi3kvj2JZob7KI8pZ/ZuU9k00eFrv/7AwlkVH9ZUbdbhHpBT3izcfDBZZfrSEOwUuRw2Ng/W93zwRjK4tVfGn8AestvlGO1V+zGvb617u7i0OXwMSzEOvQYN8UleRuovMlKTs84/UaCJZK11lT9u5ju10AdDeIrRwEKw+zAt5D7o5JMDA/rh+wjUFK5If8RGyn1Phkqr3KPFVJpgQkeXTZKZUf8sfeUKLi/S3HKS4bscLAGMzBzbcD5eYy4aAbXmjvq2xjRBBxdRJ0X6P0FuZABXZyAWM+fyDrwE00Geznm0jn7j9Joo8OtuegDLpMhi4ugX942/98dge7UhROakIogK1QL1NXDe8LhtWADgEHvqKYjJqAg5Fhjw3H0o+dxYjHBBpUnsqV6w6wrEMHIjClU6mSyIoLij70Oj28qbNsku/zyQixc3WtnGYTMMIree870mZQhK1H2HDYB0VYjzshQmXaPXbPjB42rS9Oj0iqqv+5PgDgTGTZAg1cP1zsacR6d60FFGR1tLEyTBSQsW7h1i3MTdmE+5cMmjccaMSMvOEBaQHLpbcM+TiHAcRYmp+QUb132ZxE8Rg+1CnAH9tYx1zDnDZBpqd8g5CicaAQl5Tf4jiLOYgEFT6SLihjM5cDjLMSrjEDapoddvDpGZFmWB3SK26bFRGjNqS1mTY4shkEpVPUIX5LSAh//VC0vskWwEWDdM5XzCbQSbr/ksI52MFRErXkzy4xkqJRq8mi8000WlCJUh4x8ab3QBv07wWAx6qDljAzCiuPtWKA/mFnpGqng6w//FLa4xbySahrztpyMOJfCwnbzg8+8gd2tfbGGgtPV+bLVLUVZ3luHT/v6XI5Uae9TOZYSRZsHcfZFRKMP4QR6+v1UG8rfJgGt34mxsy93/qpjKnyr2N6rd8tyJSWEj/4rA7LIiKy9h28fhQGIKrAdvbgqLPHbXYRh8iXeFV/0eRpkpiweMQTyq4MJQjL2w0IuKFzhoYG6QoW8UfmN4YxrC6+vihYU0gZZC2IBOuwH4noX9eOgq4rtjVaHqsGWXE5fT5C52pOC/1iz1P4YuIO+9T4oJfFZh7hWdK7uenwtPrE1OqADfsBPv92DHCUs2nxTqYDvp5uc/JY+A4uU1ibCeEONirLLevJbgkQik0B3ZErQco/bAO+RbPJ7TIXtSFPNNyoKzwq+ej9vmOIQRL6nk1MCNFc7bXCpc0T/Y9yaVMFHeF8ffamv47KSaBqjHpnvBbykHuIIEikemKQx6VMJdGbpZNPijVqqeDTzeBglIwh84QsZDmczGPCw9MhQCMakxUPy4WiEdTF/9BGlBhaLtMD9/pAyJocUAHuzG53ls8LztybC8KlrvueKynBr7kvAdRrpQw3nEGFpOE4gt/QW24HVIE9cxzV8OyzGJOTZCk2SWD96D33ZKsa0+vRgZ3zDoqKdVnnUs0OcYwD8EZ5RMJ7rBpNMNB3DjAKk8MYKjpw1gsJLnjDD5nSs2E8z5G1fbLIWqX9rUrKfgmZZo8iWa2n7UdYmC+1I7wJm/6TPD1DxSyJapnwGcSjyR7IV6nwraLusKcL2d0wJEMb33oDTPbukcUeIooov7UI6irzJqK5R1qGZNDkJ4KtbhpIke3DUUelpXGd/3CjPM67W1EHhHSK6rzWudArRFzoUFdED+rBNsEruS7FrTEq0klR6rrvfNxRaZXkOfsbYBR5Eqfm6qiSBaWvgWhVI2qguNOypH3Rfb0VqNSL/1NYngNXTNism+uZYQnbxTR2EDL+g2Jglcg1uwlFTDAOcz8QaTP3mctfMjCA/RpWOTlMPzGi7hJmq6KP6fs9FypTVtiqKqXt9VQ8+bKCTCDG5p+lR+DxjoW3ahVuhDCPtIHtxry3nFJtVZ2O2hWlAvchqCPh0fw+BCrxcXELBDCIux/hJf3rlCPGXgJdvRybBcwcD3GKNlhHut3PJLmHnmX6rjlnhaEhi94fIrWzLd6NpeO5DmJ1AD8sr28CoMp+ILHmPydrJ/inE7dMTpYgO+MiVgbyKZfvUbBFD/p2kYl+PFeGQAbJ8lWTluiQHIewgYQXHj0TcdVifMYnvfhr98fEkNpv9vNJ28p+mWk766CG512JX+h2rx9fCpwngH8OXH2VEhd6RtzrWODyqIRB98BMLZO7bNbpIFNZFZTN6w+aWaxzcpccArFw236Wz7YO/rM8nEbzbN7hD1fXNoFzo+uodohlE1EOxp3bMyko7k4QdTjm5yxgnc03cjKmUjwRYwD10mDUMW9z3ColcQfQHCSSQ5D24zDpzcIIxnnfm7Nyt9Xq9+g0cWrXAKY8sJ5uHKInUQgktqxv7NdO2lQVHAjZpNjdo9bZ2dm4BfHx9dLLyGdQLc5ZVsiKw3j5a/4gWq4/Xp/tFIP5k8Q910qGqeZL1mIiOFgZc8VGmrfXLdyyRyWzCAmQrMfl8l7GPjj/81+LhCN97LMOHycFdfGn1kOnTwpMJe/WoDLbcn3DbOkcNo5qzStxuiSxroQ+yhiyVxIHTy5ttghF3nCHLXrtWsvCW4/ibFsHtlcq0Y2TRbL3ddgOnNmozKvFQesfBGyrEiTsLnvzAZWQXqM3feabo7Kxn01jDlb3hTcKUbj6nLWCBJMgfyhScYqh3yDLmqgAaXhb8bJbRC9+ZyHU74EVw8FEeQ5CfkFcUuy+gm+rGbzXkjbuDQUadOYRgOBH5BIjfMXXZlN/eE/lNEQMSk2HC7PysTXPRBG7sXqyuaSIa11KmbJEv/0vQUn47VnlOFrrHrWp62taIrsrKYFeUOIeX6O+r39JMii2XoKirpXHvlLFy+mcn6pG5HlAHo4YxZwP9FSN08FINf3CKAd95DWtjjAx6X27/MktJlV7m4cUd1bi6UeT25f35CTQy8Awzs0OAXfgpQsEWWiNKONxgp9lQLyeIxgEapTaZZiuSLSj8Q2c92S5/Ci7076em/UFRAYfEmKgv97qtPeXigjsWXFLtErsR9tVQIT6aVl8E8LwCbdsxWsJ8q73e/7rRUAOXH8sx/635/NuD41jPF51/BC2I/BADzHovYMQvhCEldvKKtozHIqP0qlv2ZDS1oGC3RO+zsEhgiY/+7FdQG6Xhs+WUwIjmxbSP9WCJx6RJ/585K+vk1cmrd/3UAH9gsZ+rWBwpYZXcsmFRNbMkYxgRK/8xp0R/cPNP6uUWsGirqduyhWyaImHcSMlE/d+tdRxTBo8WKOt6f1OI9XpYeD12YXx5UWBKBU4OxBqLFy+RS7MTxBCnreShlsNt+NnOg5ipVAUzF4O8zYmE2InNnvDM8J1CRIE7Shl7NaYRwU2MlfePZaiSPIlvQnuwvoWmjnIIaKLVHVfIrTsbk24iQz3GYf21CkX0sCu5nRjNddy7cI7oGWt/TaINpnnQgGqcl0LN3zC8J6tVzXWEMEYijWu5dQrTw3pmcLJrUgdP31pAAkwzXGcfZQ/FHTn8YoogDRSqBfu3w+sdmP3fXtJEHHcJPzjVhFlsB7Dztc8SppGOxi0BguxYB6RV9sZ42qxedy4ptIPABf1MBqqYTeQ2osEH5VNooNsNHbJ5POsWUpqrYKl8RNNuUrYtuYV3rzdkbIefzhTV4nTJ0HGTMICg2c0i5Z0KAr9BCDE0P35bZ9fx2PrT0J2aDTQmGVirGgawbUNchb/4D+ZbSHQnjngmq7CX4+faYrKg9ZLfak1N7DQkWA+wZkjK/V4za55+/NY8VsDBaKHtBH7zjd6N8Il86XAxQME9yMVyk/Am1Ww6qhvnve4qIX968wJfjuOmXFx+kh+68dn4PIrc6h73rQzYbSqL8YuiWdXbV1czzv/LWgVNQaMewb9LwTutW3e5F4xEUO/5s0Fy+Y8jAeVpXEHfsZUREkwA2/7Oj4hQ4RZ5/QSEni2UBN6wJ2TG53/ENTxJFtlY2nW6hDA83CW352Vkd/kCHcCSZ9Drb/iHjDZE2ccC8rrrtx3biyt/rjuBx6cIOkv6KEegqhAztlgkIaBgFgbC4Gm2Bj4xHyTOekPuGeJYtF2XyYHTljtZly//9morcOGWlcvD0ggE4uz1qPuY9Vhz8JM4RAtbCO8kWpcRSxur5ZQ/va2I0MAARL8gVM5eFurlaOEqiLw85Fsahd+INTH1o+n+Lq1k4j9HaeQVSLx5ve0wnpVvLTeSAg5KZvzVnD+2A5p0KwsxdagtXWn95pdjHaveZjRMHSk+YTBLW/Y5WKdXAjK8kQbWxADv1e6fm2FhZ0WSHENZc8DGd9PKkJXzQZO9HTbpByyyOrXlBMeaNKt3od6c21v4/IeVR6CioIaKancbyv8AmXF0O1pfXSAFYV9C06nTADoc1uM4SDFtG4QSnt68AoPqXzB4FJ0BRhqzUMYkqr+MKMPx1xNdG17wjAM0AGwWT7G6GcIyKrJNfGWvnhVdZO9bLscC+SvpIpi1/HTJ6JBctSAlkzIUV7WFc3mwx53Oc49dH1Ea63VLZ18eZpZW7L0lo/mp9c2WBBC1RY9qg/V/+4C3aU6R/JNCGZL7jETcKZIRLMLMqIXFQl+aDFrwQXwuSi5WGfwMCPdXSuhatufjbc5kJCrQPSWLXkVBY+0NPkbozjCy/hQ8lUciMzR7oJXT63xzOHGQIpZLDmyORU01MiCPyReD9R2wlOiLKFiiv/hG6rz6vSHvY7lUvF5ENUVp+iOS8Q4plP6XN+nCeVFd9qTDDEb8SrXU6Km6j+mEMKbDCJrtifqlWsW2JhkJ4rbzbrhSGgWRdnWBzJFyijlQlvsK17xNoj4gDlEZIbugtIZF3If/OWDWdYojVfFn4lGqYMiXKQ2LCuvRGJvm9Wkwl4G7T2RkoFfVBhr5/G/mADEbQH9OXl4fFA5nTTbBuYF1sfNrGxRU8s9iv2H6gXxkSM9/IA08TwT8SlTmkX/DfZ7BMkCcJ7Wr5gw7YUQ3JkzZlW55js8C2Htu/zrf1N52xBm15WB2q4Q3H135SX988Q+0X8MBpyv1NCvyMWsfC31fYKRJmSaWTG8PpW3kjAqq+4gnBnj2E8RlEWt4rZi45QVy+ILIlCVNG684TYZoCuqH/E9o1cbZMFmMJv2F+Hp75hgaFyO4Zvqp5v03k1/ygqV3F8FPXpPvnfOkp5FQrVPb2GcMy7b198yf5kcV9Ar22UzpNmMbzlCfI/75RjdhHLIn1tDxRXo/kzlOgCkl/wMO8tq4/5WfxeeHiS4EFw7tXNbR6BRlA3hFP13XhCCCQGTHS5FgXguVZaOVx+7OzMWzlMEvrfvsE03KqQWsayzi+XmXtG66xvH+q6goa8ZZE34CU+uvutrG4sNhKr/KZ875BSB0CARX1/mfFSWWNvGecwWdYqhunoCyeMOao6KgFbcIeULsYlDVN0BI+6f++vfXiwpNFtYi+x4vE0eb0gXPaiC7e7d1q8R2ZhxttWb6+99wqf/XUDxkw+aFHwmcjw/xOr/q5rUIi4fA5vBAcZ3fDkSp3TQ4QnHXFPmPgSCkeIFAshWuLFl+pTkro0weXLCfnt/AQzz13M9y+uqTzFY/U7pGFanIZz9JsDOA3QjF/hRre8zKLoup0FGipA9FQE+QGFjdFosr7XovdoWIRQdRE7AWP0mUlY76XijLKfF4JDQ+MHhRMpsWh7gxMat/hacjqWtG1JBW7UMOsi8We0BT6kOdT57df9g93uuSx/DocQti9IKTcRalnjTCeAea8E8JJSSFArFsTte5lALEx08Sij2S2YtpnV0m7be5ZqemHSOe4wUeZlfZScxeuYLjxXsThsCvYop46mTOiGLgJDbu9CKhuDRzwzLZIXBH34M1bLUenFzjxVMjaa5mmWacfbG7p0v9FrjOsHzWTNulorlNHM03QumUQCRB0X/yfNdo7k8LKbGua9xHh+xi0roQvaNNoPqlnfNQ0ltH9mEJWVovURekvxOgqzMGCACwYeRRyotcaPDTRz8oGLFupLNaT0HpTmgoZYde0PdJz8kBwGZ8dG1/Zx70B0Owd9IZbztxlAetVRXU0sUeUXNyp1YoJvEUiHgjuTFH1mVjGyNdM40Ga31W004ylCDTD7jj4RKLUcHNRrmaK0Ec7fgNVOs9JUCE6ZwLYpGBL/Sj6CrINKm1Fl6POmug5myAEuZ1pNhmBD2JTOEIzTqVM6kLTgJVmFc3rjLqo3U+wCCM1XLqZdEfXQnYaai7QFMPeoaaH6p9iwAwKg0gzD4lyFUfGBeFlxFXxpbrFWYI26oW/ITckJvUSHqPx7BZwjJuO8AQZFFzyzbVc6kBq8VEP05Rk3yQBG/Xqpn0IeHT2wU04hp/1sfIZAjfgegeW/E2NyaVWre7WZQeBtqeaQtCNC2jWU38mX5araIQ4oRQHFZzArXO3qJbh5BV5mWtznHIvp1y9z5apT9IfFzSadIh2rBzrSBbmzN0WbwUtRDtBzyX0hGyP5cip3Wmc9/v+2vHEZcH7CXpbH+hXASOBnFuDDoliYxrJQLGUB5yJBBQdOayPY2HBVnZoykCrGulgfKZvNfCCQc/vIbxqGhB7rO90xJJdnn60YK5ZjyByd/VP3ddJX6Vh3N4iTktcKiYZyc6FhMg0P2RHysSDGrNAsBXlF7YpEnZbzWQxWAAcdfbYv8mAJWCJoZaepAm/j35/z5CxAL6m/YkcFRg/nuR2H/QPhW8qXT9J7BmIRY9dIt3HaSs1fkWU1ww+S1OmrdVSm7UF0PR1+kT4PZAiN3gJlqe5ysV2cqdA+BTIFubF0g6GuwdsBFtVMovFt2AcS7Vgtw7uqUGTcFc95aJ8np6j4nXx7f2eW1UPFPJm1zyizNrivWC8mt5dWboW6dj01CMuUmzu5vL2Z19XJFeqNKeLAx8UIMKzE93dddFYwHlmKvgtclo6+qcCki3WN3QNnDZ9i2KUaDqYBmfSW8G9/VZQMMx7Cob27GNrIES/HTBEG7+pqfJV6h70uwCK9GnYOGAm1TEZjSaT7ipqa02//wXmImn83b2S8a29VL1JAQDVjS9hD6d5kiraZS+bAMHkseSbYnPeW/JpVFVePWWHzHJ+MWXbXgWV42oPrPkRwhUjaW1OeQ1p2g14CFi5gfXWvX/EVT8b4pei0i9ZRmz1K3eGjfBIyufg74hjTm7BuXTn19aieJDnjPqQI4yjlviHd3P2NacfCPjLo51/tOjUbnNLv/rHzFltNVpIqt0iAdlG1s8sn6r49j0FJcJy7yPBwp33DnaftNwgp57BFjBSB+2LI45ao7pR/39MhepXTGSl55PIEaMZ+GfYKOS/evS9MUIcyJPdq/DuMTHvKPGsuGJwK6/8/HXdBU1W4moaOKysEK/fpTqSIgILAe2s08Q7JUey/OYTV7T92aA7UG9zstwB0u3MUqZ2vAC0jwb9RikO7W+Y9PXMS/Gfik+v3e6ddkisw7hPMEVMUlZuoRu+cO/CuA3ThNc9HVjL7oCeJTkuPJ6t04WW9O62SFD4PbGzrmYqxuonLn6/SV1jISqdTNHfyrk2j/HdWwD8Xs8gAmLPxnX+inaLI2g4YZwwVa5NzIT89AxtIAPkkdbvXNu7lSyEgMtAILmB5a5BlInOu/BmR7ylcPmhpbZpiRjS5r/+83nroKT06Cwi1E2is1nYpyioXjWp8ek4CQn+1ghXLdfr6c/2vKYIJigcUDnM47j2pwKQw1ukaAEXWetzC1/fVxJBxNWsKLu0sA1svnDJSpBQVvOuR/Uw0p+LjZL7pREP3dQbrFKvKTOirBohSN2jw7CLYkyNBgri6jPvn2UX2Cz+eGV3nQ4z+t4pDv+v9EkLElYYgIjf2Lzi+P2DX79QA8XCLKK/+H5Z9StHVJyL8eQVG/IVR1Kgd3/LgRIy10dhoDyhZGebA5k7WoDxtbglMuduqjb1g15R+p6c6vAxZXuAoB8Po3bxMGIGGtRh0fXn5/q8S1sulF7vk2iijxgzggJF4CZ/jrhDeOmuzCsqD6NbAJWMKb8tGlYTXm9eiLheVMBKg/EVfe/tbQ0KmwIBdPtYgUNIYTYLwFBW/i/I/fT9w4J2wnpiNQPdWdk0Ua+FnTYXWMd2J6ce8JdyTt/qigQgJrCZ89H8SU8mJgBsCABmkhVMIPXo19EsQBXar1bOwmBDgYXymy7qYQFYrHz/7c3sAcC4+GhXoUp9bVPLIQgZ7Ag7nzX01GRutxonKrnwalsGwXN/KoM84mRT0dsxTOBgxFlj0dwbKZycRrRmpC+liBzb2PByO6w8ZeTal5cCiqBJlFbsNxyOhE6uJQHAVzB91jfWFoPMthfpnfgjRxnFBPEHo4qbYVyO/J+7QuQUubai/XZ0ZhYhnvPoBs2q7rd9v1kgWPdU2QE3P9JmgLAidSFpTJSOn/x4RyRHhkOz9KGq0VaPcp9KOguw9iB/tmtV/FNlFAt8V8PGcuzOvaXan1jFsL+fMbKkukR7BCiAd0N0LL1h/ykR8IxJhzvxtO+ZQApcRpZ80pdzekryCOlG0FRGcs6bsbjR6iWrFn++Hn6LpiFx2ql1JChpX9wMDk7yA5rFFKoaVrPZ21Dp7KmIRgkyTkMrLIaZ/My9ssPpc+Ql6TFMaeWNW050m8FwtT4aE6Dfgzje7g0DemtFhxcFpyQ5QPVOjSJwS4LAiMGs0Ny3wlVGbnQqjf17BSC4qvZMg4P+6IDs/eFglfK0lKq3SJcdwsZF08EQxb4nacAQ/DFGY53mF8ucmXs/+ZWIJo9Q61zdnOYuB0k5PVIBCFN5zWP1ybE4lD6oqK4UVsLduqplSyyhb477YQTGOnTKyw5h/bYg9DBwrfb4PYr/ztQBI2jHoyQIwsZtK1wC7ec++oF1ICMACIgSvFAb34pZIeXFBcj/jQhzRSXGf6eNHApJOqOUN8XcZ634Uq9sCbU93d1T+ESBF4NCn+4k7utd6DZWoLCOimJwNiq5detz6S3Hql1hr7+UmrqDN0QLyBJ1Ff5sKo4il8N2yMjgEmqZhNn69IsThnix/Fy/EZgJeIzDl2PBld/W14u3fjxeHSsWeUUsX8eBBpmtD6tamZROjs/cCy7hg1M3o02sHFR70Ct74cbZ+N2crB3DzOZ9slWWz+MdaY/CQ1mVl6/W6SNT5Cg+9MrE+SeZVcaMlzgODlsPgzwBBrOD7PGAccu0KcqLo1af0ctBLRb8qfhEJK1bILkO14Qy0TWSl6Jc9VWhjtN+6tNuvqWL1s+I+HSgmMdwKLb5kJAwZC+9V/O+q0WnW2Qf26TP+bGgP5v2MasBMtCnG18bGmbgjiu9wNlNhJr4nrUUFgSm7x/AMCNk/7IEjcoY1/bexpXjY9tZQS9RpMxsPuUU7zVlBMl6fOOqbxVTEQJeMAxgIy8grk/pxt+3rskEnY24B88f3Uj5LRn5YisO4+LAjd9xOiyn1R2CANk4MRhVMVCout9q2HVKY9emkzQrPstgH6cc6jaDA/Icz5HYAJPmhpXqX3j/4wfYviIa1itZzx2E9qg2KuoomdA5sBH1chy7c2kuOHXiKeQ9XaFmfB5+s0ZdODFIs1S32VjLWlgcoEUs9/2fgY3h/xMn193s592tl3/vtYGbvwCeFKKyyubSIQv2+q54YSevADO/4EK+3k5RQvWBlZPZeAkyXCYlnN/wJrCPJl+/RXWo6/3SCg7VNTMTLiumKZF9vAzX6VbKBsmKS70uMzCKQrALNkhojof+BX0d0BEBtVTagBauX7mJjHJDGXDNJsJKAxGm6MQbK4YIQIFoLAiwPJt7f3Z9pi2pdK5KEjvGbSfz72pZ8GL3PLNDc/4cv878Ev+elZELO2cefa2Mtqhqrg6Kt36pMkYRyFHeqEtnomzUXJF4WfnY7iN18Brbb46LTmlHujcdfGHivY9vohRW2Ur+tMNYDE4kyrbIvOv0bTj9Hdin3DgIbRR5TTz10Bb4DqVgF90y0ZQABKizKzQlbsmtDVVoGeUu3b9YHPKPC137NWXdtUwujEq0lHunKrPIWxrB/26oJ2h88J8F5TAkT/VXc7Dhd1Mk2stKx4lgF6/mjUYZnTo/RKxqq2DY0L8fs3D9ToZA71xKdSmzjz8kQP18DoXQ002M41uelHgQ+h58nyCnR3sp5kwTUVsdWImYMyqNrTF0745RFu0AIB9GhI/WT/sK3qNtGtET+EP69+4Ld1Zh4z/LXQbWVk5iF4dUPPyKPPg7wdmbnWce72KUpFJU9UwLsze2GLwFSjPOnf1Yt8c+ILC1UkHj9OL7dS5xuKtATG2hSf5rcIClHcyg89zjy7S3rtsm3ftfohUxiX5IGZxSMeORLdy8TM1ONM8vk/HIFVuh3fFptkPkz1AMSZ/YTw3Rt1oMzv7gLJFi5Tfq4rUm24Mqs7kFu6ZjTcPzV/wWegsSapdhWjW2dX1/Jx4xcHs2xYeYjvi5kLmszzQA2izK1X7okPEL2N4QxEACG7sK+5Hyl4PTdu3zR3iWpGwicH6qkhq0zRpJHGJ4WO05j9Uz6l8OjY9i9bDQZTzvGa+pIviwdlDGUkE2LJvsaKokmX7rl0eYNgO+UAPsMdsxR3iRMjo7+fd2SCXp/MxXuj4/ysj99DFs5wbX2/iLF6mfxnhFqu8B1gXI6psq9XyALft/Xgf1WJdP+UcSz05/sFSrlouWuI8nrBLIAXeixFiiI0TxO5Og4TEO443AqeTytF0bjdkV6RYXQxllO2yKjKRzV2ORTDTMluiUhRSKjRdFxJwPKTLS66xJ3mPExxYkrCfELsABlqAM6ntijkIX7MNR4fgWwDghQlhs9qvlEE1b5ZHyVBTQZ45wtY/f3+z4O81JO2kU1hNdaQAExUyT0fPUv2NIhLwIjqh2sroiSX2PjxS+//4OvRgLqe0zVucNyvtLYcxca+oNdIZPYC0/lxLrV1aeEguvYan9wPKVo+S99C3vaf7x10vO5s7ADEK5zflekMQnMJZR3GiGYgMeun+sA5u7tC4emqDBy5LHc9XazQ9DvZ1Sz5YxWLq86jcfZ9igMgOiK4Fqi6WlqPfuz2WzLQKtbuNxRGMJSgMBYgfwEXTv486LWqZMfTTuFnjZZTc2t9h+pYRiDZGtmbTnKwKhWDbEUnzOJF41GkLPURuD9BcYeHJgVmaJCs93uN1dMWgUtvmLnfGi3YAQ72K+/7beaFemZ36jFwZEjXMbo/S46m6De3vWHCJw5BpgIPmGyvqFWVwlSsrmZA7ZQJ3ElheoGcfLgkubNs5rVHll5G7RRjXpdgWb+i8sLJFAG3M+YW6aJGQqsaQ3CreblBXeeBcZ1n67elXQtDU6TPqy54ECWrJ7cycauFiA7T9tqcHNQ0fnuBg3SNVL1oYq5CNJ/uZxFIxLcGMtcX83Vg5iV/DrGaB6tYR8yS5+8yrNbKvUsjrA9GcMY8X4gBQeOVbaojMl1Jfakg8Oe3ZjJ3CXscS86/179iLlh5qkMAjugKep9JaWHKqO99AsVrLrCdP89RCILlcJvkr9txz1waNwlBXkZ0JQNLkOBwjG06TM/F8DmWtxZnj3x1qzHE9mO2LHpLTtnjo/SrBp4RhhzCjuy8sE9f3pULvq51Y3g9KISkVSJCwlVaBXZLtZT9J0/CF5TO7cEeuru5SAH73aTD2IiuQacbzWAP/iSKZP+Wm/b+H9LxVghj5pXJxl/SPJA7BQLomENBnczQT4YXjUnuuCFbFxWFBgcERQhyoPKzA9aikL3vOCxQ5UCkUz/V76D2zWOInD+eZg52P1M3e6GB//2G2zrTOMJAoVwn0p8iWUgtQKrWwgjcWmQX9afQxHh99T+5Hizn3i9foA1IbSvZ0luSces5UFiPYQA2bK6Y5PzlH4EnI71UJvTSBoQF0GbEQsVUt3xRTCC09eCqDyciPSJNVqmXj1GEpJu1y8UKuFPWHdkydkLENMIs19+i2Xj6OiM6YFc0VvF66yONAlA3S540cv9KB8//YbSXjzW8yE4ja9aE44KiP1fAsTfijHzn9JWYW7ng90NwGRjD5vPiVCoLE2Z5SjlabuRmC7i/S+qOpvdHtp+xMgBgcpPTl08OnRLNGvkt1EqhGYxmbRGKI7bAZmO5QGtazuXYoCRd7E953klexsvB9AKL7Lg3tK2T9OVTps+WfMI39nfIdYICuQXDWe+stBMgh7GpDwSkpN8RNWV64y+4HKB72s2MvY9xjYxnaGFFFVCnsgj/6VqVkXD0P8sDqMVtJ81PB2a9BHLjsiXFaqMT3ufQSfQXrl1o8KzBAj+r9GtRFlOUG2fGRcQ3ndG/3VXvYwU10q37O8gRdSbAEhQ9DfiyxVsqVofIg8xjsgN4a/ttryJsFtTTCSi9jw5CeDJKJwbzDTIzrFFWNJv4tgnleYOWcNuDrMdroDk//lZ/Xn287KLmFHxXyRgvFvTEzEE8g+K7DbyFbSbSZ56g0IcG/bEVWAZklZ9lnLhCHcTnwDZUXzQIbOLk8pCMr2DyEUO8qJF3ZEGah1yod8iKjsSX8IoMWuQVIeIaNCvyvujsGb2lQKDMqoJmhNZYpb/cvfKnGLEOPrQcSCwtEP0RpOXClfk2N7m1bmJ2vaeqIPZ1HsVWcoTgRKZLvJoMBoDligBEO4CVc/Wj/8PQ17+dUhoMylgzOdLF3K3q+hgrbRCtiKcsN/M0e4aXb9wduBwSLWV2a9fOgpaeNBftmT+4GK4g5wxA9G4eVOLfBxrWuDTheEGEWMcQ8D5WRk/VuhxfF1Nhna6wJdlmv7K2UrzyLjAGP6tKXV6H8ns6xSgJSIygmXKcGT5W6WvOt0b81K2rCoPtHD0ykjK8JrVNrfvHzW2c9xbMX/HV+ADmCatic1LCeKkvFCy1V4ZZgywty5cdn3FqrHtV7St1zGSoviYt5XXeq0LKj4iTRLVNwt8cpqwaf6/N3EWtZ9zBeBks7t6rhvF9Ir9sHt5EycxPkXGPzvtSeHaGRIkxAmfalARdxawg2r6hO49n8VJ8mNyn8OFb6YP97SGItsRCFQhVqWdS8A4lO3QDiSOgXdLMGOlXJUqBfuwurictA47OaELlqGkQWjbhgM0fsEw1Gc6iL4KaZnhORtRcGji+rwYIp793TML8PipRCk5zcACAnPZwtgRW+kE23oBEjUeADmFBm7xcBThzdfcHiByRfVba73KTgsxpHz1u7QMXhPjMUH9Ox0IzDZ6ybyI3kaTYOu/FwPSiAtCMpBk2PAXZfNOklA5ubbitbuZ5Ne6M3Ki0xyV9MUIMD9w+eD/wxA2+eW1FDwkTzXEXq7I5xMjuxV8JwZ2QN8o8+wq2i1TTsr18PqXP0j3uvnpFO/OXbeTkWSwp62rOge9hhiXfZ519KGbg8s59nmUEFQD1dwLMuiyaU/M1rx+y9Yw9PYtIq2Y5h0BB758HcCVDa6A4ESvYx2OlpDyoRXaELt6vueSd9E16GMQhMO7dRIKtyZzwJ/zq3jKFoZJ2JI/MkqXxVmF3QHYAc27oEGMZeG5ha+D83sQ6ZRjo41Q+AhqedulqtI7Xkc+BzWZPfrXmamMzAKsMR6JEW9n6OWxnKWjnK4eEwuhrwukyCrNlQcD+ppow76Y2UfSqubB2Ugpy4XFRpbtJn5NmkdmZSFsLpjS12YqqK++WzbCszPPc3b1SirOSbrajtoiFFzLeKmNOv/CmKTy9+DKH8U8+gOM+IBOgGxeoAp7yEcoD2Hc9CjUBCxZlT76p19vZ/taoIbLTPCMLOvWKyMcRUvKHTfCstqwgKGcA5pEdHUiVboXdkohEvt0BqTa8fG+dhxbsvtyYU7DzmOCNyokeeExQDFIjIZntaIcGPj0YvPqAAqhJck3ZW+mvuoDhPCdUotQH4uURxGNtbJgOAUiycIChikAbFxa65JvDMPvq8Ody1Q36iPrB8mAx61KXYUqfrtsMbIGaqr9JgYc/ZtvTnV5FTV+gLEr9XpUPL2Ol2gh+OU14n/sa2Bur2QkyFo9wg8lvYxJoU+8Xa2oR3CWnAyMto9xCwcIcC0mUB2rXfOY/qK1qKDuiuiMn/RmusJeIm6XjEduPkmZFHrLH5qfySeDaiwQ/vA8JuCFTnz+sv24+8u3Dc2gKICJtZTO6/01cyPyii2YCK0XNaEw/t7L6IA1qSmzz/7mzfusG4DuIsej/Twh/tjwTg2fEoS+Z4RZ6jzRDEUOG9TThWzgcLucVC1aZ81Cg+crfSrYpQJdXtCZuPh2VbIxszHFC0OtN0eHz8ejmxXmbAg5zizoSXPaR31eGWzlnAhe/13cdLk/gaFTnBON3NeoNmWAA0cJQrWu52uaeMlxgSZEd5/wYbA1WcWFFqbhNPPAPIjJ/lnf46G4wbmHG2aOpPHefDJBAleDqTHClPbw4HLfkwnKTC9KZJaSeXOUek6Y31LtGsh7Mh16cLzyewGQPYBU7Kxl/yMs2K1sCq1rhVWg44ZWImY3i8Im8XOFuC67YR0UmBhDq27nQh7jAYFU8laviMHzoLHGeTZgaRCwropDSmxQr1LaesZ5eFEKPMzqnCpw0bckeI67ad1zX4nOCVm8So5rXDeuXQlLofczeChPGMFDhi23SbG7lTw3AMs1QQSm3HkdNTQS2uEYHhZZvvMCD2/dyeNYvR7gTBIUpjNj/Dn8OstzyvT09M65a7lHm6uKEQ2CDCQ4l3nYuuVQ3Dvy9KyRE0NDlI5PeK0t8dSSUAwIZGgciAhjfWWBJDjMTn9ZG1nGZT/Otrl76WgUAm2Julw+Dks0W0ess8q4E2IUjPQcaG3YOc1YL6NRmiHt8HmXnguJIj7oRfiygOOj7w5g5zOtKvbj70b2D+tL3PNowjhMm0tAFi+qZtEcDwaVv7bXGi5nTOCVcFRuMleeR0sgzD2AnbKN3nWjYMU9w2/pZAKItfGQ3Av0DA1emVHEhw78fTNd3G/lK37GDG1m3gYBWnqKSOMEH+QwA1MtJUvzZxqktumreuy8tzP0Uug2TJXUin/H3mWDr8hBTcvbJQzG3ObLX9pxs3jDpTxv2bF3uUnGx9qh+gqctd2vm/CVTGWUt4SjfELDe36ZxthtuVjQcBBtu+FMmIVuynfVkvacghGnWKrY2ZxTRL22muUpqQwmaFT+BgASHDinp5HImH04MWRRgLcVwpacu3PLoaQGethzZFw2kfZk70Ao5lVkkdGinRPMiHsBri+BSoRHfLYthrcL3u/kV00Mbj79f/0ML871XNUA6tioNwwksd98DnWayHUOantJUHOus+2igE+L0vDQcK2JQj+GKcmGoQa0Dz84Paucdej6tTssGYDPoucYdQFFWrpP/VWwJRjheNq0M2YytuC/Nq/sYM1oj1N5TOU2xjsEqEZyF+y3qpIJblrTj0FJXy9dJcvguFpT73mYcGy3wCbFkx7OFvxfrLPv9wSCImiWHRh0phvp4OsZPElfHmRWlmt5Cpi2rARVKu+uPx2GU4UPH5xu6KnwOCqPpFmCcbsj3z2UQ8ZB1n3KR/ssoQgS+RGkz/IG9SdZI1/DeSHlSUb/JyOCcVXjD8ObccK3i03cMIpzoM5h3N13O/LcZSjM1xLOMehNJH8w3SZYOM4AItD3C1tUMu9d+JTTmLx8j8LnQSLA8Hbp01T4HSC5M+fwvb8U9isUVzSK5Xim6xjpbBacYq4OTMk1JDPfvcPc+NmxNbeAveH2wscyNKwiNKyl5gt5qZoNepoy19+cdNZXbjeZHGhkzeReWDf3HTQWpS29TR05qm7gStWJ1pDDV8UHGDIPIr3fgSYX/+UJZmK0dfi0rlhsT1HRlSgvSqJXudgNO549eZfqiBxbqYPVeYWr65Np/Af4BKXASx9BfuwZlEGdeva2D2oMJ/Ja8dZWLgQS45X3W7Z0gxHwQfmWTCrC1VfsWyNrWxcbtkWeRuYMJLd0PjNw3TLS8YmHKN/PrjsTjQu1kTOA3XOEH8kuXdNFLqaYe+Q9BojzF0/NUJ381aUrMlfFJx1PUO23Dmwaw9DmRFMwfmLMp0Az9hbVRGVCHGVa4npo4bgRY/cAUtoOCPfhIvqJgn/VSwJoCmov/Xlxs79Vj/q5hWXcAOw2M3LioLdD2W0NgmqXd4x27vQ8+laJmArWqBoirkCsD//IRCzWP9rom/gHtMdeoEHpFbgU0PsFHgbYqdBU62hrJF1QKJwOY4OpBsObrF11KdSU54LL5v60kA1VymAXb9cVlqIJvedttHGyvkymn4OP3MX158pNgGYlKSRlCeQIHsE56Kjuo+2xGltEiIbJZXRD/bmDjSeN2FaXNnOyHX2vD4QXVh3wX8/ucFJ8yRwko5aTxY6CpJFcX4aJYU6ms1UosAD/KiNYKcnRYkiyF6g1jGD4iQk2hqEfvyqAWavtVHkzfdG+vCzWuLNkwFIL4dKhjiTjmpbmNQ1zWj3T9o3834kIMTtLuKARobKIMYznyfNx/8C7zjeLhWywb3VdnQXAzbWyYQshOWhs6LHrf5xQ0VDSdIEpIy1JJs96k4GmaCDCHPGa1xOfyznSwcKlGUWkV4jFniOVodZKOUwtceGXMFGOt2TkdkV1ou9YiHOB+/tKrQrbdVb8zc9E7c0xr89DtSF1cFQUvcsWRj0BG+RNOO4zlCqakpyOYpyB6JNha3+wiIvsYDyNHw3aT55iYzv6IZcyjo+tfhQS3pKciaAw8dSoeA8/ztkDV8+3lR1CVI8qRFKlF0Be/Go8EJAEwOCaLv/OLNB4Z0UJUKTDAc50aYQ4CUYdi2GzJfNTPNKFZtavjwVYJ/3wEgKGLqy5+n3JYE3W62pQzI/8CZuEwJ8NSyFearq7u9g5GrdZSKFEt84BSGev2yqVswar6eBDtKeASn1Zey7z0s6uASH74PPl6iBt/SxG8PnwSr8L749l+o3VhrUTkqBzl7owr+RtjpnAv6GS3sojJA+I7GyrklFhLrSnpFXAFUHNqPbtQPRuNoJBzc5kmAUg6S1dXgeTdtYrgniOphF87h59BZy+NwunOwf+1x7S2YPYCvRvAeMLpb08w0+CrlEGMq/T05HTifPAFAQplL7+pJiSZp/bpsOrWBVxvEeCwaI0Q0o+1LW+wMc1xKeTdI0UD5OcIQ9QiQMqRrS8V0Obtiy/drM5VZmaVgfOYw5zPgwsb7EYJ4d2GS6SVGLNQwUhy+8j2rzGtoSwjPrlm2xFBjJE66KZj8beiTgytGVfrMulECMaiuTuxygRjeNIu/xtmA7LobLCLyHZ74Ka2FduBmXUIm/LfoA5jPstvz6xQAyx+L8TyoOdSADVlG9C+oobdnWAsjEfsqZcbefspBCz+yk7Htj21aJr6HOe1VAc5uLxCzEBUag2w0b4jJyDJ9XRmC5SCVuIHJp6ov+U/4uqcjeLDpKMiK/2/MMLAqTWJ0PJH2ta3juRUgKCNLQVdxgRJbqmRlta52NNcnVPMfnaC1ijOexQNngasNrXQEG/7lnmQvGCQe6gVALEuCfza4ZiUOQjWjVEw4ATzH2qOmfuW2Oq6LnjDEy2rBaaKIMDg57eCGRaq4vjp4AqqWYmaB0fRS9yTvHPqztARV39haOvV4hWJiwDCiLqxFRYHbYrxfEN78qfoZxo5qdxk2tq9M9bUVz8Xo6gpak9sBcTxBwK54gnQHHQx3PHMPFvyApEWkUrTImeihxtcWgfGgkSp8bzS5BxbCwyBQ4Cx2WUo75TZqHt7LF1zKvan7ajaICYe+Q9PxqI2Pye1vIN7yMcJUdIHktZaRpu1Y+hxabZwI4WhmWPi2dVq4a0XW/N1FIDBNh0xZtgaZ++2YBjCo/85T/+d90O8QZUWShnVdI8LOFHjisQCqevZL5ID7WkGR2dbMQo015Sf6BukwxfDV0VEnLXSE1sMFUCWmr+tJlgPYUwdh5hjJAr15Q/pxyBKa7bh2r6As2fS2ZW9/VYSPdQ9HQonXJ2cOyvcKNNPzdSvQ2Trblh5gBSABplr4TuGBaUEbT37vqy31gOWlJOyu1g70Z29ic2SBPbLO5Uto9kyemJp7SFF5KvyvVZHVyeYC5nmTNYWJwlT+U20SWpIEtfPRMjfNVBTV3+1TqxypFR4lTuMb9pfPSFYyea9GTm/pM6mBsXgjf58lLMcSfs9AqTEbhEOFEnrjjetB1msXX0jufzCcOEHzyLF3j96CcrqwclUhX/kFocND28sDaAaQbAqeu8CiGGH4DKJ4eDVAbNYOLPCxi3ifaWANSao/zE3fdTu5j7q1wCOtsJnSsfaceGn9c5pXOXE9a3D+kZwb83fXrpw6fTZRYX8rFdBjF8J9veV+d95v1oRDCNwnPK/2xUavzTM4HXvkKtdc2BoFJ9Dx8P+fqYe1j73th5q4j8WIpOtmjc4lYUIIggz1a7oXkiBbtx/wySXUgMPOMNj5WVlCatjAqmRb71oVw4dwJr9AtbOgOPioV/fB+G59ctTjzMWr09WIqGikcqKBPJE8bWpdOfD4HIK5TUYdcexTxCxoErm25XCIRe3095CeHkEDrBRKJFEb/VOSfrtZ1Wyng4JScypJPxHBXAGmuVfW8f5M2prVlFzQ1cjYKsB+uyvC2qZNPwCkJhgy8Dd98Jv6dkhuIOjQjOHhx7mQXW+KdLukfqCubT2azRFaK7f0U3TktzPRLOrmNQu3qqHmfir4AZg5P17/oCI4xXy3ujpDyqPsU/kVFp/7gDdHMIPEs/Nu6BJ+wi6wU+AvKNJEr7XlV6mVXZa/UxfCw3UgJT7r8Q2lbVqcr2hQTG+p8LSy+mDQZqCyTDC8ef+4H/whS5fvfJIQ/4vIUWOGzLgjhZqS+ehB2jhhMT2hwkN3Bb1eZy+DM9EYzMMXfeXtgrNpOekTIqjXLCo2U8OZ1SGe4ze/y5H7m/PNW2wpLolQv35ZLRYrZ86Z1mub01FJHJjnV38p3xndmS5H++nHqbjPlfEVzFE+aMkUkMOP5146HoGWGBPG/hSAMvV/PYkHR54tZqrBYiio58vo9cu5D5zQFAxZosQGjheoHs6pXWWOcicLKi+bBiRyPvq+UuMRPKMSnvCuhfDSXjPZrn745atdYEO8UuDNFhY3CYLB6rNGdrSRwD0PobAYbsFMq9qVxtZ+1Nq6nmD/J3/UjOiaYWVSmTUu27IQS+DDSZmO50Dfz8aOvrXsBA4RCkMfHk1+lM4ZKxAX7bafvSUzwXPXMRtSjMbN6sdY7VLxn1fGo6N5zTqsXGkamwSwaWhaiphZhPdMr05fGx0wnhpVxjiKwTCCUjblrxn9KBgcan6yUzkGHQwhoaDN2b3k1IT4ubWSPSdzpOYwTmjdroD/8fwxCsgq8iSLqVCWKFRTHcaK21bjHaYuV6pebYkT0KfefOMUPnqx3QCOV3X2O0ZnO0nFSi2ymifaK/ajXcrE5iXkN9UcRrGe1xp6mv5JHC2hoGnZfVyIMbOw0a9NtHyIO8pV3G9u+DkvJpHqGl9k6UYKMVABnl9fPBjv3vkffgb+O0KChhOPvjP+sbvNYdGe20uwuUquJrcyBJiVg4sTeKSJxFPqgaJzLXMw9gckhwktB2KDm46ITcsi5Rd23D6EgspAF9WS+/e5bMNKjCos8e7lG/cSFAWAj1l+2AtbMjQ2APSE7JMzev8vIZrWIXFwSLArr5b61eetmW9LXGGleNFekFBM4N4x7T4fSBBWb6aS518v4Fb4Gqutx7PKM1ifnHfGONbrBmgfZhD6yzvvgQGY0Pf6e/ZA5+DYTO5np2CmZjDma5RFhlBuxgz+Kle/8IfEelxaby8ZlJwxtfjcRw6q2utDxpZB0B1vOvK25uBpetMiPqysPLoyMENr7jeeoqJtVP2xJIsUL4aeabxFSf+xapQQxYuDo4odGeWms1R340+2lQsSPktWsPFbz2SOB9s8UhU+cIdUwGPyCFnlZyraDNBSZ+zj1Q6kekQIJuXWg9f62UOV4FiyP1aH/teSa7bQgsF9DVN5M+WTZtba/bbc/IKZATb2fbL/f8RaqzlifVih2ZBvoftUoWssnLcAh39g0cv6TSdRAqn/tnTUYOtRFv7D+N08XA+It+cR+51by07BxM+03OFse7dc08mHBYFi+NlVuV68wTh3wlq7cn8UrxxiXHWXpJt9PbhNXIAkKpP/95pEWyeQy1+WYIPZzqDkNm0KWo/R0xSuhCPdhvRtvbIpI87esg0oyBWjI0dNgKk7J0nXR5Ri6il5m5JlegzBdS8jUqw65EZ2jgROms2llX7GZhnRgWyoYqLrHW2t9tRzjGjM5JAinwMqi+ZxjKn/1XqUZ2f2V1shXHxdeH3M250cBO/IRGoLlPes3dkmp4lj4/MBrgNiCOttGb7CF2uyYsbUOO0h2aQ8aVXfb3/vpd7juojLnVmHXILF+2pyodTS/7HX30MlzEaHTc5z0OBR9hf9+Sse8QX4WX287UUTnyg2n29ZyVeF9oD9l6Swfev+el4W9pEQN8cBsq6UZXlOgMEUlrcjdAP06ZrKgiHHtnNd2L2/XH2xNaTOOdLjd/JUa19KYgOnVPUUknSwouQyxogZCB5lJ019Qbv1fX1s4SyLPTpR4TjtY43M1s6naX/9P6yteakVppcjBLn3ASQaR+C/JtwkAPeblLElVE5jEjSk1WgfbimAMqP1oZeZy1uo5alnMP1FclqHMYGItuQJ88NAn/XtgOSSotLroH1vgmNGSL6GLJW6/RsS+LFSeLUDBRAX2Nzvy38WsUSjXodla/Y6wvShRya6HCy0uXCKGkzdVw55YratfJ6IHEo1HZjQgp1dA+6GvBYtUqy1NkAPaqX7JFpU9qFvjOg0POUoAFT2fZTzKRU5KEWVjsL+xVtZGA6gt4asz/3FFJhetPjgfQuJomAYubrYUcWVvdJ1NFzRvUKyfU1QEMXfScEsH58C6HUOhEaG/6UxwR0HyvUCo3OHLYNfMG9VgLDE14MPOIYDgXtxwBJESpOUbQb9IIA9SDSy7FY2A/ZD+2V8dB8dG9wf/oKT4s7HAwYDRrl0Hfsy0Wc1GcC3yvrhOw8JV0NgT5MhbcAjTKLb4v+d+uOrDDMN/yykNqNTL99ss8w3shVzTEJHIZgqM7X9fCthfySP2LyyMdzf6E1UbUwIG76xLZZUdihWWv2pZXOkZKogjbT+krpeX50mBpuYkL3q/QXdXxzrhbRpzqanIYZdu4zOP1FiEFlm2qeC9N7YDGfz/e9RFoEHHbryOejzSq5PYBgCCkN2IVuOsMv/c8DG0uVwxhQ1bLyPIUdT5g4WFpv0JYgCbwBH+TO36cgu40Kehd1d1f3u5Nx+obwe1GGQiFY9Mqgrzkl6km3lPFtdEE3Y7H6XypxASlz54up2N+lLozaNSczQbkYzoq3Bf3ZPTVXnH5iQ3eIKynlVhHba+oqBfG4tdIGGDpvnpygLTghqR3gq9MlUDkV0UrdxmRxCpQchh0ihneU1jVBi5/6+JBxcMxkA8OD/tcm3rE/nssGUvcugzmpQgDSUwfmuWRH7XApc3skYFm3SNs37IWGdMUm6NqAaGkw7+kw4/jEKHvHNliVMBqfnfp1cg4qqjBQI7OH/T0Ydwi7AXFon/qeqoj1MBhBj8d2pP9hTkfxQdfjmpyMJ1L8IKZ1A7ejnBMX36g3BEgxirn2cE84uCz18DdgeysCScKuWJCxpNQx4S4Kv2V8KUXYZWTddMUxd4R2EHn/koMd1i0bLohU+IfvTMuX4MVESqwp4fy6fdb3lP/8QCOofNtmRwxnPZIziU0YwueF1+J2kTV5Gvk65l+w+mTuL024litYyWd0gyy98zvXp0JBZc6Vrtp9DvAuFmHUljkbBNtf4GnQrC9fOX6LUGFeZeBb7HQ83VyNfnp58bYwWGCub6LZrNkOGycc8Y7Ij+PWAWZPH9ArlYAbMiXKtRcWvc7eM+z0Z5Nah0arYu2G22Ca3frSJwpmnK/NLhu7FLgi2jHF4VAOdUZ7xH/5rPtaYOPaJlr80nWAkWqHwueKJbmIkZLtkLaqR+Z/+YIbj8ul4/LT/dVqM11lWxs+MH9ex2wSNvQqXeGXX6dwKcxd000PX4DUjMp8aIFT0QFEx7EOQYK94WSOt2gtY40clbKQxZAg5ZzovoAz8XGLgFmim4STMCeYLDJUdnoDjL8UipnlL1jobjrloROwAd6DVtKPMLVGxlkD7RCyFVJyFKjovrK3zf7Jkhgknkkt0o7Y+1JIWRUdoo1JP8dI8EsPal/tqP25flGoINr2s4wO3gBKb9joQBPyLdNBaUAHGBUp6upbd+mPrnEloPc4z8ioIjAm61GivHtQ5g71quwyFSYYO8vTA0FM5g8EeuPeu/W9ko2lhCTEB5wMvTX6QKkGbTqembBf8IT6KCQD4g3UO8DB5swZvnnQcwPDORvahZ7wmxqJIcdcMqxyT3/KPxn1UeHK6x62b1y35nXWG7U+9+SZ/XF5fbu7wpFM52b3E5dfTRKaXYlk4k+pXbTmJqynR/CGvHxPy3eejAKAin0Gzfnc6wsHkftRpvEh/ozzUa6F8mhRryWWXBDyS1TGMzDVCxq2FZckhj+Al6qDhv2U2xf/ejXqB3K/ZIhCV3zRuJJpeWgQT2zw1m887ydaYsRI/ubnu9+XcwW/ctDljsuR7rQPRaxJxC9Bzm/332TzCkSD3UmrkB8ypw+d8L9Hy4ihP8OzWK9mEY1fAWWGuw+XcInLPAjr6xz5B7wWxtUeY3aMOKfOjckAiytM2ZRtkoJih29c2cJbJK8q9nKE3W0PvGdS1DpBH57NRFJXc/i7s5xRe9gt+hdtLNGLtdl+GksKzRxQt8uv56tPzT0oyY4OmEYV90Q1Bg20SuE2eb+IcYT9xWHnos32I1GHeDaWCzQ1FYCXLbnWVozbw3JM9nvZ8Gn1RPbp0Gc2jKL4EEwMnDMjCLtFDZYSRaa1m9FAU8dzlZLMsP80dYDl2NjC6/QHW3U9E2D+eDXgHA0hhUmV+twAdEMeebmNaE5cx5BhiSQUUlxXibqms2toyJvhRzXnr93JAvoe/Bs0pOWmNt20qc8i7Sw6qIPA6iXXsBmYNpETgzSpInKzUc7nLANxF+L2CBVBK+z1K9vEeRY1Nxlv865oNfiqXIavUgl/oqqXj+HMQ1hF9d4jS/O8eG8eLXPcP784lPNVSOZH2q2ri77dvGKUirn9gzWKB4mdc6JgUUYwZ7ARMyq1nsodigmAXa6bNdLAyLsf7Qu6DUrE4TZWZ+TCRm4B/lcfKj0c62upnNmNTiPi6RXNh5jGNiD4eptgnCGtc7jbHd0Poy87rPWIEMT4zqSi7ryHW1DwgRqpRNLl2H/qCzNJPkx3o72bIhPZuvW9A8F4/d/q/VEXVCxs+Le+TK4NJNAV84IF6Cs/8b6VsDwcv9kz0C0Tb7j+sfAKgBEtNcJzIqGjShccci0F+R56eZJ1SEl/w2okNQ6gx99ue4G127DCnoe7LQHdipEnAOF+0A3Xx5bxAbVLbPELN7TYwKCcXJkx0L6HcDPHYV7Jicd7ZcJY4uMA1GF/NiXnAq3v62NaZwwPQrL1oGjkvDe0Geav6WkdRrXK2U331rzElhslZ80H3ydrJcUcYU/osTQXKqpyR5HBXlz/Nlqz4fIHXSoaYM3XU1kGBvOSyiLJIhzqeENhcWPEf3QGOVBLaWX6o+O4KjU0ZHTvyR+UW7vMaqy3DIF2y7ERbHsnFax8LVq2ak6DHwZrCi9bhBEZ074gQm3Oy/Ss/YqcmOr5jt+H0xGtkLZ5NQVKcwrIvUtbh2TPU5bkuWvln8znRhE3MT6G8rZinAoCKcJvbBG4cYKY6QHyVhFCqllmzUXK+Ma/6WJSnQ4zRs9mNK8Wzuv8f/xqjiDCqXN3wNcGoGc0WGMk/+kVTb5IwIDMQ0l2/ozbb/2WePDH2x0oc72cIxIECT8SAekzlgu/o/umkjXAHRj07NRpSlJz3gUA1myYdTYiDKJ4FcAHSMpDTVmGiKQLzuLBQ9FbDyYF7XzX4itJmxI2BXOiFeb07F8cOuSRueuAiLmcZV6a0UwaNU3YGlAey+ZRuAGBraWJHrvXXfCAiQLlc+uviTf93XWa/WW1nREe26YhkR0UP0ft3Av6b4etLKaEwON9PTF0mZIJizAjmVBrJJt3mme+tAJkZ7grGQeNa7sSEpwDg7/mrgihADZAHuYoloSApWb4AkU7muO9/gZhbwjYsz5qFtPb0flFijSHD7HVCi3g7N10ynF+il1ZsQVZMz8UYM/AbbYzvTxKuqIqFvWCuIlSAY0pRLShbP57FyLtCh3bFc4dcxWC9XXwvQ9S1OzS27Vv3xEA37wkYkGOJv31XtgG2cCf29jeY3MxEXEWToK54usZE861zUYdoxgkGsN6ALgI2McDqKZPmSIzfHeYwvv3uvMIZLO/szN8vHwDppsWkgYKPfEv6Zrl9FkdxIRewnQvJqG5BAErgkg/KHNT2BeUjWZKZA0/+OGsSXtCMSQoQJ50PESz3/vIua58qHggFdp394ch8+GmK2U/aeehf+6MmWsVm2KAok0L1qYCnwXGyEqoMuJUYGJKdHnBakeI3s3Fu4xkq6CXNrOcFg/B89qPPQz0QyscV3GmxvnDA81ZhqbBTVpNvBqJ8A1yaPD/aJnvx5mxUy9I0LOopCTykOnBm8QidY1bx14f4RcMHWg9Ca8VHZaqgBXq/fNh2f9Y8PVlZNCEfATZvTRHtUc9iygnQANmAwyzoZOgmeWX2dfymuZMo6L6h/PWM4R89R2yzW9kBNO511MANSDiS30SZThYaT0zVjvYl894ajujnwexgmN5SMtKXeJQslqmx+5W4C2NJYMiyWpgsXyCg4xEGBFy5JwseBLiFerB5x7Yg3ikxlj9xusp+3lw6fdN04TfhkZA7SICE8Obz3cd9L3bEEp3BVBJm66EDPf1J0Vs3HtrGJR9kWJx+KaKufb/E7CLO8b1zDCd9i1zVpYhGM2BSuw7f/0WeJhrZKW/dyihgvUCGIkW1VEtSXaRy6kmyYsaPGhiBBJk+i2Lyn1nLAs+b1XUK929oX9XRHYM8LBBAmk8gOA9P9MilXLZjxS8J8bc/qZODmzt+g3SmYuIx4zfXgeuRHOxq9WJeknk4J8Rp73t5LMYldmGUY1NaL4SXzW7r/Js5JHkeKktB0l5HrnRhD6Cds0m2dCaZHQYREGw4R5/aUe2KJp43W0Ldsh0v67ASQWShnLSMl9MQFDZZYcBz8waa35WRN6+i148G+xwx7bvFaQsED5R2WNq7jfXlYUQV3/atRocuPFTVXqM6TI/rPwIjW2KXJewKlVNgvZmzecx15HvrG0g6dJyf5ZNqU8QExwT97ryW0fB6Ov4JnPyouzTLE3sSGVKqG1P5Kxsrck+mdEaSFZSxUmVdEjvPzQgYNPn2Oo4VfmEi/VeWb3oyYu8Dpd+xjM3vBixHJd27ADqqAA8ePfdiBeYjJs0Q2xyOGeyFoeABelm/xCY4UjGCUXjmkt4/uszYWpgYFDw+ffQIRrhbvqynOxrP8/GOAL4JjEmN6BDNluj6G1L1fH8jW8fDt15UnCmFkQWS9yPg5uZW8RjOUSubmdNUCSVzW7J/2tU1kJ92OEt2k6bKbkluriWf6Y0+pUKKz3cGnUyOeSa3ezgWa1YfKsrEFTHzzccclccvaRelCjItucF0xJHGdvqOu/+G8+anJqu5+3r6/Z1MGR7eqAbnhm3XWJ/1/zY8VsxYLzDv3JQYACaLIl77Lxv6+IDIkbIR8+YM/myGCA+4S2zynrL+KjdLSn/ZsvPG6jDpodIIhuB5npk79jTEUOkZqfRCSbbzWmmyMOETO2vEtuvJLAFN9MQKQdh5Vyd/f1BEyiHAZl1qIdMbcFf6C2xtK1I73rQygpFTGqqBufugD2mVWWlboQLozQHqyKNftrXF/IYSnWbEDS1g1a6jHV1xPmxVELgPb0SciLlh1FYueAlABXCcODgUMqAEgdnJMLzVDCS4t2uOEKXbxMigzYqLjeUdH0WSlJBeL7O26LT8SWdJ05MkRq7qysoPhRp0trskCu33d8x3oz0e7JezR6Zre8mW6no2Nsxy8HTl5YIc8sAKDKVs8JHYmwEszEyBpC1W1RviYkZBfN397gYUsUUpespK9EjQg1P0uto6O1xxDhSNPmUlTzEsOk1544nHw9uphYtLpj9WrqR0563e+kzlyOFr5mFnAuwHv9a+A+s32dapb2sTJMBr+TR4ClyiiHSqzEUnY4rt0wJ0+72oxJNT7HArNI0AGZ23JYyTFskmoyvYAas+C9bLX74HuW148JmbEcDvfJ9phyWXLmNtTWq9BGiqBtiuc64NLsmQjyMaI2Krgd4iOsJB5M4WKXV9oFZnTs7wtacclKKNLUIJVHyGZP/nNiRTmgfzqDcKt5svU7FAw/0mcZ3F+AuHL48S1APE0D/z6qam50f5eU1tqnvEOmnXD5ijbvtdvgn2kpIW4kiZKRrOikG30Ln8yxSMZ2xkqStlbMUmLZ61yWIwPsMILGu5Q4LcToBxiLdeHQKMkzQMGqG55CR4R6IEbRNzGoR+5t2hWXAaUuVCV3hI/ZmTcXiJ/uwISYbaHOE3+oufki5HzZaqHxl/1drMR6Xqo71JU0m3/2HS79ghvKB0yNEVHs0mYmp8j2sfKePFW0oFk627I0hRpmP70e7cOsQqb7DsBwyBoiVvj8ykWWWahGAZOLLzNXB5zOnjD1JUndyyjgdc74hTTx41icdfbRX4IV6nkxLaxuCfxSCN2/lRvqwBt1Z5PKKjkv8ZcUJgu/uFM+rN1ATNYm6fAuMoCkNSnaFmCY5es65lNy3QcXVnL0iAIjQNf9BQCAJyoYAWiTsjqL1gR2VbyUhrXh7vnDQYfIYOqWtq8BSd6+UUx3gPG2ij/SDAlHreomhsvZnrsXJ4XZFXzezHMhm79AyyMdfTY4ml/Q7lRs0rkzgGLZPQyRJJUgkdb4ZOobLObwt7vgd3DLyXUNYwbs+TdNLXFZHJ4YHWHDZ1lfwsBQ3OdOgtPdynF5Jo8y6tf9FG4IOx06PhiugZXhQLn+JZRLZ9IWGU2yAYwJWhuZK/b7xuIc2WDc4g2oYoQneS181EAMqrlAQmJVxF/Uv0alBKmaeGIljwgRdm23zrlVoOSossD4QAMA0FbkQq59SpOwHJyY0Fz6DEKvlAdIgAka/Yx8ViwPcZ5S2cIMahow8Lp2ag5lIJtcPvFQfGmzDHZuLCQLCJydaZUZh2yBH5D6/+FBKE8Eq0H4Ewj7w/lsd8//MfuVZ+RrgokGuAzCKonI1rR7y3Zq44QpGsKncCCmHgeCBk3dxev0b2aznOYQNSTCQxhPQxBtxVcK5BLQWzdSH3sv/eZ/cRSsiPJEcpJJcAR6xI4IRAweN87kZHEjYJTYzLnWklTReus1JtWje+trlfEFh+L81+hm39mNr0+kdXMLcPkh8VmDTYz03J4FocW2cEQfPnnrHTjUUcPLus01bGtyHKeGdgpgM6aaO5N/1DTVF0mdjAtERDJ1dnZl4A0T2FEHQ6DYE4Q4+ZcT40mhF6K2xOp176b8VTTSVf9s3IfIZ273nJadJqrkVqVfkmUgFyLbd3z7bfdQ76z1GFHuslgqYtnTlRe8HuhmopTndxCMnH82BN3fja0K2TFJ0+BY4K5lAFL56q82x61dulF9/S1XCI4E3J68dQeoncLjjpJN5ZMzc87ykkaP/o8Up5F/dUa+AM/B0kQ0G/RXwktrKjt8QFA5Rl0WMzzn51gyIYFDfo3j9n27Kuo+IbZAr/Yd/lsW+2J/3kA+taJAbxeIxDove8Wah/Zy0Zg2I3j7owo7vNrd+olGEHYzKdaPCh042PqQNLnooKBnwYciFPLl/dAFT/j8yQ0gurcDDIMi52WSWfxPMC+8znycBfyreUk1YJphrYJGASdEwje7VqzMy1NmZekalt+6l1Z52u5ESiyL0OsY2r96Av3UpZjeVNGUCl5Ie6v8COxWM+G+VLQJ+otdW+U82CcJRRVBn/OPqz0mTiNwjm2d2JWbW0M0qxEnbi9oGEBOf3AsuQ2Br0n0VLdiepQnGsCNf51sbt7acxRtM1/UWmcB7m14PfdWeEbyFeZ6kZl7dc1oXOuD62Y4WzTXcAQIMYxzA4iFfhPQYV8Lo0u36UrhsHg9pHTNYnfCHhk9KNR0FfbxXhUUN4JqLYYwyQJ0UguVE6BHKunIyg+VUqmFV4dJaa8uvKL/b1UZLlojrtyfYoo4OkB4Acyxal0bhkQNkC4YA/3uexBI2xo2MQUNcKLg3yd26C04DpZiApqmY615ywnWqVBiP4Jbb6WpiwK4OWvVvpYN2rY3ZjbhKz0nXdeacpQIV5QBtqCpNh88FG0k/VOD78F7JGeI085iJTnNAl2C4qzaVZH5ZYvvbZTBbrqVR3tteGc96wkzm7j6Zz0fE27zXDFep04A9cOja9sD/JB20Iw0VPVVhQDQ7OWVbc+XWh4RRDkmeXW0aYJYrvNn1XzDJTX/tKAi++O8fOBaS+G2sAZXH2mG8sAXD46ln1nBmjKyEOATGCsJBWrsXIUwuYFn5IHMSkxIVRjSqYrfeR6Q8vGtg4UEBCvNxYc/qDDrBwt7eSofEZJ0UTtn4HpuIThnBz280ApiiBky9EFmTHKYArFTRyxSUoF3dHVkiRsNpP1R/Hi6OLB1ndp08h9AXVF/keKc12Ly/2z5eeplrLKdCqC/HS/y+foPfhscj+UZK/zrzanKYtIQVwxWIsk3eS+f3jfbcZ5KGIRgq2hjMqEhT5NNLoy7OoKoXvNfSgntDpL9Pht+nB41aXuYz0pw53qqpgRdydpRh5STvjYTNXqSNT9+8qQKzM0QUzj40n+h2Cd1qb7g1oONRg4RZ6AgMseciFkblFNkO26DtabDl1k902aJYA9LmRpcwS1aCR5c+4lRNuYyzgBQJ5BhID5BU0mnaRx/Tf0GE42XKvm8z6MLR+VMTAvVV16ReffMMwCbtRx/jCxhExAHmvP799V1krPOdu2gzO/KB6ba7RfZ7022ApIJCNrpfIq5AGK9kR70q/xWNw6aDhGjgcqnervT7YriWRkEk63JXFWongqYcMR953bXnZ1zk8ILLwYMCJTwSm+2ul+QGZ+o22lZfRaC0mzgyisurr1D2M5KeMuos4cdlWFvQUeiAeQceknvH+rsTstFZNiqgUy+wYNRNdj7NEViG+83b0oXRAUiOi4DSniP6uw9Vlh/oin4/FzsZrKtVDZbC2vT4a3yI2l5OIOPsgOgTpnpZ4t3gb4Dven7X95wFxziIA8zAjXM7DTepKKVtTI5W7EpcEenjhDD8Zb2BvziOYdyn5nR4x50SEpPBwuS9qU58SCAeyIQFX5zqD6u2pjW2/lEuKw1dHTjULLF9mW1V/zYU/PBavSuIs5QN1b7dSpnLkTDNL8UzP0aOE/vJkCLLsxFs9thzGOJrZnhXtAFQOgr6C3+w7gt4/+ZXudDN1cQ5SxWreIofAVb3ve2a6HvL0wPsHpzRRs6YT7mpF4vtG7s1XyHe0jrr2tVqGPCrLunbKUk5Q9l8mkCNN89GtZK6e3BMTT30ahMJRk/9P8+5PjMXYA+PB+GW/V3pCzk/YB/Ae2dseYTx5PaxV5zwIf+K7lpc9iZo0kNXfOITgP5aIfuxLzQSRP834vQCb6h3Z5Uu+IuuNQ0GP2uqBEH19bdre5+e4129QBMsIW4z1B13pCJvb9slGf2W/6eL2edtxrqtE7EN+o/D+8Z/70Dhcot5vugiIY4jDIJp+pzKjKnXs4T5aR4hyE6mF7ZqYCLYnd0HojvMRoAsGm3HoTXJiSV0/gCn03IAZLuGVRrnMvStTc6vMch+hFvFLtoLYZj3SzJkUXpBtTrU36xkZf8m3ype+3hNYFhFd4z6PAVhhZ/sznwdMiArQg7gGmo+GFBmhJtX1/CZv5jcvoH9FiYyN1Z1eUReN7XCwRBgKEwg0UNk380XyLkDVveDNcBaXT3YCaf//I3/U/LTJI2OWTeqah0ho1jBFWVr/99MRCq8o7SlYDs+BcH+HhCLfLG0FPOwTL4D5iIUY6fj8zhkRrarYCT1h1QDSCJ7WEbewgrJFICAuEXIEzB5FO674SbjIpzsjb7IB0LmoC1h7N9XnIT74TUu7vQC56Ae2KwNkvahh9co1vADT6aESwfzT5WwCSI0Ih1KMG2E9/TrZANZM4NEQUNKDYR8f3S9yiShiwpFg8jaaV5IZXWVO9KJukNOXE8HQD6cqTZXkX9eZ+0XVP6/eKMVgimWxDmMioiPlrN9ba7TNrULepCJ7or5EKsFEqeuGLNyYYVmzI540YczWMRymbcwH1cJv8TrdbOmZdJ6TP6tXozoW9gVsrXsFT7K3nSlH8cG62VGetsRhHGtLrPiDqady+tCXtuQozY4aklLx490SLvu+hn4493hJB8QRAiVcWmkvGlzLQx217dwlbpzA1T2Wpd1WgOwOijvcSGO5gGIB7asxuCjR3Yr3AWQnK6Da686sNU91aDgtDbwZ+/hqPvpFbI5nZHbiaUZDKgCaPu0Q1ADSO74iib9c3FJCDBsusKzmvQ6kGKo9wMi6b6qACE6LrawiwZEVF4WNhQ5DnJP5n9GT0QUO/YQHtlzM/eYuzWDbhH3JUN0Ze3vhbNYMp9XAR+1M7zFf9JgCHpshlPeW3GcozxPrpItoeaFSKUb6LLUPSQka3qnQKcV4N2/nTP+sxRLyGBHwbUY8VCiHNiP1SFj2KrvGrif6YI84dEkwD/PJolAYvxLOhhBGE68Ia8HuayiZeDi2vUvw1doTLReKx8IJnuq5U+Y9gS1EhHGRykhVFDlESV1qaS2Ud+RFRVkddDsj+a1WUVbLHOs/35Y+KIH6njyVhEa8z0rUdvkJpXO+ZBJ3vuuxHlZEluHMle3EQOd0Dpms+TvtCHkTtLqzsqeMIxuK9McXbYPgjcupqCMo4vO+UJCSXdJWASFPr+JWXGQq35lunrENDDa8UcgkiWTpMUqnT6Xu/SdGvbVi0JhTZLqMlnBKaqxMx4RWqKapMcAOvXlEXCOHd9q0hrspQ6zDLA41jrUlxCSKaw2CcciPNh5CYWERYR3ojLRwKO8F7IkQTr+tIpiKw2KrPZbooZbR5u9agCEI0FLBA29cLExZQlr2IGJj1tOR/L+cuUSRigBZW7VhJXaSyES1xhbza4a43RCaT5846za19uac4uXWHN4RUio1C3+S6ChfGtmrTLbbd8+25Q0Ag9WHj0ec3v9Lj165WNQNkGu9SPeVxSOvUz1bq5Fg9oZQI52dDhbl1C8dl4CNkAw2WhlgRN97cLry9VOL/f2mcRgLd3HISuwZc2b+8GLnKxEXTQhZqMjQF5RosyFqT8K0ZCStT62sG9ESbUAC6g7/Xv39l/YRxUUoBwVSObMXXM24L37/qLdyWIN7R8xOU7RaqAlHRZba1WgPAWX1ft5pSszdyE2W2mQ0iSlfjaFNK6YBopqh/8cbrGmkti8kk6upwnk97b1/NaUVD0HEDlAnAryptZ0igANIjCM5u+qOk4aAllZqPEJIlfOd+Is2VQEejzCeJI29pn+8wmmx9hjyRsoudkrGfIc+olXV2MyfO5n5Kz7fXrzB4L5R9BwIX0lnjTxjNkDuvVOWfiOu80p4b4jvp1pPybRerS/XqkoCgXmHmasfyXMw+WTQiEcXZxdTerz2qGiNWwDA+Kjy3e7IZ8eDkiU1u7U9dKpaX/BSl2diDj7bkMXtcdfta+3LKd80uzawFWZLQ+clA+8yXsILvlY6tlR9pwWv7GpZYmvQmzXZ26eaF9xErwTV1J8mXOcS+xHcxsuGsaBAPGFiCllngubWDa0+WQKseUPkQTMV7AvMe8CoNls9/ba7pfYUu5utzLXbZ2p+my9KwjrltW2UqgKWgfRxU0Usn3maYqDBOiPRsV9cOhP3xfAxQawwfM/ZDBqtzgG/0HiMyPwgum+qa9h2pJrzbyEGtTYE2V3agh8PmaT//TTObrL2of99TXxVKWUBoo2nZl+yC1IzIFHOHWLGZRC48HALE/zSynBqmSSNZ1AJ2ShsW9VKXm9M11+8i3xIRB0YAPwbUMHLV1yU3EsCJ9ukKFNuh9J7ENkgUecC8aBBHhq2/c3oOmifnrsxR8vySq7+TS5D21NTFAMn0sQHzucG3m8yHIVjGhyHapvdRXUa8iyYp+srqkX7rZYhdQQEYHAhD0/NCylznclGuOnbRc8qHh+M7hyvB8Kw/P/gqhbH3qnBpCNCXzwYoZuvNGWpi1A6dmNI8lSL5x/+ohxd9CF5msTKHadbE/Mp/uFf6jMkGB+5y0OYveVtV4ciQYeRULb/ksGpvPLdNzYaq6PMxlCwL5eUaJEaG3TMcHYhv9N7sEsgorh4hFHU3sor7t0E7HQSudfLffY4xKMZkb7/+jKVXBNER/zROrzzPS6paRaEj09VuWotpyeEYlE2Hh/CZF/5LAIPP6L15Il4cc7ibaRzJoom28oslSrMZVwXu0to2LN4/5gO8+vi8II0RNeOGgDFor9hSsbl1y3jgPZaUHN8zyOE2/QyNFjKp5p4rvZn39uWXVdtWHSV1YQn7i5jlKKgdHrRGSpNRcP8ud+7T2oAqPuQGcw5n+NGg85pGGjzgEOVTzRnXYLYlN6uKE+kO3iItzbmFXISx3jciJFwh9V233J8hZQoTF0EERjKl43SZqSUlr7bxWLSoMjZQdCZzZKmnhTJw1krN1SzZESofrpmNhOxh/4DriYaeaJRtM7s2cIYoAlbFlBq1ePZ3tZv3UFHktiEB9B72UoIDRpU1Yq4gU7gOHQGC/D5YxtP8cLFezD9ai3Tek5DGB/E87XVdhXC+gMafiYLgQWTx6jZgOHdo2ho+q/S8H5pN56v4WkvsRL30dfI90ERK5eS4HrFytlMSaCqoGbX2xTY7AgP3i8Y/FvDqn+QDqza7VVExkWBUIF25ZpTUWLGgNbAcCfNcE9Hjf5AyDB904CkDjNnr5lfpS1tluuKIWv/zNhzugpoVq5pBChSvJtcYEBJa1+bB08xiLn2a2B+m14y/rJuUYYXfgjuP5v8UkmR8MQSakB9qs7B1BehzBrZ9HSCIExA8jMcSvxONMXFCo/ij+KvuXap+au+tV4Ae2KJqtWlXB/F0+mGw3cACyzSzG2X2LhACt9ruCbF3Z/r3AC4cOcqavks/KTV+/J8TLgBn0yN01QoS3dhMlA3EHD6S7iVxIPDp/ALtDCD+kusLaQrLEkxi+a0D5GCpzuzEs3y3MbldI/E1ozhbYEeruMtyI1xb1RBWbqsZyDqgEJCkNGZyMGJyCwCYMZrcI+sjhDomLntkPp40hOd/lG1YcOz4xjLFzUBsSWZfOTbncwyZX768jj8rav6nHM+NvU5ZfuVf28ramJInyvV7vIDh44TDhFPaXQ70pMFm8PLDca5vIAgnLClYPOPRrDUNqGfxQBJi9uO+jnJyvH3e0YWAF7raUkVahWG1g88P/Qk3Jpz9qGBEUWWBAgScCNg1THjdAYJ7zTH6DGljldm4MzEJ3zd5ug5bMRfSjA2vpb+ykUM85phvLzpTuT1SSUo9aw5x9QN/MxyLiRDPMVR9k8p0pbdZ60B5PpNaNOVU6qV/gFOUj1Py3wUPwRV5OLLYWItLVvRmoaYNFvckt97SnNra8y4IKySgBQ+cz6QRLGofRIsKo5h8PX2LnYI6wpXXhsVar2x68F65nSi11X7xHyc5hF/XUV1VES2FHc5ajxptsibFcOygfMvCn4XMU8Bn8uPTX8XMf5SNM/zWVSleUROzIvIY05t9j/HjkAZ8nCiINDoik4L9V7Id9MlUUNXin9f9zOF/MCrrKUOGWEg+2NFqquclH+j9oKJO4vZSSF5Ev+aLXNj71Ha8caQIsBfO37EodGVcCaKTIbAgrJJ1XNn3wGGF6XcANk3MFzub6DoFLb/4nYIoTxDDEREX7aJwGgpruSBxvmfnZdmj1uOMrt82gstNtPE5emJ94LaBJYk5TBWoDdFix1Y2QDvGmCCBxWImLqKZ+BunLB2O6TpmnzigO3hX5T99lvWBzcdu0Ng/H65c9iVvmTgelolcSySs8idage8vIewl5l7uNvLcawokjlr/RCjHLCSaY2kAssL55hN4/+ADwRZcnAiao1hty0qr6ZNUXggrYXpND3DieIsy+1CPyerma/NFR0EMGZFVCTCBeabTQfERQNZOmEunXdN9hSXFK2V42N+6UZX3A/lZRPEZ0UKBEqg57RnRUSrBABZYbLx8zN28syD6liCSoZuHgkRzyzXHcEQXPx68P0PmIyIyA0qA8kvmhSFLfhQTcbkmU9mKCsNiNjNkJ9M0s3KVA2b1PepZPKSJK6dRtBov9nUkyzp1YslphCpP4vFTI88M0bEEmVDjQ5+6IGxMISFLdaIEEh08gZn4CS040c9uk0j8IkIiWZsKHXKCvH/kb2hEumx/9ShM4WSzlRk1ICpNvZ7u7syhRNdaFB2NDR6MahbksPLyCRbbPXhv+Ve3MrsaJBXYpMc/DXCXVWOEY+wdd6h+iGMnEQvhoFr8K5G95V1ukwLGHAuEtzoBMtvOQTzTGrBH31yru8cUvxlOartLNyw5R3VAbGPr5iAHvquyth4OI8BmwZtNPw80+YOiAoWrUpfZ30O7FuW4Yk3DubR2+0t9Bh1zIhV/ijowheZJocUGFrInrR3L8wgDRiXf7+v+t8W1/gU96rmnm7mMgh0aDZuyGU3Ihg+5Vp3if8zfdGi2eqrI1hDj7rGT/bk4rH6el36oBGRxv/T+Yq40ix9M+LbvWjuz+LprWimUnWqSUc3X1tlVSOVCnXqMvnXyymJOXfsTDOaPDYHaa7fA16fMEWIgCn/HBnvQW9TMXIlYNUetxfHjNsGTy7mIip3x7dZ+vdWDnqT2Tit1+wOAoIXxwY6EJjNE0hBjPm3C0mN56z/13rYJteYRFzY1ZmViUiEBmm6gNzwXh9+9M50KHV3vdoRVbVBdXxKojhhqy4M4+7m2gGmtgIbzk9FiTZkUoZ4zhVegUZY8C5nH84MA+rfLD88Un/dlUzuwz9bqTGan3StmVOlEPs5h5Evh3AfCDMIoiBJSIRIbcBj2l3D1yn1hMsjvgUnPV3cNGoGSKsKAynGTO7tw+qkXUCTuLJ8DEg3wSF5D1Z5ois8C8DXgyCwPtgzz44gilgiYWof0nQoMdsXS6VAOgHmsy8oNh+piSipoqFrUwDzLFTsH58hBEwmN5my/2E0GKUB5iNKULH/KLztq0BmPXOTouJ4WF3Dqt/DnNzQ4Exa0JfI455ObG+NboK2hzjBAaFuO8QGolrceynb7AuHra3/h4Q/OZY/ElGT22U2yhW9FrCBbNgTWAEYGUx2jVxNvjoBZSbOL+fhOImKHRC/+fskn7YQj/QLD6qSc+OWQPjCP9d1YcGbnDwPQMswTJslXZSdZO2tgkVQSashaCO7JBTgIthX8aaqJiC5bycTdQYApFO7DGF8qbNS2Bm1KvPlMHBEpeCoxTkvfyMczMMH6EmL9cyB5UAlAjE7GBeoMWW6BDeDFuehEdbWdcwkhbXN+HYYp5OQNCBpRXRVjWASPjLL9Yf+doR8w/pZQFNrfsRARwLY3EtKRD47F+x9wRGFu2uf0drrmeJh5IdCXnca6WfKv0RJ8Fa+WFcm2RXIXRNiHjedrxjauOckBW8Ngbo55oGOuXsp2wiTXgJeLpk/qqlTRGjL8bvh4T8nTfGHTV3HWMFy5a9NiARmzvsACEglG+ea93vLXdH4i5oLVJxISPVPSjpz6K2Dwpz0ybRhbjAnXhi6uCN4WRNYOhqaoxgDJ8Q0WpwcD48P26N/UbfQytitjPAbYyuhOwBKOUqpHgHvBxev3hoyKgsgWet0ObVMrKTr0PbgI7LWLMfxAIDXEJrhFo3hu0PxtD7Tx/WqbEBpfDOMMowBKL5uSHPbdm2rC9C0asZdxtEfXyt1JgoRuM9zYW2ZnIffQiiviS1Jq6pe0uCxqE85tLGL9DjiaKP11GwHe9mclvg0ws+ppqHKFfxgk/avqvmYm8tzxs2uCxs9y41b8EH8XaMlk2xAEBELCo/Mwt1si1mk/Zd74dgwxYkxRkQe7AZb70+1JeekQMmBgii7TT8ryP/s/jU3f/586Nk/LQC2nIeTkl0JHaVRbDQYQL00pQpK0+027h/CJ3aE5eQGlHMjbQpz0UVI1qrskdtb53UgeOVfZ9ItOcPCyWOKjkYIPLSd7HNZtfdbKwvkVz1vNIM9VedsH0Ja1bm2iZTIBU35SmCyili03cX6jkiZO3dLMWl5ZyIP5AWKehk4nymy6hXf4Qim9Kfdm5y5gv6Z7ds3ZqOB21IOkIVKiN+MHMpWoO/MSaxNbRUp3h/7YM7Uo5liO4OBZV5nYRSmZ7p3pLzgyZWdStVB3VEYu2iL+PctTTNAczrs1gIalFlInxny/1Yqyz3k0jia9eFn+ZCdzBhYk1alaR7eNRx29oovv4Q8zpNjeX0md7dW0xrtViS1e4kXH/xKQ638WjvdU1VpkmeJPPB7iJiqxEYHKhdghN7b4aIJe+8LHnqPWChT2Y4T5fyo/TZVrXdHMYOYh4HxotAnQHktT+9bG35EbbO3bdbsxoPwZi9LeN7IxkZAkCRCasWY3qimW/CaDGkRuNeDMKVpK2ke0K7wYMKAxQrx6ep2PYPqSGTpV/kn0/AAxB//siwBr/hE3FdbJnx2HQGC8/nBIhA+fRNTtUvKXVt5tA+OtKQkTt366v4ZYiDx3obbr9KO9Jz/TEDPFsIrXZwiH/85/1deCYU+aiRZvCz4bsWEFozk92hZt7Vh2bI+HYWtwsQTxG9/cX1QOjZMgpt2Kg39uYLsQC/n+PguYes/YUOlyRDx0jf1/mrlQZcHZKFpno0qFCxy4MthXIz8MWL7HUwYIlquP1ePnz81iWA+yrp7wftJ/up1IJk/LcJwjPkT1z1nm+PxY+3ceeSzPJXPER0GIr9RTw9SlNNH2L5W/grrWii9PWe2pQ8BlFbfuXMjwzfz23IYX+1RsGX96DHxjlnMU7LRLOS21GQva2VfJ5aAxpmA9Yg8aHlywMZX7RJRlb5E/iYru2DKhKbXOZJXaOgP9k1TDhaQ8xpibPy8CAF4OOZjRhMDDkmE21bLk3gACCr97b+GWBHX1Q79AQhsDjllxTVwlfOxT+Esg4njJDu3H1rZ+lvJMQrea7FG6jbE7In5nDxKetFwSDrePbooWYD1ZQdaZ2BQEDRvD345HM+K1x+a1L9+rgMT8SFVwlx9JMMMBva2qOQbWz91TZ/1tA0cAEiPNsW5qW47pIujROavVmx2kAUMLVCUvLdTdn5snwFP6hFC88NRiyj1vuT9l5kuggvByiu4RxUvsLrCNlFEMLTozMY+xNUdW47yaEtuXEMdYAVZIuSyFY4w4z2A82oC+VonSKJOQt+gsWIS5Kt1JQ0EMMSaLw6qf0LwnNsxKzmnVpqX/rrFs3cclQ+jOQvxQ+Pbx1ViTuqtYs8L4bPzFEVp8m7omkndSUgMQR8y5oRrigGa/hcVaR5YcfCEZIKlLJUkKoDVi1QKn074LkySrBI4Yh4DWISnjCvyL7XnN4zyqIAe2OkGn2P1tDdTwPMAsnxSBDhUolVN8tHWjHiwAiyABDHSF0WlZBLtJ4q4HgGpfX9y6gSWigKhkMgkxCpgcQx7/aoEYPSPNy6hFN6yBRBxLC8XqryTxEmUWOvwQYYn1TTDcKq3tUZGCq5OuA1lOsyOmt4NUJ55v/0AYFWNwyIFLZtHtaD655dw11bj4pIS+IyJR/VrHdMVtlqP2I1xdohFfwWprUk7uBzNiBSLkGLmqkPw6BU7ON6CwOpNh8sLYhEnZ1HOAEZgJUyYdOglAcrTLYpVvIcYB6/GAira65Qr0zcip020Lxo63Q1oodMDdixuV61lsQkmG/2qWzNkoHNtAVVbiyCePkCNgMwlfrmz0WxbG9z2oE5xLnqLmioo6IjRKRDed1mLcqFwKuCiYmBWqloE5Rxum3iJMA3///uSJSWo5QYvyMtzc/GJlChgopQjQkvBswO2KaQ3BnQCWXh/gbtDTMc1cQ1e979DNvVM7RdRrKXIqQKOjXmeNBn+IjbVd7LoUYSNNsZYCmvmI4tFZ3dglaUpm6DbBLwfhl/+ejtN2FL1dk92CCOh5nZj1OOBTbSvniTmsmxrSk5HV9eyQF2F2uBlc4BnE3dkStfoGxzkGlcropqI9mi3rD2R1B1bHr+99K5lyeo79f6uFquyNW0Fr1t8fWHlHdee9esCaUCwgferq9TE6n87LUBXgSRBuR6LZWZF3GUK+mcPI1umtEiM7rbA/fYa61yemvwGEt84aPgTDW2LLE54dkLhk4bDfxY7NnrVgdBw3zhOiwZI/u8ST/jBH3MYAy5Wt3rWwBkZ6vRKpHZA+FqCNEwtC2bx732SKajGQO3+rDYEFmkdx+DsWxgNz7b3fNAnmM8HoeTDiI/K1jA+7r4bOlHB58VSQoDUGwWGN9drLPlfNsQ3KzVvqXsuKx4DY08uXOy5kb4yXlibtuqO4AAfQTTqeSjdp7E57yPh1kpnDvNS0S0gcjUTeWLoeQQPsfbxo/MSK4o8wmef4jWIr55aPrgXiT9sEjrntGNuw+/GaxUIXLDi7TCToDWJC3mPu9C9NaZEcNxT+jYsoVlCG61DahZ2FUwZWnNTFeG8VknKHk0haqqXylaPr2mM+t1eSO0Qj8WKFh4VbzxYqEW63QOkMNBNzuTBJ1ojfyKsiUr26BTFsejp434p45Hpct5FRP5DLuS6zL1Stg78jO9XzR1CvtSW/VDkVGmCFRrNlpBkEvtBawCmde8f5D1aP+BpyzJr2ySarpAx8x/qO8/jhgRycTZ83xDgk7onzlyNUb+Y8+07c4kws7QDJMVXIG8gLuy03ujupEXTlH+4T11R2885AHvc9s8qwV8nAG9ebBqAfZCFPze/obGTcdTQeaHoWgH8q53obQot24Hiu9x0u+hRJ+8BufIPko9S9GHI9xv+ZMHn2MkJ9XBzyRq4ac3GAGULv1GVApD91yFw9s0pxf8Y92uEAuAueW2mUAcYcArFt9szAEORtyx6iF62uweTk2Ng0teEGlxoMAlW+tzkLQoj4uwGkskOaS/CX884bBAkRGhooMlw1gevcrFYnw7qnVoR2Qkrz1qEZazNnl6sBcCu9E7w7zA7PYeyR1YLQ3ylXTZVJyjcnMJ6y8mlCaXpOYuA4HVYqotYw2V3AshP9ckc9fecjR48DJ61TKcfPlkB0xVQ2g1u86hw6erhVZeVbQuqgvUrotFQCnPztk1WofM6U7MGUgdO9D6eDT9VDzr1H9+8CeZiILiTB2bo+6qSE7u7xb4k4Ab6U7yGNJPfOM8kirRY8kGSUfGR97ldYCgyApNCePv4lruPOW42zlHmCU9nBj4qw8F3esUfURGJH3RynWAiOIVDY+MK0b2oowDYJRcVnnBLDFi6zU9xi+Kl5xcmWuV+FYAjbvomUtCF90RL5Iq/RflZWPTFI35gEKKZUuDAmV6xtnzUWoxsdsTyy6BwkpNhk3aYp+KSkm4wD1ktQTGXVHj46OnJZhesKwB5VY/KPKd/t7tP8WR6wtpxgVOG5PPCS1L/hkItLgQZs5oxKzjOan5RL2rBnseKK9bXba8btMvhJoYcBhK6FoBxAWzgCD8hm321BlzIgPbH1xYAWJWOyJNfhy+ivXI9ZHT+lPdVStwSQ6IP21xNUJ3kOQRaMTAQLxasUB/2r+qvt+4g+9Rl5wkQ5DdUSR63SReNFYlF7VZNdXVYrxQCLoVkuOTEYjvJQ4K+zs1sIwSk3ZkUoIwIKyjjgq/+dPgnEaXmtJVmGIhDfqz3vxs3J117wg6Ozt0L9kE7GAa+FJ+wkWu5yQ/Er6sGoIXTJ9/dUcNJ9v+50SJOJ+gf4BzyCMh00y8rRp3k8UPCwwcHFz7YzafCidRqCpkHmuF3NzZs9dgxFeMSerGuiP2f7uETv07LZOy4toM4tgxZpJL28BBpRqNHr2qnrzGyS0dYQd4o7XmmeLi1GZA6PbAFJDyc6l5RnalZjZjOEnMwQidIxxHwJbHbkX3jTetYCNDpS4GpOLak5P3p/4KcK3bdjzl8qsB4LXfu+p/Ib0NJumt0YoUehwXfC93khN2Uy2dwiX5pgjmXQtRj3fSmMBGxEt/nUjDXAqopCpa5dWil2T2VVWbMGZI4NRUh3mT4uuBOTJe3IwwG7fKGktqtZb6HShswprOzLWLzsMoV78A2ho+q/3SFhd22wqYt5YLOHehV0XvuhDJOrl36ZT1s0LRgv+kjqZ/ki3FCkxcFpAM5qgmrVzFksFHtMHlJ7L2y/oF4/K1FKlnpSJF8tY6TZ2KMqRdNeUTw51q2cTstrg6gYlvi9V7kbAo9CbGMyt3S6zAf5NDka15R1Am/6mjrQpUNVRFRatrp2Es2kTu/oTQMdPARx4SZf/+rrCMKa/6O/2ZWnDJb9WaKgNCZO2dYyqD8dft7E/tC5UKFhPvVXA2N12YEekRvFXvNUM+Lul6P+yEsIE+48KZPEfki4p6SGOuOK3ZFwKiAb3lE0Pk6+Itif35XppllSx/2qSZwFEDNSZeN4tXDUyQ/SkpMYHQ02tZljDeS1hpfCGHfIyoHG4cJaocqzQXlHBMoI3OyvNG5aKiw4f7n8Zz8uoj2lF0yAd86Nf08kE7Z9TPcTxglsR1SNLRdsETugV2oszkmS/fxGhYhbliFuDnnRj7GS8Mf5OtqTYrO1gA0d1ue8jyQ0fNI0OQErQRzlwiR7uCYx1YMOdXEoLJfzxjE3lk8lN+SWuJABc2dgHU5Zre1VNcFXqqWYBHdWF+rCGOT+RcTUe85zx72jmdHaXIt/a3kp5uX6GLGqIh78rmG4KeZomOIixi+20utQELUBoeAnpbATEJpStm7FPQ4pUto6LWeETM54OSBFbBM3MES3XgZECPCQtBFTp1uEi0uFvFGgW3sCMOJyDSHZaEEQdxuZnyk1+X9+rhoc1Zlg0C6kodKiNAYQxIHSoy/Gz3aV7Zop8E/M4YY1/L1mAzzuIChMm4bkRPhLvhhXei5IA3fBgbMqI+OD8vuHqtev2Ai631mi/SEpgUygxefCs6r8Y5rhxVwrQEB/DZd7LZ2raUvQWw+1peOFOP6pCoqTQRYjS35LnOs5cpOLktYLbPEO6ZRw8sSHwMEL0i6To2sF8dHZPGjgWLsdd9zDotY2LzYPTAnV21ckjhihTrxMnXXZDdQ3iO0L7s6Ry5zkWIUNjuWUGiVyThK5zRk/G/JVTLMDgdod4jMXZW+CNbJgDJsKgzz8TFUPxP4K0gGn6OtdThfdpb3fkAn71XxvKh6suWkd/sL9wWhdKRPWn3pFlbUDnfMXLeuMUeFeePdOBQEmCCa99Utp2s9HjHEQmyvw1J14zzncVrIfLZdegd43SCVXsWvPsCpxDk/y3u2ApgAtGH0cabZwAO+SX8atcpymnz87bEgg6APA5ICLC5DvVHXRj7kUzQC9LWS9YQO9IFTGB8LCzSQVQiJ/kry0kkbdPXWnx76gjs0x/cTjFs0EhhmnQP6qWWz2YWBsvlAAl9WNGVKzoK2U4gCgC7dwo/702192TD9DVV1mwK0uQvv4tHrBTa35881sjMS6g96IRf4KeAn0jrMa10J47sP1gk0EKaKFLA1sbR0phDJZsDDh0mORjsLzXzbMmMqWt4DuJckHHZ4uClepNnbSdPjVU9U5c8Zf5zMlO14oB+EwZwRKrYUUnUQFYyFx28Tv0nCmCKh3OFWiH/uj9fD/KDWlXTXQw+gO+36E2yNxBMmT6RUn8/Vhuh7cdJaKyHotX40NBMjnS6Y/Na91z9wA3B65AIHMXvrhJK8Nd0FvUEhqu9vjtzUvJ0O9bFE3urQtkmmHIh3L9XV57Gizw60oHReSKgWcN5LhSYd8ztnRj5Nf2YBcP2yd1kLQNlawMAJCPpVlVs0h9AH5HbGJhIggbUXKuIQwvUQRaRjXLMG3VGxjhIdoyTNBOsl/PtPlrrYFHWRHzO8b5zHdtXDoe/iMHi4NMtEk7rdM75JnZ/AE3Xqy5E2xPJAI7I8U216z4Xg0M7EsKzkHl1Rmz6hayzgYTO7cHFe+aTNEUCO2GkpqSrDPfUOmRCGn35/8MgHUY72menTBcLEKWbcfEtKJil4laNp1A53rknDCLgqFcYjwcvRVcYafYmQX2e4HOKf/vbUmnccn4MktjG5U7ArxVFoPoheosVJp8H9n2eQO1moMIO3EM5C5Gk+Op1DBxmAVTNGBqrJ6fULyAXGi1cyFoX8qwNPNub8Q4BByQoTxeaIIsqrpWBKNitDsyTvPYw+JSlmpZE5kbaQyFjl8cNt9wyxVWuQNWiqaIZPMD1zbohWBEtdiD/B638A2V3eDVMwdTakRGMgPQO5UhqJ7rI1DfcXlf2GYKbEQtWRljomcEiGn+OU7/lB0mUPfgdaQWTEiJN0ss6HNhSokLwHF3yOpJvCZ9KvbLDKCVL9Aj//xK3PzwSaUG4wslFXSYQxsZsTu+pNj1A+dzSspy7zvbep+mjTgqlRYluRN8415tyHEFW0DzR3MshA06cG20Tbkyt2obzUXDMQgZOCdagt72AltE5152QOU9y/kt+WA1vnAFeOCw98mfgNaXNZfinoaJDQxwnrpeT8XqHWLL9a9UVMfEMrXIwuWUh7bw5cdNdNgAB47QRtjjKc2KWCcRFxi4cbt3D1FVSEoXFHwt5Jsigu8XbteIVa0G4aYe27+bctqTfhsSy0yxYgBaLS+fo1aNIgv5fWqRgi6HOxqgFnKZsNF1/DNCfSKbgN4+uEWEO51Sep1TDbcgSxAmP1JkbUkG2KXbwUUfVu76olCpGkvxRJ4Ldyj0Hxbnq6Ce6u3d/M1eOGn9osAPMGu52KzaMzY+vWsC1e8kgmcsn8gitdTHE+Ubqhw8Ogs2YeWwNsu5HyLEyCJOsiHCPv9AZdTWDyIAq5DQ1ths5WpsGEwsn8hvvHMpI0Pi1sUsMW5l1af5JGyuHWkA8m/JSlGAYLx2Ch8l/aKMcKDpgkymP7D+ZJLJyG0ByMv/ejYkunIr8k8g9kHEkpOh+hrsrsjxI+qxIOLabMwDSBQPVdj6SdP2RUIic/cCFPnxzqrDB4d0BtfrZQKP5YCQSDpoYF4xY0IC2lalcToqkdd/5zM9UW4SbwT0yWMgvDGen+Ow9l4wYc0kIrCxmnmAOZ0l2RuM9MWkwJwr9gpXP1gDbIGzahGf0i8d4bVndgh/WxywhGxJ/v0/jdxJqRUDyRP93+gv9ylBzaCmKFuYzpQMzNQrNJf/u3TfBr57xcQBOFCvLLC9ZBwxfz00FlaFkNoKw6w70+eGcsVSwq9OtBrCHebbUUCDa9kP8fjEqF69uVkOwBFX7MMkdlQ8s9gODFPSHrZYp0OXfpbCmK6ZWZKLq2WSrtNjpwHMiRJnwAPCULZy5z+mXTjdpQOQQv2rt+T7Jdq6qtt2s1BkIiOdmD3AodRyTNnKosV8lJcHkwYe0iUL1OiWmZboxxPGLmw0M3xOA4L8f2fE+TBXRSBANTJrGUMqhD98iAPy4tU0TJbq+XKVzy/zHJ5m6HydWrsFtNNB5SPRfUhNW1X5EVMxYnKQrkFo+yPPEvraMY2NXqAYkJ1WOZ8r8iDrvY+0Ahw9M2SXdWLKi/Qj2dAj9FCtYcrBp9rdwNQkjLxUm6IIarFXdC92a+QMPdcJFAVNZAL68YAyHvyhiG6ef00Ifi15s4LpNfKJgAwSsAH1jgujotbyfdMkYwXiM8jm+6LZ+PXwAT+bxjB88kDFDWefa6ds4XpHGgzHuAtSqSBt/jn2zXL9HrOtwA45c4G1wOaPow+ff7mbrRZNqBVRIZbKNyX8ueIEg/YdiMgfnj4HQ9L/xfrlRvNoE2JWdhcN/5v5JFnUGtiRwQ9vDoopD6mS2PxoMLwwTO/jpxhe12VoA3p/30cN2+qsM5r6EUEKB0B5prSwFPNxRaau065lwi4K5F+6et1SNZdxge8SAJvjdBEXW2qiZcvt1+9E2YJFgMjLiHoXLY02DsVTTKc1+/Z0aJqmJwgvXlC2Sbdzf2+QrEjRKnaWgpYe/toF1ncI7rzCVI6sYuhmtYJWSsy7C9CEj23itx7sYzKTM/wU07EmYuZO2CJ8rqGMPQU21lwwrU5IqJ4aMcJDXnWaL8K6Ldhr1txuRiXm0OVtA+2wi4KL9+yeuubt6fVbKX8y497Ko2v8oODbgeVyhXrPOpvuViRhsHyKdZPTi19qfIEkO12Ye0uZt6RaHbDKRvYro/G8bfrdBA0ueqpu2emfeZoWjTXoTY35jo5wWeZZHWR7s2lHiJrPGJ5QTfh/imF3ePOPpXCQltxxUV2TiFvPqhpCjQdMYdPHsTgAYJw6U5LKaSTTcSdXwJ74ABXD15Ss7n5ipZKnHeyxM0yh0cKK7YpEdDylWfmRArliarauq4DwcsS2k0FVab1kZ2z0NojhC7HyulU3Pp1TJPRexP/O9tC209R2SkvKQ8NBU1JbEZ+scZZyOaSc5ru8jtrR/1oeBqwpkuH7C062htFBikXC1s9GTQv2wNHFVT331zS0iPJkQFT6Zxlzp+fgxpJiBjuubjQbZuq7MnT5leBXTy+Zu3zi1QTXM7A/eEYneWSQvcOyr03kxdSsa+3hrdMk7+Wk5HQWy32yJLRfrqDiw6F8RQaMhPoP0Q==" title="Mekko Graphics Chart">
            <a:extLst>
              <a:ext uri="{FF2B5EF4-FFF2-40B4-BE49-F238E27FC236}">
                <a16:creationId xmlns:a16="http://schemas.microsoft.com/office/drawing/2014/main" id="{2E8404FF-D2CE-4B86-B407-FFBC24FDEC09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 bwMode="gray">
          <a:xfrm>
            <a:off x="339726" y="2192682"/>
            <a:ext cx="5495528" cy="4040822"/>
          </a:xfrm>
          <a:prstGeom prst="rect">
            <a:avLst/>
          </a:prstGeom>
          <a:blipFill>
            <a:blip r:embed="rId11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Rectangle 29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vl5jf/09ap99kD5plAaxXVCNjEk7eSh8qzNCHVzDwg4tv+lTGG6Db5+KUUavBPoiliMC3X9War5X/WM20nA0a3ZyBuReIaqDHFemqWco9yxEFZc5RhIYFDxCCtaF63Gjz0TeNrdhkGnSSf+qIi1ltlKka5lPyi/+tQs1vBvS/Xu6/hNUjNR00hkI4NsjaUa+TFQ0+14gmi2A5DxQCRK74MauCsLncRDGt7qg2hk2F2935u5nvQTb/WciSuEZ4KRgYU3eIlvrvaz+A4qoRs/99jRiMYbUxnJGyfILRdmRvPzsTxXv+jTCr/Jh+BaDI8wKJ6i+yKFgmF09zY+JE36IVV3F2EAZSWhudLPKAMAmbxKNcvWyCuR83n4utfYivHI/x+p2A+/H8zelj46bV9fF4oKCme/kwJxk7x3A+CRadsfHqD4TZAY1JmIOUtTsrhToFi93y8xRv36yS5fpDwcBbxhI/JOJjQDe4ulRyPmAmBNxgdFB3cc8GGfq15G6zXc918NmRSSmqTALU+0HwPxnScQEYtFQl2xQeUQd0FeUy9F3PVkn9bBbewBzpTLrjZ3Yh81TNf12xM30HZRoinKnbh4EhMp4qb+a90Xcv3XJgMv2Pod2pOit9vZ3sOURvjctQe8ywfKsV7FDTTdbTm20WT68+BVku2lR3a0gkTRA9dnQJgS2pCLGmxB0P50GQ6H9QKFhzDW3s7he8ct1XVLiI2LyrBf1lMiN5Ex94Hwkb6wB4Kxt8E1NhRjRQ71860OyhFoNAO/CdnuIyJapdP7eC9sPLKW5cj50VIgwgvxXS6uGvsSnRbRON7aLljKbRE4aaSds64BVBQnpO+iusQVRCSPaNyA5ziN9Kqo15wojzhDrcQYbBqOD+LV4yqPudr/n4cpb2M9ap9kJMR4sb9Zv1PXocd84Sdze/WPN3T18v6AaDPrpGFRA0Wj9ilIeDfWrbVs2eUMNBWwslo1COFA7+NZZqnE6CbhJjfb/ymMUL6UCjSqHRrkb3JsG7qSr5vJUW0dCtAxcRZVn3a4ME/1E0rzAlfngQFvoG0OtkQz49TIUMhy0Ikp8dwtBuN55tykO7cYHOfYiKCyaqX2FBasurQEfep5L0Pe9SS9NLao17biO5pzhWjwVmtMCSDxF+hNqo2OpF/ZtnLWHpl+E/kdlOeIIZGv9X631FzEtGrpAMvbSKgQnbt2zpU5yDilNsuKa1VGjlnFVHxgXZczSNaHonFF9iBLsD0TscXkneLkV3W4iXzASYkJwhLbfTfnGvOJN50g6MJusGcNAatMBJQQnEiMML0yQHVph3t3SXeLAwXFyoQyIm3ps6bSpKrwtlSUEokV0kK77v8vNRj3/wv11Dol4Kf+LwO4yXZfIc/ScHbET5fmFTvWMOJMyeNK4bopMEKyK+ogRkZBdTtMdEZrup+HxeN/KMIAGI63XMvjhPP9v52eXcWUdTUc12Cvhuwb4Z+FJfEbTM357hHKxlIQF/FJtcxRqpu6mCQXvllUID4PpWhrbcfXJpqtafHC8hH2PdgFQaGKmyZbZ4DFII30uMNtMi+FuvdBtZ6aaPmiXfWyIwJfWbhKZOWXioj86Mq+VWyL1utFq5W2BqXcyvKJ9CJrmsVC96wz0jF0QvPfJExcJ0DTI+lvGUYOAtjdO/CRd0qHB8yQllr2JGwc/jM4Inev10+ZDRxjaIlbcy/jEgc9UFjSiQHTwnBDUNY7nReRKfsLVH7LrIpYNXxYJ/nM5HhFOs1AUU39fHF4Of/tKCo7lHNXwAQ9uVixz1abPHurZVb3tnIFNJcnG0q85VeQ9PN2c8nhvory2TzdAP1F01s7pdEHqbGond0KffU5ZPzMJGtEPiGYGAO9fs2MDn4OTzGB3hj2eVMNRCcL/+Lv4wyHXszUk/Y76ldgePXv09CzaGyyOw7pBKiz7jV8QYp+Lo6gYuShEIxX9urBn/MvLPuhz9+Ke17zyn2n1CYeBeBvEXYPpdlx8loQ1bZtmLuJxXEMc7ckecaS3T9Cf6dU+6dcaKo9VJwb/OOGxceGqDLoC+UxR+Y0I8TacWp3NsmzG0u8BOGAQ98Kj/NOhU/vfs34t3L+Hw6YX5yzB4jtZ3WKe+ohqwM7GbF7rU7O4ctLbMwLtr87q5PvB/+aGbRUQnLohB/dYHtNHuxkeLj0q3RMI7aO5GtsyBj4ZPhzh2ndU0e3lRfrqlQd1+v6LfzVzMP0ycDrr9U9ArCr5Hc0/QVT9V0QQ5X2GrsOCQHtpn5QWJwOHRDqh0z9eMbSI9HxBAsd8ioNFAzchStV4oKoDE1HBH9NYSiv/6yuROUCQau22KIH4KYY4F1anE6yi2gPMiq+Gx/OZ5SWautj8c1xC+3u1MNLU0j/Vi3Z+kr4kQ+kszM6izVFVW+WPQwZyX2oUKOqA7KTFaF/tzzMgr5NFWqTzMpOGpoj1mK84UFC6LsPmZneGQZmqsROdVtFhKSsorlKdPuP5vkjbKeZmCRW8+R1zUtgWd3XJPvMIQtRmdiUidYQz5DJorkL1iVFI0WwgGnODTaIkNzloasiNBEJy5E8XT2S6PjUYQ1XFqJwpAFq3A0Y87f/q2gBkfyvOIkIwmmgEnTNu/U8zCoBTieIXg1tnzT8HGb/4AUaYfmPlLIjICXP+Rz2K6tbBboGYUJNypuV0H58uc60qhM2t7nMMd7PGuxym4yCUKLfEGuZ3fDe+DztAl5VFsUXqx53IUvTwZfapTSPJNn2JVbZ5wqtvBQSxe2Nxvf82b8ue5QourevMOE/ikrC3U/Myj6TWLLDlwWmGxDBv5LokCTSnASeVSLi+o1e3M3gQRCYvfHXN+AOS23gzwwtDHBXbGFCW9unK/h1+v2bGWaZ1cfMZNwLUD7T3Lx7ehX5A/pliA1cDB/b19zBrUo4Nuub5An3CAjbTvhAlyo6G2GfPqE4PzFxhi+1Ww/Y/xhqGjiMGtt8yjdNHITmeyYdxFrDMTGfr8NgoJrh+0dh/mXwHJ3FGotzu5fp34PIYE23zSSi9MoHRH45EV383disWUDD40tkGBkkouF7qiJd4t8pQgDYRcHeSGLcuvV2y80w4eQ3h1NdjExDfDDPyaJ7rIPSkMUGH2ddFwBdNZPREGnscZW+wHfyMa3Nr5Pp2T6wKGTqWbGnZbH4bw/fMFEu6tvkVLWPOSo97rOMgYaRUP9sPaXNMYl4H5TbXc43e3zX4UythBQfG6zK3dulnXK2VmORxXelZsoG7+VE8IdrLdext9M2r2Sogrf4XY5mq/48sCQKS5k0nz3cnJRpxXsapRRJSbkNlyRgrrWB4CigGDItipIjUOG3CyKT7bOw11gRHP+8jk2IE6a7jgg88DFwbP1ds36+8MIqqzPfaszwxzkvpqSg+PEAoYLY+4Tv6u7AXZwut0icciVfAhBFyyNs6KMELN6b11WoWIVo5wTW6zwlIEqlg/VnUcVB3QVuR3J0Z0lUWpQSE5HsRacIsRAiSwvPyQYH+X2r+7qxlU6ixi9+J07m1e2JInC8zpRqRm7eygyyDfWpCQUNXpaEyRm8AgzHkb/Z5WoJswhcuRfQhwQq194nxXFOZ7RmujsDZ0FblLuTFDw7/TWdERxTPo3SIv+CmtrTvkt0McNg9wwSvs7StDVVdLYHBbyk4VL72sYc/TkjO6xnlsHwze2mk+i7JUv76tpB1cUDcld+nkCpCtRtBSEwK77oWxlHQQ3xh52XRYuqIy05uvT5s8fKAS19NzjQ2wwRiG0f8sV5tPELDGYJvOMbhgGIluxYznAuyfR/SaOiwbF55GrnxmJVQwTijd5A3JZEJ5J6u0or4Sfs5nT/h97d+lTxNvbBzhcLNI2/heyWe0L5wouf4NgUiUKQmjaXveiWYaLBXtTHVUS6CCoglulz49Q8MKrQUrBIRcZGWQiov1XJgmytlyp1/vIHBNSK/sXt8Wp01T24LlUU1nRBKnRaIUeRy+ciyuEMnEywpO3DXK2PZFng4Ag6vQ2sSQigefcNja9ORSXJKfuvCzwJitKuamKWojJp7LVnIqW1DjwDpJoFhBXH7niYdUIlcL643Hsas2A+PetQVfwxYpITq457xRzGy6ngXtYYJKOVQ6PUq4Mowz959IFBYnLrEHTKgkfwHsagCQ/kPlwwXD6yGRQ5qim7rXJ6uf3TsZDL48Sqjoa/yBYCuivBRSYCKSQXeb03ey5cFE8uiOPwQudLtZjywLt61XQDuU72KVwo933ZM4xY0XpRlsu7/he2sG1BH5atcwgSbjftl66vT3T/xyxRU1+SBCH4bf7bGu4bKb6suQH8X9taTk6d4FTEUZ5+PiYCZQmJhCm9gSzHsiNRfSDh4HcQKvpi0dN+pmbTb33dc6mTCyy43A6b4x0qPMVCqUP3IFj8OBJvD41qhTa3xMC2z75yPZkHb/jZvx2eKy/yOfa+d3PAI44UGSqfC3R0MhwIgoADxUvMKYF4SUPbUr4P1EOy4G0x8XrTfuSfl0OKD6tYEtrP2qOZiORNBV2fxtzF+fFwhKt+uTUXI7h3RXI2EfGojp69DnwgtI8ovruy1gsu7ASZxDemNS45HgllTcAYxSaKLPDEAIS32jDtvLqJbaJbB/IWlZdX1zZjFYW+xS4aE8kjHIM9g8fT7+BNx8Pg+S1unqSO5K5m3TngOiVnWXAKT9aC+73/5lrB9VtQ4I7i7Sx8hhBbx1QXZ3WhqQTIfTjIvlbUHizx7ecJcPrdMBiK212nU306RUDtaK4GsSOeh7N7GiCfLCIBgHMGfBnkApVrWGvInC5TEG4DaYqSKc/SQ0FaH+lQIicZyXnBPU/Sz3FklRmOvf0cjbtadMvuK9TofuAcBtY5sf1D8SYW4ifsZxgL0MBTgwXOpnCTCQABRMy0AeGyj3ya31ZVvwFaFYDdk2WTGjB6aftNmytuGs4pNIN733unzO50xO8h7HvRVl+PHn+2phsfjERGluD8zNES/kPDnkGZnZnBHL4P21Bji6V64/Bqd5yl2Xa2uobT9dIFX+vKZATi9QRg4Ky+eHVR4VaCGmA+j7zWIZusYXSQgWRL6u+NyQ5Se3XmfgGiknkv/f4gQ47KL+hieC0raMDsaPYsPFuUujMU28YB19eJm4dgepsUvocMyKP5AF+u+LOMaJJoZYDDhYslqWnDxeM6TksD21SXfsXUcG/RXaaF1Y87fPXxsu/u+Fqi9XGMjigOPwpkaSrtn0Y+hfjrdoLj4dO8ewPxRW08oit9j3UsmeGBlRemlXFRZiDfJb43PGIG5csbn9I9K4dP2TA7fBJpCYo6xOdzIJaPU0KkaFPA51/cSnb+tVsZbIuYpaJ7yWR40aT5hPuvpZuJMyCurBRe+Xsd1ktHCNYeL4inaLwTEGvYjM9TMybb+doW51eUQmiD6WP7VNXqdc52UPqPpnUtNeg4T4O3QcHO8YvgKPQFdDkkKcUOip4El+1FzKA5Kppa4wOWK7VebUCWGe0wAMt1YP+9HiEvd0M6UyiR9/MdmMw7ROWhl9LD0zarkjfRot/3DZir69YsQ8jHvns4yuQJVmss351Fbnlcz43kpEXdDTsNtgtBvVj0ffasRMo3m9mSKnzUzt7ci0OU+M4qXAN7P3YoUG3qd5woCf61In7QsOPrbVHt3lIajwdueNa6U0QVRi/4lakuUKqQcd1btL0NW3koOHwDqDWJ0y+Jz0XUJ046InLdEX/N5wqIpJX5ysxu2Vsrd9gVC8GqIzs11p6pZM3KcBuAXkXdFPqRhFOb/C/RgT7bBYnl+InFSk39GlwMhYotu2Yab8gLTJZapQPx4t5J4oIgOEO/82G5cCn+N9MYiY6NbJ1kSa1Cpx+jpqPtXfMm0W3CwiKXS2q38mvbv8aplUJqvvEXdst/S4BNHgC3hCg3uYda5ZO41W2JpG3+IqvxGiJJPBAujt/8Jn8lL6TAoIDYFKYgS+h1KwsiUFGyRkJhfdfoOTwbLzLyG8yr9dme1ykpGqUMxR6tRxCHdLrS6AdiQTsgjvR/Gw4INAWpIV18fiwL99IR84wHE/OZBNkNORwRWnyCCjKYXXe/lIt1QhZV5RvfWri9YUwu+Un92Dl9yQCFCa71S15sELcSX49iQwkqeggz2/1UBoASGUgiFoKrb6ndOXGnDxGVBYAhzxwD7CjnJRDYA60w/5SIlPsKK9ZLCUhLaN8sD/+IWa2j2QRoszbi7frZu9jXZV5bq/JKlh9O5ir9XoU2qv8iuc+t+FQPdBifxjUWv1ztE307xrMJmh2xAjzeL+L8J1K9fcoplHSKBRVnlPOkVLC6nLkW63gAegP0V5QqqW7LdUR/jytuPRWKqHMnY2MpQ6XMu3pXjQLhpv2v4loKlHbX1orCRSotfbdkByPI4Fm9awhj1EfVGPKPmQQtjurXwr4wl9i7ILW04nUk5yWY4osa70ydM6oIufm3r7+tMAUcrXiOEflEHTs6TpIRkDWOGPlNGgJ61y6PA57odLHqPjy+6TTaVK4ZqjYHje/JUWWI+YuB5MOoPxXINgehbWJJUZAsPTpY0sV5j6H/pe+rPPSxz9BdfltQYFu1WTWIw/bq+MPM+1Y3hLUi0Xcc9RKCz8KG+5ASSwy88ATeQMHJsw9JhK9dz0bmI6fywARFT26Qz2yqj1NsKmTDN51gff+nQQ5funOFsjpyywwyRAvnb748hUVucFCT9HeSFHe1RFgdEYLNA+NKjMMExzT0AYtKRYA88h5y+GuXSRcQAb3QMzGOtLZGDeCCIVvxRDCQWdUNRYFJ+7jHffwF8NnpyWyrxipNqfCSQWjm67OSYPGYQRvlK00T8D0AhqdhnvGqxW+RRm4AVAebMHxCJWSq0w05HiqbT5bSTS7jIZiB17sPDsGItYfB5AlF7MJlcUB5T88DLOMzlD0riB0dBd6fl/ekJE0u8Tf5PdAmqNJmVeWbgQAaw4ohsvZd/FT4I87icaYFRF+6IM1YhL6DGIpgaUnW0I0mCQ6HAziaVSiOAeIfsbw4RUCVlqSsxpDUa4mU2ftEvcOK9sn8PPnWnPB95I6wHDrGt5IKG3ZS92/T4xKSyvQNRp24QwG4Fxqdqmw73et2RyPLx6soSwdQMtBMMEp+y0nj0fix8Q2A6iUnfBdWG3EXVISE1Mg9hnXB4ga2tqRYPQZmbCTGRwDH/rxngAbRJShZs5ODOntqLd9ALNlyE2rjn9dYwkcpT8U/zCMxvjHONuWnDc/TgOjImuM9n1psyOw5KYNXr5/SdXMZ5bB3ClF+TDyyCPF8YRCQuZSLGy37sEju8wqcW80pxMszDk12LG2TctjwoOlSgmMZE5uOy4NBlvuG6wdzTcIlZZwQE/LP+qV58XkxOuMIyUIVVCz8YvXHceOTjCFMo97W0CjKjnh3eulfU264O8FbmK/8fgeVY5CYOcwvz/8jTYkTjSGpvSiMJU1tRTjXkj19FqSLGLWDVIeeN5L0OXhImmZOr+E7qMQ7RTFadYMgToW5cEp92HGg04H8mF1glne18Ngm5mPFcw9/F9xAO8fgMzBcKMluAodT4fVBQziK/Pe7ihGNfj2zJYWNGoZV8IfJ3Ot+z7xLV3MuUxdl+bMHjVfJarrPwAT2ipEBsZ9xwTa2tOeaakrwvKM8Y9sqBFT0SgU1Fuva3uXv60ZNdHOkGnrzfBftbjSGisNUbECY39HR17D8DxhOknX5mW9yDxiR+BvgnlsMp2YaDecKt9GH7VAOMPwIw1dwQzioFw5B08GTa6I1kXwWPXZMm/7mSqn3lTbnrNYx5eAS+PvFKYdcfYkD0GNgI4q7dCgKqAF8xy6mxCh/Pk4gRiHAymLqppChr84pxlACQoDumgXWsapQRaDdrArocvfgtyfuPM9njntg+VCWuXBvwCghz2AL20OY7YZM7GP27SPHu7mTMGHyBeyx66YSb+vqBdJ0dg22BJhe+Y+nUW7+re+fKwijdv1OMwN4Kc+qYZ/mZQ0tfMCBAMtczjcYbig6jlhyp6LsBYqX4JdqYWtfgotdYE+SGhZapjnGhyo0EkPs7r/PSN8nXEn8hKu9m29PlX4QPqym/165qYu2Ah7gM2AncGHZypNJHMN5uB4IHxcK+s8CE8EhraHmz38lFV/n/KlAdcI6yCR/YDQD1WC1f/cr8yGEY7pvXnNZM3li5NJNQJu9pBzGmR4lwJs1mHXCoKPMZhrAngnKGx5UC5o3B3e4VLOpJCqbituOWzvkvY3F5yemDRFZh8YjpHZUnD+96sDdbjgw9NE/c7dHQ1Lp1IVGir2ESRbsZxoyXjDfLhYjWO8hb2uiJ0Zv+eRbrw2RKfVTWYmjC/XfxJHkBiMLVPch8X0jgw7kEtILOt11cVwtOFVszvRCvcK9Geio2DAeGsltc/2yb68W2ZNFvKWxORv8A3DTEgnI3H5et78NPOf2INsO5wj3zZ96OoK2LSS5xzkD3L6k1JItJKnyBN//9YHpJZu3+Pg/pIzrU4wuVRhdra3GqDPjKrKLmNYeXwjJEcOxTr7/qbSklt1kLXFy9G3gur0Z6gnBtDvKxLQffdQGUAWgrN91tcFNRpbfwiiTguUvoNMdNM+bfAwSQJDEzAYx/8EdQSgjeTNBrqLMvuUwhFwHgkuuOtU2hmj4CMt3QAHhlNAVJ4D+WunHwbZVMy5Ys+bIS4E4P0SvuTZtw3abVwIFoDwwc0IDweIr7EcaAQtm4kfLdVJWRsGZzCmKeuoyLyPnQef+DwM6QpsD1iwQX524NHfXMxovvcCICv49gEYzdjXY+e2wjkiMV6y8iKU93wDl2fPCV13h8/1hfR91cPkea6gHtvtfkhJLcAt5cfevBxZMnMQjeWKqJWzHO9a8DrV+57VyHNbUosKKyvnYNp53lDUk2nHiH1E9OUudQc+YjchT6Ssj4Crfum/fdwffEM4NCOxAF0/hmmHLSkTTgy+Br/49ATKubhevP8FyDVSf18jDImLEAeroged3YyvkdQNSiTHadSFipcTpqrS16Cor9Ltsx/e7eSwZIGKK4NhQ1p52k2pykQcRkgJKOa+LsAWX3ewtsaQia2oKL+ZuMoc130wG38HCmrJoUtokEyN5OfUyo4Nyoo+gumZiFF/ToHJrMlBBbLEwkRqfD4ev4rOITq5P/0mckbTVGuzA/Mw0l1dPeip7HGOO5hAUxa5kG5+WSTostN7mbXhTVVBT9MeKt1PaUBeDbphCgCXd7dgCm2y+VNWwR7j2/w5LXHW59opzyktv664Gw+5UM6zBkDiBDs5T4oK8IxCBAjWbEAL1Sgco4+pI7d78oD6BzbLBXQ9B/2PSsWkd4WgI8gWW+k2bY6Yo8vJRyKrKvtT++Tji1xmeE3Uh9+7G2GSzbUwnzjzacfhUtIvpU42GAHv+AgkTAHKr3yTQ0Wb15pwyyGt19YdgV2ehgFbe6coEKBXg7taQePlvrl6tiw9MMD2O/EmFybF25WbCNWsOr7m2ueet+Z7YW4QByOZaacOWbUi+WyqKx1Hj3KrJkU+rp8qfk3l/Q1ZqQC/D1vRUY/Sjp4kSANWCO8XUg+ihJvhzOYeWX/qKB9sCPu2Y5n4KYkjCDRIsqShSsX0ZCWwNhnSiZgs4GqS+TtIU0nt/VlUWzMIno/CHTt6zdrwxhgy784Fmjts3h4QDamZyKwry68PoUuL6OfelEZK6m5auoaSBVY3NWV8yqnPNhL6OF4qsaoj3THepyoOcVX9hro2q5Sbdxcfwcy7DYIdo/V2hLiumLCrEU+mkOV0mzT5oieetiCnQQRo+2G8+tmIOnL32LCJH+MFGED7KBP7EY0A/kh2Q1sG3LIwtWdmPYqU55Y0A3N0SQFgFhQkNLeteLwiQVuTJK5APKJ7kHCzJnFDh7KQTHzo1PJNI8G2SHIStQ3YuJOYUicnPiVCg5LjYpf2ANevwhRwbZTotcqV1+g6ybyqlgvhaVOMgMmn/CwAkXM3F/o51xe7IvXA6pyLQz9IyyherAkmNbVHQFfBWbAaR2RwXaXHQTuS2+I6yKMKK+9pFvzPbu4+rKu7vXb021hIHYTsgEE3emDh6nicvXJjQ+VIeLuUVXNvTBnLffdDUIclyaPlTPGEHEa0VXnAsSa+HEkN77a9p5q2ykFw/DTG9m79fi0B2QJpG+IQJjSm3lq2nMykl4lTAyIjLOwwmPOpZLZB3Fe5iHwIMKtIDJEB0N5334giuDPM7b4nV5BcT9DMtFUcKmeKuBGhR9sJz+oaXG+B9+TGDtTlv4rfVAuQT2jNj1Y0hAFPL0CI2uQ2kI1aEFB0nq41tzPuOHx/l/agU74nq1r0IWeWjHQoWyuyZ9KTtJBfjLuMiVOK3X2FU6r2wV8PHIdrCUYYdSyalwzIqRZ8IsbLM/YzcFqSdqx8xYvzGLY2vE4FTJttPK7p7N/CBPi2i+cbJh+ZVTDcto/j30WjL0J/ncz5REPwH/FW6yGR/yw6m/sSdThYkLw3zuxlC7Qn5M1M2d3ryi1T6ZtIXbkZVPwPSGYCS/uQEeTEhB/eP/1T2Ut+B/ahGCAZg7FDxjuoThVKA/IODrowdm/BDvLjwNwve1FjcOid9eRgOOW6fvKRYI711I7W0QR/Bq5RxuHlOeeWLD/aUt7elSjKThTOc8HcVG9U94INuDG4q3ymnwWp0OeSCJZQOf1X6yX9KUF3GunGOywSWyzDKFNrMMdI0XbQQDDs1c16gNcLiL7+lV4raLv9oOE3I+AyIGbYh/2mAvuXa8rqgBMqmM1iO8oazXw0z+p92aYBvpJOlbEYteKMp84BgXs8H5EG+f8L/Im7pt841xb4skl2WT3SIwlSK0rCUco8RZ31qWGlgafBGaiMYkmA5+ta4EaSJg/Kh+d71SGNF3DfLOwwp/GlpQsCuokOxX1OuXBOhQf/0Z8bDcmyZGG3tKzS4g8XOunVR3CPgrxbdQAhQFC/4ghklffCrAh/zQmuiaKVT60pWx1jGkwLOuBtMK39aM2F/ageJSdql/0OeXJM4Lwdrew3aBe8WpbjSMmmlRFHukDgzy+jDmlkAP1ijDlGvhw7UTIzfCoqaJG8sodUHrl3AEMWLr09MiZtmfehm8GPfmSYExUf45Ju49l95mG+Se0+iuwxy9v4kgL0Qzxs1g4KeJlwM/i0Qn+6KMBRWY7VJ1+yld1XtBH7pSsknsyDOq8Ypyx4D3NZe/OZIDmPOf3LOiVF2lIJ9Odm6Aukmg27dJVlh07emfRd0d7KPZ96x7zVeFH32dOewNqs+C/lO2Peddv27IKM9JR7SX4+Ps+W+yMz2fc1QrQiSIQSO9xIKSMS8igi5njeVodpGZF4JKAGG4R0hboicDbNEva++FGdDLabR8QtYx5uZWwnlb+G1QPd4Y01AoXaXL9OD39qSnCnupUfI5dgTW4Jl1GPK48NiLjLtjK4Voxxt4U4uXThpLSyYYz0G8lkrWZPyFWYzUVHCO1Z2VhUU/wcSUqVPLBFF+KXXYSPcyD8IpEle92cj4huD/5vxnkvMm4dvh0nOK0ukqvihua/FiRL4E5aLzuVBClKgnU3CuWYpX6G6uzeKcS0Vk8xXed4rbl9BQpcjJfKOUSobcgZ/P3xxNw2pN7SkAWwk5g8OcbwdBEe/7RLp3ZEoKQEgJvfSQvUAmBw/GO7H3rEqDOJjOUMhnnMRVIXfjAFIrjo5WmOEOk44bjM638Ln64adGzMM/hrNW/zfI8fjkfZQWFESG2vo/sChvkxLXEY0eRFc9ieAaf8fuEG+JqW5jDnQ+Yv1HijuRjrC85P4TLd/lMV6UM+dCfYXCW6+CcTB/AgPn5SvTn13K3lOdb3IEL061C9B2p8uM9/EKKaPe3BU76D+vAwz5m8zH/85WYEi0XPO9P2n9AHLq9Ridboq990Cq+KFYlU2a5GuHIxVVrW1vk6IgkskjmcWy75RcT3Vbu/TfzYgNRSGn4QERGFYW8NSVAnx2JhI4a6KKMHfE5VVqgHONodqnxXdJLftZ31cHXMlKgeHyATM14LZ7IqFgWfIC2h+GAY5AU9nhG0r4IRINn3ViZJ4CK6mUTFwjXXzpHJd2P02IxblW43hDlL2uCOKRvlO4+loWnu5ZnTgC7vKkd5qeFdYVn1U+IBurUGuWoZdMcX5dwcUOkS1Oe0pSdNAVicYTnwq2BYxSogPKZhCXt0TAQcp7EF425j9rjz9g2jf66Y9YYmnePC5eOVPJVu9Umxkt5fKw+fN3Ic/h5cVepE70iSL6vLXmg7K70IMSLeCc+jg/8CUf/A3QOhPkcN72UkPPC43C6/GVX7qj3j9FlXQb6VsuyJ0/pFG5R6/xrP1WNN4loAHprBvUdO0cU2kpSoNK5n08FQoi5bNl1Em3pmynVUk9uMul+FWySpf4oapkCMZybuf1hzQaxA42EnIVETSD3qhzCzNTdm7wTDGvALlNchUhFD9bcG9u7ZMDNwemOF4MkzPDmDJY/WRA4HJP1+3rSZGJLbLSWsF3yEZ99bY9zPpsZSx8oU91F1Se1fEeymFx3uY2BiXPWsFwkHRtPzsClMgcA0EDqBNy4nlEkGSwXKPNbCPmSrFTG+TaLy2t6nM8Vx6c4omoslifdKNzqzb6slAm4vdvtR2Asp+5BVe787Ddm79VWGQ9IMLOoQJzGHxwUouJT81j/QwAQP9nqAhuAe2mp37GSDSiuUUA4ebchHuNs80PF4NLv8zIpQVOk205MBemJEyY3ucES0ZdBCLg1tmCyEySD3PQMM3HjuWYKqffixw+mMIMRLJVuHz6C1Q+BGclgP3C7fN2QUHVvZos415lQBSgvCeMMYNdsq4XScAe0DQUzoJBEt5yVbfeCY4E1AzBc+0ogS09su7BMVae4UDAVKR9t+h9cd7+co8CalgmQftx6eORAIkPGdEjpQcw6RVgoCgjbo8luMhEFpR5on8ph9wgWue3KlsQm4NX3IaL/cWSnLQaUsUE0xsJ+GmKlStscXhUpfXKWfV7mr5+NnAIT3dGJujDQ2tSGiz7hczfB9j7x7PvTT6LTaqKBNylu07PM4FHHfYWLQW/pl1Sdwx7YZvpVTtiKdd5qFYLhvZb1sqrubLDuS8Y11YHBYcLZfwH1mmp5pNWC6gNsMVcbL4YBJt6qN+eLKLwY59XDJFP5e/vFgu58lXJVwGfLxojQKuToN3jVbog9xpYdRu3kVFcRssnq5NOmE6wWFbn6p4oQ9ZPKh+gwb0Ywin481hb6bmXD6mwju/2vRMTVh+opmBzAmtja2mqoodtDi68QIdcKYuTIZbtYG1ERvoGyZvDbMSDlKfh4I4oPucyGHSWFKMc0N8dBX8bgdZ8XMB3RpVYZAICHiN7XWzwk4dAZN4nGqhXt99T5nDTIjG9tMF02uckkqFMVLhi7Ji9OIEiyAOmIFZg1Do8U6YDeMv2V357uqF47o9Yd0dV7k/bJGROXLlRGPjcZTPzP4+5EkanD09hV5qoHJYEAsqYSgCydIutBbO369V0HOSQyg+cAiMlymnY9Qu1tBpmRag4XfI+xa3o6FkuhO/A4JGQTAVermiIY4MKY0d7OGKKQvK+UPvxmiecmPumDFajlYRhA2fdiXqUKT3vIFEcBFDNd4OucsSJs21p2JYnqcLKr411q6acv9a8CvYSw5DLp6xAnfhXq9X4L+X2qBFMoOvaTgvZ5OwaqQdOO6f19ira58/QONpmBY5CnwaVkv234NXOd3WCGmS+5Z/Sg4jNWnsG+WJyjCZip9fYxFZJX+I46Myy4ul+49pk7jYZzumn8yfft5lsvFLOxmz1t48Y1cvNWkv9q8KtYJaMF/bi6pKd1ZGtgd3vOPwsMw09tuy5qsAmGj3QV5gNTdg4EnKQMoRRLU1Xcs9wzLyeZtVaY5oUk16lh2/L8JGghkCOwnQ088UNerNre6wu4DDp3GGQSWeCwIU09UhCTzfTPRetzAdTx18bGCk45RpRkY1lRNABkEYqjqf/IAo/V4aTa5ByOkpkwWGtrIImbdyiBlFeL6crec+2us894WjV72alSu4KJBpLMTpcDrPjrfp2xR1BhUSFznNfBprMZnXsDnf9nKuRJ80Act07jC1r5nNCHZJppqy17DPCOBT1qdVch855HLZ8ITKLPO3K9oSdzxRA/TsO7oMQ5q3aPo+TmPA5UXOxORmp0zOGr6VFktEdSoPhcGZoYPtmz21PVzjqAdOJvya23io2wlsZ46BNXXazyFqAjGVIKlBKxqXouoYGeXeW3LZJhuiPjZi8CPW+/cSdLbU+2mY3vsalbjcgqKE8h1dcxtY8r5mRwvochmTcrTv8MpwLWmguo5DdFAK7ipt75UsNLXQQQ4+OxseWOOoiwIaGEpzXwya7RDXMJHFRO7SSD2Tb0mihrw+OPfyAPoGuUTG8qq8C0uaiARi651nVTOtpJ4x/VrYBqOzcoBmV18wHfcvZ6rv1/E0JFrsYijR1imhEuumznzdx2m2gYTJd8ZmaktQG+Ko+aH2NHwoyRF94ERq09N3VasoKT2+6yJBpPOJUAJ6nJL50lZtO+ky5ckgT+sDulNPjONeS+x1EGbwFi9jUFdpblKUwyZ7G4/jcixhmZKpyoz5f7VW5GZ3j64SlJFSRcwOsnBEDv2hLzf4kxJnjNUQvV30mI+vQVXR12eJH/JYqknOCyFunVhOoS7Imiu+M9vu1chUoIV8IBHElQ2/HndXG3zGONuwme4IhppW4qGD/v3ht11jC+kOewxAmLURFrz+a7pKPraILJyBOQ+ZwXkl/TRyeh9xhp0WRYNojzF6KarSr9aEguwQbKn48BWx1kevPO04aLD0rOxqZFirOay9jF+u74a0trymQ4tMima4GzNPeqXsOsVTk9lzOcBgvXVY32EBxEwcT7UWMCxbZsp9LJI/DQMUWh5PmYCzho3rAN+4ZN7fv0nUNVTEo622vw3Sd47KwgqJl0tD8STD1WoewQE79N8T4Nm5OA6eMb/WN4OSUtI2uLDYDlj7DBtuJUkfYiWMlrBFKvL7fNdElDeC1kzMJ59HZeCY+1X438Z/mvbmL+6AlTtLKY8tYpqNAvHtAHmGRqOS1V66qxmhZ6hfKN01IUA9qAbOIc/Xzg+TsgWoJGEKwN+8+4di9JGAZAM2wK2NOfc4Az77i6P1w+mL9wQyn5ZCfndQLVRJJ3Wi7KoGvQLuRfSsQf9J77RnX5rD4Ri6dRuT2cG6Z5ioNdHNU2lcJetWWNEvhBo9CEiiQ5mFM2mcRevsGapZoxIH+kAXeNLBTJg2agVI9kewx4sWKtMse9cUnF8fS6BbW4eYXxOe6DUHqhqwxS4bUg6lwsVeJuXUNeaDOOXPKjeXt+n3GVd8oMTjiHpLBXQK5wONThfEUKySVGdK46+2f3zaEv20DzdrH46HeR1TFI5dfEp+GiIOgPtsBnsiChDWCNClqPWjTkVeJTBbzXIy1OCqXsx7lLkdLnKkExRUzI9YxgKS9Qp1bulsU8Xjq/QPO+rb73cL7PlheJS5/MS3sN/gq+eI6aHGoNObS09vw277u4P1CCOibX1mWpztGR0fbdNTde2U+dikoO0q7DWgVh9i9UQLreTO3QQ/P9wwqDSRKvb6AhSwQ6uscvd7E4YmskxAz+f1LbxZe1RSWJv92Id3cy+i0fq9FS/xd5q715IguUbNDOH9TLuhN8bzF+CptBimPfoiHmZMobiSyEft/YJGdQmG0V3wEr6hhyGdxQzKNCmB4d2mmnBSAQ7D0s3Kxzss6gwoUJoqUgXCUNkqL02nhupzsc/D5tbrsNN1+0nN1beWe7S1pgQYHiHNUGT0WxuiHuWv0oN72p5T4u+lZNyQOlI8mP5QwT5M13gIdAxmd8sTfjTPcTm9v5gAcZjHOudcT/VxXPKduq9Es9nvJFLmdFs/TJDgjlcLq9SiNF7WRVYoaQPFYs6ppHX1YynVCYV6ttpzUiLvJOUxFG74v7cLrndHRs049NRcWqeBIOXQvU70NeEXLOl00obMDcYIjz6UK8jyysTb5NZIesI97uBLslqLk/LAGBmxM3PappmFhXsSGrTepnJBBCFiY5GTtaFc1MNz4kJu2gkmJahRJ7ycfbvei7CY67ACJ/rzo6nzNniuuej1yuUu38C2xfXJsfqFheEpvLEnjFgSTzYjzgnbDVXuzmQNGbpKp7Yc/VASpA1qAwQQFjdoHhFuDosHxUhVotK0LfDnkGhLaudenkdLbHwQgLrJhNiUCijDDDzlZfJfK+d9/CDX02ccmCNXrSaX9FzPWI9Z6UvmBy1NvCkX44Zry/hoTq/dFdRbeEJdErbisCc+9+25/z0yCnTMtdnW25XUg/LEm72W7lCeco1gBReoOXBOaPoR+pVvmgOf+GmuSFXVGF2wyMummw+0dHJMi5xa6QjMJqBEdk9L0i+CBIAmgJcqZvDhrftCjubxDffpmzZoFmVJqfxauvVvBkXyRHBpK3vWQzdr53kuXE/MLbExkStgBQ4I7o/lU2mqmIpCN7Sf6VP/3ybx4E4JCMCHQdb77CcVZx0sQfke/pb2CEfi1OddOUMcpkp1tKv0VaEqxw4xVQM9RFITKqeXcvkHuhG5x6Cv/CB7vQpFtC2ar7lF6ZVl1sb5d+ZcfXVIiw0ctUwLawtef18VVeS3b7/0XGLqcCUQZe1jpqu5xvoa67KRS7LaRdwZP1GfYaqlaj1zSU9ysbvZvXlgFbJtGF5vsAZGa4K4bxLmjWf5agfHTW/Q4YH5TV3imvs1N9dV8XBH5I85tQOuiG+6Nr6VrNRckpi8IqzmeEkgq5IrKsSGyiEk+AlEKSVEdk9yJVOSr/kGD678eJdDbfJd212bW6kJ2uKhulZGbcnlOeOReFmjz31L0kSN87JuTg+Uh1OTWN7DiUwPcXG/kHCyJz1j44/Fd3X0cwW+ebkGuKmuEvta4RS6nEsHH/TVz6chk2j+7Mu65ZWjqhMSJNrcTiZKxE5XoxnG5HWhsRKtU/MT7kbv0KXVcEslnKi2PqaDHC41GQEItoHAISdqphI4WLa25Y3fQ8qdHZDuUeDWG8rKXzyltvjU88IzqBH12a6kmFknTpKp9FAHDnkiu9TtYWSAgJ6Hc/z9B9Y3znalRuZ+nRgUQtc2VW3IWLN+Hw40WGe4VDxhwwiJdFfuhj7VPNw5VdEDgM3rV4Q7SbkMxvjkCIKfQ+FrNNyu3+lZHZUssv8MeZ929q2qS2g4NNKyv6h2nIYsspURwLEdqFgy5Bryh00CTSSUvcrjj04JCPziPGZb0CL3sIFNbOOfOY5lIrshMvjMWbnhM2hIqfT/7zEY3nu9nbCAd5m15o19Fyb1+IIXG4YbtV92yei4qbRQ01+L06i0NZYo7/3M/OGdF+9qknzHwhJ9/eV69HRRaYEYTjsYsAMgVhsflyHrxXyLeZUyWpf7CQlfqNQg5CjD3TIcImyMLg+Md1soGaW329wZMUTyXyNoK8hYD3XFg7L0paRnTXytW1luh7xxK3fwLrxmSner8tofEiiIlIHEJUBn5IRbezWlqSPXFFf+ajzlaD2R4kFLs6M1Jmq+pTK6C2XHoiYsg0KN5OncFmX+2SkOAFn3ngK3gsRkDFgxk+hKyIBS6BNVHZu8J0LTG1hTXSzqEn0cBJ5tybAOycNMHIOK3KPiTzHT8DMsPv2qRrfuiqNqW3k4pnbElwT3qDGd7M9BEvjqkTHbn3VZj4d9pyOtUCx7PgsRzanazx5UnK6NjRXTt1zRTmt1cpvshBp+vKGJn6mWt1kxuoMwiw0tfxSc2QL6ksN/sZ9mZk/z+qdR4IbyWAtTXobRzLxlWDqT2YWiA4qYVuGXnYjuI+XUVfSSNjQD6WTrzFMAFcxCW9IPFhznXOnq0dcGoEsslO1YIGV3vl6ElczTfqG7QfFyRs+DT0cNy3nsvcYlykLrMjgnN+BedQSiRiQo4Ky0sjGllQmJVUjcJvbWf/0xjQVrpxOOmeqzLB/sRegC3MF9DtRADv6i1eZEn3Rcu+Vi+Vf8L14KPcpaudu18Ir9HaIcFnc6tZugOZbfmojJdm6J6UBzgc3SXeVjcR1KJU1LUVfUByCHSgNyKi7J6xWRvs/hAslMfP4gQcP+I3msE59lg1qRVT73yhgn2rtedVYC53l91vzqIKlXcAK8ZG9B4cf0cmVJp7XDSnt8MK1Tw/KJvIJ2w7gt9h+H92vNJB3+kI6JsiwZ7sPED5MMj5A38alYqsZ7kytUG6ThbZVVDGzeWGMPe56hVlIIZgm2j0+Cf6FjUYkIvwo2ad5aOOMCZf4HAiaESilgLqLyWpTv3naq4GbCkgLTOCSjPoV56uUdsvo5aF3Q2PMRGUyK4Hj1GFOeZ+LsDqNPSjPXPnbdiFw9nMJdMke2vfZKBL689RtS/g4F/pBkNXlUEnwb3MsJ5YF7+gRU5M+/T9tSKwurXqN6wjv5MhbceposU2jNP/PwsEWij+dEamfyQ2Z8y4iHB9Ut6CD7cnNKg4h39FeU8VnejeVKH1EI7YLec28VjjuyFBoOwe6rn10iBdogiA8btYai05RVhcI0vpiF227C8bFIl41E3h5VLhBHqIZ51zRjJO1IDornnnZ0vUXfu6rcs9MIEyO70/2aI0BBIXlUJlDmswFGvoHfQ5vLIgYiIFyUV8GXobU0Slaj+HOmO6O7g6qhZyKKJ+BcSjYIEY6Yt4TsXb0dkEP4fxIWwXsAV7D4OT6zkYyQexbvDDAAbUgzY17LYmlLkYMHav13nACMou+Cv5+fU17rT1SjWJ3BHJiqQenPIh7KbOvUgAZbDbrgO/wgWukNjHS+CIHoC5IdpC6xYuTUlQN6psQl6ye+Oyut4MleA6oNu5ki2ZtewodUv6lAGcI4KHRrpNSzVX+UMsfkeGrmUy+1TYwoNjgXA6NiR2SXN0NOuwSanUdfUuZ6lHp9Auk0R5eib++R4IE4FZWwEIJacSMNx7DrON1n+VVf2yZHTOcvWkIIxYsPEycKk22qw4QNBRvjLateXLH9fFyKDq/qH50wV3+mqd6yJAOM6rBp9k1gjo9D1rk6RvKd1wbpOqnhCyQJeZ7eLM79c5M4N7A4NljWX+EFdGs4W8vCc+qzmWAW/nEYbfFVRoDXtoF/d8EknKhTh/ujBJmEWZthyVqWYpIB6Hc6R+rJF5IyYLDme4Jdw9eMJodmiIIFMyXr9CM6OXMsZnQu+agvcpONgl66TuZJDa+MySLNf6TmgP+ICqK7WXs9heJWOu6C3hwdzdYDvizWaKf4u+e29fhqvNvnvbiq+quUZEcl9QDDtA11xUeFdGsIaTZ3vsSy1lm1VHpfeFS2jsvyXPAi1cNf7Q3fRHyu0H1ILvDjxlMeWLicewE70xHudBoEg66aa7WUlZ++d15PUZF0eJJxT+yq9gUC+wSrd5xCGfJJQj98qkaKwURJ2kcvKAMqt78ghHM8fUD1z51xMYHCGY6T54krTjlNvGHJ7SMETrDb6ZsAi+vUaia/d+PmgKSE0QwPTCol1xI0hPDoT4KPMSijlwU216z+sd6U2BE/4sMyMa31L35Mzi1pPyPXVaLukpdQNmHV9j3P7XTDLMjnmODGdOLRJP+9a0rU7V1mzBGnPqhKKYGuiNPmorW8S6SPHv40JsnQMTFnYlyNC/cGAmBwjndHHv0r0IDhr8fzSZa4Yp3DG+uwo1+646sHbB6JbU+3AtQ7vnaQ0eYzzlJ/+hcWmIW9S0HltPdMOKHVVcD8Rxr30blb0O3dAj0ZbaUEijyCbPEIfBOSJLBHOLzBvmLCFnctjEDfAxLl+2TYZlhbNmh0HxWoUIl787FK1gCNepaI2crTpxlp1JHCtbdrXbrF0qzGZTO+gD1ZnXWAvkDsjPt54kt2qxkzwRQR5oezAP50fZWG7FBsnZmCJMLMw3SQOl+iA1k1j4gVTRBknke66n7PyzjW/s7tDY1Fkukm5s4DVkP0wWTOi3Ejhaqplfgx2LzdKlOcby17aIA9Z3GjdZLv8pgoaDiNoNRsGyefE0+pFkKw+vVDMvRpac0SVJPP/Ixu3eLBzJvbuDE9ZjfYUyPHp7HYsbb6q7tAelTObcmFEE6vPpDE2JWtUnzk7bFktV89H/O4yliHl9LV4uLh6T2+mqhS+T5AFV5OeiGMzqlIVXC1Bh39fB3Fg4gU2+cve1Q528hcF60U8k83J0fJ/Iu/GkRyzZNFuulKBUBpO6GYC8qnJ8/8LlnKuWuMC/GX0uA57VsT+tF8xFreHShMG9tdiBPKO8B/FczoGOYWWJJ6UYJSRSDZdT67YTvau76UeTKG0a8EpawJZmEkgA/HQMchrPI8YAaaR/IvqisSxd6IBtcojpgN9IGdqxs2rFhqHV9dhox0zcUDA4SfRBGB/Yhp7iiw5MtfPrrcrzIRIJIpbL9IJpYdLnwidOTXqx0QMSQ63m+IYWMzbyDOoMsMAhOmstjnFggI3Y6hscFAJZVzpb8/5cGGVsDZp+0lICR6yMnS789CqRGBf+2/F3AOBdyMuQ59teGTSO6/0QDH7VmIiVt/Y2Y1VnVHg4N73/G+U3N9Tplo6c/wsa6jpjTP4AgdSYtBZMKgMn3CFcrAMU+r8bEEuhS6tVoQkuHlNkg0Ih3+oG7j/+dVfLqJUEjlS9U6fdZ+uLuAvCw768TWoR8PrWWF9rC6tp/M2X/fy4FBRVWY4goDIvexIquuugTb/fxqJP/AvVUnU2wDq8R1/w336yM4VfbMdIfvwRubVnB0BUCosFOZd6PoNYXkOk3Xqy1gwTs3HaKT4YSK/YxfUJLpzYDvS09R7ZTcdKb/PtUUNM3xKCdbO0L5eJw4XDX77yZgaZ2tuEu+EVScU7BKvnX1/UUKBaxMIvfGWmTbTCORH5tAqDSXKqBJ5M8+tGY9EGaNjZgOsi/K7Fhd4vFSouf9HWZTjWUY0kAhDDbPdCkKj06bTOwXFfLhIdrCNJaHUwtaK07ZWuQ62BxjdczoX/yhKVdy3I4pYbTTNWaJgjOBuC0c/oaq81rpUvg9vVK2YvVaa278st5eFeYJWZ6nhFVmrsXKytBwxMIiPmvtjyYT3339/0TyH4leK6TSlrwU3tUBKbwWGWNzSBh6U91jAWM88Gv8ohy/4XX3GnCB4i7cjygt6vCEhsNx4PR0cinN/m9FqCEHfvCbJUZqtUqum9Vhf57dNHRpmW+cEgn4L8eUA8mDNWEaM1GVa4E2TuNu5gHOXOWh9LIOIt94byXiqeinR3Ua54ox0v0UO4Z1j9l5F6gjU8CTwqiyo4u1B+MtIY4JJNCOenMFydqTX7bcbYrpaVw5B0sv9d7LsMsOC+MKL7LRC3Md7/2idU1coQ0FGNNPrwKfakPimb61io6hSj0rqoaAn/7PQQeCxJio1o2D3Zher/EAhR2kMMsAR0tP1nKT19Qo3ZF8tM0ALikhpgSRL2Aa5h7aloWUs6jopIUx6o5D+PP4N58aOfBtxuH1LPnx7V8xboi2IeW7jBwzXR9xmrVPPBMgpJ3zaysbN/CnpPvewCihrVu9nJ2G2rWSgjJkC5M70k7QabXZThrHYbIYMFnZovoJk281iqPkZpu1X7ja4ICv2yT2u88+KrI0lTwynbfciw6icH6oqlEE9gpcCJXxE5ZvmW5G9ckt5kTPGERISbWSQUbYuuUZ7WwXspUn6y/Mdlwol699TYYuIpOVnSFz8a+7/mT/cLjzCFpcp3aW6X2s5Jj1gw7Mw8lqV6w9sPYIP6AkF1gcBk+70UyGK/oypRUHMoqR/dxEE/SX0/LbuIDrDWVtrbphXTDyd7VT3tZZKmpBI/EMa0OuPZzcE5kn5U6t8ptyl4RuhHHS9I3Ma7/DAo7UUxQcmSb3FhpUzq2OMdosSOGZRP+btvWfu5iCxOCGzjCfP8v0PznD3N//wEEr5hd4SeCs3D7rk6KOScQbo8+MRjT8mFYzs5wCMkv3P2MARCYWtK4ITSY5ecI8x6DqSdz7IMQ2jMXesT6Xj8BzKL/dO2n7HTkZW0WJkv/W9v0zqUhnFO6bAOmQE3DVxGJl8sTmtARzU2FmzkJds91RTIxIu9iZNIyqFWpejI06Cs3NIQfQPNcqtq2+XS13hzA/cEUBNAQNwC2NJKIyWKxOZYhY3e1zrWRLjYJfzOj6bWqHV+hO6kuDl3KmInGAYYvJPrJMtRFSzVMk7V15YGD+7rOkaGiH7CIeOyb5E7Xo8x2/zomP7s89eQn6GIueqN+0kmYV0oyx9oRPQrSC7L8qA80u3IAH2t7ox+I5oAjIPZMKfvW16DR3PuTfwkIIX7m3oVN1Fc8BbfhW2chTRvSUWXi3uPQklFZC7zPWEdnIjIBTewsCCyuq2DztFO8g0Sl8t3MD9zb9CjszM7NIoTdKf8Tq827Edwm0lssVbF4MrUxaO2kHnHPy17xwsQHZN2+aaxZdzrlG46zcZ19oJ8vWB0x+0R82WKItuIjcJ4M4CJNLYcR1NyzBE/VIYwI9qKS3nYli1IeLccJ09VKCnHbtbORyvHpTpSJYxGUgUw/SEAiPlULmIQc/vYLxy/7uXW3KYli5D4bnVMtb9a9WnF1ToB2PHd2DVyrChyQAoLYS7Kh/nkFT6kzunX2DszOvZinZHL+jtwv4ErjDHaOIVfXMILc60D9iEFl7ni3mt7eavKtkreyNiPIUDsVsbsqbXbA4Pp3CigaqpY0dvJTb5aRsRttGpUHULha8ohr3McdD9jideWOPdKjpQlsSU7HjQ6izI33k3YmirhXiQA/RR2Q9/gr3wr7xLULRXLxw1n31NzUpOxd3mMMQvC43seO6MgeZlsZpBMFKlbmICkplIsZClBqkn6DK6BEDIvocdbdJt+jt8cBeRUD8t+/BQKCrw4J3PtoTFBZUSRK2lkD9LAmwL04Bj/0myQSBcKw2/9sLtw+nLx2SYphlXJtXw788AZxfCyNgngk+5uGWlkVEvfn83tdUM1XcJAa9f8KhprmyMuwIBw+HWkjoNlELmfQamlV0ejCdFNjbXp5dQYUIq8NfYIIuLaqSm5PB5mY7ZXjvCBokAv0x2nNqPmiau89scO2QkcbQrqsdp3KoNaP+DMDTeSIBEqDRUSsqeKHH0ZiIbTGiAZREuOchzrwOEsACwFkOB169cgSQr6SnMZbJ4GrtnKv4qC2W0wOFCf/gUPu/Na8Lx/RK5Xwm89xMih+tY6ho1vPJKowHA+h7d13tdEMZWIVMcMedtSzESROmnNjM7eCHSzj6THSMNPJUl60ycqpOPEL8qTDaFT1EU3J917aqAcX3oP/vp6E6kzrwthVH66Gzdx2nXGTHWitxF1ms+ypNTEsViOzbXqA92IxKt4RcTSUGGjQywpRX5lQ8agzcNlipjrXV5ZAb7QuCOQYfPisOKjRBzDicwmTgXF0jfUcOOgyQfm6+q8PJ4HotpzVvEljOVgEFj3i1nnmKCJsKwG8tIbv7J9xHjVhDcDuZ6E024YhW6uVOvv+F2VilZax5S2uQ8J9qYP1Jus1px0WQ2vPlsJkIr1q+J33cDhMwueA9VB4QCrx51fpmlv2kwC4lU9hq7rhDCSPQDSR6Govj4nYTZCgmBixqMG1w+GAhT5YKJ70L4iGOyvZpKYsXJsi/XAvyPlN5p38j+jQ98zivs7Ot1AkHbLAonN3qscr6OSbN24L7x0/AiT5zdry8VbL3vWfGv/+9TXqyfjLj2XUxNkymc6BmaFH5RiJifCVvmVLx5lfEu9N+zxdRN1G8HTJqNig3Dz2T7Dz3D3Cfr/42dtcSXOZhSfmRg5t1zSVCB0wXCoRQZfXOnGukeBVOOiH2SS5enqmKbcrIrAPkMHaa7uMscIXerelZ9h5qIge564Oj8Uv60ZBoPbvIrW+Lf6ur5o6KbRcc2reuMtmAg8pvOgbEJGa9oBG6niyUMzA2yEIijobk2qGZ7BV2gnkRi4f0sBKP7hajyyc6cwH0hox7xXnKckluNHpb8UmNLLe72KkJD7b7OxWxtnbyb6c0VGWStl29UqP7ILDN9t2xoSxQk4BH53gN5sXEmx1hN44T4WDGlZXyQTT2K1unODBO3t3Wi9yOFRRmAsyx1PCu17LI8o+i/ZMxfnHMLlOZFWPaTHNgWTf8FfVKx2FZM1UxtTJthGFpqi1+JKUaU2zKMxzExlZ83jOUE2q9QfCbkYm4Z+rc8G86KGOlwYZ7BRKu3nI3FvtgjGFMI7IxXBJZNeA//Pb2waoHJC1KRRm5BJpztyzRNkioL5zgAtlPxt1rROViuEw4V/j2RFC8sQcl8vUW0vse4FdD913GiKCr9tGBUcfwEYe2b/vxgsOvisYhtqWQvJURav7gxUqoqHafwfEMR1EayH3NzGD3QHb5jEYNzFBju7x7tleEL0batspmgiboygxsz3N19C6OBErOuBEaqWWsoGt1NIocexFORe0+x7Hd9+YG1fkPbPvn+Xk/EnYL8w2Fd1+oAWmoDwNV7AL0Wk2Ia5a7HOmPTr28Hvr6f1rmqVt3kQVm0bjA6K7PDR2RowY91baQN1cNyBQwjWe4/dJQ3StAfU5Hk5qBtgMfvLZMSZfEkTxlNxC86+plZqvyjrzO95Yg3itleHIJKWYkH1kSCGLNcZEUsS0dAVX3nSTupRh5m1RgHpYunQ+fCew2Grq5W/26fDOBV0ap9FLELREwonC5hkPlNzcnDecEcHKAg9rGKt0m2AKxREAqxkc+XzH/hU9m9PWcE6rDJvIUtLYD9T1QqcrOmw+oiJMFSA2cS3XqI8jW8pu7a9G1meElI3Sa2HELZ0gN1QW6Fbx+Sgdd5isJQyelpPIAvjCqtHgmXggtmSWx4/WgMjaR/PdOZwthxTJIaNeio3eSgaenQ2bt55njBvafy3v8oV5Aiz5kgw5im7BpwHH3XuRI1hPJGFF3MG9pvdNFgwGxbdUPAoTfN5NCy366tCrUGPzTJKD1rkMV1NWXwRPBln4dOFjoGuBtt+Im2q8G0VxbI1atPn5eR2mB7X258wwsWL7dcvdeqN4ZIVbmIdSJnPr8pv5vj1gefG5ErqpPYSvsHVXOYtwI3H+FAlsuH2PujAYK8nVJk2j51F9132Jq9Sbqu734a5MzD/Iz6IWOPVypiuMndefe6X3ZzI2Vmc667fBdJLw/HHM9wU/iIJpJd/uD2wKsABvkfNAIOpb3S9XbXfyWhXK9QFtob+Vpvxwoc9UFIFj5i12ORw/tKY4srnubsOHL8vNRiicVKpYmGGmz/r62kNB1uvEAeDKv+mmxTetbmGnlzVzxzDF0xBuwjj0L/BifVWdw8YzP4Yd5P97CgvJeP2Cj0EIpd6RoVGexBrjvopoKJ5KVuqwL3mZc/+H/PFpYzoaHmthlcUYwH3PS7x1rRVUJAil6I1ktgUQaewrwEe+M6Hrb7ergHG31mwQwnVsWAVpHBWm89q2ouaeoJb+y/HGk+J5y1eVmaXQiQHQKXx2WAocOhwWzj3C/bhSollFgMNbptm3Q40Jz4LZDSyoBudR3w2nXdNEn8fVpnjUsf/poN3kUVetIAusPhQY+KlTK+HX5g9EoDuNcLR1F8s9Rj/e61OLNMAVLc0NMS14oB9MJNn9AIkn04sSy/CUThaRj7em7XfdfqiPiYhCpb2vq540nWbL3ANKrzl06rGwiSLugtDA4+xlIeZctVacWay1SoSLhomlafgvlnysKAM49vaX6RI++3K1mNBUEcgt9e1rsafWLvE2CHYQ8MsWsn5n4Gm7LrQit384aObE4wtalGO46mUwvK89aUWeBNlClLD9ew1cz1RaEIBUWoSyXLL/m9DiqVueZ/32fxhUHmdKzX6/cXlcq9yVGL8rFqgc1/H7I3n24BQ8Cq71lir58dvH1huCRS02y9v/zVWqqnhlhUABCaA5SMwCcJFm8zxl6AtVVS0KlhyRv+QkeRDd9bYm9rfC6VBVhZJzXmZEXm2QWriIud+tRNVIVVs4sakLDMJXZBRFk0TwfkTX4J0nqa9NUK0OIE9skUEu42GPRx9EdiRUdh+9lp8S+M98N1uk2s276jhJS0yjqOo2YUrUg485HLRnJfzII2gS+L8U0+ZqtLEjexE8G3ttdWxh8kL3aM5qbQt59zFOndBZ6nTwnod1KoVUIVCN6XZD5x4Aj9TsNA4fa9moun6KpgOarYqmRku1NVDzVfiEMocrhvoga1fwFIXiFVRjOLFv2gM/f4SjpTQh89rwhpey8GJR7LQHrrPWyfxJhJX7GtrGgqWMcWPdly4dXyj+0QE5Hjvp9sNUFwsOzG0ftrLA7eaFu+WsV8oz/QFKVASAkQ3zvDKGXzUT4HQvi2WThg8BxRxo0ODth+ParfmC6cj/x0RL0HXrmU/1wCu/sSuUXMhUSb88w2fONdUSb09nBZ+XpDw0XRKuj1c2kcfGKWdq4xYxPZPK0jv/fYCuQIarxymCiVSJDT5JfPnqtLTpOppympCvXy1d0QZDhjXQ11EUbwkJsNmhd97u3GCdqYFEB9eBTLp0weOunZ0iwW0JyAhqC6GqqoEL3YIVAPuLNYgvH5QfWLeo1n0oakQCKnYg1z8+KYg3JHs+3yzQtQhFmZQ8gCKbBdgK5lzyJJGpDiuO/4v7BxGRq+TGpFh0UUqAoLjYxg30Itw+sdyAwM1th6EYVnT63aXMrEFrjCi6jUTPRxpJ/wUus8f4znpdi1u5QSNXu66qR3+KVEV+Hk8n1vReNt9HPdrihlpDb9Dhxn/G5hN59Cvh6pTDHLzBNMNoA65ixOYs9gpfXQrv43eO5U83ktwq2dTDaALRl0VUDEKOKkzoxOJgf5QdIVQlQYx4bPj8/pOjGx/yUJhpf53r7ha7u0dSMmsNl17csxnrB6Nsx9ipjRaxFrn/0y+VSKFpLYPlDFS0OSoXm30/5E2MtyIKXz8xuH+62p2jXYLUkL9vs+62vHqfrpboiZ1zFXr3Np2/zpoz0gFIWt/fM33lfHz3uuR2WLRWMX5/YBb70P9ncYg2aAZ88s55o0PLKguM28JPDSuOqU1HW7TWr8BOZQPolv1qhe/maCqC9PNo5CYbBQ6SNP8K+Mo0P9AXxHorz9PUmUWoO75h2iB9YYo6aen2QlLHI6QCqX5bShgjWBRApuUU8b1PAjYRuAQjmpgU5Kqw+S7iIDHt+DPnpyHwGoK2c8KN5bNCnkSt9Un7zwoxWJxj0bpQyScdyok13akgqxxQPvDRdbBsd02pzLJ/SFntp/OYw6l8P1m9tBFYjlSNRTd/zxxluczhpSz7rMD2FEEZo6dZyhxg1H9hwyCakheV9pMJlEBGuTTgRIKQHsIKejrkU3zamrZVec20TkE7KWq7SoG5kNialybk3bApfAm4DxAL043Ba8d2e+k/GeFFC+7n+wHCeo1Ttdw7EAL/O1AG++YQv1PexrZ5tFM3oXRZE/H0QHkx4xLsVmkymMx9CW1MJT4GZU11QF7wDNfgCFYWsnFH3zucXsLSV1auYRp5SR8reH+Lxdb+DSEPtsRT7HWxfPVxOB7M8f146g2qi1Lcm4IbJJP14AcpDLCdq+/wxqWux2Bb2RlCo+/DmIcnPR9z6V4Eh9x60cK8rKXHDbtttiz9TtUCScb8PnvB/1cOlSQWJvz+ogZL0KfhY0NLBc+igrQz44jlVIPa8x21cgetbvIJ70itsQYHFLOXfry9gyUaU+D9CNCUhxilccNPGzFbMHoezlDQmNHv39D8gSbmkk3Eh8ImXajClSchAbozwRs+QW3gJX3Pnd224dYIevtOXZwXMgKLKN8tLa/qmR8l4ZyeLZ+8O8b+/O96FVOCLr6MN/dc5xpJVfklo8qCN4UETrd+BcEPyrL++ZO1vXqpQGDJtIEJPQwnmvMtQ1c8rbfOwlujVll+orjUCv/x3MaGnwO/FEiupATTPLdvWViwKEWsT19j6psPE6tfuJXuC/3poqA6kTxKtrpe4h2rG+BmANgBY7zJbyPpTxDUAxyVTLUeM35lTYqbkSEWXZXpSpaABeSOF70P7KsGA/Xi1uOCjyMoYni75dMpXQ80g4jc8chhwt0PRwHEmhnSbOsyyMRnzFodnOepmk/iEPB4Hm8yUOK+nTleie/R8U0h2McIe7ibi2xJzyB8pcm9oQidZBOXqpobtGwH8zidQDUv37ZBVRBf0Wa1Q5jhJRMdWCn/VBLF4D0byOG+hG8uvm+yliHyxGH4rMnd0lkNPS5yRFwpzOfDiCmxm1l9/Y6dme6siSlD8MzsVvJtNLBdzuT7YfUW3pOXsfDADnjXXuaG/y7WO5T8lYaWyyc6tbNPg3l9Db3fqri5ghSwmoXkVl0f3WKxI1R/Z5ZIAlbq9Gos2DqhBbCdnVIsHZfJjJopm4QItvjF27M/46+TXZn1qSb3bfhh+1yS/8N38stELXQyOAWT35Q9Guagb1CfGc9IjVxonV8rdQrC8axYRKiIxS+wUN26FIyeOvQ3/QcT2cM0XrUxbKewN6eARWmSvbFJDDQHgqFWPNgiJTl+3XqjqX/+tNd0Y7U7hLn8aXntEG6LZ0aia5yVEdg2/K5UrafmRKIgzjCh/Aszhnzi7Usxpq/o1Y3QzKzUuSOXD5qFwk96MLfXrw2mKXioqDU6pWpT12/HAyaDqAs4GMbGoyqQuCIm1QG6GrIzSXr6PzEXTx8svJQD4A5sYCxkyQK9/q5rn9DPAjwqPmO8pM8rQJvUdKnzf1DfQb9pIe+ttAelfeyRa/OOmnJWFneZ4g6BykefvJ7i0Q4VrDpyf/814dsSmqkv0Ux9iRzIa0kDhNxsYnQ/pkJPaIn4L5WD7YR3wDiiMW7i3Rfoy87XCxbLraY0+9W8m5IY5XoqoD56EpiVNw0DFdY0QE+aKokyAp0DgIpkIIfCQBskEh+xp8j1ytvDZZMR5JFTggqxIk7GsWYVzmtBeRc3i1QjY72aZwmFnTpJs6c+pvs2BWxQH8zWIwcrYrSIBi+ioUDN9lIpSoGDGzqgxofueUsbCYiVRrJBhkbedfT0ba/NBzaQE3OzaSF3YYgdqOrnDepX32adPagiDK0KDiCrFBxzWwfmGpb4QIsvNmIVXaHW6pCgkZZRBI+qzQO/Eru5kTC5ij9h7unWzDLFqlTSIa4Hnl34czLkRhGaXgQzDsHzqbLZU9uNP15eMXTYwsU3hV9Os/IO/CtwV62nOwGKnfujArYhzcZ3rrhNqOyuY/Dmg3h33OKLdBIkF+s27ecyEoy4e1UFutIEaCyFd9D/yDYUitV2G2Y/5wuY0vKdFjF5OsAvKVTuGd6xl3nK/s1P5h9uzJxhoNlpMtNZuNZsd/SuNBTQusThVlZ5K75MBfkyydXfQAqgu+eVagSogTFbfPKthVvME5UgyFQ+C/nWTP1O+jIbwpzbppp5ZNgv66SpPCj6P+hu6Mh/n/6nt39jEpYq1gu4OWygiiV4PzrsgXiWctjdpPCOmeMamfDX6boxvdetmx9UDw2eENB1GpH6eCgd1Cg/tjn1Hi26GPlOvhWSjtie5Tc4i5EHJ1Jl6cOgCrnL+qFILn/kEGjaP4nMSwovSd3upk33hJ1zFYNeERiS2q+WQtKb/VnVzjO3XKbxmX0fatT3vc6U/KqMjKGHdjPsQQdv+WETWk5UJj3qpcvsoXoPkQB/i/cvlSRl7si7JPKqBz8cBAKj/lbVfv3a27lZ03BsDOQGfWnU+12XPily3EziTgo81ixvPpFpWf1Z2z6wRNJNJHkyX41DkNDbPsZm9HR+/dEXscXMznsHjswjHXMFDLvkQ4zCjcFago+4n0XV0OtU4sMtL05dGWhpun/ApybBktqeKSOHlJBf/BdgyoSWLGF74CA34I2gBSkkzZsJh0Pqyj0+8ScQLzzNeb6fFptdpPjP11IdXAjV1n1SZeYjDgBcPKPbzknqU4J7kpzRYJvyoAKHw3ZN7o8TeSuqmcIQpScnDfy2gU2paaR2yUZHAjQrPSWfJMYv4zuFQcMXYNGcZeRzr5RHP9Zic8RPSji3tVBTbVJNCseXM/vpuFG023vXUjGynmBVgBzDBnNVoRySHzisyhlYyVuqk1X5nb0kZJMd74H2Hqys3mMBVbx4hto9POVwGG2bdgjhsngrVupbGDdmT5YCm8I+00PA/oELoHVBRTvdPXhj2A4f2Of0bzT4G9zX5AUJBC+8xx+ztIKrt82QuAO3JmsUWrgflp3Lbg9lkMgvgYpvdFaW13iPv1SYHX8AfVt7wLBBeqRpgJsugA66Td3SQaxlnTNB00iyjpRq3MKKZViEsSZH1rtFDyX4NpTiqN2DpiBwvZE6jHsw6HvMN9ZgiDbuJ4Il/wOdli5pzVgRWe32uPgVUrJK3F2PXoz3Ay/D+7rRZGCbmlqGl3ggwTto2yesFiFY9Z308KPiCPcGMjjobMYHkb4HtehX/Cm/7Mx5XJ0YgQn4zpicTFg10I6ENLRySR3QPgn9IIWwPhdVV89PJuTEr3GzoBaknRxko45Y86zotqKg2kp+34JWO0X3vWkyFkrZNGmrvk4O+8UKVpBNl3uKyx/EMZkSdAdl13pnfijX0Fuk0+/9/+bQZEnPdLkWfE+xiLCunaUw2/XlpXFv18F8vw83uZ8XjulivbzZchqsSIjqZEv/4PY5LS7t2jcLldoCY7LLIZVVvFXDNABTApPTkdVifnNj3ftC3iJdqrKaTBya9n5NPr6MqIfVG7R4niarzm1NRHAgrQEM6+qtiDhvd81nuEnk7KqIv+cAZxNwgKbpvY/SJv21gzFFcYvi7TZg4CBT/VpLqWccZ49/CBqjXXERLxhzMcrrOgS0vMUo78L0m8v6WJkeMkT5IkI2LZP6qQxtGwzCxRM3qhFY948UFiixStJrI2Mp0l89iaJAwFjKUEyvCGRSIX8KK/+mA/R9MkkvZG3r/ueQbBj5+ooKsv5C26eeHKZgOGcf3lfcsgPoBtNxTCiCIBFrU5i+klhZgEyTk2C+Y+UvHnLH8Zk5NqntqOSsgMNVth2XauX6kiaTWpXojR2HQfQBbY3djt26d8TPGPiNvOcGPxZMkITYppUrXZ0TC1jxHq6RKuWukICZRI8S5l0qol/2NtQbZ8YSKqUJ9g7YJA3x6EW2N0HwSlaoBTLh3yWRTKNL9n6WMOpf7L8SKrfsYn/OnpTs9k8YHEWCiqVPqLEc9tefRsabkKO6lKchkgRKTWi81bOPBKw6eTCmfTiyEbzqPeksKfJmusp57Z+X/zy9zIWvb4ajYgaQIM6uDaoud0FoiuAdLj90plQ50Lsty0vp7BzqUnlNdHusyrs0hrYfKhehQvfrhLu+epbBQVPHcJ5tWXXgF3eWbO74cOYlCVDM02FtKw9PhmV+P4qu2xL7lVYTeGHvJ5HfRPAxH0n0BYxiKTExp8P935yOh20SJi4vpT3BCCqO2KNnbJFax7WkDmfr5O890t+b5KOmbACxMYt5xbTOZkhmmV2IerngEWiHLzb0U+fVv3LUON9cMel6NC+mIxDo+tw3NHRrFBXuIHeLI47l//sQXKjML/Ew6H/LLoDUXBVlY8WQwbPG6zvYUnsplBJrIxxhFGZN99xUQhIMb0T0G77mCm7Dyt0bIb5YauCTXZWbqXCftm+/mqnlC5YrjmxwCcraJKixA5oLW+++Fydc/nhAeMHccCnFVDBIdiZpcWbREbPY5iDDWDI0/ZS2DlFr73qIEpNOeHHDXJqhw7MTJKQqpeqaNU7lyFLDvbckZkOb6Vi6NRntIT84aPF4EPG3s9/VaTRDXBSR9TaTg31PQuqeJYBH524MiwjxHWN2c2umH5NpuxodQF6+KCoiYtGE7aN83IsPUZ5SNNK0TRS2ZM/AknVulR8MhC4d5SW6znIFqnOa8rw234kX7yfVEEqOPhJhA71AnKfSZdsUXgQjzZ8KWKRHyLHxVCCw+SRuQg3ODdoo/Ab4AesdI1b/F0bMCsADk50AGw6fmhC8sO3zP7A1xfHB6RXVH2/aEU8BeBuREAO95izt2Ak4ALY1cGHFqaxxerW+ZZnd7jfDBs5HvnOQOtYL/uI1V2RoTOGxTruJCYQXHbCB/fdCQXjKDN/P57tPIW8NXjRdPSCU4UfamSCAEOJz06uKNAfh7vOGULE7i92Rzp7FXmfq4Pf04o5bQZlAiHCRjbj6EKqIAVM0R1EvVSMca6NJ/E0QQsak+qnX/RCcPYUboMCsPoQzomYVv4/6mwX9PXNy7JZfphHphy9F5i3FQe8GnhTemd6bW93XKCcMs4XSsd+73OkuzM408h40xQ7VhTd/1/0Wo+Y7vmzWqLmE8MyjGimwolVYEs/ODygRWMaczLnTIaBp+dwHBlv0yAj3PzzbPnIWsFQwiVhdMm7PMn6/Qd0IlOhkq42NYXwZnecHNfyFVD7YUp9opVjFfvXc7GXQsFamhK+5wz60uvtGrglYS4fLgp6sU68XpMX0jZatVbkA6L5kjN5AZ/53/wuXAA2K6M7mMfkPUk0S0q4RVEAke+pgM0owEjSh0r2MWRl3AES6Yks2EdrpmMVt6nQSlVuQtel20+SF4P6kUEU71V0vUiMzyjiB//12YR9IMdGNUOa3ees6cxz0q8zr1cLsG3Qlt6fefwhuQ4fACiPDFpw61LRSb7TLBWZeu3yKdaepGFeFKq6Kis5Dsfa0z+wznVoLd0WWuFEBQgMxqPMbYmZ/47YG0qo37uARZJvhVcQRztGvMNneDtdMV1HmBiVhzL95MhheJw2KeUodYWsNXNjdBFYSTEdfe+GeEPcy90xqpcIUq3/bMCwfSMg9ZA+//MQGv+iVRlyPnDg0zZpdQtSB6EnPGeh2IQ5dpL/V1ypymYjQyotACqS0ta6la50M+rGumXDvXT3LbKEeQh08QqbsSchixTpIPp17QJ6RWRK2XV1KBBjgxEyTJS83u5yJ7+E5qpCItc/R8MqzTAuF0z3nzitr+hTdp8c0IC7GP7BGkxVrGv/kERHOhavv7TfQlK2NS9T8uTc3USTxZ7i7XmZi7oCAgv0jHCxccijFUynkJCtCJlrgHf/eAjCFOxe77J/dpXboYlscwGK3fUxE4aqNFV2/Gxunu/AKaJMqjjDUxgmJF+eEBhQYLr2kmqlebJkJqRWlsFXccO7hDomPWbVWhoooP3oqlPLexpf+B47gibwSFQf/yIhjc2kYyN2h9OW5GgBCN44VhUkNoyjjYo7/6DlbSCecsrmng1krVL+stO8vjpnrTcKw4Ogx7NM2Xh39TplsCeW5Wg3WjgtNJPfGkuMRO7n9EQU5wtVBTucv7dte0p5S22MLyT+hmQtWU5n9YTSuWF7c719g4Txd8JV6tGa/PS4XqP+0NWiO8MPnNMuWpE8sFsGVFT0JNcqFerm2AcUjbNve15838PM8ovBV8+a2rs5MzZaOuWAJqNZaqdiXMDXhbQLplOcUgwS/WqS3LnaVGYPd1pHFsfmw/AUuElS+4eQAqBNPyaw8uqaL1n28X4L2rj9YC74woNdQHRrLTpasvBMBwEZlFvMe7/DbRZNVPR4ry6IvYQNPtI5+GJDoeDQ4EcHJPQY0ySRN+IeaoaonM4yHVGCR6c+70aaDJTm4I2bdYMYoGeM+hsQqyBuJ9jcoNGhuLYj52hGxh/vCSdBygu+4WY3POl9WksrPdUSageDcX6RR2cCr6KsTNyKKuVpbFvLOlhaIvfyuJTGPKlQVNxOyHPNId1vzxllSyrZ500DbnsjA2RffQ4eRqbPLd8CF+DxhBMJ7kSX+04cFsEbsarD969qza60EjRROekkPD+9UJoo5MUxnxLEcufniV5mrfFJ3I8tOSp2JWiaovEe47qQ9ky9/0EZqgLQSesbp4gnV5Nskv2rj5n7Hix/nVIOuvAGvT2yQ6o5ZEhegNHzgoUY+5qxvSU/qRoTGxloyNLso+vKBRaFqqrWC+DvEt6RzmR8x0AKtoEO7nbgsOEc+rw8K2z6MZCKq+THp5pWORFT3tQ7p9JKktNikvw4GuwULOW+RC0KCbBK4Da9rjti4a70xb7N3RjJ7CPhdvHFomuuedLZwwg39pl2wXr1vThU0vPa4DYb8os+ATFDYsZqahQJbdC2JEZDS+EBexpuqoMex5QBFd8WhYtsg2+BQKQhyCIu2NCVR4hYSRL84UPiMKjmTbt+6p7z5nxrGhIVbPPS48pu0+lgq796hqw6/9smqqBwhLLT1WCmEnHv/A/oIPtDLeY8fAYVcoJoEGNbacJdyxIaeJuCdEXU5GgzXZAc95l5059HhkiFhkcbHDN5YHENZmJo8JEvp/BYSHExNYJCMx1OfATxQyMnAOXlZhzFM3XyVfUFuXy0DeNYXO6mF+EzIyMV8zeeAhPerGmIuuiTltLid4OE7S2FhLUXUlWf/F4ji9tO4u4dko9NGaBcGLpJ3lxlElcrzmKYHrpJW53L65eeUTYjvbahBXLK2VbpYwRV7Q6n8hylIa1UQxii1RiOW9BDeP28/X7a+CpacQ5hMgc7eSpxnHwDEIHl3ApW762kpDAYYBgG+WRGr78DnjcxHglt8A2J5DTOjDllqukPB1Atx3NyQeGCdq/+0Pe71v514v7BHn9RjJ7dDoGMtOc686om1/Lr2tmmta45AOOa4l1Y/Vxhm8JMyfAbQ+rn4y9fb0IbSAPjxep2zjv4W5RLALhQ509l4pkYL0Suykxa3Gq9/uTiAD/LirryOT/loqHoppPFesFs8hPjVfMA0IyO9b7VHYmmTMB074wKkiQSf0J9RJpUbvPtkKfS/UgbinJxiUTLAnrdtFuz9+D6wPQDSmeYLwBT9K1f19zxNTw5OZq52vndcn3SKQQhS8kO6TgXc/uvfrXpQxXhqcFhFTDfQB1/piWAZjdfbnGliA0cOcsWb1t3rTSG63JtOo8Rf6QWmnvg6H8F7gdNig7zlSiPnSTx/7cBZgWnBKbXbxYVjdm53zrqDVT+zaZIkC+KJHgEkJCiYP8L0BvE4fxGmq5FRx31KpXTHHKOX8rDTRS6pftHliR095mrc/rmr9bbeFoCtlqLyn9H8N90SjvPg06eMzVqkUdGJ+pu4jVXmV5D0NAICzprkBrg9c1LeRSeGbU6fGMdGP/rL64ORQbhFxURpBtIs9Kz14RNQCtrAxMWeBNo4LG/mycIf2sq8gJghsiTMOAbHyz2chIC20GrhJGe1AyPv4L5nrYGBq1zHaufbFroPvoFgNRaNRuM1YMt92xyF1A5gkmXwXk2Yzplpf9rWg8n/eu2MbYM2u0iLMiiNujJwoUUZbbCE6RHxxSDGBupFoRT3A0oua51Bi+OVxBgQ4AVspSN6mKFtkvSOYpFdRrogdr5JauCGSx+x8BO8YktDmeA3D5up7NC7W4qKySfbPnwfyJ5qcHXblqKt8luUEO0j0OQ40hotsXdyuFaD7aOVukZQsyR1vM7VnNTHRfZbo22UeMxhIfMwX3MI6mPYkNPfgg8BlRB01E3n747vIe6Xyxq8kbMgnnM0rLI5qdnEMBrm1opWBZLjtuLB3ebvg1GQPv+V5Pdjnap3RPXleBbuAR+P3aCsl+OVbE4AQbnSLdzRKDaUDjlkjqdfcsKwJrtKaHi1Kcd/TMDCRRm2FCgEFyFvHE36oogUqM/gh8X15P/cfx0CRFfCHzwLIzGQM9E80tAieLik31Q587Cjdci+8Jg98z7E/qzUS/Y785aIWqs0qH8r2mnkPe5/PwbquzpAuL18lnWBoGgyfREu9YgGQ+Ba5hqoX7+FSR5Qx6j4wT1FywnM5OFO2xqg6Dd2D8XK2u7BDLPAWhVTijG2mzQJ1mHY5rU7mWvy8BZLQppL5LrVJFnE2IRFNsT2XhmZlBSlLtq0bYkdWEKaAiyu42uw+dDG220gttIyUQZSsPrGpDqCh/uZWsau+k7yv/b8tzNCRc0Mh42wlofMm2/fVs6MAbrfolU/r/mDep8LGvUOFCKrM2/ugP25ekZIgU1ViMzkYhpxXHsGWNmLMVvTx1k9v9YumTKwNyLkxjdBvVpYYRkTzwsDGKLULFh8DCf++Y8dxceD3NK7T1fnALll/T0WTVBRqaVZ002lcxAK73PTU3XgcWI+0yuhVSNM+qIlglUkCPnXDCdYmoy0nhzsd1QezWceSjKLWVKvVSm3dfywBtyaCqS9xLenaF5olgGFfBLfTwSfnlnySbuZbIylVfAnj5gnuRwlz1U4tRgw7QDBMWCakEbH7rrwX/2fa/suWkGAhwqc0CkQicxyKHq4+MO+1hFQclQtLXFmrZsY+9wUR5gDWoUKgs6Bsu2ApacprDM/6JQSm6yQ/8L0sequ7Z0GFpdR3/2Q0K9o1/ER5mV8GzRqupycUVyG9y6o9t1+Oqa0ajMnKdNMd1+1aPthxwE0MJE37olv4QjTlT/u0G1/QXmQkwHV4LNr/45KKk7taJ11R+T0dtkdS4mrpb4zdXnRs99kPMruV3+WCEIR0/23VdfVjli70KsR3iQ0nO3QRanScu9scayXTkZKpGnBdregiVUUvGT54BuI67XHp+9rdF9iilTPOBRdnCa5LPGGw3bi8pbO4NdSGPeY8LptQrqbV42lvTu2p6WwAWgHOvEvs3IIfYY0tYM6USPOKNMW1Xa6IprpwSvO6/QwfEIO41jyCya7akW1v5HTgarjBrr5pp8mmRDIK3LwViF/xxYMTWb/sB44vr3hc1pK9qAguli0idWkhk4Q0yeqFz1M+nP1fdEfroZ2WjcvM87DE2keeRxprSe/S8pmpZ6VDKIRQYk5PbJWWjA2/jh8eP+W1ZiQBuJGc3C4LW9nFw9VzLSZRx6CLLC7EzmvmBB9V0eZ8DoWJseLtbD+0lout84xf4zXh/PL7HmsxUwkuDlWJLQyjh+veR82q12ZYipJ5WU8jLvUSi/5u5tVMdeiLr1NLucqSooHTUkD/RC51UbF8/SbJHyZtezYQMeBTq+ma2V3AYX70RtZr0zoYKvxLtQuBOyhA4lF32tHysAJ9O+SN9gF8Y/RUP1/3/KMFNPDWEo95LWV/2Vzjp9ryCBc1Fv+ek6zLHWtZLr/77+JLy87wtG4RtPi1ANEkuTptxHSQ1vqPPCiJiFNAq/P6+BL18MH8g3LnNZkevZtyUHRETDTJdCyWaBwFL57EfSQ3xWOH1dL6qR5XZ73Ji5B9QXjNActQvuVbvRS+9A1r2CKQsEJ2IaQI2F2FvU3JjHJnUvxRLtuTIanXJw+Xoc4OlIzLO5kVW/MLrsMvLxTbFtuctuOnrIGGWY+4U6GuKf8tYD30tvWxKn2PSxNc8wIY7C6s6q9GuoP5zuq4v3k9VSeMY7f7jcsUhDH7lE6wfmaU/U44CxJwmoISKZiwwfzUUwieJEp+lLFqyLBKBilyXf1b6fPFEZxyL4jE5tth0l+UJDn9ukGgeN9tw60c8DMYEgblq9UjXVm2ZmYExGan44m/yCnltbAeqHBiwhNBUy043dH7SGd86JUUeV20ecVRz8gmG7fKQpZ8AS70VMcKnSYIXrPjS8tsWvAJNs83Te9D6JzkYz2BM+FWjvjMprS56M8wbU5vQmgtCp0MsIJwWxBKYtDnFUk8y6l0rVDc2RqWpc/JmHiwrJlYrzDtn9r0nAam2eNyRxp8srZbrEN7eDKJNRzBZ1ETs4iJh8ho8VQWSu+seTtz7CbVQKUk1mU7ZNPAsg5TC6zqScMfGB6n0SdrUJJvGnpjjuWKFZcSfHZ2+MS/O3gbxaYqKr4Nk5gfMVn7rqyjvNM+lAXUF7dVfsZaCJS4cbBsMQnpdAJLq0//JTDxxvoxlerDfyjWBhg7aCLf+EX8UEZVIFx23xc3mwLuxCfQOkDhGVOBBCwGij4w96Qaz6HempLrkt62mvLvD6CXH0mbN6K2HB18nXl02Gp5TYKlIX6BzqvGHGxoOgL2mgEB/CrAAtLYVLI1zelfamQ4iK+OdII29mETYsKElidMj2aQ9Xkzjy6Zl0bkzDAAIxb6HEKzbbR3z5lYB1UxFtY9UHNbMiNc0mhOsEYScTg3A8++ecu/+6HumfZQb7NuscdWv87soWm15/ZRRzeVt50tCCuO4ljJEvWP8nJEv3r9SZoED/VsTyQOQCGG5cVjktzrC91XnGINFzu03b+Bxgf2VdyWA6OYqEHAybOupuQv3pO+FkYjR0rp8g9leDk9kL4R3v4sbieMrePd/GY3Inu4fPI7tJjiApA5UneBpN4jVY7jOwz/5BkMvbTUiquWSlHyJzjeEZIzL0jDey03Npqxo+T3Cs0z2JadqbIY0YhmGlS/JR8ApidlAFKlrgoDFrE7h6vm//Kv02NEx59t/4+c7RpO1lapDbcNTFdFl39bIhj82omAQbZqa3Bpsjj+pHmlnNUYXimbKhFJgkpbJHTWl/ochZHDRCk0FKRRtlkJ/Ud1NoenftFCWaSBbRMnfuc1nzSZAj8E3J6Ico/thN+2aBmYKMyNsHck29uI7yYhpffKrgbJgITHBVTZ5dTNxfabe9/i2ioMt7jr1HKO2A0BrtBdOhFQVTi+TvV/4kSDacl47rHxbBOzmq7DUSyucLZMkPN0PdoXgmA4vM8No4cd1eiW4qtqiVKsmrn3FyeWjK0b/61PQkJYWXkdvp0A0J2qSHwg+1QCXB3oz/RgfVzNlw/B3LYHD97OCCrd6buKD7TuYuL/boqgxHGGTLbM+daa9M64P+1BcmkTu8TYlbvsK9/Zrtm+uYl6vjs+GAWkZQx8H0x69olT0R01NMEjXo8ZCqw0Oia7OEDCP568HyHdW5U0/IVJskc4LDbQjPw+5pgXx/ta5dsoGS0Xo1/h/NQsxsuZhOqU37N/C34ZR972y3IzHLlillgzcPclRzqWt3e6SzkwJ3RsfSL17SDluHoX4gYJTm6PvMaRLUG2cGQgqRLGbK7vTnKG5E8aqnky8GV19NKufbhkIuUXRCMIuwYIWp9fxqhYUjiHoNcazkfzJo0UtWVXYACev9QGFG2ZGSLmsAS5amFs8CWOJBsfh3dWQwJdiP6O64hi8VvLUjIbcr40RouylbjRaaGvY4xPsB24rd6p5kLjfqDLVdcWC2c0earDDF6qPzbJXTmqpGmq+2smCBItSWU4kR0vqwGRbo9Y2rRhEyNYxEfbO8Avzn01e7UdI68UfzqDcXy+fUBUCqA2bYDErErGtLhaoJugoLVXOuYYDUoErHeIL5scO69cTOnr8/mzh+r3jAgEMyp+ppVDFiumWh0b7KlYtAFx4ATJz7Y5V2a0xc9yzs1+Wbsu7wcXizmt4ef8FBN8wxO9q3QLbxLts8yrqIbZ15/8VOFxhVoZSEAilziecFVYWw1CXlrVWEJAWzdTznezKXABjeo45Y/88Tpdags/fgNUjnKKzPF4TtCc2315lyAXn6wtapYFjriiPXQdzm/RtsAHWdq5IYcJViXPl5rJSeNjN1yDcArf90RCMKPcysO+QsfhDQYJmFhmxGiBeCOCkC6vwWBiusSA6L5AhICnImucFfzuZ8XvHWUDnaaPbI1o/EGpPsgNQWmGHxVQSO9APRNzqP2GwBOPYeDg+1JAlMW9k74W9E+vw2lhVlR8AR+UQ9FgjPx7+nDecxqYmTmJzov3emzLeATliZ/pDRF2tkv3SrknFd3ZwZZnEJ+cGkARtcUxmmYCPLyWXbktZSaXSySDxYX+8y5L865Hk45/oXNs4e0KDzFmzKoiQpZpd41ZrKeXkL/gawOIbFQrWLjZTaTNTvbXy1mBFd3ddX9Pnvj5vgFxDRlDmltOZ3hozLyrTJ1IcVe78aMKoPVMpKpF+pdU1bWYcfREo8GE+05kpFsxU80Pvpal93+kaufrSdwDj89T3hbLv4BMcc9VxcMfD0gjGIN2mUxNUyTtCIneLeT3zwzdlc1PF8EsdloRRvPhhnL70DZYEK2uhTgREI+fHgPDkMJ7jwU9IzYJ7s3WMrBIofhf8uBbh3Q8Dj+sE7UJQbEF/BdCDJwG2yTEKR/vfXWmFfJr0q6Aej4l2ufPWHNXbRLETyTojToBCFarzm+NEBblwYYcld5ImX6GPDZ8g0JO89nQSLz+HP46roeFXF2zK37a8pKv+pjxsYypipBNDbxg25MqU/B7g9jarGSd/vcGYQzez32FuE+9Kred9KFzrb6BRDRj8evkuvWp+KyOWml6BFBwDpwEZ57F5e4gZzhBpAhxL3F/4QAhm+xAC4GJj4RWPk6v8DBIpWWcGPStj9ppsHVxtPUslgc0hmdoDEcYekbfA5EcO3aazlgVP8mVybS+lFEvYyjqWvmAJNEHkO8FvM/OVMYq11PC75RxwNd50CgW8v4reyTww+kww62MqN3G91yd4ob3GuZpVeikdRFvC4RmhLrc2x8DH7N7vD0mO0LIsMICGUhZHzVa3yiMbrN34+/KKU+R+X8K9QROVxWI5GkEwUDhOcNCq7+deW+UuwIDiajVlhGX0aykYdewzu+5x4wY2LN7vzyKlppJ0P3s2ilpjapacNC+uu6sgFnaPUOfGXP8Jsx1SXnoQIyvn0wqq3Fh3IJT85QJlqc5KOG/lu0e2xcuqHQk/I4ltyMT1XuJufMj3CLH39+l0nr7N3NcfbiTJ+J1SCpPRvKpy3t+2HiRDJ9sAv+UdEjZTMYcO0jpqVncL1J7HOygWBDE5WO3wyNsr9HuY5wo4XZVxUsWkvTOseciMWoTnf4De9sResB4u3xRA4C9+xwSp3qqX/BoGkA5rcH2U3an4Ny/ZqI1CvbqK1CQfvuhTMjs/POtMlVgYICqt8s57XFIUac0f86e97rzVF7LAVTWan89OhQnEkCUkRHT73AVDyUpriiqDW1wBjkE+nqAre59lYNym+RwNYdA6nS0GLQW+hmjgTh532JCEub7hk46Y8ul2vJt/d00+8bbFSZzq2tpK3uBCJgLP8TMW2A964R30RyU75cDHu1e4QjDAuJyI0gvRTKGigSOQqQOcyUKY5cXiEdhIsknBDVzR1B8LQkq8JZPpbbYdWjAj8AKLuP29uGzCOeY2/BH25mfWkNULNddem21amWpYlS31gDkFaoXD/6iOLzQuxWfZFsSeI9lyjNe4+3VxSXZ7c/a2KwDGH/u18twGgK1rw4M6fbds8wxIg1osUmGnBiT87KsncHHGjaDtjKMEQpkNMXqKoNJtWKkjwKcFsIXsCWz1G+HcfoIVrPNYfSwM4ZqOCfZFbInwbw5Hgbyz/pNWXMakLmKSDUfjWu4sQAx/4zaBUU+AIFoejrcAygJt2kEfo06PTgdo3GbxClfrJdMxvxsB94AmyWN3/Y4AFbeqDk1BAQVfJBw0NzPKjjYj6Q9FXUgkSSwUGJ3wQBSgXaaukgbO7jik0XgLu01jCtwhDYhy0jIk6kPa1prkiOoVlf+0Pj5hiZmgf4xQ6vPoZbkDfAt+ZY0lfs+sy2PNVZKfwHnc9PaONTbchBJuqqX0mQT6ipvMorftKT3A0sNKutfo00ndmKw9QKWNXihbOVKWfiWStJKrecDsVZGqWFFQ3f3NwRQcA1PhdySHGnMT67iBxE8CS6EOR7MBZ86TeKyyxG3saS5CMsKvzS4dLmd9WsK2Vvqbxb6XM3dPtbIw6ztoGw4pAqtQaoIX9tkHZednpbXxYIEZuZMN9kKdXFNqUKPDw6xiBkpCAqt5Evd71HPrKpDAOLg3T6pQd4P2T6RSDVQUMctkxmnWTGSezxsGf8rfVKP1iIad5FdbUePrL6pYkBU56f7qisDkxdQptyyNHU7X3r1PK1Aoeh3AFa64FT8BrU/z1MJJzq5rYogIfGG9XSmMgGQUjtjRm2bVyDA7Jyj4aN6jirXFMna5g0BLk97M7qlJWwEW8EvRiRdtagxSbm0wITbnFqwUbB7CyaiQJZDWa5D9VAd+6kydHoPFsor4qoyowj+wUZPlWyeyEaDs0d0VuGpHEuIwa41XJfA2VZKKdPwnENh/f+vURkYerb63uzgqWjqv3aFm5IkwOLAgoxrAW4QaAFXmt9gVRf3ojZkR0qDG/PU77FZ1a1YkDICnCX0roWskeMvpAe6j6+IhwF2BSHpdpJhL3NmNhucCRV+Y8LOOOGmQRH+svLJorax8N5+C3kFn6z00Ux4iOiwGOWZJimpzDNKC9GyGZMiMZOIJz+npD+x7SxJM0vFDD4Z/Ns52ktfF6a8QDRhiEdk3h+VCb5iq4Tom4vSZi5I+QIskQA0eus/EDU9A1DWcISo2USexP1pgl+1dnm+/bXbWkJKupP3m91saZG9dOTcEN3K5DMTlOmpGIdbB0ucQLCMUz0RSdRJ2RHqsspean/Udmz6BmBKeXm1c89SrbyVkndLu7AbrEwTu/A4fnY3NLPKyNzxxyOSifsA4Q6uboBTikbAYLJsP2nCzSpVysYhoEXEuREm6IZNBH4TIkkLIUqPwNaOyk91F6yQ4RsBuv1nQzO4dcpnRzkjwQqHJhFEuIqOK1yWBN6mHwyVdnro4Jyx9d4VkGdHtrO07ZS+l7Ss26jpSQWePF5d+3K128Oq5TS7blCTg8FxGLwWrS07la2YfZ9kFT2RsqP522v/A1+66t+e7PLKrqOmuScJIcAopvSvAc+z5dvWjpsDCUbqa9HEo9w1IgDtOSFtpZFZtYRYsRDlsVkVotvUaAYj+hBxaQ/MAN9PwJoqiYHodJyvr+pFmwqO+sglEYe8yyrE/8gZWTHoTG6yna9ygP5bXt/o136hivsew28q9rtJA2jPz+a9C3Hgys/eWkDtGR7zPx67ben4sjHN64tnoOlLug+xkkXoUIU65p/E4ofYEUzMSwdbSilqdzRCsX8ag9Uv3OqECYYGQnnWo5Y4U2qDe+iCMij6HwXWB86Y1fiNPTXP9MTNkarVNjPBbQPRC/wyHfGmdEeJ7uJPXkI6Ak0r9DDTy48l9Lp2lEMildXm1qQHqORCt8nP1SelM+pDLsFG0uoWjwOeD93FghA+2X7nwr/OvkYRnfdsxkLWZy5YX76Tfydu6GE+VGwO7uCkyZAY8ZWgMZV2Xk7XYNs1rPnLzEasJvnes7w0M8FGXOpOVUB8VsqtYRBhIeMNU0JdxE/xu94b3LdgAVyqPdhHWsbLwh0v7CxeZaO6WRtscMCX/l+eUBlIKyO+rC584TquzOk5+yjWLv2VEe7fxv1eNKdamihIOCQUDfLdAPWwcL+PlZfc3r2wSDPNKrFUg1c1vg65JG9mMOed6f/UFQCerS69uZhZ051EBifIaM2PqLdK5s7IWnpzaZJcMc/oyhsDHdY7CzjSxO7/Z3AwxF4Y2EHQTCMj5YOOTsD/CBK48ioJ6BpLtJEcA+wtl4T+4y5eGrM2OzF9MOB3SaIp+DBtwuuC7Hxfz5ZPOtd1dQS384YEA7gmrrrJr+a08XwKkSqmWvgoJjOOoP7fUse4hpDRXDqPS0oLiYq6Y6P9KFm04pG5Cx7jb4JbNrqu3UkYcQ19N0vNRMRn1JZERxYkRrBL6VgedCw7N7Eabp0Jx1u8uus66xY+wXnN7P+7I9Yqmd4h6aREXNHoQ00yFtwLidOyFXagEnOtG/2YxEtHOXcjhUgVMdbG60M=" title="Mekko Graphics Chart">
            <a:extLst>
              <a:ext uri="{FF2B5EF4-FFF2-40B4-BE49-F238E27FC236}">
                <a16:creationId xmlns:a16="http://schemas.microsoft.com/office/drawing/2014/main" id="{D8112A69-8B9F-4CE8-B838-D7944E03429D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 bwMode="gray">
          <a:xfrm>
            <a:off x="6356745" y="2192682"/>
            <a:ext cx="5495528" cy="4040822"/>
          </a:xfrm>
          <a:prstGeom prst="rect">
            <a:avLst/>
          </a:prstGeom>
          <a:blipFill>
            <a:blip r:embed="rId12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D0D42896-0635-43C8-94EA-2ED042FD80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X relatively easier switch from vs. competitors; x and y key barriers to switching across companies</a:t>
            </a:r>
          </a:p>
        </p:txBody>
      </p:sp>
      <p:sp>
        <p:nvSpPr>
          <p:cNvPr id="34" name="btfpNotesBox117783">
            <a:extLst>
              <a:ext uri="{FF2B5EF4-FFF2-40B4-BE49-F238E27FC236}">
                <a16:creationId xmlns:a16="http://schemas.microsoft.com/office/drawing/2014/main" id="{DFDDD5F7-2589-4E48-9892-B3241D80D718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 “Others” not shown; Respondents could select multiple reasons (RHS)</a:t>
            </a:r>
          </a:p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</a:t>
            </a:r>
          </a:p>
        </p:txBody>
      </p:sp>
      <p:grpSp>
        <p:nvGrpSpPr>
          <p:cNvPr id="38" name="btfpStatusSticker842164">
            <a:extLst>
              <a:ext uri="{FF2B5EF4-FFF2-40B4-BE49-F238E27FC236}">
                <a16:creationId xmlns:a16="http://schemas.microsoft.com/office/drawing/2014/main" id="{041330DD-74D2-4010-BF6D-539167B8962F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10100356" y="955344"/>
            <a:ext cx="1761444" cy="235611"/>
            <a:chOff x="-2280176" y="876300"/>
            <a:chExt cx="1761444" cy="235611"/>
          </a:xfrm>
        </p:grpSpPr>
        <p:sp>
          <p:nvSpPr>
            <p:cNvPr id="32" name="btfpStatusStickerText842164">
              <a:extLst>
                <a:ext uri="{FF2B5EF4-FFF2-40B4-BE49-F238E27FC236}">
                  <a16:creationId xmlns:a16="http://schemas.microsoft.com/office/drawing/2014/main" id="{38798F1B-7C98-4231-ACDC-A7801B1F5A9C}"/>
                </a:ext>
              </a:extLst>
            </p:cNvPr>
            <p:cNvSpPr txBox="1"/>
            <p:nvPr/>
          </p:nvSpPr>
          <p:spPr bwMode="gray">
            <a:xfrm>
              <a:off x="-2280176" y="876300"/>
              <a:ext cx="17614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liminary</a:t>
              </a:r>
            </a:p>
          </p:txBody>
        </p:sp>
        <p:cxnSp>
          <p:nvCxnSpPr>
            <p:cNvPr id="37" name="btfpStatusStickerLine842164">
              <a:extLst>
                <a:ext uri="{FF2B5EF4-FFF2-40B4-BE49-F238E27FC236}">
                  <a16:creationId xmlns:a16="http://schemas.microsoft.com/office/drawing/2014/main" id="{A1CF511D-6424-4A32-90FB-2BCDF7A14C8C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80176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120777295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btfpColumnIndicatorGroup2">
            <a:extLst>
              <a:ext uri="{FF2B5EF4-FFF2-40B4-BE49-F238E27FC236}">
                <a16:creationId xmlns:a16="http://schemas.microsoft.com/office/drawing/2014/main" id="{16EE2CF3-B06D-4D43-B1F7-2A95CAD57FE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35" name="btfpColumnGapBlocker764163">
              <a:extLst>
                <a:ext uri="{FF2B5EF4-FFF2-40B4-BE49-F238E27FC236}">
                  <a16:creationId xmlns:a16="http://schemas.microsoft.com/office/drawing/2014/main" id="{2FE1D1C0-5A9F-4ECF-B4BE-160B8447D841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3" name="btfpColumnGapBlocker363684">
              <a:extLst>
                <a:ext uri="{FF2B5EF4-FFF2-40B4-BE49-F238E27FC236}">
                  <a16:creationId xmlns:a16="http://schemas.microsoft.com/office/drawing/2014/main" id="{5FD5EAD6-F656-419D-A63B-6A9AD9161443}"/>
                </a:ext>
              </a:extLst>
            </p:cNvPr>
            <p:cNvSpPr/>
            <p:nvPr/>
          </p:nvSpPr>
          <p:spPr bwMode="gray">
            <a:xfrm>
              <a:off x="5825728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1" name="btfpColumnIndicator721707">
              <a:extLst>
                <a:ext uri="{FF2B5EF4-FFF2-40B4-BE49-F238E27FC236}">
                  <a16:creationId xmlns:a16="http://schemas.microsoft.com/office/drawing/2014/main" id="{7B346AF2-A4B8-459D-AAD8-189BC860820F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btfpColumnIndicator196783">
              <a:extLst>
                <a:ext uri="{FF2B5EF4-FFF2-40B4-BE49-F238E27FC236}">
                  <a16:creationId xmlns:a16="http://schemas.microsoft.com/office/drawing/2014/main" id="{58799299-9B05-4773-8C07-9CC9EA533B87}"/>
                </a:ext>
              </a:extLst>
            </p:cNvPr>
            <p:cNvCxnSpPr/>
            <p:nvPr/>
          </p:nvCxnSpPr>
          <p:spPr bwMode="gray">
            <a:xfrm flipV="1">
              <a:off x="636627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btfpColumnGapBlocker457546">
              <a:extLst>
                <a:ext uri="{FF2B5EF4-FFF2-40B4-BE49-F238E27FC236}">
                  <a16:creationId xmlns:a16="http://schemas.microsoft.com/office/drawing/2014/main" id="{C2E972AD-D301-4118-AF84-65EF0F9C652C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5" name="btfpColumnIndicator182266">
              <a:extLst>
                <a:ext uri="{FF2B5EF4-FFF2-40B4-BE49-F238E27FC236}">
                  <a16:creationId xmlns:a16="http://schemas.microsoft.com/office/drawing/2014/main" id="{421D5479-8A8F-46B5-AAE9-0A49A0975327}"/>
                </a:ext>
              </a:extLst>
            </p:cNvPr>
            <p:cNvCxnSpPr/>
            <p:nvPr/>
          </p:nvCxnSpPr>
          <p:spPr bwMode="gray">
            <a:xfrm flipV="1">
              <a:off x="582572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222387">
              <a:extLst>
                <a:ext uri="{FF2B5EF4-FFF2-40B4-BE49-F238E27FC236}">
                  <a16:creationId xmlns:a16="http://schemas.microsoft.com/office/drawing/2014/main" id="{B7BACBA0-7C16-4637-8A35-F4790066AD7A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6" name="btfpColumnIndicatorGroup1">
            <a:extLst>
              <a:ext uri="{FF2B5EF4-FFF2-40B4-BE49-F238E27FC236}">
                <a16:creationId xmlns:a16="http://schemas.microsoft.com/office/drawing/2014/main" id="{E3759D0D-6201-49C6-B173-6ABFCFE9BAF9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34" name="btfpColumnGapBlocker465075">
              <a:extLst>
                <a:ext uri="{FF2B5EF4-FFF2-40B4-BE49-F238E27FC236}">
                  <a16:creationId xmlns:a16="http://schemas.microsoft.com/office/drawing/2014/main" id="{90382663-DBFD-4BF5-AD27-C6ACA66B1A1A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2" name="btfpColumnGapBlocker844053">
              <a:extLst>
                <a:ext uri="{FF2B5EF4-FFF2-40B4-BE49-F238E27FC236}">
                  <a16:creationId xmlns:a16="http://schemas.microsoft.com/office/drawing/2014/main" id="{895FCB2D-916D-4EB7-9329-82FEE318909C}"/>
                </a:ext>
              </a:extLst>
            </p:cNvPr>
            <p:cNvSpPr/>
            <p:nvPr/>
          </p:nvSpPr>
          <p:spPr bwMode="gray">
            <a:xfrm>
              <a:off x="5825728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0" name="btfpColumnIndicator657811">
              <a:extLst>
                <a:ext uri="{FF2B5EF4-FFF2-40B4-BE49-F238E27FC236}">
                  <a16:creationId xmlns:a16="http://schemas.microsoft.com/office/drawing/2014/main" id="{88E6DA26-4437-4885-A82D-404A59FAB168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btfpColumnIndicator739291">
              <a:extLst>
                <a:ext uri="{FF2B5EF4-FFF2-40B4-BE49-F238E27FC236}">
                  <a16:creationId xmlns:a16="http://schemas.microsoft.com/office/drawing/2014/main" id="{5E7F5A83-EED0-449E-8689-85ED70D3D9EA}"/>
                </a:ext>
              </a:extLst>
            </p:cNvPr>
            <p:cNvCxnSpPr/>
            <p:nvPr/>
          </p:nvCxnSpPr>
          <p:spPr bwMode="gray">
            <a:xfrm flipV="1">
              <a:off x="636627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btfpColumnGapBlocker293723">
              <a:extLst>
                <a:ext uri="{FF2B5EF4-FFF2-40B4-BE49-F238E27FC236}">
                  <a16:creationId xmlns:a16="http://schemas.microsoft.com/office/drawing/2014/main" id="{C71F475E-3E17-4E7D-A8FB-7F55B5EF5812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4" name="btfpColumnIndicator774633">
              <a:extLst>
                <a:ext uri="{FF2B5EF4-FFF2-40B4-BE49-F238E27FC236}">
                  <a16:creationId xmlns:a16="http://schemas.microsoft.com/office/drawing/2014/main" id="{7DB10D01-F8E2-4463-9593-2DD0B124CE76}"/>
                </a:ext>
              </a:extLst>
            </p:cNvPr>
            <p:cNvCxnSpPr/>
            <p:nvPr/>
          </p:nvCxnSpPr>
          <p:spPr bwMode="gray">
            <a:xfrm flipV="1">
              <a:off x="582572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783872">
              <a:extLst>
                <a:ext uri="{FF2B5EF4-FFF2-40B4-BE49-F238E27FC236}">
                  <a16:creationId xmlns:a16="http://schemas.microsoft.com/office/drawing/2014/main" id="{AC210090-2E6B-4022-976E-C5BEEADF976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F84ED8B-F090-453C-87B0-419B1D95CD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x and y as </a:t>
            </a:r>
            <a:r>
              <a:rPr lang="en-GB"/>
              <a:t>the main reasons for switching away from</a:t>
            </a:r>
            <a:r>
              <a:rPr lang="pl-PL"/>
              <a:t> X </a:t>
            </a:r>
            <a:r>
              <a:rPr lang="en-GB"/>
              <a:t>; Customers switch to </a:t>
            </a:r>
            <a:r>
              <a:rPr lang="pl-PL"/>
              <a:t>Y </a:t>
            </a:r>
            <a:r>
              <a:rPr lang="en-GB"/>
              <a:t>mainly</a:t>
            </a:r>
          </a:p>
        </p:txBody>
      </p:sp>
      <p:grpSp>
        <p:nvGrpSpPr>
          <p:cNvPr id="64" name="btfpColumnHeaderBox270814">
            <a:extLst>
              <a:ext uri="{FF2B5EF4-FFF2-40B4-BE49-F238E27FC236}">
                <a16:creationId xmlns:a16="http://schemas.microsoft.com/office/drawing/2014/main" id="{A1D7D36E-5870-4ABE-B651-E706929420A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34961" y="1433437"/>
            <a:ext cx="5490764" cy="324461"/>
            <a:chOff x="9384308" y="1251224"/>
            <a:chExt cx="2477492" cy="324461"/>
          </a:xfrm>
        </p:grpSpPr>
        <p:sp>
          <p:nvSpPr>
            <p:cNvPr id="65" name="btfpColumnHeaderBoxText270814">
              <a:extLst>
                <a:ext uri="{FF2B5EF4-FFF2-40B4-BE49-F238E27FC236}">
                  <a16:creationId xmlns:a16="http://schemas.microsoft.com/office/drawing/2014/main" id="{DBE16ED5-5714-4C62-ADE6-91CE2E765AC1}"/>
                </a:ext>
              </a:extLst>
            </p:cNvPr>
            <p:cNvSpPr txBox="1"/>
            <p:nvPr/>
          </p:nvSpPr>
          <p:spPr bwMode="gray">
            <a:xfrm>
              <a:off x="9384308" y="1251224"/>
              <a:ext cx="2477492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ast churn &amp; reasons</a:t>
              </a:r>
            </a:p>
          </p:txBody>
        </p:sp>
        <p:cxnSp>
          <p:nvCxnSpPr>
            <p:cNvPr id="66" name="btfpColumnHeaderBoxLine270814">
              <a:extLst>
                <a:ext uri="{FF2B5EF4-FFF2-40B4-BE49-F238E27FC236}">
                  <a16:creationId xmlns:a16="http://schemas.microsoft.com/office/drawing/2014/main" id="{87551B16-C241-460B-BB6C-D90D6F30D0ED}"/>
                </a:ext>
              </a:extLst>
            </p:cNvPr>
            <p:cNvCxnSpPr/>
            <p:nvPr/>
          </p:nvCxnSpPr>
          <p:spPr bwMode="gray">
            <a:xfrm>
              <a:off x="9384308" y="1575685"/>
              <a:ext cx="2477492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8" name="Rectangle 67">
            <a:extLst>
              <a:ext uri="{FF2B5EF4-FFF2-40B4-BE49-F238E27FC236}">
                <a16:creationId xmlns:a16="http://schemas.microsoft.com/office/drawing/2014/main" id="{67EE4874-1854-435E-B3B9-0997FCCE9542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334962" y="1821498"/>
            <a:ext cx="5490763" cy="80119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0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 </a:t>
            </a:r>
            <a:r>
              <a:rPr kumimoji="0" lang="en-US" sz="10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ou mentioned you had </a:t>
            </a:r>
            <a:r>
              <a:rPr kumimoji="0" lang="en-US" sz="10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viously used </a:t>
            </a:r>
            <a:r>
              <a:rPr kumimoji="0" lang="pl-PL" sz="10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 </a:t>
            </a:r>
            <a:r>
              <a:rPr kumimoji="0" lang="en-US" sz="10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t not within the </a:t>
            </a:r>
            <a:r>
              <a:rPr kumimoji="0" lang="en-US" sz="10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st X years</a:t>
            </a:r>
            <a:r>
              <a:rPr kumimoji="0" lang="en-US" sz="10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what was the reason for switching away from that supplier?</a:t>
            </a:r>
            <a:endParaRPr kumimoji="0" lang="en-GB" sz="105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09" name="btfpColumnHeaderBox270814">
            <a:extLst>
              <a:ext uri="{FF2B5EF4-FFF2-40B4-BE49-F238E27FC236}">
                <a16:creationId xmlns:a16="http://schemas.microsoft.com/office/drawing/2014/main" id="{065B1406-91FD-4136-A67D-BA4D7EE07DFB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6366272" y="1433437"/>
            <a:ext cx="5553375" cy="324461"/>
            <a:chOff x="9384308" y="1251224"/>
            <a:chExt cx="2477492" cy="324461"/>
          </a:xfrm>
        </p:grpSpPr>
        <p:sp>
          <p:nvSpPr>
            <p:cNvPr id="110" name="btfpColumnHeaderBoxText270814">
              <a:extLst>
                <a:ext uri="{FF2B5EF4-FFF2-40B4-BE49-F238E27FC236}">
                  <a16:creationId xmlns:a16="http://schemas.microsoft.com/office/drawing/2014/main" id="{DF42EEDD-0D3A-4AAD-B4CA-080BCA4A8E91}"/>
                </a:ext>
              </a:extLst>
            </p:cNvPr>
            <p:cNvSpPr txBox="1"/>
            <p:nvPr/>
          </p:nvSpPr>
          <p:spPr bwMode="gray">
            <a:xfrm>
              <a:off x="9384308" y="1251224"/>
              <a:ext cx="2477492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placement companies</a:t>
              </a:r>
            </a:p>
          </p:txBody>
        </p:sp>
        <p:cxnSp>
          <p:nvCxnSpPr>
            <p:cNvPr id="111" name="btfpColumnHeaderBoxLine270814">
              <a:extLst>
                <a:ext uri="{FF2B5EF4-FFF2-40B4-BE49-F238E27FC236}">
                  <a16:creationId xmlns:a16="http://schemas.microsoft.com/office/drawing/2014/main" id="{88599B79-1C6A-4E92-8BCF-DF1CD6A142FD}"/>
                </a:ext>
              </a:extLst>
            </p:cNvPr>
            <p:cNvCxnSpPr/>
            <p:nvPr/>
          </p:nvCxnSpPr>
          <p:spPr bwMode="gray">
            <a:xfrm>
              <a:off x="9384308" y="1575685"/>
              <a:ext cx="2477492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7" name="Rectangle 66">
            <a:extLst>
              <a:ext uri="{FF2B5EF4-FFF2-40B4-BE49-F238E27FC236}">
                <a16:creationId xmlns:a16="http://schemas.microsoft.com/office/drawing/2014/main" id="{425E2466-5C73-4C0A-BA39-C25FD72C9DD9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6366268" y="1821497"/>
            <a:ext cx="5490763" cy="80119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</a:t>
            </a:r>
            <a:r>
              <a:rPr kumimoji="0" lang="pl-PL" sz="10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  <a:r>
              <a:rPr kumimoji="0" lang="en-GB" sz="10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0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ich of your current suppliers replaced </a:t>
            </a:r>
            <a:r>
              <a:rPr kumimoji="0" lang="pl-PL" sz="10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 </a:t>
            </a:r>
            <a:r>
              <a:rPr kumimoji="0" lang="en-US" sz="10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en you stopped working with them?</a:t>
            </a:r>
            <a:endParaRPr kumimoji="0" lang="en-GB" sz="105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btfpNotesBox233073">
            <a:extLst>
              <a:ext uri="{FF2B5EF4-FFF2-40B4-BE49-F238E27FC236}">
                <a16:creationId xmlns:a16="http://schemas.microsoft.com/office/drawing/2014/main" id="{BD12DCF0-E387-45AA-8A9F-6CB9C813FB0D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gray">
          <a:xfrm>
            <a:off x="330199" y="6319682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 </a:t>
            </a:r>
            <a:endParaRPr kumimoji="0" lang="pl-PL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</a:t>
            </a:r>
            <a:endParaRPr kumimoji="0" lang="pl-PL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1" name="btfpRunningAgenda1Level957375">
            <a:extLst>
              <a:ext uri="{FF2B5EF4-FFF2-40B4-BE49-F238E27FC236}">
                <a16:creationId xmlns:a16="http://schemas.microsoft.com/office/drawing/2014/main" id="{5B08F4C8-4231-41E7-A93E-C34507329960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0" y="944429"/>
            <a:ext cx="2354839" cy="257442"/>
            <a:chOff x="0" y="876300"/>
            <a:chExt cx="2354839" cy="257442"/>
          </a:xfrm>
        </p:grpSpPr>
        <p:sp>
          <p:nvSpPr>
            <p:cNvPr id="10" name="btfpRunningAgenda1LevelBarLeft957375">
              <a:extLst>
                <a:ext uri="{FF2B5EF4-FFF2-40B4-BE49-F238E27FC236}">
                  <a16:creationId xmlns:a16="http://schemas.microsoft.com/office/drawing/2014/main" id="{F3F0987A-584B-4F91-B295-BEF7C7FEABF9}"/>
                </a:ext>
              </a:extLst>
            </p:cNvPr>
            <p:cNvSpPr/>
            <p:nvPr/>
          </p:nvSpPr>
          <p:spPr bwMode="gray">
            <a:xfrm>
              <a:off x="0" y="876300"/>
              <a:ext cx="2354839" cy="257442"/>
            </a:xfrm>
            <a:custGeom>
              <a:avLst/>
              <a:gdLst>
                <a:gd name="connsiteX0" fmla="*/ 942786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42786 w 1816204"/>
                <a:gd name="connsiteY0" fmla="*/ 0 h 257442"/>
                <a:gd name="connsiteX1" fmla="*/ 888066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782550 w 888065"/>
                <a:gd name="connsiteY0" fmla="*/ 0 h 257442"/>
                <a:gd name="connsiteX1" fmla="*/ 888065 w 888065"/>
                <a:gd name="connsiteY1" fmla="*/ 257442 h 257442"/>
                <a:gd name="connsiteX2" fmla="*/ 0 w 888065"/>
                <a:gd name="connsiteY2" fmla="*/ 257442 h 257442"/>
                <a:gd name="connsiteX3" fmla="*/ 0 w 888065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1146368 w 1146368"/>
                <a:gd name="connsiteY0" fmla="*/ 0 h 257442"/>
                <a:gd name="connsiteX1" fmla="*/ 727829 w 1146368"/>
                <a:gd name="connsiteY1" fmla="*/ 257442 h 257442"/>
                <a:gd name="connsiteX2" fmla="*/ 0 w 1146368"/>
                <a:gd name="connsiteY2" fmla="*/ 257442 h 257442"/>
                <a:gd name="connsiteX3" fmla="*/ 0 w 1146368"/>
                <a:gd name="connsiteY3" fmla="*/ 0 h 257442"/>
                <a:gd name="connsiteX0" fmla="*/ 1146368 w 1146368"/>
                <a:gd name="connsiteY0" fmla="*/ 0 h 257442"/>
                <a:gd name="connsiteX1" fmla="*/ 1091647 w 1146368"/>
                <a:gd name="connsiteY1" fmla="*/ 257442 h 257442"/>
                <a:gd name="connsiteX2" fmla="*/ 0 w 1146368"/>
                <a:gd name="connsiteY2" fmla="*/ 257442 h 257442"/>
                <a:gd name="connsiteX3" fmla="*/ 0 w 1146368"/>
                <a:gd name="connsiteY3" fmla="*/ 0 h 257442"/>
                <a:gd name="connsiteX0" fmla="*/ 1146368 w 1146368"/>
                <a:gd name="connsiteY0" fmla="*/ 0 h 257442"/>
                <a:gd name="connsiteX1" fmla="*/ 1091647 w 1146368"/>
                <a:gd name="connsiteY1" fmla="*/ 257442 h 257442"/>
                <a:gd name="connsiteX2" fmla="*/ 0 w 1146368"/>
                <a:gd name="connsiteY2" fmla="*/ 257442 h 257442"/>
                <a:gd name="connsiteX3" fmla="*/ 0 w 1146368"/>
                <a:gd name="connsiteY3" fmla="*/ 0 h 257442"/>
                <a:gd name="connsiteX0" fmla="*/ 1146368 w 1146368"/>
                <a:gd name="connsiteY0" fmla="*/ 0 h 257442"/>
                <a:gd name="connsiteX1" fmla="*/ 1091647 w 1146368"/>
                <a:gd name="connsiteY1" fmla="*/ 257442 h 257442"/>
                <a:gd name="connsiteX2" fmla="*/ 0 w 1146368"/>
                <a:gd name="connsiteY2" fmla="*/ 257442 h 257442"/>
                <a:gd name="connsiteX3" fmla="*/ 0 w 1146368"/>
                <a:gd name="connsiteY3" fmla="*/ 0 h 257442"/>
                <a:gd name="connsiteX0" fmla="*/ 1399642 w 1399642"/>
                <a:gd name="connsiteY0" fmla="*/ 0 h 257442"/>
                <a:gd name="connsiteX1" fmla="*/ 1091647 w 1399642"/>
                <a:gd name="connsiteY1" fmla="*/ 257442 h 257442"/>
                <a:gd name="connsiteX2" fmla="*/ 0 w 1399642"/>
                <a:gd name="connsiteY2" fmla="*/ 257442 h 257442"/>
                <a:gd name="connsiteX3" fmla="*/ 0 w 1399642"/>
                <a:gd name="connsiteY3" fmla="*/ 0 h 257442"/>
                <a:gd name="connsiteX0" fmla="*/ 1399642 w 1399642"/>
                <a:gd name="connsiteY0" fmla="*/ 0 h 257442"/>
                <a:gd name="connsiteX1" fmla="*/ 1344921 w 1399642"/>
                <a:gd name="connsiteY1" fmla="*/ 257442 h 257442"/>
                <a:gd name="connsiteX2" fmla="*/ 0 w 1399642"/>
                <a:gd name="connsiteY2" fmla="*/ 257442 h 257442"/>
                <a:gd name="connsiteX3" fmla="*/ 0 w 1399642"/>
                <a:gd name="connsiteY3" fmla="*/ 0 h 257442"/>
                <a:gd name="connsiteX0" fmla="*/ 1399642 w 1399642"/>
                <a:gd name="connsiteY0" fmla="*/ 0 h 257442"/>
                <a:gd name="connsiteX1" fmla="*/ 1344921 w 1399642"/>
                <a:gd name="connsiteY1" fmla="*/ 257442 h 257442"/>
                <a:gd name="connsiteX2" fmla="*/ 0 w 1399642"/>
                <a:gd name="connsiteY2" fmla="*/ 257442 h 257442"/>
                <a:gd name="connsiteX3" fmla="*/ 0 w 1399642"/>
                <a:gd name="connsiteY3" fmla="*/ 0 h 257442"/>
                <a:gd name="connsiteX0" fmla="*/ 1399642 w 1399642"/>
                <a:gd name="connsiteY0" fmla="*/ 0 h 257442"/>
                <a:gd name="connsiteX1" fmla="*/ 1344921 w 1399642"/>
                <a:gd name="connsiteY1" fmla="*/ 257442 h 257442"/>
                <a:gd name="connsiteX2" fmla="*/ 0 w 1399642"/>
                <a:gd name="connsiteY2" fmla="*/ 257442 h 257442"/>
                <a:gd name="connsiteX3" fmla="*/ 0 w 1399642"/>
                <a:gd name="connsiteY3" fmla="*/ 0 h 257442"/>
                <a:gd name="connsiteX0" fmla="*/ 1567957 w 1567957"/>
                <a:gd name="connsiteY0" fmla="*/ 0 h 257442"/>
                <a:gd name="connsiteX1" fmla="*/ 1344921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567957 w 1567957"/>
                <a:gd name="connsiteY0" fmla="*/ 0 h 257442"/>
                <a:gd name="connsiteX1" fmla="*/ 1513236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567957 w 1567957"/>
                <a:gd name="connsiteY0" fmla="*/ 0 h 257442"/>
                <a:gd name="connsiteX1" fmla="*/ 1513236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567957 w 1567957"/>
                <a:gd name="connsiteY0" fmla="*/ 0 h 257442"/>
                <a:gd name="connsiteX1" fmla="*/ 1513236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736273 w 1736273"/>
                <a:gd name="connsiteY0" fmla="*/ 0 h 257442"/>
                <a:gd name="connsiteX1" fmla="*/ 1513236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736273 w 1736273"/>
                <a:gd name="connsiteY0" fmla="*/ 0 h 257442"/>
                <a:gd name="connsiteX1" fmla="*/ 1681552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736273 w 1736273"/>
                <a:gd name="connsiteY0" fmla="*/ 0 h 257442"/>
                <a:gd name="connsiteX1" fmla="*/ 1681552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736273 w 1736273"/>
                <a:gd name="connsiteY0" fmla="*/ 0 h 257442"/>
                <a:gd name="connsiteX1" fmla="*/ 1681552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2005577 w 2005577"/>
                <a:gd name="connsiteY0" fmla="*/ 0 h 257442"/>
                <a:gd name="connsiteX1" fmla="*/ 1681552 w 2005577"/>
                <a:gd name="connsiteY1" fmla="*/ 257442 h 257442"/>
                <a:gd name="connsiteX2" fmla="*/ 0 w 2005577"/>
                <a:gd name="connsiteY2" fmla="*/ 257442 h 257442"/>
                <a:gd name="connsiteX3" fmla="*/ 0 w 2005577"/>
                <a:gd name="connsiteY3" fmla="*/ 0 h 257442"/>
                <a:gd name="connsiteX0" fmla="*/ 2005577 w 2005577"/>
                <a:gd name="connsiteY0" fmla="*/ 0 h 257442"/>
                <a:gd name="connsiteX1" fmla="*/ 1950856 w 2005577"/>
                <a:gd name="connsiteY1" fmla="*/ 257442 h 257442"/>
                <a:gd name="connsiteX2" fmla="*/ 0 w 2005577"/>
                <a:gd name="connsiteY2" fmla="*/ 257442 h 257442"/>
                <a:gd name="connsiteX3" fmla="*/ 0 w 2005577"/>
                <a:gd name="connsiteY3" fmla="*/ 0 h 257442"/>
                <a:gd name="connsiteX0" fmla="*/ 2005577 w 2005577"/>
                <a:gd name="connsiteY0" fmla="*/ 0 h 257442"/>
                <a:gd name="connsiteX1" fmla="*/ 1950856 w 2005577"/>
                <a:gd name="connsiteY1" fmla="*/ 257442 h 257442"/>
                <a:gd name="connsiteX2" fmla="*/ 0 w 2005577"/>
                <a:gd name="connsiteY2" fmla="*/ 257442 h 257442"/>
                <a:gd name="connsiteX3" fmla="*/ 0 w 2005577"/>
                <a:gd name="connsiteY3" fmla="*/ 0 h 257442"/>
                <a:gd name="connsiteX0" fmla="*/ 2005577 w 2005577"/>
                <a:gd name="connsiteY0" fmla="*/ 0 h 257442"/>
                <a:gd name="connsiteX1" fmla="*/ 1950856 w 2005577"/>
                <a:gd name="connsiteY1" fmla="*/ 257442 h 257442"/>
                <a:gd name="connsiteX2" fmla="*/ 0 w 2005577"/>
                <a:gd name="connsiteY2" fmla="*/ 257442 h 257442"/>
                <a:gd name="connsiteX3" fmla="*/ 0 w 2005577"/>
                <a:gd name="connsiteY3" fmla="*/ 0 h 257442"/>
                <a:gd name="connsiteX0" fmla="*/ 2183510 w 2183510"/>
                <a:gd name="connsiteY0" fmla="*/ 0 h 257442"/>
                <a:gd name="connsiteX1" fmla="*/ 1950856 w 2183510"/>
                <a:gd name="connsiteY1" fmla="*/ 257442 h 257442"/>
                <a:gd name="connsiteX2" fmla="*/ 0 w 2183510"/>
                <a:gd name="connsiteY2" fmla="*/ 257442 h 257442"/>
                <a:gd name="connsiteX3" fmla="*/ 0 w 2183510"/>
                <a:gd name="connsiteY3" fmla="*/ 0 h 257442"/>
                <a:gd name="connsiteX0" fmla="*/ 2183510 w 2183510"/>
                <a:gd name="connsiteY0" fmla="*/ 0 h 257442"/>
                <a:gd name="connsiteX1" fmla="*/ 2128788 w 2183510"/>
                <a:gd name="connsiteY1" fmla="*/ 257442 h 257442"/>
                <a:gd name="connsiteX2" fmla="*/ 0 w 2183510"/>
                <a:gd name="connsiteY2" fmla="*/ 257442 h 257442"/>
                <a:gd name="connsiteX3" fmla="*/ 0 w 2183510"/>
                <a:gd name="connsiteY3" fmla="*/ 0 h 257442"/>
                <a:gd name="connsiteX0" fmla="*/ 2183511 w 2183511"/>
                <a:gd name="connsiteY0" fmla="*/ 0 h 257442"/>
                <a:gd name="connsiteX1" fmla="*/ 2128789 w 2183511"/>
                <a:gd name="connsiteY1" fmla="*/ 257442 h 257442"/>
                <a:gd name="connsiteX2" fmla="*/ 0 w 2183511"/>
                <a:gd name="connsiteY2" fmla="*/ 257442 h 257442"/>
                <a:gd name="connsiteX3" fmla="*/ 1 w 2183511"/>
                <a:gd name="connsiteY3" fmla="*/ 0 h 257442"/>
                <a:gd name="connsiteX0" fmla="*/ 2183511 w 2183511"/>
                <a:gd name="connsiteY0" fmla="*/ 0 h 257442"/>
                <a:gd name="connsiteX1" fmla="*/ 2128789 w 2183511"/>
                <a:gd name="connsiteY1" fmla="*/ 257442 h 257442"/>
                <a:gd name="connsiteX2" fmla="*/ 0 w 2183511"/>
                <a:gd name="connsiteY2" fmla="*/ 257442 h 257442"/>
                <a:gd name="connsiteX3" fmla="*/ 1 w 2183511"/>
                <a:gd name="connsiteY3" fmla="*/ 0 h 257442"/>
                <a:gd name="connsiteX0" fmla="*/ 942787 w 2128789"/>
                <a:gd name="connsiteY0" fmla="*/ 0 h 257442"/>
                <a:gd name="connsiteX1" fmla="*/ 2128789 w 2128789"/>
                <a:gd name="connsiteY1" fmla="*/ 257442 h 257442"/>
                <a:gd name="connsiteX2" fmla="*/ 0 w 2128789"/>
                <a:gd name="connsiteY2" fmla="*/ 257442 h 257442"/>
                <a:gd name="connsiteX3" fmla="*/ 1 w 2128789"/>
                <a:gd name="connsiteY3" fmla="*/ 0 h 257442"/>
                <a:gd name="connsiteX0" fmla="*/ 942787 w 942787"/>
                <a:gd name="connsiteY0" fmla="*/ 0 h 257442"/>
                <a:gd name="connsiteX1" fmla="*/ 888066 w 942787"/>
                <a:gd name="connsiteY1" fmla="*/ 257442 h 257442"/>
                <a:gd name="connsiteX2" fmla="*/ 0 w 942787"/>
                <a:gd name="connsiteY2" fmla="*/ 257442 h 257442"/>
                <a:gd name="connsiteX3" fmla="*/ 1 w 942787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942787 w 942787"/>
                <a:gd name="connsiteY0" fmla="*/ 0 h 257442"/>
                <a:gd name="connsiteX1" fmla="*/ 888066 w 942787"/>
                <a:gd name="connsiteY1" fmla="*/ 257442 h 257442"/>
                <a:gd name="connsiteX2" fmla="*/ 1 w 942787"/>
                <a:gd name="connsiteY2" fmla="*/ 257442 h 257442"/>
                <a:gd name="connsiteX3" fmla="*/ 0 w 942787"/>
                <a:gd name="connsiteY3" fmla="*/ 0 h 257442"/>
                <a:gd name="connsiteX0" fmla="*/ 1259989 w 1259989"/>
                <a:gd name="connsiteY0" fmla="*/ 0 h 257442"/>
                <a:gd name="connsiteX1" fmla="*/ 888066 w 1259989"/>
                <a:gd name="connsiteY1" fmla="*/ 257442 h 257442"/>
                <a:gd name="connsiteX2" fmla="*/ 1 w 1259989"/>
                <a:gd name="connsiteY2" fmla="*/ 257442 h 257442"/>
                <a:gd name="connsiteX3" fmla="*/ 0 w 1259989"/>
                <a:gd name="connsiteY3" fmla="*/ 0 h 257442"/>
                <a:gd name="connsiteX0" fmla="*/ 1259989 w 1259989"/>
                <a:gd name="connsiteY0" fmla="*/ 0 h 257442"/>
                <a:gd name="connsiteX1" fmla="*/ 1205268 w 1259989"/>
                <a:gd name="connsiteY1" fmla="*/ 257442 h 257442"/>
                <a:gd name="connsiteX2" fmla="*/ 1 w 1259989"/>
                <a:gd name="connsiteY2" fmla="*/ 257442 h 257442"/>
                <a:gd name="connsiteX3" fmla="*/ 0 w 1259989"/>
                <a:gd name="connsiteY3" fmla="*/ 0 h 257442"/>
                <a:gd name="connsiteX0" fmla="*/ 1259989 w 1259989"/>
                <a:gd name="connsiteY0" fmla="*/ 0 h 257442"/>
                <a:gd name="connsiteX1" fmla="*/ 1205268 w 1259989"/>
                <a:gd name="connsiteY1" fmla="*/ 257442 h 257442"/>
                <a:gd name="connsiteX2" fmla="*/ 1 w 1259989"/>
                <a:gd name="connsiteY2" fmla="*/ 257442 h 257442"/>
                <a:gd name="connsiteX3" fmla="*/ 0 w 1259989"/>
                <a:gd name="connsiteY3" fmla="*/ 0 h 257442"/>
                <a:gd name="connsiteX0" fmla="*/ 1259988 w 1259988"/>
                <a:gd name="connsiteY0" fmla="*/ 0 h 257442"/>
                <a:gd name="connsiteX1" fmla="*/ 1205267 w 1259988"/>
                <a:gd name="connsiteY1" fmla="*/ 257442 h 257442"/>
                <a:gd name="connsiteX2" fmla="*/ 0 w 1259988"/>
                <a:gd name="connsiteY2" fmla="*/ 257442 h 257442"/>
                <a:gd name="connsiteX3" fmla="*/ 0 w 1259988"/>
                <a:gd name="connsiteY3" fmla="*/ 0 h 257442"/>
                <a:gd name="connsiteX0" fmla="*/ 1513262 w 1513262"/>
                <a:gd name="connsiteY0" fmla="*/ 0 h 257442"/>
                <a:gd name="connsiteX1" fmla="*/ 1205267 w 1513262"/>
                <a:gd name="connsiteY1" fmla="*/ 257442 h 257442"/>
                <a:gd name="connsiteX2" fmla="*/ 0 w 1513262"/>
                <a:gd name="connsiteY2" fmla="*/ 257442 h 257442"/>
                <a:gd name="connsiteX3" fmla="*/ 0 w 1513262"/>
                <a:gd name="connsiteY3" fmla="*/ 0 h 257442"/>
                <a:gd name="connsiteX0" fmla="*/ 1513262 w 1513262"/>
                <a:gd name="connsiteY0" fmla="*/ 0 h 257442"/>
                <a:gd name="connsiteX1" fmla="*/ 1458541 w 1513262"/>
                <a:gd name="connsiteY1" fmla="*/ 257442 h 257442"/>
                <a:gd name="connsiteX2" fmla="*/ 0 w 1513262"/>
                <a:gd name="connsiteY2" fmla="*/ 257442 h 257442"/>
                <a:gd name="connsiteX3" fmla="*/ 0 w 1513262"/>
                <a:gd name="connsiteY3" fmla="*/ 0 h 257442"/>
                <a:gd name="connsiteX0" fmla="*/ 1513263 w 1513263"/>
                <a:gd name="connsiteY0" fmla="*/ 0 h 257442"/>
                <a:gd name="connsiteX1" fmla="*/ 1458542 w 1513263"/>
                <a:gd name="connsiteY1" fmla="*/ 257442 h 257442"/>
                <a:gd name="connsiteX2" fmla="*/ 0 w 1513263"/>
                <a:gd name="connsiteY2" fmla="*/ 257442 h 257442"/>
                <a:gd name="connsiteX3" fmla="*/ 1 w 1513263"/>
                <a:gd name="connsiteY3" fmla="*/ 0 h 257442"/>
                <a:gd name="connsiteX0" fmla="*/ 1513263 w 1513263"/>
                <a:gd name="connsiteY0" fmla="*/ 0 h 257442"/>
                <a:gd name="connsiteX1" fmla="*/ 1458542 w 1513263"/>
                <a:gd name="connsiteY1" fmla="*/ 257442 h 257442"/>
                <a:gd name="connsiteX2" fmla="*/ 0 w 1513263"/>
                <a:gd name="connsiteY2" fmla="*/ 257442 h 257442"/>
                <a:gd name="connsiteX3" fmla="*/ 1 w 1513263"/>
                <a:gd name="connsiteY3" fmla="*/ 0 h 257442"/>
                <a:gd name="connsiteX0" fmla="*/ 1681579 w 1681579"/>
                <a:gd name="connsiteY0" fmla="*/ 0 h 257442"/>
                <a:gd name="connsiteX1" fmla="*/ 1458542 w 1681579"/>
                <a:gd name="connsiteY1" fmla="*/ 257442 h 257442"/>
                <a:gd name="connsiteX2" fmla="*/ 0 w 1681579"/>
                <a:gd name="connsiteY2" fmla="*/ 257442 h 257442"/>
                <a:gd name="connsiteX3" fmla="*/ 1 w 1681579"/>
                <a:gd name="connsiteY3" fmla="*/ 0 h 257442"/>
                <a:gd name="connsiteX0" fmla="*/ 1681579 w 1681579"/>
                <a:gd name="connsiteY0" fmla="*/ 0 h 257442"/>
                <a:gd name="connsiteX1" fmla="*/ 1626858 w 1681579"/>
                <a:gd name="connsiteY1" fmla="*/ 257442 h 257442"/>
                <a:gd name="connsiteX2" fmla="*/ 0 w 1681579"/>
                <a:gd name="connsiteY2" fmla="*/ 257442 h 257442"/>
                <a:gd name="connsiteX3" fmla="*/ 1 w 1681579"/>
                <a:gd name="connsiteY3" fmla="*/ 0 h 257442"/>
                <a:gd name="connsiteX0" fmla="*/ 1681578 w 1681578"/>
                <a:gd name="connsiteY0" fmla="*/ 0 h 257442"/>
                <a:gd name="connsiteX1" fmla="*/ 1626857 w 1681578"/>
                <a:gd name="connsiteY1" fmla="*/ 257442 h 257442"/>
                <a:gd name="connsiteX2" fmla="*/ 0 w 1681578"/>
                <a:gd name="connsiteY2" fmla="*/ 257442 h 257442"/>
                <a:gd name="connsiteX3" fmla="*/ 0 w 1681578"/>
                <a:gd name="connsiteY3" fmla="*/ 0 h 257442"/>
                <a:gd name="connsiteX0" fmla="*/ 1681579 w 1681579"/>
                <a:gd name="connsiteY0" fmla="*/ 0 h 257442"/>
                <a:gd name="connsiteX1" fmla="*/ 1626858 w 1681579"/>
                <a:gd name="connsiteY1" fmla="*/ 257442 h 257442"/>
                <a:gd name="connsiteX2" fmla="*/ 1 w 1681579"/>
                <a:gd name="connsiteY2" fmla="*/ 257442 h 257442"/>
                <a:gd name="connsiteX3" fmla="*/ 0 w 1681579"/>
                <a:gd name="connsiteY3" fmla="*/ 0 h 257442"/>
                <a:gd name="connsiteX0" fmla="*/ 1849894 w 1849894"/>
                <a:gd name="connsiteY0" fmla="*/ 0 h 257442"/>
                <a:gd name="connsiteX1" fmla="*/ 1626858 w 1849894"/>
                <a:gd name="connsiteY1" fmla="*/ 257442 h 257442"/>
                <a:gd name="connsiteX2" fmla="*/ 1 w 1849894"/>
                <a:gd name="connsiteY2" fmla="*/ 257442 h 257442"/>
                <a:gd name="connsiteX3" fmla="*/ 0 w 1849894"/>
                <a:gd name="connsiteY3" fmla="*/ 0 h 257442"/>
                <a:gd name="connsiteX0" fmla="*/ 1849894 w 1849894"/>
                <a:gd name="connsiteY0" fmla="*/ 0 h 257442"/>
                <a:gd name="connsiteX1" fmla="*/ 1795172 w 1849894"/>
                <a:gd name="connsiteY1" fmla="*/ 257442 h 257442"/>
                <a:gd name="connsiteX2" fmla="*/ 1 w 1849894"/>
                <a:gd name="connsiteY2" fmla="*/ 257442 h 257442"/>
                <a:gd name="connsiteX3" fmla="*/ 0 w 1849894"/>
                <a:gd name="connsiteY3" fmla="*/ 0 h 257442"/>
                <a:gd name="connsiteX0" fmla="*/ 1849894 w 1849894"/>
                <a:gd name="connsiteY0" fmla="*/ 0 h 257442"/>
                <a:gd name="connsiteX1" fmla="*/ 1795172 w 1849894"/>
                <a:gd name="connsiteY1" fmla="*/ 257442 h 257442"/>
                <a:gd name="connsiteX2" fmla="*/ 0 w 1849894"/>
                <a:gd name="connsiteY2" fmla="*/ 257442 h 257442"/>
                <a:gd name="connsiteX3" fmla="*/ 0 w 1849894"/>
                <a:gd name="connsiteY3" fmla="*/ 0 h 257442"/>
                <a:gd name="connsiteX0" fmla="*/ 1849894 w 1849894"/>
                <a:gd name="connsiteY0" fmla="*/ 0 h 257442"/>
                <a:gd name="connsiteX1" fmla="*/ 1795172 w 1849894"/>
                <a:gd name="connsiteY1" fmla="*/ 257442 h 257442"/>
                <a:gd name="connsiteX2" fmla="*/ 0 w 1849894"/>
                <a:gd name="connsiteY2" fmla="*/ 257442 h 257442"/>
                <a:gd name="connsiteX3" fmla="*/ 0 w 1849894"/>
                <a:gd name="connsiteY3" fmla="*/ 0 h 257442"/>
                <a:gd name="connsiteX0" fmla="*/ 2018208 w 2018208"/>
                <a:gd name="connsiteY0" fmla="*/ 0 h 257442"/>
                <a:gd name="connsiteX1" fmla="*/ 1795172 w 2018208"/>
                <a:gd name="connsiteY1" fmla="*/ 257442 h 257442"/>
                <a:gd name="connsiteX2" fmla="*/ 0 w 2018208"/>
                <a:gd name="connsiteY2" fmla="*/ 257442 h 257442"/>
                <a:gd name="connsiteX3" fmla="*/ 0 w 2018208"/>
                <a:gd name="connsiteY3" fmla="*/ 0 h 257442"/>
                <a:gd name="connsiteX0" fmla="*/ 2018208 w 2018208"/>
                <a:gd name="connsiteY0" fmla="*/ 0 h 257442"/>
                <a:gd name="connsiteX1" fmla="*/ 1963487 w 2018208"/>
                <a:gd name="connsiteY1" fmla="*/ 257442 h 257442"/>
                <a:gd name="connsiteX2" fmla="*/ 0 w 2018208"/>
                <a:gd name="connsiteY2" fmla="*/ 257442 h 257442"/>
                <a:gd name="connsiteX3" fmla="*/ 0 w 2018208"/>
                <a:gd name="connsiteY3" fmla="*/ 0 h 257442"/>
                <a:gd name="connsiteX0" fmla="*/ 2018208 w 2018208"/>
                <a:gd name="connsiteY0" fmla="*/ 0 h 257442"/>
                <a:gd name="connsiteX1" fmla="*/ 1963487 w 2018208"/>
                <a:gd name="connsiteY1" fmla="*/ 257442 h 257442"/>
                <a:gd name="connsiteX2" fmla="*/ 0 w 2018208"/>
                <a:gd name="connsiteY2" fmla="*/ 257442 h 257442"/>
                <a:gd name="connsiteX3" fmla="*/ 0 w 2018208"/>
                <a:gd name="connsiteY3" fmla="*/ 0 h 257442"/>
                <a:gd name="connsiteX0" fmla="*/ 2018208 w 2018208"/>
                <a:gd name="connsiteY0" fmla="*/ 0 h 257442"/>
                <a:gd name="connsiteX1" fmla="*/ 1963487 w 2018208"/>
                <a:gd name="connsiteY1" fmla="*/ 257442 h 257442"/>
                <a:gd name="connsiteX2" fmla="*/ 0 w 2018208"/>
                <a:gd name="connsiteY2" fmla="*/ 257442 h 257442"/>
                <a:gd name="connsiteX3" fmla="*/ 0 w 2018208"/>
                <a:gd name="connsiteY3" fmla="*/ 0 h 257442"/>
                <a:gd name="connsiteX0" fmla="*/ 2186524 w 2186524"/>
                <a:gd name="connsiteY0" fmla="*/ 0 h 257442"/>
                <a:gd name="connsiteX1" fmla="*/ 1963487 w 2186524"/>
                <a:gd name="connsiteY1" fmla="*/ 257442 h 257442"/>
                <a:gd name="connsiteX2" fmla="*/ 0 w 2186524"/>
                <a:gd name="connsiteY2" fmla="*/ 257442 h 257442"/>
                <a:gd name="connsiteX3" fmla="*/ 0 w 2186524"/>
                <a:gd name="connsiteY3" fmla="*/ 0 h 257442"/>
                <a:gd name="connsiteX0" fmla="*/ 2186524 w 2186524"/>
                <a:gd name="connsiteY0" fmla="*/ 0 h 257442"/>
                <a:gd name="connsiteX1" fmla="*/ 2131803 w 2186524"/>
                <a:gd name="connsiteY1" fmla="*/ 257442 h 257442"/>
                <a:gd name="connsiteX2" fmla="*/ 0 w 2186524"/>
                <a:gd name="connsiteY2" fmla="*/ 257442 h 257442"/>
                <a:gd name="connsiteX3" fmla="*/ 0 w 2186524"/>
                <a:gd name="connsiteY3" fmla="*/ 0 h 257442"/>
                <a:gd name="connsiteX0" fmla="*/ 2186524 w 2186524"/>
                <a:gd name="connsiteY0" fmla="*/ 0 h 257442"/>
                <a:gd name="connsiteX1" fmla="*/ 2131803 w 2186524"/>
                <a:gd name="connsiteY1" fmla="*/ 257442 h 257442"/>
                <a:gd name="connsiteX2" fmla="*/ 0 w 2186524"/>
                <a:gd name="connsiteY2" fmla="*/ 257442 h 257442"/>
                <a:gd name="connsiteX3" fmla="*/ 0 w 2186524"/>
                <a:gd name="connsiteY3" fmla="*/ 0 h 257442"/>
                <a:gd name="connsiteX0" fmla="*/ 2186524 w 2186524"/>
                <a:gd name="connsiteY0" fmla="*/ 0 h 257442"/>
                <a:gd name="connsiteX1" fmla="*/ 2131803 w 2186524"/>
                <a:gd name="connsiteY1" fmla="*/ 257442 h 257442"/>
                <a:gd name="connsiteX2" fmla="*/ 0 w 2186524"/>
                <a:gd name="connsiteY2" fmla="*/ 257442 h 257442"/>
                <a:gd name="connsiteX3" fmla="*/ 0 w 2186524"/>
                <a:gd name="connsiteY3" fmla="*/ 0 h 257442"/>
                <a:gd name="connsiteX0" fmla="*/ 2354839 w 2354839"/>
                <a:gd name="connsiteY0" fmla="*/ 0 h 257442"/>
                <a:gd name="connsiteX1" fmla="*/ 2131803 w 2354839"/>
                <a:gd name="connsiteY1" fmla="*/ 257442 h 257442"/>
                <a:gd name="connsiteX2" fmla="*/ 0 w 2354839"/>
                <a:gd name="connsiteY2" fmla="*/ 257442 h 257442"/>
                <a:gd name="connsiteX3" fmla="*/ 0 w 2354839"/>
                <a:gd name="connsiteY3" fmla="*/ 0 h 257442"/>
                <a:gd name="connsiteX0" fmla="*/ 2354839 w 2354839"/>
                <a:gd name="connsiteY0" fmla="*/ 0 h 257442"/>
                <a:gd name="connsiteX1" fmla="*/ 2300118 w 2354839"/>
                <a:gd name="connsiteY1" fmla="*/ 257442 h 257442"/>
                <a:gd name="connsiteX2" fmla="*/ 0 w 2354839"/>
                <a:gd name="connsiteY2" fmla="*/ 257442 h 257442"/>
                <a:gd name="connsiteX3" fmla="*/ 0 w 2354839"/>
                <a:gd name="connsiteY3" fmla="*/ 0 h 257442"/>
                <a:gd name="connsiteX0" fmla="*/ 2354839 w 2354839"/>
                <a:gd name="connsiteY0" fmla="*/ 0 h 257442"/>
                <a:gd name="connsiteX1" fmla="*/ 2300118 w 2354839"/>
                <a:gd name="connsiteY1" fmla="*/ 257442 h 257442"/>
                <a:gd name="connsiteX2" fmla="*/ 0 w 2354839"/>
                <a:gd name="connsiteY2" fmla="*/ 257442 h 257442"/>
                <a:gd name="connsiteX3" fmla="*/ 0 w 2354839"/>
                <a:gd name="connsiteY3" fmla="*/ 0 h 257442"/>
                <a:gd name="connsiteX0" fmla="*/ 2354839 w 2354839"/>
                <a:gd name="connsiteY0" fmla="*/ 0 h 257442"/>
                <a:gd name="connsiteX1" fmla="*/ 2300118 w 2354839"/>
                <a:gd name="connsiteY1" fmla="*/ 257442 h 257442"/>
                <a:gd name="connsiteX2" fmla="*/ 0 w 2354839"/>
                <a:gd name="connsiteY2" fmla="*/ 257442 h 257442"/>
                <a:gd name="connsiteX3" fmla="*/ 0 w 2354839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54839" h="257442">
                  <a:moveTo>
                    <a:pt x="2354839" y="0"/>
                  </a:moveTo>
                  <a:lnTo>
                    <a:pt x="2300118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btfpRunningAgenda1LevelTextLeft957375">
              <a:extLst>
                <a:ext uri="{FF2B5EF4-FFF2-40B4-BE49-F238E27FC236}">
                  <a16:creationId xmlns:a16="http://schemas.microsoft.com/office/drawing/2014/main" id="{CD5DA502-97B0-4E86-BF1F-BB0B597569E0}"/>
                </a:ext>
              </a:extLst>
            </p:cNvPr>
            <p:cNvSpPr txBox="1"/>
            <p:nvPr/>
          </p:nvSpPr>
          <p:spPr bwMode="gray">
            <a:xfrm>
              <a:off x="0" y="876300"/>
              <a:ext cx="2300118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ast Churn</a:t>
              </a:r>
            </a:p>
          </p:txBody>
        </p:sp>
      </p:grpSp>
      <p:sp>
        <p:nvSpPr>
          <p:cNvPr id="39" name="btfpMGChart834952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z2dD7pS103gZfJ6l4USC3jqtWOPR/ue0umjYEY9KlLthURXCUyUuZbmGDPUXB2idlVQc+R1c0j6vNnMaKvr/AtZGJgnbuoyON96bndofJi3+Ri6+EzWLacpDezOCH680Hhfhx9h1lVKFlzvhxYVHrfba2JQnl5qgtMXioJPor/F3r+Z7vxBptNNmlUwCiC6lMl7g9dYVSHh8eCWMYf/7hphjn4EPpOcU1XUxOGlQWImFY5zYCJw+F5ya0F1VUrioVw+Nr715KQLsc1fJw9BgnKMcEdFw/iGgnPaY+FLTZNCJdCZ065gGa96Mte93NPVc4PG1Vbcex2pplKc8pSxqCGGtBUgULF/bQzosiM+vifxGw9kn31J1AaXuM6XTiMV3cr3jP8VS4yCJnDNSA0/ryNXp7lzOFfV2n/81nqptEvspVLae7hwD6e+K0umA8dY8fFiwaKmrI6wwk1SwcbvrUknXPLVtZ6emK07ThbhlqLTUXBZl1yivUwWj9gZgE6TJa5xyj6B2LjDmnoxLrmTcPh6CWh8vCPcnrgqp0OKUn+vlbymEGREU4INaG4uVKyzEuoZabAvj2SSqZ9mIaf40wGOokJZBZ+YSDMc9sn98dfEJ8ZuBGL3MYmT4GIPaKn4qaC52LobFyvDzrvscfLCRX1Ys2ruD+jvX91VlGOb2+5V8ncvLqJCzji0BvKUcZ2v4ak880sppt84MlZX5s9xJQ1dn02sy712dhZ1u4MzPF/5b3HZTupE3ayjJr5oG0nGwn2UWmHHd1vdf1H/VqK8Cv1gfvCiWJO0PwkZ5uYialF9DEaxb+ZQuYRns2CYOYTglaSgYChH1EibFhCACKczGITOfP0zHRS6brmsacjAlJeh0REdSk+U/9rKUExvI2u0m1Fiw44lOPE4h4xYjV8Hqh3JUVwMGCh5xVEgiUvl0hFHLMFhe3VqgtBpr1RtshhGcKAXs5Tjq1ElpXa/YNdGc3ZSY65ofMmnVlz/PbgGNCzV89aYuYfdowEccdJCsTT4Vspne4/LN3JvM33ZCwI+AkZqczQ470FDF/iT2Q//7kyz6XuysjyDTUBb5Xvv7UNMvQJHEoRrWRgT4ocIGgf+tU7xQ/fvoSk+t4kKxjdWdHDmNUBXVzgtMY87We+nrM8dyov0pgKt7F8QPmiu5osVJPJNRRNCMRRkou43NUggXIIrWrdU1qjfGZqCKFmZniNmKfeZsaVs2W2k/ODdpb+/68UcvRYJitCxodHIsCbpxPfDDvWWu4yAniPjyq58+V7dhyFEv7TVmaRGiQDWBZNYJQLyPoikEih9Rkay3SUzXLnyt7KhUpvbcTogvsgMYqb+D4hO9Z63m7EuPZB7RdAm/Yzv44rfzxrM9FLvbWyzlR6Fg2Ly7q5VgSA7XDjFfH6qASGhsyQq9Dps2pili5cDCcGA6E1aHhKeF1STSj8NvEcjZ4ndgES+QqH8SBzQbPJigO8cPuphmdaX1xT1gwPYY7fHNMezJKPKcPp6jc/kG1Ki07vhD5HjjmFVjuQqwIhGA0hCrNuDaTWtNf6S1/xx87A/Uq895/UKfsGLK1bUC0jryd+pwvduqK9HB0JyLEvMzCQzWjxKAeIFhilPoGvgYlVF6B0XoFNWZqvt3/sOFYJr5NuCfMM9OalgpPxfwkZAwYcxUFoMWoms2A0fggfNLyK6z2ry4S3Y2dx9ouLQi8/hAAsJmC4oNb+2+5AgxfA6WL0MRQQseTMzUr/XAq7h2wWeNW0obQZsYQYszVtLL5Vo09+nKLbol/sVYOpuF9gXM8z/36qxY+/hF8qUIRhxsas5In291UrcTAIs72bnrda8QyiC4N82jQhgIwqRmamvRtAv2QpseGPWGMFCiWIkr/yhn7Q38WJamSEs22TsM8EmXTbX++8akCLlvCXO/gGskUdABuyoQjfJMpMBo/bSiaLPVfye6F7hOyCdD4quiQeOY1MdKNaP/TOdmPV7kNLsj7enIS0HwVGuit0R2wG5eKqgQ5Wk/Bp/Eq04sYj/iChN3AGaxaQS0Pldwiif3/esuZ5hy70vA1WG+a6+DXhVq9vcCiOP0ouBtb1SPeCObRSXlFLNFFA8ehA91LYUBFBixEIdaEC2ssnr/jV0Mv0DQ7IhqCfeOPgjPrb/4agbVnwEpOXIc6vtccdVB1k1oyHsFxT5ElWOoNP+qBAGj05xH1GX4mG9XcTfuet/9G8osAz75fqhLoLglHStaamKKFn65rJaIotuZDm3eIdl7Ucz5PvUylKxQJMYRlwlYw/IZtkEdwzmGPWb3IxkaucN3EK/+/e2u96z6fQ0OCzKkk8kbFBZryIn/iCiyIBvfLetK0WSsxNj7k4nTp9ZCQRKZQ9HVjWYAoKOtJPk3/POX/63LcEepgxZrsTPTUYbKWsrHVj3yBDax4KOz/LAJWuY0jxCFRPDUHISP+KVDoKlsKs10GlcOsdC6RKLTukyj/ksZau5feXzpbUErp0ncyajLrefBwh2Qfv8jEYn6IsmeXkj5JDmVRWqMo4Pw0VelS7Ci5br744JpBwbbPxFDsjNwzylRYc3TkLeHNM93OewilDaLnlAR8oX4JP1p2EQX0IQ6rbgQjAL5X3g9BEza0Juq62vIgCMXumXz1QKTgDBfeh4BSqRohwzUoi/rO4bNp6wbS6PuN1SUaYEaWTDDH/hEI6tfF3mqBA8r/TIKO0UM19rmfanIoqhhlCnGNhLEWfIVAWzHEF74FG3fp2mTuNa7uVoAxMOB7vlTA4T3brRw6MBBExmuaUfc4r930k7yQagIL4o7efEVVhubSz0bVJTVBIzS432SnJawEGX0mO0znQzEe1nrzx1EIixviNw29AGn6Nm256liJdtJ7IbUGxoaKCh6x3+t9TyrkmWtRqS5hd7tSOgTuBZZN3Q2E9dDIYXT+25a8xAsCKn7wQjjDpw4q9d5qFwMjoRGHjePn8UCAwLQsVEOU/4Y7cqEgOiDcOIPyPNae6A42RENbLD7TU3G5vJxVp+73ZLprz1eNRi+VJqpB0u/eWa/PZopcKpptVw8Az9Bp42MR4Md4Akll0u33LeJ8TlyznoUPkTO7ryCKyE7wEOy5JofUSfq352VvSnaYp7CGIs4L2QxUMgudvrDOmHumpuxUbzCj2y1ZoQfUI6yk9CAlNmJXJG1oGjXzJRfkltuMjExWWbToUIwAHGB9FY1vrd3cb5+p6eFQK6HAyDyG3lvdKmjXVXsSW5GgcFZT04JeshlQ1SaWuGFkgHrySsSselE4e1aH0gmFMTiKGlNMPiDQvtnzmIrtOkTQv0IRxVaYiSH0vuCSdONhRIuCxWqaO5GWtrzuuzT76/VbDAwGH2Tg9kso3BQvnjjKMI+zq8MRHSgMuHY5Cl4s5XigYeHJNVADUKNG6T3U/3yVCQVIjtK0xNri03WoSma1qaZx2Q3xpZm+oLNeby70WEvJOeiAXafVrxjXtow3qKxl8ELb68/zzo3RirR3Q0U9gOd0lXvC447CrFJBQrbamBucdCPI0tBmt61De17yb9hCQ+vlhsdaS2F3lsdhMtp0yRXd7bcYcVyqdzdSi1piB3ANKI9Rxe7g3+gPEtxC6UA5Cy7qPWX+aElQfSWqfbICKei3ynJx7kXvdARukOl+TWl5/CI9/qRJuxXBiNXuUvkCIx82meOMFZ+LW/wnK8d+jfRK2L3o1zRkZBtFFDH7PEMtLopQ/+ZmJ9NAcHjpCRjaEQBg3hmUxQQowANS0cF6PUyHTi42sKExKOuwOPKI236uWKER/9RpWoIx6F5x23GSiCTwDaqFvVDw9vfzVgbmGNPM10PMdpVBrH/j6SV6rTvoOJA7M+C5Fs/O8MX1hoDPgFeaHPGnmv7WSKQ2+Bg60B/ql389DYXFPLu8BhklysdmUj17r/coBKQ50wTYlr7LbE/qmn9/GdgoBc7n/z/RynyW5diibWeoIkRolstKcc/k79S4IEz9Fk/lMJ8uZnViXQ18u4b4hSJIi1ZQ/kUUfkYXvOZ2y4cHeQ/mkj92/D7gr2TIDqJD0MF+g3VRdn+jPDNOSGwRoUh7ZI09uvPMxvzVVqeiWAYTVapGM0nmvsXj8HM8VrT017fVZ9uZWzgi9rKgR6cneDV3x4KFnWsmTKLyZHxG/iGWBA5C1/jul3OaR0ZNMdQ8uuL/kKoGkd5d6mg2uLO3q/E5B4ibxVYT/GN6j1c3bChXNr2TUTZhW41uX9SF2VZF4iby94b/Bnhc6RtBOal4cfUshl09qWkvB3i9h9IO3bBCRLXBGh5UhVA/Xe153KJvrKby6jo6mpqItO9W5nujOsYQbcZaHGpVKP+iLzpBbb4cFVMR0B6w48TV1haKfSHEyZiGAu98nBiooZcR0UbP13BtV903MrA2SBApYF35Q0QbS/cYaRSFKULYeO/j3/ufI8ya1hds/5fH/rHTOUylmP4mT8RU6f7klG4SFnRsICPZ9mC4+tiJFEipA0pqGrvjw+nI38Oaq22CLuyBA0IkmFpcqB9uQvFW2CNcZh3grIatcEfPY4yaEA98zb/XAzykla4Tmo/DC2f3J7w8OqtLvECuf7VyuDUglwuVz3N5D8fJ5fAnzSte6EQPDGQvG7eMHHH43B1K2B+f5u6ywlKLeFIO9GxyyVZEzqvOtCTMP7eECQzYyOrHfY94xOY8pMxec11i6LU5GFonsUFH69mo+8mSlLSXNjvJeMyuvHrHx+ZEl/9SaLb8Qlu7w/HP7CbQtXRXU9ebfg288UeUQvhv/kYB98oTJAzytHx/gbmvggaWMN5ZKjLSaNZaUwK9C0Oz8rC4Azr8YNYR9aPjeql2kCyAHSS9kJ4quqD+y/wICXnri0lg4nDO1gq2L73hW0j9uk7vfbeDnXui9JzgfUu3lA0+RGRIvVnqeGTNmKMmbnrKpSx0A1jOUyjL/SYCO61zufhCrs8Wo/YKMZI5i5kqDSujVbq+2BHlOzyiCKPxDknCS4Z993ypjuELsafOn5z6rkCM/fasvzEeQcjBzslY6/5CYMFsBi+RxlXMdfdfewWn1wc8YzAc53QEt/yxsNkLdHLA8ztQr5BjaLjRQpHTvxWHjYJRa7+p0p+TnKUWxUdDTqY8neGYrZ7L0YrTGLoYxMXOWmcdI1kxg7g52fSKsjQFQc28W7sDtdbqZx+qwkM5qnE/1M01NlI9GcOyna3es++rMU4q1194se0KMlOpU7R6hJFz2KcENikgMUMpnTvCAr/BHcHdHvM0ywHZp3U21QAVyLhCineiOkuJFTc0YzDRzyELWRnDEQuVJlx6SMVqNu/jQdZbOfkqXYH0dT7M0IOZv1SZjvZcYSbT/PtKRspBR/KDsZghO9SVH8xxXLL2UzCXOK9jJeKx0r5MrCtejK6um61Q3LfPyHBKwOg/h23160rDVN9xa0rDyHy8bwhke/T4iP3xfZyWDvAjk61AWNcNoxWx6GlGQXuWRVOQ7KKPhPT78onEXtOLzsMZVOs2TlWC9QklvaXxYqfI404iRlBFQV3g4etAYSl8hYYul9R1oZo8qCMRJ/hv+xdJq8bj6g+x7V+67IqfARX3tRVAMvqbbuhyPKuDmtWmf0r3jf/cSSpNBQ3WbraavwT8QU0eSZhsz+6wxBHFFWkRfMtJhoVVYVYt9cS1EeChHb5Az0pStT8Z2P1kahGlH511rkq3qymoqf501UxDVgKOD2szHKvj+plhlpGlfoBvNbG6zygsySiXWk3ZecFZcqRxvlkAgp8Ixguziv1zVJW9Fz2rfIwe9bN3vHi8wagyfZN/a5mBVE6LffveUjKcWG1OjLP+vdt2/o/AzIzQQ+upabTuMUg60uc/WhhY7fdoLvs63RvVoeBcy2V9L6+kcsm1329iDk3Lnx8gSwM46A998CjnsYtUa6FLYqNcOVRI0zsIcgzjYnhXZHBTzmudQeniduRXFBCSsWDszO5In3hTFW+pKZ3qgaxSnbway9TooQPzMPjG01rCns3jnVMPoCQW2hGAMXJbQ2RS2euVa5X7W9KWnEdhGTedZJyqTGXwmDKEnAuMwNfx0zXiLRQJnfzwNSWD7Q0Nb2a2PuxTag5TYSvZ0zU65t68ZmDXsHxUv3Sqb7tHqgUyTLJygZOhPTx2vjQHFams+DeJ4xkndP8y2BS6gRNBqRm8Hc/7qbhRUOlZIWJx1HlARZ/bU/HoasWF08G/TBnwDpIPt6mv0tvOSDclDcuJ3pBYcPaWlBXxA2NVbGP2RLL3jZyysDmECb9aM5HT8CzHU0O/FxlG6heyRx19+LfBifWp8om9XuVu/ge5Y1z7eeCkx1nUkKJ5G1witWMTnZLuOUO/PZiTh384r+c8u3bZSGUh9HFsVYG8s0ix3+6Z2Af25iADkH7arq0QowvkkvOANVhK/0lFW3yl8KpqSRmNmsic569YTkJc7eWQvPqKLmh4dtSxk5dKljhYQiVA2Bwmsj1RiXX9BoUOwKbdInOVX71e23Zeywgo7+/CZSz4YijMM5IqMFI/dOJzsuxzfounfT3MF/kM3c1+BYqZufX3eRm+M8mFC4CNxno10AI0GL9dXPrMxk2K/O/XwGyV0x1p7W0Hoi6mY/Wy4Ayj11bRISo3JqihXqDQWBAHebYuGis9gpeAtA4C7pUrdC/6fxU7Q6igqoxfxjndcpfNE+ipmdkQK0+P8HKnJdAAYwv9UuJcWNXmvDqsdTAT3EBxbjRFIDzXUnIYRReteL0syWdcsHRxsu7+0gwnGsVUCOOMuDzBFheRjnoPUDoEHNSgebdP08swI50IJyjeUGv9oWfTDaQMJrULSaEhDsB9XWIbYJ66+IQ55q36Z2FVAL20IBRNwBscrWsXGzQG78YExafNUvgDV4kiuH1cYHTDEGhN9lUYNak1nbAkHQ5XnYdtNjHls4LFj/BCYyXbK0d7tFIBYQel4fkRN+4yb7hW6YFUPwXxXClTDdYRTxv54KqaXAkM6MLFDmeFVFmZN4Y9kW9GnFt5mxziutcpK1+1vXqkjH9cNJ5Mb5Fl6MAzAZ+GPVTc5gc6x6PC4nrbLDVQoUjax+dulaTIXspgU2SI3wCqxIZ6Lg7ZdAu7h33ykPJFuYyMd/KTwcjehU2EwfazzgJIeguNV1PJRLgv6KePoCR2Y14jtqOLPo4G7XO9h9q7jHSH5m4U6KQnUDmiLor6FrS7/aK+uyg304GU7SWBB60e0Drx8CSM0bUofWyzIJWYTiKOfB/mAO8hBkP7vbn2ENn+5fRsidaRZcFyNs95Drl+mq8X/gsVooHPIkMbA19tsC+Fdme/cgcGwdCWC25bMXz+7W/I3JnUhLoMHyRR6bK25p6GytrboxACcVdAZ5+OSKzVUjgnAglTa4cqpemgQJiv5w8zsuApFRgTqhO7MiySQeerodODFHIN0hV2wD0t2kL/f6s+FirV37QHqmz1DhupylH3fujWs/ljOvoPYUIgLmvUnen04NZKmSh8mYF0amu/FWmWCmW4wJqmZRkNtO9Cprrako7YBMpNf6jVPiqNWq76V4nnm4Du9EIM3MBJ4GFR3HRkUJF1y7P6zVlmRczdVVboalAaEnduRaodoZ3q4Xci5lwjwIXi8hCIEHVcIEmAlGy1nMgFiO6sVepXclgkqwR80fvTfWALUNvhUpbV/G+eP60eNtWK7EJwTD4iEmyLQKBXldivzunr2sE7V1J6l3FJpbgsXOe31w2UfyQ8tIgJqn6F+TqFrT0vZgGtA+B/n9Xb0GMwaBRT+dk1bClSRmcrii5IXteufgZippunoERgIL4sd9wnAJrNO3UfWG1MeBOIH0isoZwPxJoH6G3byYhOs2SK5Ps687mkCbbJfsiJYWEwQOWUG0yfva6xedxM21lIKCTGGzGFfAU99FprwWTu+cd7TojWszgSyYTefvxSqIVyk80jcp+bB821q1Ky9MMERL5zKxUSdkzkVSf1w5ydYvszGk3tegx4mMpR3BiILYRcdmDp1jCySoGYVgEWGBU29pqzQZLqEXa3viRhvg+KgFWI6C/JOvh3+ZZ8NxFpxSo98/v5rDqPB7aB8ro1t1Ehk/A6MD2jDdMcIAfOWhsjQF+9VZofov0wfmMY807QzIQxT6aICicPuFfksBzYt96BWyWxpz1xjvo+JeOJDQ8I2nuunID+jhi4rxfxGnvjqhlujk9dnnYLfQQpDaLv3LM25zMJ5my/cRf6CAbxMNqiAHaBeuvIXFaAyYt0C9ft8IVc7hXk8IruiZ+Pu+W1Y+S92xPMRHwxWaVzI1jSWNtTFy+x8fSwVdknL7JFbAZfXXHThbYleOefC9WLl57PgdPb3/s5HEye8LSOv0H3qYE42wrt3dvsFHdUeFm7qwxEzGeJiDj/blpK9Pa64VAH82CZcY0c34MIaiUk/YA6bwuyk9dcYEBrIh6QPKSKS+1fNCkTzwxOSf0iLQhJJtv5fy5iMdT/521OzwPozXxHMUdjXof0j7n+injpvd0Rzq8JRXyouOQeDZI4kfVfgDo1EHxMZEyspZlbaAw6wP/MGMwJIlBNMLTx2S6mlYeKUDvK3pX0LNujeix9ZznOrkjOsTcNMRSVhuonweJ+flEJGATM1ZnahMD1rS8lBiWRU4y9vAu6sXZHOfMZcFE1AENda84loThpVfKZrbmPXXByLvwyc/xWQq1dAG8tN462oNKWYnIlOsNMThxAigxQQob0cenP3aQ1uiHFQKQhgZNL54HcEZGdz/BSN5KYT8Dudkb3JMqZgXCfvDRog6ENIidKbkiEFPiRzjX4A1SIDpadiw8S7NrGK6JYutNWwqJtLMPKg0NseO/xGhjci3VBjnlmcpOeBoNsLYaKTTIK2NaqKCS8UmMN8mjvApgBWkmsyvkwKD4FINPXj1we2nIIth8iquXjcn0Pgx1WTO2t+y9kj4SSlr9Y5E28jct9r4Awqi7EpC4Y00guNUNNJm6PqvC2r6L3prynXt15AMVhQ+KfpFgN055TM2mdIXf43GqwomtaeIqkPbPNgojz1RhQQADq8hY1HhENNjl7WuZLzd/iq+TmwaoOLGvu3kenCqgSNeDip1pkhsDRm/i6BmvsUyINQzPO01Ao9NtM7zrXUQRN5i9amqpVUvASe6jPAFmJxRby+ok1jAiOyEv/avsX2MH8AveS2dMG/L1dNyDp1PaRYtJHL2yj3ZDmcGXMpewpCuTpOO7FTASmynj8ZBsnvdlAG200tUixZ4G/ohnxi/Vl7QAYL+BFq9pGafO9Kf1Rwm2mwtRmEZ/7wx0282HxLJZWxebp6/1L8jBtjXms6qrJ/C95dEV3KnVk3ipJUr4IRITBDBhID+YERXQBR6jIw7CUVuuv/a1B6Z3XWYVqMB7SNEQo3GfQV4u76THVSzFxjjUCACpSD1CTb6ijlKCKDMAUeRlv7fPe34Q4qzeibpNJuzlB6k+PH3NDsFu+gPKEKI6UHYdHQbW0sGqwEw/i8cUF+XnHOtGip6y6vMzNuv+exc3EILhtQUYKDkk7/rXuuSBlNZuDEDKMkGeKeURuxPAVuPKl/rTQQKcXNSXRGkGgJeCkXYOvF8vjBFTdfUutxPGhiPFmIoy8AA7/R9Bxc78h9HkD7xuusqQHFVNxBKqFemdyZ0RhE88MA9QlXI7QyZXgi/5FwuW63ja5vDXEieNr39daBsBDwf5e4dDjROeCh5zqKxc5eZTqO6GUAmP+JZHwSPHaO1np3o+LE1spTOZllYrMM5Lb31B1hKNyk91rOAGvZ45yT3TzRuKzibz8gTa9qhwRAApwifOjReqj7GfMatBVNIt8W2bQy8kiDeD4ArsvTvob/GmjpPDaxlmYcJCI/kRqjLKneVLyvff5EIudfkt/IpYhrVe5YmgHxiJZdey8VeYKPDBQbdr/whBsa6s7c0o2VXJyvSk3RQZ5q54f2QeSlq/tp84AD4YPakawrKCJqXCqBeg8uZudXs0kWNEuESNEtQbzSLPW0ESCtid+oe0K4JyftDhfIrUAbI85Luo5CprEaZOpacLvZxL6O6AXoXr+q7GfrXifkrL1CQSSeeul0LF2zkPbe9iKxJXHOxhkU1aqCIFCHVk8+LE6Qte03WcQQIPbE27SY2yswoM8H5KkaNsPuY0dopWFx+aMYKBUIGYwnKF4OGeDFGKWbWCET8jJNeKevtUN2KaDNEEB8xB5KrVGkINA4rtN21qu6VEhQm5Kanq4Ll4be6SEpyrFaenS0EdvFaPfvpIt+MbVa/GTJCj0oY8/c9uy14JSjda12THTJOxcx1JW9IuoL4lQGeWFFvIkAoGhDSE77GHTtBjUiHQ8tDf3/wJfCYx0zxtSWF/jYephVE2f07ifqFhBbvWkxogM5OlKH4db6WGya9lODN4dlFLK6gjwWUr5F731FTlz/nf0OXCyBb7NSVH/2rLA/ZfrhguZhXGGycZeTrkz50jrAzABpaxfj/IKRFH7RwffsNo54L9TgNfxP6FRTf6pQ73kdyOnqD9htaIaKM6EN48Vflt6qpdMHxBubAaIcNidYQidiWP6B2+wbq8hbRlvmBTU4KU5e6BgBK4y0/R+Vslb2bXXK2vuBZx5k05EOZOmDDLavcaCQm+w1gDkbUpqqfomBr/vhiM/0mU8i8IT+sUUDMyYHq6JKMcbPWESqUaUUKuGAJmfOWDmbX3z3ksyMIS7500Kuhh6xaPjkPPn4AURiXFFdAcfbrqYFkEMETd/0wjjH7rYRdTClo4KAk7hRc1SPvY83RqKJRfLsEaJEEewb6yv0XJN06VZhjKcPKHsoGgwu+OY/GFHKEA/vTsKQWbM8Vb9s772JIElzbVhDNclwOVo7YUwdJtddygIlTb891PCEXmVBrJyEINscCWuxQ6glppj9IERKDRrfNp66Ot0TGqVzZ+aJ/iygCE5qnniboefUPj6h33CREwYwwy/vZhqoIG8jcUAakWobPqbN6h9Hx/4aye0PZ030+sZdm+bVFmbVLl6KkzmZUJQQMRStmBG4cIDiEdBfE61DAKTUjSOjDnMghsOke8tX3eRttVJsbXGjWA5cuHD8w2SOIJCVZ1cFTeFLr7RdLjX9UAvf7F/68ohJa5OfqZr/XcXvLfBdK7PK9lxmWBAN4uzvd/rLo1h356UZEEF0CaY8+9AFOGZ5mZppRv0ZNuFSvL0fgRjoNIrryiQESuBB9s1CLSkkpH7zbOVqxCQ1PVeSk9Y5DlYX8XfPdGRguEf7sAXb/b2qunBI8/qsF2hGLcX6FdOjvHAvmprqB9Ke6J/hsDHzEHONk43fJ7fJKTM+2MjPkJJNNFOOOM3LCW4eGiNeFMcOKq8sTP5kkjCZ9mLyXUYL1/otwjqy39vwGGLfhd1x/FlD/TaXiFN0MdhFUr9QKdgrOidX2zhEMNGXm4h8c6LV0uQXt+pKkk2WLrWRBiaptUFmRFXyr6j7Bx0BvyjS9Vjl1nShNMDZASka59QKEfseJGi1Dm/GvUeaa/Jy17MjE+tXerEGJ+2qE17mtrUHrvOxC+Q+4NKqVq6qEn6mZWhqbTxsPZWCDgfeChurLC0p2NJxefy8Y6pO72nlJxeFr2DzHbSu+2a3UsP2sNpkt2BT7rwCBkwVGGUWayNfJ8KC3Zkt/8Zxw49heZ/dI7FufX5fdea2ZNgjYFx2NydVhVydO5cF89XcRkueKRSqLezqcEPhjnzSnXxcml47F3kwKDKll7ng8uUO63yq/VQRoYx4VyiBiFLhAhP/S1GYNK44CuqrRJtsGsk2rx01s/0KN5sAWK5uSmA3WKVQgumpcr6mdvOeGpN6T1lmPnc8dmNjQsrxTrg/byLGkraj5DUVxehLkQqJLcmTzhPCY6ZQAS2DaQsq2mBzlld6tR3EgFw7gKWKusdDO3/5EPJy1Yl7wKdSOdwIbWSblVLP6I7sjDgH3hlzLcj0ZUQB+fpND2A4Vj/cmlwUMAl5BtVI5LgKnFYJ/FenyMYuXDZtVuAELFQv3DNnyY1kLZNAMzp6JDlIkqzlTOEExkNHjrlGGQ/53Z1xrYynoH7ZYZW07DhIGTLbDqoCpSly6BxqM2j4lJRFMC5qGIdI0wVNo1Z+SlbTLuce9sgy8NlpUu3ulLvJOOYP32A99u7dj8FGhNWeQCJHrKL0Mjbmq4Idj+qWA5raD0J165LXcYenSl+ckkYPo0K0XKo3AySyyQUFumXijsyNxRagE7lkNiShhzuif0MetsmJbDrGjNR6RGRwgCa7pqsDdcHeaJl5zL978HMbbgtBd9DwVftEVAd7TbnAPBiTf2fawHm1kHVX5KCvlGdXC8fUp6hgKcGRMOTsotRtwfUEBavRpEV+9Z+FkVdTDOJDhvJXt4Ao1q+wcRsqdB351ofygN6U411uN7lpRzAoZFc7iFJ6vchouD31BBTRp27HQkIEtYfR2fris2HTp2hpQ8ZMme+mDdSG9WYFDee5OdLC8ZqiHguuDy0VXSYJnvkgUqeLiULA3sbwpL8BUbN2aeMRZzOi9jkRKbdIliW6a549XBK6M5jjU/8nc5zoqkzeBMixCee8DdPneunke+ZLFOk/q86ieDy5IFVRlZg2KPaLflGyFkdRX+u2CSI7GS7QQCp9ptEl1RgclW7b3JW0WHa7UGDskL1u1yAeEuaHQd4EhCWXrydTV5TdVVevu8aG0SEKiO/Bzq6o7yn3OLXQ+B/Q/jW7g0wHB+HlRhMXbOPQtDU34v5dzTEruqbAKwt3q/LgqPJaMJVqPhSwU3RK8ZlTnah3ryjNGMhAoiytO8axiS5LIuJmCj/bl4r91Ju2p/sLUSyftdCdlWps3E20TzoJWMpNpVBm5tVCPiBW15wYmKINfyr3a+BpvIhvJ6YWz20nKAIDpBd0cp6JMClAHDO4D+WLIiEX4rL4a3VdzcvI8+sOnIUGUapVTTheQILvWwZuzCYd/dLQ6QM85/F4fImktRmb7rinU3sGl0Tx3+k8nGrgz2aOxXFAkzhFuRLUhfjY+xY3H6Z5b03RbOzu1iPkM52EDNRlGnAIslT0yi9v1B1aJlGB6Lxt77fiz7f5WHZ9L3wAD4dwD+gxZSZC2srCC95fg1Knxr8k+YY71ZvT0YJVz+A+x5kyBFyQQM1MLaUYEIFZyGXF8tXnSGJQqXidJkwFoqFEsldLUNHkAbZsBdBNpofNNFK0JXbQKNyZumakYDosFsdP291TgI/LbzA8mzDD5wAyIHbhjO/DgVnL9+3afbc7tL7EjeBFSd2jdosqeDGuiMtXDNsnr73YPmmkirMa5QP+sVld8N6vN6peCGm6IYTXA7rph1uKXva/mCwWJeLdagFzUWMbHvcKRSbu0+Efq30E/RZk3C/rBuSDQTImja6kuLWN+JqP13LjmvGoV5B7K2bMWDfxiQLjgNajeFb3HRBg0goovE8baNK/euuGZuu2jVjgspoYYTF1XYb+G8aQycKDhLpCXSQMDBaqzckdYUur/0wn9kn1ApcF/L2npYc2QWbGpKHyXQg0gghZLw5qTf3DzsFJ2+TfGHZLGnsiIjr+x+fnpqNx8vJMdqO5BsaH2aDasRazDJ34xwzgyGn/pgMvRreRwlgwse4s6GE3vJdcHpgtcz+4fGBtiYZs3uRbFQLV8bHesRJZ7fjkelcypmkquvsTakEsfWMTaHWqQIB1IVyNd+WV0K+TmH0G3P9jLc9a9rOOGl49uPmglhOnLYzTZNUjDrLpQ9hwGpLIoVYaWbJCLVwOHd1/u2yEYwF9w8RYRgzu1JMJpiQ61vSXGWXSPxJfvRkMKyR9weSB1Hp0pCc9XLIU8ZG/HdaWC2Lg1bl5Lj41zk7Kuu4tuJu8C14fWZovJIVYaIcKLwS92V1qgSl4UJQPToluqRQOhWgr6aVOqQRcVwFEG/ADHHwzeVSPdIja+yp+KvJl976wiLKJR0KF7ZUnp8v09Wmnl3H+65lEqQ+es2tSu2kOwrcUGhb/dm0g065GVYHHWhdGkuLH1J/K4inkji49APFP+YR+/+uWnvrEo6jgOiDcPRGgfSP31DkvL0O0fOhuQpdvlsZ9V+wKf10k+BftVl5V33RU1wmZaaGD/XAa+TWgWj3rxYQKDN9WSHMpb4muK/XyUkH8w+5SfsgCWbYptllFptMfirOE3mcLt/Ey580J99kelazTxzYQiL67cU1TH8LwOeEbl2CrtAVbbX4vS40A9QP9aP5h4EmLLUt8/IlB0WEVsu4iyI1ZXzIARAQDweBy5jeqBfbX6B3kYQHpY/71qRJbeU++lXATIVKmoz1HYJylZ2Fz+Jl+brk6QIUapTZDID5QcUE0qJA5waQ6Y/LO5hrq7NZQOvqBeYQz5JMZ+b/M/ZgNWGbZReMiUWsEv4ueb3fRSOmKOGoYn9eMe80ykPjE3PhyynLfLfnOyc+F+gWvesxpkuEO9vSkEuc0mfARmDOAWIYqit13jvgTAFvAv+UK0+feK97swdd+nWS3hMBawUWJasNhSwGZdiY281HMoFrzUWbMCGjuVjnRGHj7aino3KR8H4faPco86jjVg4/bxfc/D8XIUx0bgLdIWpDXaPOXsdPocBrUic44jL1wRH9lcjtoSMvAty/mPv023FuhE1jMtSIBArQi6YE/pyOOCtUYiyc6Fm3MnhrboRknrBU5XtkZGDQVcr5x3XkIs17BTzJtRxug1juIivbKr7r1vuMLYX2eo996235FlngnyibBkaOr5poUTM57diwdK/25G4hoFdX+Y5jjZs1NAcDTbzj4Pgrn3o7Bv5FgsaW7JO5AwtxPtXHTb+g7Kbliw0sDsRHZrd7loYxjUM1aA0GltJ5whwGIrtX69ixEXf8s7vOb3fghjQoGyZNClQgZYWwDWtFzTwrkDF2kf10F3Us6SFX+8zv/xERkN8JBQ4Wskx6KFHd01VXA2yIwHGC7K27CcH2J8cYWOKtuSIl670Q+EMlj77Wuz+28e4bSFNJuMTQ2voY2CnROFmQxH9lsVcYv/8N+qZ/ujyOziohXgMmDToq1767+MXWcO58RnFLJm3nKznK/wn7sTk46mmKvVVlSW9WQAtLE8a67NcRvL3UZVFo5B42kvvX9Y9G96VOCQbA/C5n+D2JrO4QeQXm/vNEh40z/tHcb9GFCJoVu5gCPrz2nfaJWLVMWqIXQhpiUOs150vCY11ei9SM26EL01gJv5yeWP+zHAVE+KJhmpKzm1p5aI+DFYdFiuk91xt84zd5BdkhrjfvLZuizTX+sIqMu8JupxxhnPCutwY0KuZc7j0yQ8790XInUGLmpoAMpB2/y8Ev2++TgJs+PtH8SFCv/9RezrWfkSStB0Ht9ftXREowdHi1WZXvLy8lZy6xZcAknD9Ddp3nf/RM3q1WAl+BpCc/kGiHC5AtHrfjYTeC5shzaD0Z6exTl00wpecEevFYRogIWXBgio0NI9MaYD1Dt90e7IJ7OJQbQbjq6xBctoXZSq8IVF14Vl40K7vrItiT8NdMusqrk67tj/svXEdSp46A+DFRPIzUZwLdefOmXur9sijjuB6GFFfD6U4PnixKFcgDMTE2BvGA4DeH2VGfKDa8L50ZUalUw69MBehvUoUTvvGvw1Sxlyg8ooZIZ1x8BXo8kURvDRhrZdLhkkBdLOtYHZaYcjlywl2GPlqRUVwxvNKb+iFdujoGmmeL9DdfCfrYJJj8pt2kNTRJtdmp2T07K1QoHzfT9LiTZmXzzyBN8Ju5EfsPamrJl2Zzdqw4BPl4e+jNa/eavbFuBPIFwfAjJiIW2go8OLbPzmG4Qsvw4bn7a5W90rHh/Kkj3Lr5nLxPQHasqM2oWsddvg+g4Jq1dLUd07/WnHDtZn1BAbnpTN1EQbdEfFdRJO8w8KJCQWenE8thW4U7lQB7CCmLDsE43Pt2to7W8G77smK1v3fBQv2cBJQhQQzVVMZZ5yzRA/eFFf3zCuUkuUnmSIO96EQtvZsRsMLGSAmyHCLdXUh5l/3Xm8UktJBDUNlcnorsqcxZdwUXi1XZzUJK7mN2oqJKetmG6gwhD9dqIoQlLwdgIV9K33shD4/375JjJnRix0AAm/M6oF6yqPUZ2/SSao+nce8pQYfPrsZiS6dWLhmFKoCeT1gAb7oBteAIHUVqVckU8HbBOU37tIyIloqenghWRArA6SQPh7+VvWAehrzCnWtKCBYbwJh0dvMNM2vnPYrsWJT56ZDaWKjADiOiK4fh2/2p7kU1o3tpT8bZUGOd09VvhDa/1rnKKVW/yiXqG3ie0wLP0AYZZT5KC7+sIqNMo4uz8gkNSZESyF9IqSqU3bSTMHqpWI19czB2dDZkQ9PoFj9pzA01pdycD3SxiqBcVS0XkVJDyyCSpstN+WX1SLxDukH9WwYzT51hMkShXRiot5EsSSeAa0RtrSHI/Sn8dftHM1cvyjXXVoI0zw+0Ur5zZMiSej0MkM6WPMApZS2NJ0KyDwMirP19v7KbCfB+lG85v2KFNOSfaBW6kPj1e9yxicy9mrk2xyuQlBOB9bw5EhnAXodjT4bApI9ekT92eeYcBge99Xm/JOKAX5/iSBwErVorq9QFmwB6shFwacdGq5tV3Vn2xWi5B0B/gqxlXLVl+U5213cr+QLuITmPPI7QYkCbUkst0tj9wongXm+9BPuz2ChlCpKP4wwdNK6BKFkKVm3AmnTUuKNAilg2H/s6BxcsY6jvBoSusPeqfUQ8rB59yOTQaDHoV8vR0vrauHgwSbZqZrEBjWhc68oPjZChuvVXkjL/Pd1xiWNEHePR2azj+7HC1sArXHrvkpqF4RfWhPMx3fIoVT+iw0nCf1NvET7vQv/1lDaPUlTzND9lkoYFIYUoUF8O/MoTdO7x4kgTXeZvQ5Qbb4zggHHDbR3kBahrkvD6yZg1/SUWtha1gO4/lKXIHfitv/h+kmdNkjkImZfUlHxQMunh5t4oB8J0h+5iYgtcJzLKpJX32UlSPDuAst3m2K6d0y9v6zEXrrgXCyY4AI/Q8VOO6PSSmCQtTtPExzC+bVI2fpSS2RlCr9fkzXXs6MdVf7am8F2rpefb8GE1Woo3nPH1wTaJEja/OZzIfgjAnqn9eUpkvkfB8zMmXNefNQAxEyqz85toEuQUxW1EE0NFwMJm0sMj7RRU6F5J4mxvpI+td52YASx4mBX5TdFir2TjvKat0otSW6cjaoG+fNikGG0siBBl8oBfKbZjkgfv7Bm2S1lyx049EyaKfy4tzKDFaugBug0aJ10HP9x790McCc11zHFdPxrs11qo5Ym2i6fy05hxNyo0XD0zrNRf/Vr4FlnkdYT5Gtf3QL3YAOEsaAKeXyphAheu10iELLbtbKAgD6ZzYtsMHZ7Pftfw3aO8x+css354Xi6lAy/iFaWjkDgPNX0HBScY5BWdXvtsJ6Hx9K7xTnfGm20k9OPGoEPB3m74AbNHqqnS6h30VEsPHPyD53SIkebmD2lBcQl8l+BdcqUdmcWiRaeMUiizlxmInPdIu47RNxA1xA2fyJXMhsZJAi79mDVJDDk8u+awgifkx533k1mkX8eVDdc7qk9+hspTgm3qW2KwXJrRyYbOgYTcDZaHnSCNceEuf3KqhFpyzP7o7CybB4SdyhOprSt93uKqxr/6FdcF6jhUd3I9GvkFf8t/X1zIA8Pf/DR8uALqG+KzQAnzEsWwBmfu9c1rpYRjZb49pl0lRKjqxtfhk6Ky8weNHR5ABdRdyJ1OAvqQgkpQInA3ckG/ta2XjxTE5EENWqe3loxSg+qREIwRIlJTvae2hdy0XMX/MkxIPsKvKNKu83yagbxBvPYBDL2vXYT1CupsTk33nwDhEnNeTy6chG3CsPqtqDQ02QUdXksyrAGBTll6lNcuqK9z95qY2nPOXFUTUrRvuZZIbgD30k4Y+XPf6k2aJRyrMrizdqrXOKchWCXSGmIuteytPYRrBdrjVDeaBP5akQx5pk3qJv0pbxfojbDyQVyAvxB94qCTmJMrI984sgd58LNhVG99hrP269hz46akwxEddBdXpd8tEHenZCg0FHoAjD65Ju1fzjCSYVOWsew5Uofj1UI9cs4vp80mXgQeNqdbhP+221T6JQ9x2VOCFt204VxR1JxaTo9+3+T7ZSZa56Fr3fZxvIvBEsJ1m/LlyaBCm0C6Y9z5LAF1nDS8h3nEQ860BcHYNt+fIpCO4QSCw1hWu4PD/jnnrxaFNtisvJg9+qbnMpNmn2HwzXO3Cxk3+eNYQ83EPV1dajkFOD4k2MqJufgPMzNx5dIfvXmr/tK9lH0Y7iNZMqM/bsRaRiXLSJIDMcLm+zXERemvan90mn92pXF3hgUzWjZx6/48JqqKV4PBXSfiFOuCDd6+9R8+EVVBG6CRF6rpU99TtVjO+8chtXKAdMBzE+BRRNS6istbw4qX0sjJ8UAvQJo3aYkEKmJ4AGq3E+VUibOV4U3nOcNgYsr6W9MzGh3xUOIECGS2H0RL2jlyq5dU5TGOgJdi+9m1CeO78GUcUrioDPukjcBR33NnHO17HqguojlsT8AhOxxaX5ussbIXe+dQwod4eV4C0LtnHeqVlhvxSdk1xbcQLgDsP+Yy7IVO3HXNnTwcVNg+pLTP1kNgxQxRQ/Wmw/YyneDBaNSm23m6kjupOaQhRIC/nJOmLbBAFBb37ZQllxC3OLJUxv3gT+x2qYcfLsiSAREzwIEkzYY8MAYmeAQXJBRVZ3uUQ179Ul1jd9xdZHy1odc0ouAvNi/a/Q0yhOnRfjQIZ5ftiMy2XqSUMGEP4rnS00zGuSWvZeraZ5rmjuDBiV0/ekQba8rK3XsMWtHN+GJI7FLwt6JcZVy/b+2e5RCSBzUvT8f9267VWHgtsZoeZUUriOGe8dvTpW1cmZMn7nRI6VMbqCfkSQ5Eu8/iMM8iJZGtc4GmJXOa2bObHjYaivTkx485wfElQ0f3vHqZv5y4XUQP2cuCzRevqQNlwa37zf0xzhjLOg3YuYmuptI1359ciiOAqp9PUuvdNTmWFTonEit3k5UsbXTQjHRYD0le1Gmo7GdyhqzIb8Xzc/8FSRzf6W1KOP6nfXDPXA+L8dAsF7YpQAsZyQjJHP4dz0lg6+jAH67eMgIapgdc+cqcX7V8pQJWu0Wk+S+rXYArnXXNMGYkud/LS3zxwetsrN9BNyz326JY52MZzPZcBRxb/OTPLmHI/kcpQbxG7Cziu/DUcOS+sQKRfi90nKDXvRf11RARZrRm8zy0fU67y98lNp2TRrBVKMGuXQg6rBYNkvgvhSWZKT5l9tEFa0nJDKdw4nniXfRZFJ2aLEFDmWpiw8ap5bWAA6uJpKCMEsZ4wpQG3TwENTvkREIv7ntBA7imrZqcu3AGjA+1TglhTl4OUrXt8+RR3KQLuhZlafVORzu2ABD0K9YkuTvYODVHwJlZezRxI/aRdWIDegVfCK+Gy8FEc1oqSXq4Uf1LXmuGcIHFPRrnrOwh4Y9rvKjZx4PpnAxPTgU3YP5nDmjA/ayCTGmdfTwCFvJqnflodXE51R3PDsLN2BidAJa8OyVkJppIPPlKY/NlipCG48WE4mjNuTH8XHsmIW8bXaGQ2BwFGUu1UStODUZe3+lgnra+7JVWN1VBOUKa2o87waYKA4vUWNR7JMv4wCoSfCvzk8kp//80t0iSt2MRo8lIrVyCxzmfjmZus/nWzRGNpLYJWcPyeY1Z8lnlOinTz+kUyx5MTfPs0/uFzDFS/tdy5wwsYZqjEvupKgff6jdKTPd2n/76pnPaIVWpgzzTBUb4KWgZj2P5b77gWZJXBZJapfLfsx9JlWJxqaC/44FjCU02LA8h5plcVqI5UJRZsvkX02sRzZaX9KBjNaiwU3uoYkXd3BYkicj9Kg1HB0g1Do6NzLEYeAoDKkrt8080Ma0KL+sqkR5bIwd2gd1vxWMj3/eLM8P2KmL9ePsZ1YpWDnmazLmehX3fNOmX+uS+n1KNcOGuLDlXaQ+87SvenJ3cmPDNI+JUgo+JFzVvSEo94E3DXVwj9KRBzHVktsv8W1/S0yPYq77N1LxmEv0yJ5QuV7s+uh7bjJjVrgnJwFVehkF2MSsf9Patfp3MfXiDQ1ASoOgfgqVs0WZHp/sxD1dLw07f9k2PKDlxheXTQqWWuAEifOtQ4UogIH389XR/VKWwIZcPHhcWcWmfj9N9kuIvy9XodrQwdWGR1MoRMNC6cxmBlXpDaIdqeeHkDfrY4GPz0l9GjKVeI+LQOjT5yUoq2yRcy1gClOUbLzdXAVraANNkLsDQgKUSjm4YwL3ShasDZf1JfPCbZ08jIHRNW76T3bQrS8b6+BWw3naoNgahWLHbAZAqC0RYMucty4VxaoyTc9JD6HeWOfUxchU8qFP61KOSyjmY2G+wj/LCPYY8Ts3bVl0qk6MbdopGartBkQo2pXvhQpmZvjaquzeUwawvbOJMrwzVr5euAMor6zLytQStqRE/YeWf/tnsT3A885CMjtt0pIqtTVcaM1Wi2Mz63ND+PB/VyDlyGUAE6F28vH8133b7tbYRHU9ujHBoG79OTSBq+OYqvwRIqSuK4iyhrJ9Hg/c5pHh9Z2Uf1x2Hp6r/CUEX5iZjVm2bAI1UiLkr5+a8g6RF8/xxrU1XrVyWPzMejeEiXyF0L19v9qc7ajf7VdAY4cvNzNXgLT07vMpapfjOMJ2iEOS7r4344yMu24n4Ri/bKJZFBmh7AWsszrx3CttpntKsY/R78TLmMBbvnarq+7t2WXIJ6TES3mXqicp/I9ZRXryhAKwoGIre72+0sv1Tr3IGNaVjvanGJ8HmrpRYc1XbVTSwAcjGH3iLqKRYfqAsn82090vBGoFdN1DpUTtE1T+dxXQu4NVPybB19Vgf8twGGrin/jarre4f7xG41ccMxWWNrYCFJvbYGXdI4IJQo6M6Ei5jnLtH0oLxRp5khNq/cRMEnF/tNh4rRH2A7Fldh8IRq7GXVZsG7Q+TBMGCSI0i6uL8SjOaU8674fCsRkoz4IvSfErwhSGR0kOLWePVZwAZKCciyfaDQ9zJjp9RnbPKmzRfad95/tkoJ3Pfj/JDwTKX5KNnc5oZZxJnNn1bv3zMnwuJjkXYfMzj/+2N/J9hGFRK75mU0dzvd+kjzKYdtsBKuCHaO3rGstGkhYpSkM8wjBFEoAa5YqduGLRj4Z0SvlFlicMtW91UBOFFWHrD7Jr9631xt5vBDYHa/BL8f79XV5tDh6c+gNh+LsRZEJAIQG14p3QFTmJ+IQZPh3GoZ5TajwAbecrbQlRMIK2OZBIxX2kNE6n9QMSciHgR0i7In0R1vpk0rRdrT64ib2kutCQXCFxP97AcekXVlEy3LSKe0Yr6QQkO9b1pil9kqY/SsVC+Z5C8OQkaFNp2NvtRkB9SrcImAu6RrdcerwjexoLU2mbt4A1vTJffIs8U+1KW+s0+Gfj4CgpyeAbKachikR0iHconLUY40KG4cFEuVwjrUPGGOnXGmOIRUNrRdwueEWO/I1iZ8cxkRWNVcpo8zAAG7SweNkGutrvZLgXrpJaEB/0B6pRX7lKt6A+TjRHysTkOypRibGWzCJ4BevBuhMKbaFjtVS2bf0DSxWWDqUtdjXHhEC5RfxLhdoUVS5IMxC369YAoUR8l9PVA/xiVu4TOElzty4vyNAwmAFnrGpKiLn7jct6poSGvSUCB49E4blhQ03VRsAPILi42Z/I1xDf/SgZUxk9Ccw7rAGc4W14dxu+VjO3VnHBLLGWhb7XdK+23mipiIks+DAUq2qyVgIhPJRjBaJTYZdJcviJNPBlSDbOYfcNCJGh6TDFV756MCggab9xshnT0y1j91jnDE1yK6dAHUlzbo/N7XXqxYjqJtwkcE37FjE0qQD5yGF1DwIW0m2pA+vMff6SVhQs0N2gooCWtgz8ZjS7ZZCx78D7b18El/8t8uaSBL3i6kUBJbD8Q5+j3hE/D3yxlE5ZSgSg7P4gZ2EjG7XzNpSTYXl0GYs/hj+7AFk1eMDUdCg/7ybiFrzef+F5/YHzT/FWCOUTSEnGAYdivXKmQDpxBqbVgXo8AoryZKkmarsI3wcct3/6P9rnPG/ds9/EufA0zgNuTybLW0P2Yoqcn6XMozv2z2vOW31GXqNTstk1+momwc7VNc5Fde2/HD8ywR5LT9Dy5ZWNSfaSyU69My6tnrO82rxbE/9DOpTP6JkPVvo/FOV5PCYpd1D59Sj/WDa46Pv7yg1+2J1xthqbcRla0Vpr8vvPUWq2QUDlRxDqWurT1Qz5kOd0k5MAwkFwpvr1ybKIAldMSofBDssL89usVTxoCCN2vflnTMcBW+q6PhfS9V67l1oZJd2+tyHsgZ1kvD+RiZ8Uui/faCttYxo7qSckBdeUsjyVIXiBfA4MlkqLaeTwxtT46OkGKPMn7msZTg4pMCiYJp0+jdkqXwNWH93qAqOjzJAd424AEpZKFj10Kuq/PxG7/+a9c7CKKCj7USESEzlbhHwXKIvcekN3NjRcbYFU/cjrH4zqT/c6Sh7aL2KfKATk/q229LtTn9+m5V5ubee0bZYPTJkb31UspEWbz+W67DHrJm7KN1nrBmDYdflGyeF0iUoi+5fKaIfyE0OwZh78dlh8ka1V2TV38x3k7YQamQt5175PPVCE0XS4FYnWrw5yUBjCIxn0PxGwDONVOHGAG0fNs7lNDD9bgjYlXrWkIHx/jrApYKhX1Rpn31xR6Z/b10MtMepsDvtjgihxyB6tShvLmZnNnfeC1k1ZM2J0pXpaYhCsrB91syGQSVq/QLjjdSOSl2J1LlfStIk29mwZZ6NpSy95fCGF8OyUsap4sZ399lrEk0WLI7Lc1cYXmk7H2pRNCfKLyd1Kaul5jqY4xueH/+OJ3hg9h0dRDYw2ByUjLZs0LTum+WSODKWy3ijGJUil0NTVS+aRzGYpM4EXxWC7TD9638KNY/Jyl/vCIVyHLn4nkSd6mSp1wG1OECbkXuA5B8sX1a8QuMY9fIGWdkQjFdVNucTNEsGZT779nvn5Hpj2INdhLh/UuuyuA7Og3AJdz78R5YV/CAfNLAj2X1EpkLIMkx09IQ+PbfYiHBdyItfzBwf+iwrSMB31cVw6fdn9jsO5qNlbSTcMziuyj1h1ikXXYz05t60kGTJCFUTtBAkVYr/wgx0Uk8pYW8JQCZHtnwNM/iKu7yI8675VF7pP23t6zPyERaTtq+6WlMC75l/JdXv0ZBNWpvHoLaaGjK19pcjuMxSJQhBYSLSsVw3ijeq96cYIid4GjpeWhEAd08Vu6S7C/BecVk29uoi0LbDKxiZUTaLfZ1WSW+vjiChBLbGiRMPtQnsPe/frUbFijyABVv6xM1rLxajtnqsXtZlm+1+ImE7tATDKt1Tms5Rir8J824Yto9T35S9tgoR8r+O8BkMi82xnqkzwdhB0ub49kbsLtDY9Gm100bFPDLscHL0bSBfsDbTk91BFSEXCoWqDeGQTmvXT12TfsWFnjMvhpYl7dUpU+0Y+UOnTL+VkCsyUrF/bHVtvy3Md5rwJOwJFMpBLKBEvlSVlCvjFU0CJm1Qcn2Qm+iQpDtdtXLYzd0gVvFe9TxB6P/uzQDWWu26dCePVVyRxkohUmsDTsMptZEY3WNk4mak6mpY9dSuu+hBwRDmAXTWUX3CO+iC+5o3sjADjGxO6JWLpu1KfJse70PB9iZLmgj/2gYe9ttCLOa1Hz3GclDDWbB3cZM9aSSU6LvQtG4Tm4p4Nw3EyREjC+BVeXhoZ4KI1CiYLzZ8S1zDz6zi7/yCi08VZjqn/b7RunOhjWLv1qUVSvJzRcbd0OkE3kdWvyCMcKeiSRmqRKNx5hZeebDn5Cdbygel26/wvp+/lQAU2Ajtl+Z6/sOUNZWibyfewQwph4DYOblmXQJSKV3NIPbWwavSFsJa1H9cR0tEUByz5e6JSZTZTbtmGRKhbiXUsOODoPELe6i2UZQLGEnACFsc9BVlDB4/zb3lopos8+HOaa3XCwbmveCCCRD8/lqAbjoS7LsGNh8Tx+1BcvSh35aYuc5iJLDcPDV78b9dxu0vIEwPWdK36Z0I7Ze2T6uc/5UQWIG/8TznmkKfPt+2jkbZeNb3UqhibfZmgOzb9AJQXFsLBQrgxucCxPDjaG4ASCEIYqARhqZac6szqKODxZsANhh/E7AH9JvGlmIdi3/wCspFCpGq79ieT0/Yo3fB/PmxYKM7JipKpPAdaB5x4ZO+dPiEre2LRyAsl3cLeeM4X9txqjqX4V50eQmSweAknIIcHeb0Z4lOHaHip64NG1/koQXxtWaIzA+SwPujyKTiPzW+vAq4IciiQtpbInPqj4g2eL8YvFkDa+bHTsii/Or2TyDsjWunRbDE728TSEN70icxqHQTWnlhkhunyjhjWROarF2Qr6cjMb9/eQ7DX7W+Iu9RKKa+yFbuFl3vyY/3/ZH8jfpTFVE7LRqdvy28FJ56Gk08x5LAfhC84U9Ur+pTgnULlL17t+NB4aEZ+gnxZQnD/+UYCUPnhcN9oEPjKc/VefupAdka0k30kyzRVQ1+aBVwel7batlb9l/0AkQ/xsLKJZyGFcgMr2gRNg1WzN99GeJ3GqBcz1EFHjlqLuVtE7SEbX1TIYj6/l8s1dTCK9fNaXtyKz5y5MzTkIMZGfZTiSt7K9CCTE/veCOIHj3ySnL7oQmtgENVi6qaHVrZ4sTfkNIKxt2DS4d7z6Z4LOCSkkfV4t9o1zcViYfdl/hgqjZafTfr/cjp1EQgXHQ6ifpqc4hbpYtqRnI3rZjmYpm2OUDjM1PUIYFVU+d6EfNeBKC9KwCkn6jj0BYeoVMpCqhES72put1lbdGZoZkvKzTWUm8Vn1biNL9fvrNl4eMNpVFvOV430ElHhm0PZpDhcSi7APvFHhtAGMmWc00MnuJ9gzrc2o4/E7lRI83F8p92hKF7WszhS7HRmxUji+J1cClondscStFKbBJblwK+JEJHCjbivXhwUte9D8Pe9lnTrI0TMhhcKoeQXEA+SLRSG0jCmEcSkvpuBvKWHXjGz12HVSRYU4EySzIeR9P2bng5iYjCcYH5//AWo+fuHr5ZJjNCeoWdu33sNDbSDiM+a7lCuALN6vLBvPAo7qMaTgXcqBSGpa2wzj/pCcDs8w9ptUIejzlCbYezv9Jnlajwc5FOesudQ0DtdpzrEJcwW77lB7/CjJtT1MtjlC6+VPB4tLJ3yeiyG/TWLWzPBi2sOCBqDuC/8Vw0r9F/SwgSt0kdQG1SjCssXKNkFDeOR++ImnSV4B33AhqsBcSIs3vOjrYABJm6frXW5Lw8horCKZF1DCdzIGt2tw35I5tV+BgQbGe3RdNwtvw1O6KdY5wF9EWoqYjenPkn0px2Tmx1juA0t26F3EdejbZiEOwR71aQW65Nl2cn9h4gFfHcr6fqr5tnno3s9RadcwhMSzJsNlYJNWhEWt08SSQ74Zds5hCnUvFaCXPumeQHROyknYLOWDzxGYQqmL/dfOZ5gnUpn4uwvmdeEt3hrxKm+gkn7S/5kgaAyweJMygDPx4p/ZqfuBInUlLYfF/BeKCTWRJYMfTt3wvOn0tXS3+X8a4RnXot4DD3RSphe7xh6MQ6QwCqkb08j19LChGdU0ZPaSQmYvtL0YGBbJ0kVaA5ieBTxasMJzlWaenww5Zu9cTuDKRSbNHffcMcsseVb+BxarW/CPMHMa+LWvQTgAIS4etGRnfmt3mF3CvBUrE4k/lm9gU9cv1rgDOY54G1q8+nXQhtH37OuRri6ZqysoBfOpPaWCkaBp7GETu9JgjtX/s7QHDOf4kdI6DyIG206JRx88NUQGuf9GluTlVtXdWWoXm0y1/8fqZfBJL61zWhxJM6D+vWIEnRboEichXslrZpTxBawz31ctzZRZYakh3VTk5AfSt9jVCU9vnChdNxBoU3tVE6GTegx0UqsiPopBLqr54Xbl6WflsQR5uRLaJ/msY5aO5ook3Cluureul2SUgUbZALNzCXrrVbK3ejq/IM1mrevZHuMy4rszUZXAPJLsS6Uvp0YGLoLrSJIf8ankQhd/3iWgY0ZqNljyU7wNiwNx2HBb0HDcXjY3PUK7OcWmxfGDFHHgH9sugm6rOh9rBZqaOUFgzNsTf9f9E/H/iTe9oVfivqPCZ3oLEs3yIRynCrB7dnIHNrNLIjHCj5iI61ZzKjrTkae+sEE0kJ9uNHAsgKG6BpVrmP5LYRjObqCcF90oo++s+axsjwlLrvOpoHpeyekUxwTjiAxL/QmFkQdV5L7iY5gDTHMFLh/QtAgYl0j6/uD4AMuKFMT3C1RHhym43Z8GQqK3x9lNgve7HqzmSSYTCNXYn4zgrFGU8oQdLcgWWpxAvCiiC0taYkfUyD6DD4EDuWeHdW4jIRuRrOs7VCWI2T4sMJ2cFTxJIcgHO668qNFbFa3o19ylwP0cB9Ji5ITAiOpMBpLqq+hLNhqvCaTXFl4BzMxWhzXnlRfjtpHs+9i6gZghlYhrKbMm2FK9pVf+ywlbQ+i68+uv211wF9tCl95EI7u9qjOwskTOxrTKgJDUpUa0h4QfRoHYakyojR9NhN6XCl0KDKq8O1v1Mcmox4atzLTgAyTu5pP4OBS8QuxwYGBsz5JRQXbGh2v2IsaCsEi8YvrZ0mSGGcrhTKnNUMn/4xzYrnNkeTna05i/kPn4Pe4NH/AVRqz91oYOhhK/HpQJHiLvREUjd/obHdlWV1YwpXDvTcP3up/zhWJYfRUaa1HAZjP5H6KdHvqR/yFkPSu/P13sD7N4CKeH6AYtmVbYCY6bFdF3wy+Xb7fFnk+SPl3/A+ZXud+RcnoDS29dYxFYbMueEX2aamB5MR/SF+b0NCmJDFpuW88YtIJGPS8ldwLZ/OVPz25RMKqnVcLHs9P5ervv//gWzUJNFDPIqjVD7pVo6UsZRbpGMcn8b3EgfsCCLuPmvpR5JIEK110CpidRqgoV5VTXnZN6qvGvMqyNtugERB2taGZSWyx6nSOy8fLGbak8e/cvSx8gvk5K5Vldi3Lx/STGhicLBZOZeQMTP7VNTh3tkkzIEw8kilhlzrbZNdpo4ofXoAHcKWE7qt+tNn1EqvCTuXllHdPkaHvFJM+07yWaaWZUtmKV972gmeoKO1Gc8rRoLmcVPOyfzKUAgfI9pEc0xQ1ktvSZ3Rmv63iKb6H5AJZ+QLE6Wi6tVB0EfY4zqtvWymBtXmobdeQIgBQZKXMAh+aaJuCaNq1DS9GN7g4jX3Rj8mC/dTCKFyBX1zb1E1c4TVFgAqK/BZQScVgOMpBiB847O2Szf1rsZOULnXTpYR+sSuZuKvEzKDBadTa6tTKXdTzbxeiEj7XxPtycZfJ/qHyibSmKkkAt1DfvrfBbTmPbh+R2wRiJQ3BmazofJmSBdkvbBQ8t9BSKi6NxHGIrAudo5MaQfDAiRLJ9EyNSLACiJw0XLCf8xphWVDebjTORm/9fNDKUPeBH/IFnQ8nwdsSHh6aBFKUTG792cajThj+NWYGbSlgBuvd95KHjcg0FXVMIFIGoGZt55BDKr0peNy27qxglm4Vaf7vPD9eRg6zp6IOWDsFxxZWF/dk/vjfMJtDHTtnRqjOIQn39IKYiEfqo8mZak36L7gAzPQs+fSY/QiyAhE+zulTiEXn4podXTpULUt7GsUjfUW0wVg41JUUD/WerZNC+1Hx4JmHsaVrqyWKrU7FD5EIGnL5ffk4E7LwYEhjgsaJELBRq5PTJqGOBGS0vwhOkwEPbFgmrVLFgYqprKf9ahmKbMxJ4AlGHd4wBHIVJ+dktXK12+vsHhKHSz2oFivZHkxWfvEWWeM7cJLOgXnCp7OLrzStoZdcfOw9yr3fCSi8Waw454WbfDMgCqXx9Y0zAFDF+hYgVsj5dQ3QohjZUxyd5+NRHv3EGv2+TBSZgPvb528CaG1RwRshYA8hc2eOihTCZiQhBawOQY+Min/E2Y6czIt5g0Rrf0MHyFd1K1erXWOlCy112Ep4eIKGPzd+HZm0AAS7376ADxLssHo5WZk65BhS7Xz9iAmprr5jXAirrwoQgGkumOYw/+6q/BfeFg04Cg7Fr5ZPReFhNG21K4DwE4RlCVvOejNio+t92aWp47iLmK9sIXjqHa2P5X0DbqjkspXTryHpmRjG9u5Q4dcKLe4s3YRhL4qqBWeSBQE8Ue6nO/w/t46plqu3QI9G3VwkMRtZ6WqKMgFr2FEtXaAJKDpqsZAUJFxLbaWI0V3+cXwhgV0xWCQnFJbd0kBQUzFn7Bonacwmk1FIcOUlvnyIqvLGr3LaUep2Wwi/oOXaYM5HYwcgvgThVZnbXT9DTkMmRsde+qJliIR56fsjvdtIgv4i69ItBU/aJcrpatezRDJCENMza4SZZwxLlUiG3sd6amH17N8jVWWkcLEFC90g3Ls5Oepch/OI5VPzmZ/tjw4scY66fmq26FYxZMgEPiF873zDa0X0NxGFrdOBn/LTI0RTQtuC69X6xL1Qg+naKZ1b4r5gsP7Jnlg05QQkNq2sMsXiU9TednxmzXBM93iN37gx6GmCLfWNfQ706QrOG8bPENyNqGCEgqk9RhCvevpAG8IRSerjKzm2HrWrFvWPbRQcqXHKuRBmkW9oCaj7iEfyClZX2pVgNs7KRRqfFlHvRWp9PQyQ/GoA36WefK7qe4KG2eEklbZRk2a6Pdu9l1OvLv6RxuJR8iGqP7UOVCmI4rR+/N4GsucSZ3RLobNYnUSX90kPoN17ehE41N8OVppMSSdcJxHuFQ9lQdPgBkbcCAvRbfVApKcjlra5hfsrf5onOvFYIfsjGpeFhYxfj6IO1ft1UIEB1V6GgiO3wzspI3meSWwRgu/77cqvu37Pb7weq37GipRbVS1T6xpBjmuv77+YJxaVYSSWjMWGAcurmkURNbwv3id5JYKsTPEPafsf8b4PTgk0AsuTOcbiVdBUBcsQCLeibdBEYcevoXIT/3mvMR78Uqz3qIcJuGQT5OV3PZXuhun+D5qrfmsVThzP7aadEYHzWeOTVWtjOMEYUSGyiUIOgOimJzn3kEYFZE6UiZxvozkLlp3TjBtdBgzN59HB0KN8k68JQ6ENZ6GBiWrbY6h93gY2U3Z/nSA8pA/BAevZRyzW62u5mWZppC8ccmaRF+08SSj/e7HgQlOnJYoXGT6Zpxt20VB30YIse4Fo0X/xb5fTRFk7wQE2TD3Da0BqX4jtZCBONYN1unInBAlRE8RxZDXEx2OCm7zcXRGm+JmfXjK7STaZvUqeM3Pj0MA63cD7m2DcKCaU7JAtbv6IsWbjCnMzt996WGv+mfBp4cY02rDYINQ+GAlySeJHls6IA+4c+uQVITJHmFC4qRrc/eqR7Pdbafst1wblmhV2uIgi0w37tWlpexsdND37uxNCqqKSp5mwrSHuinHJMWb/+JOZrAUyFLBPrD7gPTpYbJJR9k6OcRF7Xx+kU9K8dMkwidfApEznTLvO2VEDKRsgfLdb8WMPSrm6QA4ioXGbhN9NCiZ2bIgQCF/j6IvUzmNRGWd3Cur8NshfC9flJ2LEwnFo2GP3biVHBfj569DXDBaVZnAPMsY+BUkkEOVajOcWHmWQ5L/tSNJzH/y9EWz0/hTQ8uLYmVAB0jilJPIhMw9S9hJlLemcCCK+RNLU7zggT2e6IBzdN7hzp5VP+90i4u5PDq8XK+PPPwV2ICy56EXluRIFDLzkLI5dSdNTzIBLK2Crfdr8ga0G8q0R/iGJA4zaRelviu+fbZ8IPKoRIOR7jmy1RyLXjk91uzRZzMvfiWZaSSjOPZFdeY/8G4DNuv1L4RR8Eyeq5uCwZWHQBJdeAy7RSFQa8zGi4ovnRhnfiH2/fu/XsOjqfXwJGsZcWMrwTw9uZA8j+CM1J4504auf8Sne8taTGayqbuw/hzEzatMLQHDdwEtMEp7sZvrLP0TS2fU/7eEbVhsOnvFTP3Rfh8XLYjdqpAnVpYxOPcx+ZuttzXBSS8M9H9dN9U6A0REdoroGhDA4s5Mqo1xLSw96sNLJJWR3p/48UY5cXy9MYxgz/jPpqScAUgQdOou7/kHjzfR7KyHkOuSZ7RqI0PnO6PsDPZRF0yzp8ZH7ket3GdI/UTx0JVvraObtjCP1Bmsc1KCRSTBaRGQb6ykRtfYuWUtbkr05H7WEla8b6bMT2J2y3uPxa6kE82/pHm7zJgsdGr0O4npTQm8rjSj7221tZsJ3nvEZ3+7+pHRykzgzZ4GKQmYzCO0K5g0TEwo6aeQ8PqnfpKyJ1T982e7HGDvxaudoitKMASn8BDO+koeRA7kBYTlZcs0GHQxrp5FZqB/X5MboQ4PVeX+EPVW4/tXUDNiWFEiRVlGJeN38zXWSNKxsep+j9NmkYcsPGZrWntonXL98XKVkBacwfoNvZquWBJLt3lBN8BdUtLr7kuyn9v8Q04BDGkfvkjMS2mQe7qG0UXRBOmsO5Na04RydxliUH4u8mM37uJYXdI8M5S0/LdP4gwboUOKpJyx1ZKKVSGpmTNa0MuhZL1/lKx9ttokQrhUjQVhB0+cyeHQKNdoRZ/6n6RHHPlpdinJtyk7RonbWRRBABkt/eEwJ54IGbapr68Fonzsnx7WHELsbn17SfxVMNI5ooP53g8KigOHvrZ5CrJr7uS22tJXoJ53OQ5WcY8b3OoCyz4tKFlkqjyNcsjmRgC4Kjg3SDqddjhXqiANa3lF88V3beIYEnS+qIZ47TNrXW2EoFSdhbGoMfAuRMXv9Igs8tq0vUUp+6cDsl9gl08EoGTz3my6fUxDvZ2AmRMxvt3XosrRJQo1lmXJfIydWxV1EGW+o1IRKWvDQktO+LmtCQIffhICTSt0sviwEDUg9XxnLQbyYLSRhTVPYh4Su60dWdwu+QcrRWNCLVdKO/cqqwAkA4i2sb1sQ44WGlC0D281YoOUCFnIWSV5GSfsl1UkWpRPaxvjLh72KBztvMJxMaqeElr8Luz1wzp+euK8+o5aUwxwafaV793BrWAaKO2Hgi1eX/ik8S/Q19CbLWKA9C4Dm28WSJkKn5Zu9AUVzj8WLPyxIuAxk/DZKxZYejbS4AUuNLPRRqCe45WQAYhdmVLQj3jIYRQ3leuObN1aSo9zmuE/7pT200fzhslThgfq/U9PX6L5G3V8Ze0hk3FCImJaxyj+xhdnI3J2AzvD4SYoexPY3hHBZQN1p2MpKi0cTkiBD1ydb86WH72wJQoCRISOKVWGuk+i8jy9CXoqm0zOgoX1HA+2QKqc8GbYDT/QdIj7rU8mrwbF5FJhfZhiL6H8n2yKKcCi+SA7dN89XJSjAhQdgkRNmMgo6Pa/N0b7R67yg2PyFHS2p/FupCBfnyb68YRy6EVOvIgGuWX1o0FQni9vuVOvw4poWM6Fa/VbNqVGo6qpr6tL5hNqwStSqPcM6a3GRR6O2iI+SBUBOBINbcE1xsMY/1fCXMvBqXXHcdh/3BAahw9hGQHovlAwFYQ7ZxnQI0QkO56FysNSPiEo731bLBGcLJOTr69vfKe7CF1G6DP/rL8l823+g80ex7072MQVNa0hI9LY/iLZ2d+MnqiAJIhcrAMWpnO2ov7z0ejPug2WP2VAMh4C+EuCKUGztFajoqtQLFIyvoX2NqDrPxorWvwWrBfqrjJiEKgidMElsyKTeg5PoiAipmeGz6OuG5yeDtxRsuDdhMUdUVYYfQ64zJ4cppm8HJ/7TaBr6EyusPMcHXLLlRyeLtkPSqwmcWl3uOu88EIbosFCzBCSujxvFDdWarLUtHEaASOnTHn5UJJNZ1itpp9LkGadHgWmte1CcQ404z5KbdcE8kel1Qts533WVJPw3zYz8VihT5U7RfP3jpIQXmo5//0dowkf3rd4XlG5eE1q1rrF24D7uvIy9URN9BZoCr/Yqcd1xHgTxRss+5LLCqq866150uly5VHeNS6fxVxj7l90XweMqVabMo3PL3KzO4aw6DEHpgeEaewB4M+vzZg0ftfViFiqRz66LzTZsSUuq4q8eTZ73PlCGG3j4chD0Ok5bzagtY3tM/42DUbqzIB24a04ttkBEdDoFzPEzcmvgj+fGwZLNg5SUAQxDmMfF5yepmZq7sXvwXkfWkMpcNY/UOVcsFlKUCOCL3QHi3w/ZIM/qm5vwqgSOT3sUNIE2CUbLBl5GgeSxvqia4J1o/8sW2V1Gp5niBTlkkHV2zGEwzJoHrNQVrzL2qhFZRIiU/YZXzLHdKXkOLOsMXuSJ9UTUXOOXaLcPe00W2W+4SIPdVs6h29IiNcvhUJ3yh0/u37ZuwZhGqSs9GXp6FStzyVnsxaZ8vD43/sUVkePfC7ph0K2JHrpVOEi+7r8QZN43Ex7zPAtGVCcHQIdsozZye3BTIz3zyH94Z1RR/xlUrNKR+5SCToLUCTxnYBSftH47ubZflkicG7cfmH7BUXGV9dcuxqXKHQ9hfpH055ju6KsfURSlJQ9lGVDK3hGq0a4n2DL3A6NDKUcLRNn/vbiFYuxqEcf6hECO1k9MOduAJJfQ2qWIM04uoqskuTaNgyaj1nZT9MxaJTstLkD8qxX4pT8RNjTCUvw16HCq2GqV6SX6NjaQSxrx6pbxi2eKelmyEGDQKNmSivpDqMwqbwWA6q1KX7NJtfZHAhhadxARBik9qAXl2LTdUTXBFOXbn2zmOk53M7478QCNDdNQF6HMt/p6/e8Up0OuUVt13GH3b4nAcimVEzGmXNFIwiBgaX1PhvvuhIm/u1TlNallFQ7pBT/6QYWLvM7MeqPHyBdW4/n3f4ZzpGW7Qk7orUbVA2e8V4s14Oo0NVEwuYZh8qKLWt0Nk0kA6cg7Yd8iHDUz4eg5Crn3Dd74v6DD7ikiPJqMy1UGVGVYP7Cxpwqzn9n+qUGZMnfDEu/Yli4ONo/woJghHQtfxoUIqGoPm7QxseriJohrWumMiC9zvbYXoEK8DQSNHHrnRimemXT/HtOhirkkDCOXSS802YG1BjIJVvqL76BCh1zQKdKH76AL867kjGeY1tkbp16FmUpw+l+oTjZ3cCURZ4gqwCOR82UXTvp0gLvIFRZpQPJ5CxmnG1/o/t6DE7EnQOzKpuqCeFZaY/NGdCVLS+F7K3vp1PQdIynY8o/ltkCueCb1wuPFWs+0L2+ag7eLyMv7/ivQC9nOq4IBgTFkHkaz2b5QcLX1b+r3Im9fQj/mvL0KwjEyJRIX6p1VR9woFx0guNqdPPQviGajENu5QluoPbtV5geoDBk+CIgiGKNLwSWSidsO2ClWGJ0jD6gjdd4RGfOZo3FtmlR91jAHfv9R4hQ20x79fAzf11NFOCEsFPt4q9YMTOLNUKjIubwWHcJBCABE30S0v6WtWXw9CN+5b+qXKcS4hrbOD8Tp2UY2aeF7WP9Voz7OMKxJKrYIja5yLJFQ/HnPHnjulrKwJjwdH1ybRrb8g+cgOFFpO5c3yuhUJup1KIRqt9fqY+GdbRwwNibVbIhdRaEZF7M1cs3YCVdgE045P4RBmHuSCvwnWGmDygcJB05qJU+3Zi/BGV1vTq37BIGXeWMlodgjlq4v2wQ75jfC9oJEjTCn4+RwKHkGeo3H09teEJSEfc44jIb4obteuBPBUVG3hXH0BcZpi4NAeXTSSpAvSqaHezTp9UdIGLp2WmuxMNlHCaVHhm8vE0WfEzVKXbulG+0Xm+zLVfvICd5fuzFvBAjkrP6kwjk9aER14cNT1kBb4SR7EqNFz2wN76GlFligQsnSFg4uudbhGywbvcF8yFrygMhoK5LQIyDlTWy/oBjqGQ1ULh+ccSvXmQWoHUAgcsw/twI7jh7j+ihq1iLCF/UmjJTVyOjhmO5c6GJ423YM5hncqs8ExdRIMNY5IwjiPvryL/4xzaccq1qHQ9ZOCPUoe5pHNmIU3GQcLBOCdW7xsfkLEaHb9zLaoLCtNbjf4x4KNxN+O2gzXSAVzloCuirgpuxpwTRQnYVjiMeJCHSN5r/rNTVIzQfoeS0FbjRca/Qkc5HU0q4fK6msjnAQW2NISz8Uyi3auLrwyv5yi3BQ4k20PkLJOidsk6YxFfmcL8LUHQa8QsOuynIEq9rNrlTa/nGpt7gyvXRTJng9fnzUR6pYC4C9hxih10Tu6zPJfQPSb65yHvEVX60wCyeqG/lYqluqSwpUDrVJCXhuJ9TQhi3WdMkn60fgpNwDJYOx0WQPxbqnqqPJSmhirxfxZOTzf3p6C9NAf3V5pm0PZC6fs+hpoR9NHhjq3YW6MVOrfUtvnLIB1m1c0sX9vfrzSJgpJeI3Pnbsf4prVybYezhbw1p+tBvO5uNQKpOIDWQwOTk8NNMb3SEsFzU0p78aaKKExA0la4qgyYbsMqhmiKrCtyOYs7+HxocnXCVikH6R4CoDOhnIkslE+fifNWKoO3kNTodDJeKfJNrEupD754HhkzTzHfObFqnz3chLA+JpAye21jgs+9FNtZFM3vHznhM2x0QA+OSdBgkB+ac/FHpirf4OE0PP3czOPKL71kIozM9rSYMSwbBCaBL31IJWCDj707KYVzXHtid4BjHm62yhVmj4nZirCAnKi3DqIxtmgKI7MAeiCgwOONKmi+CGYdmFSQbzzQ0eNVzAA9tMZAM3kV2hAUSUDkbkH80+wWhZjCCHg0wmtWJUdhBTtPXryMkdfORaWsMajAuGZxRpDTKZSeZQ3a6013r1ykUSF8TIHMcuYccDxIQaPcvYMFeo6+mq5pgMWFGtTwUqBqsn/b4NE5XoHEKhCS1WbGm2HcsfcAd8h/ctf+BWeEUBzTIrh4uYZQmUisrC/ynVUkBUd0JCLgRwhsPa34xC1umf30TMeklR5In2dhOZ0THpLkDziY8ci05yPm+jt4VYcDtzjyW+ZaoZAt0+7bgc4r+ZG/zh6ArFLR+oE6RyfjIZe6x7X5LmEp5l06XFlofSuk2IDr+H/udZjBjLAe4ptmXAQ3GsSQAn0tQABqn/a/kRzqPxDTqiDwunQb+bEifwlxmkuw2dyzPe3N0uZV07+dhAWrB9+qZo8NIr2cWbLjbMTYA+dlN136Qln86tqous6Ra4Qy5i7a51nEOIsoPIyi0TiQM3DsI20cktYuhSnAPU9WVFbIDXlFEd0y1qiOrq6Iuz2cwRASZpxO7QNXkqkawMRHJ0Ha/farcqihZLefzCbVILuw9MdiYURmeDn8h4HXTekY7uPVOgtiIX23izohO8yygbR/RJk+aSaWyCThVzS/GGIjIpzeOaTOPIzYrg2aILdfa3e1JQzl1FOVlGaXErspmvZDFQ5Ca7li/u1UaL/7RgkdQxzy3grhsys5SNxFnYavNWXHNA/RhA/5qICOnNm7fwaz/lPT55Z6tEajyPtYhlv0hve3kBd8Xp8wn+pvAwFgHQOnyC8R236Z5sdOxBrz5YJV9+s54XBq4H4xNzMumaS1iAmhQtO40lLRd4cZR0s6KDv0RPFxFKKAB4zZ32e6OPCsXBJe9TQ1XBrerJ/v80O0KFfsqMuIVj4R0aZ/nTpyvskK/DcZ0FY9MGqEgKJH4gy83SHphYtIYhcQTG6qEXxUiGUaMwv/bWxi08maTQrZRNnW0Rg1r1jFWFg/EQAGRs07lrJ1jpZeiup93CuyXWpo8pCdf2YevQyKMy9ACthzdfrZYw3KBl8HtABdpkByGAxErmko0mbAk2WWhduq5zQ2Wm6INfSa1jqzUHlk5ilF7f2pa55pTixudISe0rAvFC6Q+4RTn3Lu/34aKXn1vVFASmxnG1AiGE2kCST5xIrymgQho1v2YzsH31eUMWVILYTas5JLaHTt5311rjIBcGSGllveMKe3GfCejEOjjVUQ1ALJTcMz6NEqkSjqKp+wLuhL+r/WdVK3SS/vloQWr+fmB2YS4eMxNL7fWLolpEJKM89yZHPaGEi7CYQPySO7/IZfgfS13/VFt31b34L1AX9Cs89e6oixeoxgMrMd5GHpkDEQ8WHr+s0ees8v75Wb3Liosyc+Ly0HRxyJ2Tuxo5qSzEnXSF1IMyPtXZoiLCBjtAZu1vis4SEMUmuRB5/LjdY73daWX/nfBf6Xz8DDVhLSlHBu3pzIcOzZbOiNOpjoVSNjHP10ECkdRn4Q8elAp+AzdeLL4h7UZzY7TC909EaFYBMju+E2HwqdXAevvZwu3aOcbPEcrk0x4gRnPllIUR/J8RjMd8lB/0bRig0hwRXTqvXGVLDKToZLDCM7tDE/yyajS45QSdLUFoeTKfFjMd0IsRdnEgoPQZQB3LQQPpOocOybv824cwlQnEfnIHN3gcFeLFYIzTxziHDrKaGhoVVyEyqtkgENGROjA3BNpMOB75PHIskOsHyGhiww/Usp6T5SDDBT3sX+pvYFfMSSIA0V89OMR+PLQK4cEKYi9z/H+y7tERma4vk3vVP4jKZrDY2pI2cO16GQB9vrXLjHeINOJzZJUGXLCufJ9WIVwkaMv/YoA/y0mWgTPQbqGZM0stF/W66Ddh83DPIN1daQH7C2zNPT+CGVaOn4YtSB2lvWCGxyPnUa2a1AMTQsxYbHRS/UBEKY+6/Qp8Um/EGsDMRtifar+DmRSaVwlbrBE2Ko2BqlvaKruD+e/jH3hXF8rjthths3l02M7hmpqLxLEJQeykZ7rlrj4VGsN1YRyH7tsCXXkla6/DrrgD5dKPtxU+/FeHBrHXJp5IMdNFZVDLauo+JroUolxD5tut9vfZFu8NzgCy01J/BW7xpzmhbc6YuFXanTz6SFunf8z3z1D+FVL2D73rDjpah7G0YohLA7Hw/f2c6mD/TcQ4IaTQuBYqSjqf0b+eufvIjMA+k2VaZRemvfGYQRPMHGBQIZPv+0R1JArCPHI8zg6oVPs3FLSar+meaES0t3yS3nyoN3d5pXZBoFxAebHTvi4DZCvR715oUXMxK8cGDhnMqWB/hGwHU8Pdx7WHy7B/xio9hbcN9nT3yVubzk3zXlCb21cjZcA7hGTQZe0qFnFpK2y1DpInAXFcp9B/BSU6PlHA61qyKlz4zDysg4uL4SH+vMqF9rbHu+c6EhO31gFQp8W8iOHfVoE6dBFB0r9OSbfLL36ND4mdmQV5bwa5ScabjY7jw/JhMEkSnI/eSCKrVAsSsq7trUGnjg6vqDDS5oSlo7u04ie+bQR5p01iR9dcU/n94u/82VXUpaHI1bBIfYx/jak0zF5nxoxIMvDjk/ScTFZzG9DH4EjrokJ601dYrSE6OwfHRHMg28oLMAuKYzdNn/UwkJYM5MK8UuQg6UMQmvX5kea79vNJAoBHn+qt0zEbBx8C2jkQbmYxN/06nUpo1n7m6Z9P5HEQp/E/6M5lR7s1534iqfGpksHeBG3oSISLf1eUgXpGwLORQau0L6wJq5VgjBKJyXIRgTHfWtgtFbWTkBNLY7G04CE1cISx/AZSedChc+MAKhyrnRtu52DQWwV6fCumHtoNpPLuNJuVXaNNV5JeiC7cmM/GvSF6JO5c/Jw8geE+vjVEjZhP1fxLsLvm8flhuak0URSSYZN/rczIE9E8ASFhkpnuGesdD9GrXBl/iIrPgYq41j1kCEGBW5gSsuGBwYkLIl5tPyvZ7fc7D/3zoyVZf9mjgfjH91/tl3w+Zjiik+SyHkXCC0lhs/Mn0bdFuZ1OKidmBj9pOmBeuSDFYunhSaHO9wEioBnrjaJATL2+mJvG4sQBhAGYszVs4/zDZCU+VrQ9Qh3xYt+RvLmmC50CLYgYc45pz+5/0jsRBnwVmm9clzDg8vfGkMlnrZBG7hVIpt5DuP2UGM0Xh22pJ65DIfFTcSk6VldDmYdvJApm+H9+47NGq8rOYfCv1wqYqXwKO7PXDuYd+O4yhOFWKvykSnbJEeN5o44NeRreM5TFgFQ8zv/KT0odTivW48SIMOIsZqiKWO/7NIhOjU4sxPq9Xakb30ieQY+x2NP6DH69qq/QHCWBgIhqDLUXF/E7J3gsH0u5rdXrpeDMHZumslLSfjyJ9r/meJH2SB0v9vakb7LPA5Bxc29KXftF7DFZF4CCdw2MIX4wdVpXssirov0pGAjsz5Wc4MdF+do5atWlk0uOkf+V4PkCGy/DDmSXV4NRYit4CcDHFafqw4ig/0AmhvOoyDFYdz/rP9Qx0IaiXVkmAfkqcLJI1jYAQAvFx4pchlMfT2jM4l7rEIhKbButqXZWPMaHklUpN3WoQzNZU4pzzJnGeklvId9jK+Uv4YBoZhjV67LeLNmsXW9j4hBRsVuDVAeaKyMunJCnTc2/uilP2+ynkX9ZnSvOc6UPUYbuzLJZ0lGWX0kHFZi7WmFT9dHqNcSB0/dmIc688gz46SRVwhaq8Xf6wg0LsZJny3pEt0ZLgnX2OrfmJ7EQRbfFrUoZl0ZzYYEeZyfL8iK5u2EtjhXVHx9V7hwUviQmdsZgo97NiHnZ45lMqgQTDAKaAxWGgpRSqobQYiZqDRwmUDAeMYwhK9G+R1tBoF+Wkh4lHMWl+nH2x2DmvZVGSpoFDgmox6zHqh/k6DVavoJ37lMJPK36/5e3sfHV5zws7ZOzAzO6PNKE1TK0vNLTyVI3hLW3J/gkUjLrWZMGBAA1UXfNHhGLPvUItHs8e5HmMrNBsuxOWA14L1eOZici0lqIGNM3vAo48z0VNSQ/rJW6E/q75HO7DJH5Fc7TeFmvRTxfeZ37EpR4u9w2nvTpovbh/DBywKQOTE4yE+3eSgi6RD7wx684uRYJgbx6daOASSzL7DTOSpJbuANUwljc+kc8aNJ9DvvteE2AJsBrd28wi5nxlTSn+ZnKKN1Mi9qxfojOIriD50jM8Ua5gqC9Ghd3SqcVrmK1yemSEmgnG7uETrfXaY9MmkB3cIEc8W/YaZ9YL1se0XGIhigJVcq66usw01LtZRaur++TY5Ic1ZL8w0ctyHtmLC+gmKZZUdBca0sY/6Q/BL6WAxlEajjH2NyB97Gdy9hny7xG0K9dztrETRoEal1iBBfeZF//4IHhj2uIi1ZYmHO+fO0QXFrf3rh3OALcN6uq/XXx+HPO9sGLhfF/ze6j+xDQlxuoGwXjHSFJyn5W27xIe87QDZ4R4fUNJRHfa/7uruL31HPTzqjPTYgaftUBGYDkLZp/oPSbq+Y91m1sxvvoE81GBWjxWHd4LMITQcQAPrlcfhA2c5jPSnaKr4GMM2geh3y2A7e3ZvUUUQSCeGIq/Xw6HfF6k/psDefnouI0zIItCJnh/F0hTaVYvFYAmkZDFO4Uk3KMsdp0YXfdiSQwVUSw9mnBxvu/9gGZhwa4Eqfo4IMXwdlTOLDR5A7FuKUqA/T/myF5mTyhH6EvecAd/0+Bpz7U1PTGYqYKB4WwjhUFBAEuwlv7JGQ2micGQd4HSZo/mCEQ82w7XB0oo0qwsderU7ljuMeHEWesvwFDkTX8SXgheRyPaTM/8+qkZV5D5c03dDO6Lio03D+7o44gFRUmsjJA2iQ+N3T03yeJwVY2BURcWkt0cTHTHmI0PvBndPqDsh8WgBGgqD73OF2HfWiFVPUpv++Jum/QZm/qPkNBkUpvyt5/HaR2VAyW+bqOJ4/Aeh8Z9H4LJe/jB+EStlfoX9ZCPKsS9g6rkf4fEaIqTqDaTZK5GtZOr1TidqsftpnWtbkvwXP6Kj4XQ2dAAgSQzp8zdNL1NLmmORLePc0hJGbjCFtYKUqidgQNlJjDK9KqwsiithhXERmhdWpuTMEa15gbzs5Lt1Y51yxyUWbgHwtbOi3FG1f4LkZI1ddhHrC6pd85DWVoqpuQVNnk1Mq0oIROZotU26fkj6fhqsimA4d8Kj21vehj/msMQnT4cq0YINJcQ4ybcNaUJIk3lM9fWNz1fdxJM1XMddO0CMcSHBI5R+wBq0TtC9X41EePoeW7l8p1kjXWi50lSUtGyK1F3etqM33Kt/vsfBa3VLKGy32HQT0BGrHYX7aJWTDxA84pN+M8Z0EWi+cG5SvYvfDQtSllFrtqTgzf1122sNVXvOWKL0HozvpgIakYAaggHkkaZnUduS0/+PGAL2hbVcBbDmA7RV7OwLRCpm3Uxznz48juS5WaL39MgIZh04tjUXZRO+umwGCJ1fsEH6kiYWCr/3wmENXb+eAgb4VDmTynhX+jv3OcygTzQ5KBmZEGtBxMf541+cnY/BBJtX1QPABzFYH7rBCAd70QNV1qKaQdzEHsQ5dK9/cWeqf19gbL9olbvAUvBWh6nLOjpV0TmfhhJKnMDnl8pDIow/sDBGhqrVqc5QuFEHkphD4aRnSpEethX/xA22xoN0HrKX2jf+4hb8GuRhVtYRZAIkJXe8Bye2I0fOKHTLW9B/uEhzK9/zAyYaU+vMpoydqkjxbJL0EIGG/cmmHasNx6bw==">
            <a:extLst>
              <a:ext uri="{FF2B5EF4-FFF2-40B4-BE49-F238E27FC236}">
                <a16:creationId xmlns:a16="http://schemas.microsoft.com/office/drawing/2014/main" id="{8037CB52-7054-4A68-B24F-113EC2D6888A}"/>
              </a:ext>
            </a:extLst>
          </p:cNvPr>
          <p:cNvSpPr>
            <a:spLocks noChangeAspect="1"/>
          </p:cNvSpPr>
          <p:nvPr>
            <p:custDataLst>
              <p:tags r:id="rId8"/>
            </p:custDataLst>
          </p:nvPr>
        </p:nvSpPr>
        <p:spPr bwMode="gray">
          <a:xfrm>
            <a:off x="334576" y="2622692"/>
            <a:ext cx="5485275" cy="3787794"/>
          </a:xfrm>
          <a:prstGeom prst="rect">
            <a:avLst/>
          </a:prstGeom>
          <a:blipFill>
            <a:blip r:embed="rId12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btfpMGChart834952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z2dD7pS103gZfJ6l4USC3jqtWOPR/ue0umjYEY9KlLthURXCUyUuZbmGDPUXB2idlVQc+R1c0j6vNnMaKvr/AtZGJgnbuoyON96bndofJi3+Ri6+EzWLacpDezOCH680Hhfhx9h1lVKFlzvhxYVHrfba2JQnl5qgtMXioJPor/F3r+Z7vxBptNNmlUwCiC6lMl7g9dYVSHh8eCWMYf/7hphjn4EPpOcU1XUxOGlQWImFY5zYCJw+F5ya0F1VUrioVw+Nr715KQLsc1fJw9BgnKMcEdFw/iGgnPaY+FLTZNCJdCZ065gGa96Mte93NPVc4PG1Vbcex2pplKc8pSxqCGGtBUgULF/bQzosiM+vifxGw9kn31J1AaXuM6XTiMV35PbOl5z2TcEs5fUDpbhXFxZsK4F7wNDXDuWFAGqlMdN9ipPbv4cPyfoS3iGjoUl15MGHfLp2mLCO1vGxB2WGWF4Xen8CQY+g1onKhLv+XVvnAIfvJc07dlTPufWAeJFiu+eKPFRIncQ6PcleehexDRo3rRDeTRFhxxfcQPP/ohESWSGuJle186exwRwd51LRE7wgDMC9YD0ffBbdExJBKLjagMHxtSBLe/zbqdJjhsfGghlxuEPud8vGz1fNLXX7icjySE+f/i7UNh4WVS8T33alesZH+6fj2gaoLJ0PsHs5S3cHI6cT/eL0dmPps3kiJkgTVAtEKMTFyIDXLwE4nN2aLYumuzOmm2Z9Y819jTDdo1Xbhj7CWNGfxncZe1O+dPPXshgUAIubBStOv8HqhIh3NzYgA4v6ptGTPe+tTpBrmv3xw3XtNDvDrrtYEbrFBk1lPqxnmO7yCuCpjUdKFiknEm7Wsi2dY2Cb5kRKb8WsdeRmkWo21ZnKecS99fjLWF8T0cMcm+RmsIJ5EEcRe2VK2MZHbjv286zeuHDlZVCGoXZVm2xWyHcJf5T4+kjnB7n3oqPAH9XgmpiM6XU8NXL20apkljrnHt9ZYYn5t0m9pRfapdRo76H8yqhY+1KcuQpN3y64o3JDO0YTXF75yo5RFdcYtmn4TdBcArB9uJT4s2/XAqnu1oVr/2L3+HjUZSQj0RNP3/rSaT1RS+r8kXcVFmXA1uNO8jYSO+C4wywW1d8+yoIF6GTAoq9E+R1WhI0MskNN79t4t5Tb1QDyF9OorDd+ijPee9anXj6CJIFfnTMmc5nsQ3yns4BWx9p3uik2QmrVY20rkAFmN15xHKd3QpHHdg4WDhUeUXEVkSNOIi+re9e65QbwzmS5l/JSjIqH6X9Bb5W3RF+CRvMBCshX2Z0YVxEGx9pQ8p6GbiqOb/INqDNGqL4bhtfRMUTa5jpoiequWPiQ7Jdp8lHh+wLqpKGskI0SY1Stei8D6++f99b3hnEoPxx6K0TrPBrNzd8N1Gb82GUr0NIftEAftz56yHypuVOeSj9tLRsqPJwd4Ef732q63hWcwzJBq3jWkktqPEg1mWuukLzVoj0hOyYuKEAxyoTxgOZfr7/c5JTRR56k93YRIQ7ztE9UpCSZY1kRPJYu7z0sP2LvUMsWf41PnuX0vuEGUcZ3oERtGhHt3AH3S8c5dRf0HIJOw533AVeXj86cHA+Jz3NNcI/Xn+zHM6og/phWfEmOlDf0aM3kfEROYyDW3nF8B2SjHu3b0hfZPWML/YyZ+vyFB7we4+w4E8uVORthR2ZuDUF/DV7Kl8ufIPCEQ8vBxWoKW2Hk9muYKB+uXzeEyB4aO5wVKMh+jKnUeB8pxIy0us1uWAghWQwFFonEdFYQjgj5VnXKo812nEjL8ucUmdvwyu4BwSDZblvXPH5ny213EqsvqeIHJa2MzxWYWL4xU4M+trxXT/r1+dlsWXnsXhOzPapg/j1ax5UC8D0iYT9cnZPbW2H0vJ6XW6tClQKpjf9e+ekdt35l/2cqLYYUr8JGi746ZpIuomirulMZXeOGO3rqxi/4ea1LHizl3VXB9UdOibA+dF7UzkDwY2tWKEUHuas7SgyuEFy0HF+37K4ncP/2qPXBeASrYRh7PLooMnZkipYgvaEAt++iY8ff0mxvSLe00wxyVIfUzWZ7ij/HzqCcQTb0u26jyN98bDav8lkJTwjFkuOFrMRFYRtqpEWXl8FC8cPFpAAboRqx36PdwHa24N734tHHpkC06ttN8H8WHbwRUfYuh1vanqQfxQr8W7E5v5EBdPF0slInuNeIkfEtRWjSIYwfE4Ovh2lTA8axDXLSUXUjQ44A7goX3cy2mF3ZesdisoYRVdNvDmEnOAqYmfK8HGlx9x4aPiCSWKPX08TWdePbtd/qqQkFrrG+MDlp3nJXVCY8Ln05iLnq7yOjWLxse54nVpySaCWZwl41mm7V/XmhuywhDyuHreMeL341wdxBqDxv2AIpKXtrPv/5sYgF4d1KXZGfYOiFbAB6Z1Gof5G1ey5BZEUSEgv3ZV/60GSZLMQOkc60PIN8N6FWv/Il1Xe52xiinZ5QxS3Ra50XghDf0hWy+NllUvj3ZRT/mmtLxFn2gNgiKxRWdpH2VL1O5u4IfLAlyqhqse9bBs8qA5SYo+UWPlQKdWCLAb+XxwwoTDSjmUW2XzXV2+dgy/rIcOpQ+vJwYlNu5gEbz2qSp5dXngwHaOkfTNNs5litSRxGJsYxJhF7spR23HWbriTOCCp/Pz+/VZOo+G8zKZqEjLk2oi0unAD7JGl1TrCrposvuUh6LbQLKb+yixGBk6APHceVxh/mLP7bE4htID4nospooVcT6Jokfr/zEA60dw1LI5KiGSTDTwdjWLgFK1+JR8HkZsDIp1GBrMYYAw7QVSaA0K1eFaTLGv+ClDSmWqm8ZT6Yxmnxfgnq0wuuebiCMwaAqr/PgWGQmIWBDLzqaW7EiKW4R/ocbHwU/s3nBuwLTr4cMgt3P6FXJsfWQJ8wGJ3WckqcaTSzlbcpAUURk/qizkkGJptXLsndwn/w+Q+9OAw8z/KNSLZC1SeeWG9i7x2NL9yhh8rBnlq5u5hSnoh5jGPAOLtdZXEPCMkf0dQDZHLYRsJAxa05c/LOz4L7QWlXigiAhpLEgI8R5/4A2S2DwplPDEJGJUjoFB1CyUDgzKNyM8HTk0Uzj43dygRt6OtpFzBlR2AzpDFDejycMCMriU2JeTTONgd1spFPiVobnnHBCxNZWMQ9eodVtQUSsrroO+AN8ocv/LaK+p0VoZ+Nd9GPwrp8Chy1oyoAY2p8maprRL3EXS6gkGczrRovfMAaNPevDHSnhxbM53Lp3a4Pp0/m2KUZccEvVhwkqL9ImniIzpjeirn4kxk1jgF132RFJf3YXVJPa149GDUBZEqxRYa/m9qGOhbgLtoUpFJ6+IM5rl0a6ICLbLiAqVER2F+V9DvVEaCZb4xSeGjQyPO0OrjXXyareQmdc/BXPK43oNeANiembTiMtFAruLvbY3ywyKkq1NGZccn3Cq+qaQM2QmLkc3ajB+G8m6z3eBGfsHUOVmyV2CgtI+scJKDJsRbYZJrqgVfRmql3b57bricWjJUv/uYGPtt1pl9FUJtJ7W5TkF4bu/6EuELRxdsmve+hd6DZSmLTTP3MoPF4HCrU9H87hVUJYufGRzWnb3EqMbRlpdSrG+I7HPvzstzMC9BZyixSIXE6Fe7zka+v2Y1UYgmeON/cZDX50kFErToa7ysWEogwJVIA1W2o25dNX7et33HTrgYQTCOfqD0OaUyr/l28Ewho3UF6Wdv9TptngJ8ZVT4TEiFz08vLy5COnP6HbRLeDAvuY7JwBp74tSNyJIun8Ns1IBx+2c/wbLJNUolvxh+xqsbXJ7B/s5VxWrchNKN/RhGrn1NdhGJfSORtT90NIfOWR0i5quJw+hW8DKtTTkywA6TI9i4Q9nuY3oBj4n7fjRK7RsUy5HPzsx1xk3zlFpOvCGtKDWfZoYmyg022sKEoHmtUjoCzsplD3KUlmid2cWLyl7SHjcRNdSqXUfZGN1jqMcujH+KBSRXerg2xRgr7cmtYNW+cjkMkGidR/aq8EDsW0iJC2XmyxjAPsrwPLqJctLXWEDUmHTtAchZlS+eMD4VLeAS2b7N2OQ+Clc7wsVLaX+HZqlNbx9PZcklOi89s6aLyPesgqeO+bJWf65fVw92DYxG6Fw0uOAEfcBz2jCPrlEXZiIYLeBxTPDptWKkKnK9rPlmmwCh+GmcUIAbYaxNviwWLogfBbc5/FwQrc4NGqpVDMpLN3wpwUuDLBGb6Zn8cdJdj6b3WoXAKqAVAgtuX7ExwSLgAjpagqGSeoMN17wenf8szzcWQR2MqHgWKsUsqbd6BiUVcOOBwkoXR9AO/B7HkInIuLLzWIbXRrfGl4HMwxi8eDUBTSlL7KOeGlYSV9pPdCj+8KX9VZWO8ER0j80ebxbaWSEkdh61tJXLAG7B0Jtu26M9wzzRirWJCS+OtNbzXHTTYTq8pGTA2AFSrHGiG6smL40eL8P2+/CJlb47boAad+5Nl1i3CuVuesnPDjUW8KGZ6malSmWCmkEF/fj3maRYtVryCDYRNqmK5q5cW5qIgKvqLVBqt6lzOJhLrYY9pTyIoauCiY74hjXMTblSiNU4y4jNXGI+BqC2NKnFntEoTRXZpQYI4y5SR7eJqARqHCt2/GZcwqsBo5AUqtZj0kOqsogXGGg6AW/D9TY/jUehKMzK7FK/ukmaKeC4W+mcEYcQJjp6w+/Ya4chsaCuq0oLKAun5AiT2WGZz5f4e54PPgykDW/eYLsOs6siCM2yVZyC0qdz7YV74EsF1p9+CutBLTGjSZxyLwdL32e8FqxbiecFLnQ8hi2n5rsLn1a5Kf3uVlfE89s4lSOJoX5Jlb9B/rkUn8cdwZQKCGJNyvYkeXz3uOEYlVTz6kbJsmBWnpIVCI8tp+EiS3jl0BhFgpKcnktPnWFokL25IrPVHMaysqOwehD7T7eJOXVLxkd/k03WTQUpfz3feKgaSfKaJQ+BE4yEcebvgNxH7MMQ/In828+qzkorESZJKCbmvSB5cevY/opL0QcHb84aQEYGVTlzIREoW/OMygCUw3fzXsnqEB083Iw0Z81TdLlSniavKbwgMmqleVJ5g8+tpyfZhfmnBbf5+8iLq+Zxu+1NJW5AF0mUJdmqPgMJQcAabHDBMY+V75ahgrJufxLXlLUddCSTyT6funmGyvrmW1peShFeLkCelJAv+WaG0sv4IPA6dToDv3pry7DFduc90aMpfCMCHDitrFTIfaP1B5L00Vj4lKFn0m1f/6iiGxw1tiF6gmja7J9P0ouCskGgswPLZNMs9b6/LzkdCCK3FsPj+isqezoLANd2SZydEWZ+Sq/rDpkXhZyV3LwLOe/T2Xc57bTG6sJE/QZnRmIjE1mjxxmOvGDboCsqsZk9clQkMFCoE2CVLVLALHpFG5MoKz6Zy5t45oXdb+Nf+0o0rgk1LZJZZ5WbkvJ7Hw9Safs7FXDDHkoOrnU6llsXhx8Q6ZJfaKKzu4pX2WBxpNoRzCccTI2pkiFbH8R2I6q3EhM5BaEv4au1g/t6nLe20hXx8yy1JiX2yZYWm0c9EhkdNu5przVmLfk+oho66ZCGsXK4WPAuZtXEYEdq7bGN4nmtCShG0Jyu1Jaj/xjyzvyVu1wHpw9B+6lZZD0SJnniSwUQXp+ACzrae4l2agRxtMzD1brgo6i9za8sS890D4Mfj+OWoFWcm9rYaf34zyskQufbaGciei4D5nvuLdR+lmrubNpwEV2eFaVbwHViUSQw75VysLqUe7n99MoHI+sSURoFemfQh1KG3BI7uy1IJw3n/HAAoSBcr1rJGGyVGD1aSsJyzif5BU3aZeyk/4qZcL9zlq4DH81DeiK31yA1i3rJuiUOr/PI9Uq/u0tDHiPPq/4MaFQWygXc80AwhWP7VAOsYzoScBtHPyyjNR0hlCKpIMZHX/ts0WuUYoZWSwvH9fVTbdo5Ej7ofE9sGHWE1dVz2K6quaOcmix3yH6ZZ7GmKwu1BgY0tGzPa9+hqi2mzFnRh3X1HqcZzcgAXuN+Ce+mZBiCBQ4jdN/0uM6Sy11SfEx/R9pIWUBxURwtWkNSgI+AUmoshLPsNFTTPPnVO6p93rVZPYYH3/EviCSCbsg52O/2NIHI0XIyKV7jqk1mPlh6yAtQaMjZAeoG65RIrYFmU4Fnj5botkNbgFc9n+pxIi50OnjCdpR+Qu5bWjnqeeOWHpM5kbpfkTM22ZtXuJX5RmnqpZrhFucT0fNqOpB+dkYnyPVQclotg9ams7+gJwlBPSUCJ1e96KBQIreZ5K0uWyRmjWSkJ8nvn217YX0eh2VhsAS35q8/dc2sQqrUy5iS9tvfoIUz6tLkIXycYPF3Ss22F/jwDu4IhwJorKLfPbRh7BqyA3ruiem3qqZ4agF3hpAyvNSTSeQ5Zt8JWSXiRvKGt4L1apIrs8HoM+vT/REye3wtWA+auwg1sD8X5xXUI+0O/S9+dQmxYBK4oUTD5w2tnMdVveEFFUY2+oBHtqSKwZljlTmun41Ipv/R7qeANO4hj+IkIi6QvCACqjht6JhvbLmJAV1s6tpu1UTE4NNQhTr/n38AbGYaYJ0j+Oo37jpjEIz23NHGXJIgJY76wS4QrvR9IMMxjAGg299dFlvf5XWla1tRqcsXAcik5QYcb4m5SVJ3PfEipjRu8vQhPJVePiVcYK1nI9uD3koEXTyi4lNyCbtP0JDCJdhdt6j1zwrbPxWmGdEwC45et+8HkBRohPVA/48PDHGaFZULxqsdPIrbRqB3ZH0YGVwxxfxWR5KRXiU4OXZLNhhT7mroNnQCwdxK7ZpWtVsoiQfEOo/6r57NJP9oOpWZGeSrHlFQBtIaf5kAEgxbzdNJG2n7ZctvtEPpN4ejpVlabzTvxpRNNBBvnzlD/njKIv51JxYSdesE8xBQQrq+OAK5Z8Wb33VbX6Kwn+rIJpJZkJR6ZthpSMjDK5XMyyqe184XFcfqoTzx2oLzEjnC+hl+g6D3U85oAJJLzPSMUjepSrAucQoMOG+/cNfHH7C1b3PKbk6hURM68ibwEEk2jEZP8+ffTv4mNeL2zE3OIiccS01MiabPv1oewL8/QN/atpA8+HzPtx8e8/9N3MkBPGhD7TCQ5epE1LkJeLRrIyEK8xxlvI2OuHq/UzpV5QkqNi0Dw67Ay6LQewMrEn5p7DXM09ZExsyqGciD19RVi+xscEcuf7f2U2OKDPgF1NJAGDaLWUVuA/zMvcCMxkZXzlibhI6R7H4EAWpw4SIY3Wu1oBZZJD+iLWX4/qs4FbmnnH5CK5wQH1r1dfVUytf/hAymsvX6wLcYqfBxLvS5g0rMSQzr8M18tOPQj52ELZ99OUTsQMf31jZraWHp6cFhgZyPQSgZNIW30GdQ0B4ZOwt3bKXuhc8YeoXA9p0xnhk3xode4s+8w0/EcRlBVqDAxx2tPpxHvhJ/a3/bsFXFAMzp4a1EPAuFy5KEP4DkrJrmmiu2ZUTi9bGpKAlQT+yHwaYzzfUdQInuRQ2PIUvznyuG8zLZ8mv9bUNeLMXm7TiFLPYEubvZ2YDNGLgUb3KEsuGou+DvLI51Qcm2AEVElXuThFTCt6DUZOUH90wkaPHWkcL7AUl/Pxw7v9TTL4hlS5oEpkS994XrKzRpyiIRHznTsedX7I/Lj9uPfvTifPNhm3/2pDkBGz9pObkVSaiOnjDvkD80t6HHEgiV+xrGhMDyNSufk7enPDBwooQG5m4t4JyxEINOF713+sfLVFZ7jfvMGnskeGAAjWTVp4zHqUpnw6PUp06NtUw9TOJ7UZ3ZSCjJsaw+En6PO+7FZB9rZH5IDjNrng835yZYmLgo+c20lFfrxEwd1cD983pbWelFcM3ebHaRXIOnYgsvL/vkTRPumh6WomiSV7FRrsaDntqBkrusmx+XYSAHrYqgYpKQCpvq0uR+n17UADq1HkXF7MrmwB+kkeR4CQbSeOf9/rZv92NF7OL8jEIsWtKzqQWbxRDxb6cT7L/ahqegj+hbUwoJffATXsWefX3fs/+j5vPOq07Zltj2yxFXwGBIrK2YzXjxw0A42yOeiT/ps1746o51AhtLX6Yc6I4C+7pyCMUOq6VCCfSOjtI4W+WEkE/nCyPplbwItzEeN1uBZdpGttcVIKbdSgoahXNtSoC4qgMpWQsl5GuHYLU2DFtB7mkTcMfuCQS8hNq0IpGbMJVXvewItMnh6Miji69fFLvAaL+gqBh3A4U726AVkAoAIOEG6V0fSo1IiYoCdZZV3WyJ5DkQeVmzBJpvji0RbdSGvqZRSM5AqKoa0hqH7kasw/xmj5QqrcZTbZzLlLfjPgBfpHyqzFe7I0uByjnFiopX9JwUachNXn4pYaCWBgo9FUsqJmn8TgZFtZB9JGKWCIOfUm5pCZApatPHQzFL07mnJmtZJKx1q5xF+k9TLDlbpysJywNyq+Scte9rKHBHQJJfwzMeaJvE0aQ04HeyL2H+aDkzeoPhpuEyYRX1zPlYYa9LmvUrmnCkrA0J2A2pPnmvtno+aHaBePsxkvEbyJywVYfM1C25+Cgn3YOnSmDLTYeDOCT5SWUs2mfO16tdQ7sQm33Sw4McTj+ExfPPclCSXHVcfzEqqfD0X45rmCcIbMbW3JENtiVs6gruG3m8v749BhAplbu8/VOy5Wy5DtxMpE1BtBv8tvSQE5I/xlWxzgEWCw+iSfiKgggEpY41a4rgyYzSnnnhvOFe4akAJZYUAxT5Qs6tv69aULazXY3jkGznoxm7B21BvT5KoOH2z9R4Y6+PDh6NsfP5q5TXHL3/rhWaBUQMo7DmuYgKEqf/KYmRm5wLw5a8RVSrrDik5Am44jSKcbxfeogYb267WGMbBML+92i63qp3yP6LtRDIRGOmCD5WbcAEhJaZkXuQIBAX8+w/iydDZ/I/XLY01b3TUUyVd+JW4LMESR+liLOWxoSZ1/hbq/D6ZxLMaYdfNNPSTKPib6whNLoFjclVxIFd27p3ukU88r/4JfHVe3bc91Oml6IDOb1r7QvnqaiBn6FGb6r1RLtrjs9HocJYZ6e9e/GKTc3UzjU7FC/6FbqNea82dhkDWh2zgXkK6XWb0Gu3YP+0bZKTgIclBkeFNoQ6ETriZUjxFW71FtRFvOGoNKhJrJtc6qxBbZPEDB3wLpkyxCc5FBwxwMUjDiSBsNEIEqZ15kRMZbFHEHKEn8zp5cdc8+vXFGGJVrNzw+Ppbd+L/TrIbRBZjf/Fi3taamdmALGtf+Y/mCmthVzqVoeTSZWEv2aajE40WngrIslhwTl8wPhSy8xptNMKIMoxoczfm1vPt1pACEDDfkrVZ3/tIffEKkh+qRjJOgZGBFkz9OWr50RJIT8ePRDAx2WdB1tw4NUGT5H8WyYQP9DrzcJYquArna3tX0Y7nC87FvBsPW3SrU49JHw2Nrxm2IrtI4KHmzxmOkzC6XOIPR3n03fRRvgk7geUjgpLRE9as8vJVvSnVYTMni9SqUJnK+kg8Q3rNAOnSdsG1ELhIfD4pDHSZ/WHVh8yXS++YRbLOS0rSmdeLsnIFzOEHphrWTg1xfinSOsHSV07VpYkgrI7J3EjFC325uIElnfdthq0BSVUHu567Y4tcrWA/Hjg37rh03qY0QYdVm/BBW+jpppuhL/l151lFvPw/UwKp3LjPaKF6iiFgwI/EqtDfpYjenOB5lk8Wm1dalnsPtwPsMCULLHmdb8zOjX6mnhg0cOhRp2UhLONZHFRn9pYrF3ff5a20Tv0/lbLPyd4BBJ5OIHZknWg2ajo5is42gw5qRLuBhJtMjY2wTgyVl9iaVGJ+6Zx6iR1NOgJTd97ktFTi5z2R1TZXr0XSuLLdXA6EqqEI2QsTZKpuFqTBwXjcxD5DuE22eR4xbuSAQ59NsgxuA1KkaNQejrAjPSpfzZE9pKbr+OVzJJ9Djrc/CQIu0oYGt5Sewvl4pglfJqcfItyVLJ/9bI508fwqlhgF835AfTZ18Hz+ZGtdcNPvuLhZoW2VO2TIScV+iqBbNUnFmA0o4nRM0F464vZoTvXhtyRdrbdkrG7wdKfx57OsR8300LtVMrJWtHJvA29a+PunoW+WexrfDYGsUAlUr7BJtnWH4dW8odATrYOGnIpKgOpOrpWpBzmQ81zRjtypuimeRFZglFO21g9wR0//LP/JoEp4BDbz8SrzlBrnZ3LTXC96aI3Tnt2xEmzTYLJi7lufanx9agCgEY/83wUe9pUpWkidjdZvisdRREGoOEfitDSYO6YkaWBnjUR3YEOHOV6NWiyTpag7kTKjz0VzoMHvZIorS38/MkG7Cq2VWxTRh8qd1kNiEtYwVkBJtKbSrms8CCi+3fMmDAQ3yZSB/j8nXJoVZyqs5ljDXgh6AwsKzUt+9DAhQWLZAeSWJ62sz8ffmIiTc1XAb+F3RNtXOYxzNzw4H2Rzr0PMwLoVjpzJ0XgqrMtqyn37Ao/cdOjmxoHcX4kX0X2PCb2ZAfIsiGw94J/GAqdEmq3WRS5XcJIodO4u2Szp7RIZbkw1lMR63n2Ohj2nF8Xp6Bx1Rcv++Vopz74GpZ0TKjAUNucimsN5oAC/Jlx6asXC+JKZuFTAin4MUNt4YTklHBGvT/IiaeVUpInQKoHCwie7Rf5rBrWrkYYLaTBn/NCuT3YNZcxtZ3k4K/I+ZJlJY3DsMHMZfCjv3FeJio/GPKLBMW8Roevy6gpdaiKMePnBiOpSZlm+HF9XaR+HiZKVEELdqC1H4FymiRU3HKJ0N6HBJaMOXUhW0k70iDMsDAXZm1rW2EqR/RMsw7b//32wA254Vrv+Zczz+Wa200ZhfFpx5MsZ+8CyaU73MbdD4F1BRriW3KBF2fQgFq7FmcdSDypygydnw4VzYmD9US85j60mspoxjFuJHMZrsJazqj3pcE0OfmSY6tULaCTZOaf3m6HFKuk19/6U2B9v4PnYaZCN2qZ6LMSZr5E4UvWm02ES2pnHnmUDnC1PwHjU0J4AVg5q/+P46XxhH9nl8EYOphtES8yYgMGYqgTTTCcKpO9CLorLFhnCtKZO+PoC1liia36j7M+iTdZjPdjS0CPXRbSJruMe/iWZXjEsnBwmDwc5vhQk7nGpzENo+qhc+oZEy44JVjwtBMXDfTVl7N1j/fXpp1fXe2E3jhNz2EJlD4hAHUfcPvvjcBFrGpnk8kfDk776kfI+MSTBvzS9C3YuB8yGUv8U80xsq4tieyVIblgyXepa5UPOvmzDm6H3K+XhdFDT6vq0smEcJ4R2MVgeQldIw18ZepGQ45kOv8XqzJYuTKFGTkM8E3Pt3J9GhSIieR/OlUmjtRaxybL0eDRMT/KotvF4hReFE58jr/IQ8LIwBjLA2QMlU1e73MVT0dvmWSYMcCotnn5xfQm4pGqqjN1aopm55xU0CnzKPNN+PEZzo+kFlm1859HbnhSEwPDaHdLDQCk6qiz6XLhXHmx6A8YGCZTGenS2jwOcdR6m66rwGvwt8rqTRp3GAPeaplej3jwkGkG436AM5wRNskB7UndCFRRZMmPfUVuscAv0OGTOHli/NPrIHEFib81jGS1NEVq4k8ADi5xMOVHRdh2UckS/Wj4HVUZnyb9AY+E/WhcJ6qfTLumfSgCsPPqcs1u87YTL1JcBVMVilmpknPA7xbpuId3v6veWqFzqOS5a+QvQuy4pamRkFqGvwYSBoZKSvQZnT0MTDc/88J2hGsIHLCSFOSn/IVM5trzLkXVFnlJV1/XtgmgJ3X+bHfMu33DWvUDyKKy3pu6RPXxfqk96r+l+xb7I9d3H56gH/g+RsOFD5pveE/MMIHKPEhrt53NMAHMXEuqTJiQs/1WYPnbHv3VAsG2Rv2hBaiS/e6+IuvsmBRB+3Tnw/82w4/hwntXhb77DnpwUIQnsRSdp/DZYGg2eMMhPok+A2nNFnFHadRaGzf4juPvFCJwEScLCdLRqn7C5tJ+ciF+XwlOcbQXaMXlHUkLMQQHBauYl8sOXKTjW9qQr7KwH2t0nBryuCGSTPniD0ko3/wvSrPBxMiM6pDlIRSldoMCNNnh2J70nCbfgGB86WDiv5qGMGY2kAb/Pb6/TUTIHP/rL9vJmCWKL6zBZ2aVTkwnvUHvq9+b2EyyFcSTa38UebTx6DK0mOHGREPg1uhQvyHD5o/DkZNhARg+svYNWwyv+i9rZ3fWHqlNeDzwZu6ICqwtSEU8PBxy8NIMeLEwenWbkw2RGwjJG3XlxoXwuwAyeEdNdiICjPNNdAZVGqj4gezlCKE3MBKLGeeO6IDoi8zYhaYQq7ousbXKhOtil3K6sILd5++SZ7vLbNKiYH5DgWiVuRYEzhfuDuCt0OVLijcYT7THK1znMWE2kPC0n0TloHZLrmEq8gP5DNIQRRzsx6rv0CAkt4jbegXrbQzvUC/X5Kc48lVsWZHH2P8TCBno/kKcjEduxNgvFU0UEjVTtt6YefYTemZ2OfZFzAQ/2ZT5YP7eWDdatuIQ9Hbpn+3qsJ0qU9wZcAYw4PE9wmxV6n5ugDueAcTqRQpifKlyzV8PQA3MoEcEpcJY0eCkn7Kc5/MaLRsSMYcukE/a3BMh97VpwwIIsFZZcxLODsxANtF/dYY1ycuD7Ajs/dHMzy77oqSMlkLX/ZXVPQ4Fq2V7NTVN6icPBmOb+wxwAPYXlGTfallhBKV7t4nJ9ZlItwbW131iupVb2WjonDhaCFky/5KYNJiC8SIgJX4NE2fG2fOHjEopBBlUw/RFqvIEWTZFpbRg/39xZ3537LfZJtckov2QiYNwMSK4MecflgIMR/jUnAg5P5Ek3aQLbuyQsB/d58s//T889X+YjGB2dBbKE/nRZmRQzMn1hBQrILqDPSsZwVcE6Lya5suQUTf5NW5yjk6mSrpLkxHtisZu0mUikx6eFOtFeYqclcuMH+y/mYE4SV8kHxEwgavCv8NvKuFCk7iB6HU7FkkePVnKsjj2p/5tUw/QdbGuwfp8uFX2KY0L7l3pIgPPQnIqpklAZm62wsKpA32ulHu3VwJjzSEtzpnRg5LshZ7Flaomm33FJUc0A7R0XjEFAeNHVIym+srGBKK3iVGjUtWLtZSAP9XNOERPYecX2Duqi+OF6pJfioFysi9zdIpyH+DM3v95iiwugK1ltRj5qHTxm0Tdg3HwMFgp0V00BYhnGNh3maEJVs5ZN1HILDDL4jqu5c0zQqn6A81G3Cinq0RJhnaz4IdjjOtq0WESv2roWfCaCKQNoweF46pgIofiq14F2DNOUi21Oi8DyJwpOj20UwF/tOM6UQ24kt9vWPnHmIOcy2t+9MV7e006alqLQMZHVlID9sL5+TdspGHAu6z+bCdfGGRJ9uSGYyXRxZhfzDDR373N7BNdCB7Z6Cb6rW4QunH+VkuclwHg0PcEgKyGGfPfyDawO/92B6Ipsrmo5ULs5ubA+8zZXAXG/ncDyYzNQCnTJidaZqFo2g/n+IKGTUpdRgeT9mpsLbWABVUH3lsSHmt7kB96zmdG85jnGxKFVcURasQRPqOVx2AFgBxGvAo3EAM7InDh0XR3CToC4CWPhmClwPidq3+1H3GGfebw2fF0q6E/nGwY32y+4ws6xMbUNIVDSOVM5aVa7fabxKTPxVuVKUyQymF16LyLqBfoBp6TEesFebAspALExvQgYMLGCByah7jpUsWBOIG8xHBUqxIXVhx01DhcC4g4Pbu0JxvkFdrztXCBLD2ju2LLQDfDSxRsUatoeVwXNXWemC+UGD6qBFYPRo6cebFVfwNVwatGjtuNRZfD8yGwvlGH35L3Y/Ba1TXLOJQbj2NB99ArRw+lIK3lB+7o1xKk7bjGjTK19vUIzGlGxx/0rc/h0458GFnoAQ+li/BEeoymf8RuVOHhdyfg5dHWW7jha6FK/uS9fO6v2BGcLX+93kn8eoGjvP2RMx3OHZmpJamCOeoRZ9DTVsA1Z+51ykM/fJ/aIjxmh5QIuFjoDJmT9cPu+sapiHvbUz7R4II/cgGjV4yVnFnZjUEAokmaMNr0od0ktPqCZHZknKQXxMwNALr3PxVEkNJACLOoO5Xr5vKsBGT4lA7P1FsZn+yzio6oF82sP1W3n0cR1p7axq4WuyhJk+6UprOXChJ6Rlj2sev0tx34KSl8VOFfvoZJFmcY3BqxPbSivvfxXCKhWuXV1CZ4D0FcWjq12DkTonpiWCZVvo9NILQmcV0phZ015I3bhK2zZxykjMC1P7f+LRcgsimNH9BpspHBk3T9zdKXos5eKBV7tfdDK8oo9rSNfbJyzLC3JVz7jAnXSVbrEfFPkJw7iAcKGVIA7ZuJBlCf+FRQjAyMN++3ntc722o3Q4BHdyd615ozO1IOYHie1mHDZ/M4PRZfAxZ+ViB22e5ek8i4aXkPTbyCtVqzXG7IdDZSS4wGsW7HKq1R6SQY3vM1LhmfHCEU1vBFP4GCHjepVdXtvFesdAcg4fq+YJcHXQ1Pg/Sdu62mAc1inQiaOoJrfe0RwIIRtUHlQI8S0My2klY+qdK1TmvJf8J/gwlt/psZaOhKArJuiGrD3fX1efCXtd/1SC8izoSaAonLJxOx2GvoxUfConDj7H+I1l4/UTvhWizrzS71El7k0h8K9yPM3lE7Ov+X9AYADDpGRKFbmjB51Le6aadhP5B2KU7VZ0OTbkplpUg4mMKkhvGXeQLi9ubGrjv6BYIlqCaD0Pi0euUFyhFIONmPqawD8s4XQvk54u9Tz9g0vEIFzwg+4BR+EyO9nMH9bbfF9NJzpJ1pNDO8HoI4mUJuOEbUSUGE/hkhtSnCCGd0knbDmVqIkP4QmRL8PeZdKPOE8V19x+N3Vi9oLiXWmgqshYptRTqeemqa0ZGyXiuuijo/BZaWgIeJip6mi0PgMFD9HwXvg0wjkPb+k7iZyHd89NXL0LJ+Ur4ViYtrsNeinITtnCxpjIOjaallm+6R7va3B63JyoCURdQayZh0LpTTa6DZZfH7p3HyiXIgRpwVrhZWls3ZN7Hvf5O84v910ZiIr3x1YKrvBef9unS9RpnwUnDchJT0Eh938Hz1VkIqIOGKkD5odkqN8GQPO60I0L0bgRDqkT6xQijYtPGxpGdQPBDvHQWphCL1FPwqL8cRSzklbWyKMYh1T5tTC3szFcIucBxZbAygFQR3M7BC1oIcjlaTn1V1F3baBbZgS4uabHEX3ZobitrnEZE3apLsRu7I4I0bsR2XlpmWVsYyxvMmwr2/Q2SD5g+9Scx2beYhkcMxVpfNxB9+SoXBFsZMpTGmL8CPUc0BA5tfKJddGRwSY4jcEMGo5vfKy941fLR2zk/oydXVW5O+17CCq/7TbUQTW7S7dc+1/pX9mxR5+KX/WpnTlBvNifbjGn6rh2Hs+sezhagF7YztPJnLKHTcnd7lOmWg9V5K6zyej7ZzSrA6Xjf6zCqxDOMzMWpBOs/Gw7+O/Je5vjd18HAz5Xi5m8ssSJPNDZILL39GSE58fBWO64pXoDTUNzhdmpQxlBGRYeL60yfU+k1l1pjvCw8qSgOgiBUWYK8iTIomRJTDVmjZPR1Pruy4R5k1KBGoDtsERY7ye0rbZ2gEuh5K9qNc2er3yDhFi8Y5IX77v0rall8b3oIQd7Cc0eVIu6x2Ewj245vO1gy+PssqcmaFtn3Q2vkIf8p3HLFQuGxsd1Ek/cxoD8WrmCg+t035Na4xF+XP8MS7Q7bFH010UDZmvqk5bSJvmPSWZ+LFhFTqwUfptsDCpisKBhy/r3t2c0e0dWI52txfCW+chTvcHvJZYdqJqC4AS3tZg0lzWSHOhzGMKYprs9kEaqYJMJFO0eqoYHosiC2LrSHk48qlo5qLewzvy398ikZcRsJji6cr5FC8nCXuQgAwiznhwB8DaAv4+JikMnwq5RgAioXk2qvgOPSrsCnd1/7/a9YOg6b76RzDVmq/dUHy9JnqBVTE1SiuxUhCWqczp1+dZCoRoAktofS3nm7wK4uvp2z3/3TMbrSv/2HxtfLCS1EZ+CrdYVJfDqsZMRp/drAyUCIBsj9N8zH7A+xOvtMd0oVT47MeQu8g9m2IDVy7Zl8KYMby1N9smcUvxS+edwpMSjURN2RhQx9QvVN+geqEmLMH0ZNyCkv5pAYYzgt4gJyIo1NL0RtoKVAzbYN0QG01ssCn+lqFbw8YOvmgk9jRZYnpXkXW3wOabSntoEP26Cgnr8LeXHny4gY/8aYeeKks23+8WdXTa/KLwP8Y1qCdluD6TnqyqYmdJSTYwKBhMjRbqVrs0Ru4UNshe3F6QSBiQcvckQlUFXbtjX6uR/3pataK6CiC0zJ+2O8Ljv4nCrTg7J1wuVX0SG28j1er/GfFKOk5W2GukTXlTZ71DUuc38LzwG9qMAuGjaiSGOLU11ot453cMq20+Jj/xKvfRAKiu0+r6CcXi3eobXcsVEcMb+welX8829fpIBpNNpF7kEUs76IyWWVIT8oszGwXDGLYV/q+e7GqsvZese5SYvxj5XPshX8oTO17WNRAveDcIpk5sZV0q7nnulS4jd4fuXSLcO0vjeh3i1cjwdMojPkO/WdcmpV7wGD2GoDvOAnG1ctKEFHPvq3sLb9zZS5vCwwjfv5X2KXoclDAJf12cQdhSHZyVZROmtO3dejXLW0Kkhqziu/33EMANM7cMqCwTdm3GolMQmuB/NjZbnXbm3UsJ8xLWB6Km3fMaARob3Vfz0yy2sNQ9mefkBEajA3W5SZ2urOp/NOruS8I3zt5Rr7d5KddAu7fPwMMUnZE2gNmMu8EVtjzIGgCwPeoBTQJyD/QV0oFoTJT0GfQ/7JjQsy9kL77AzJzVLcpM3m6IohHNXXNxT4RkJ5ImKnsrJZFeEEqx+GjFxTgJfc/mryn9vN32p73JUDI4hLlnFv2fe5ielDQo1PRgQaZVk1wLRY2ErV4rNabLgpyEQH6+km89SdebSYi8yBW4riy3nglWK0V7zBdkqh2Uf/MQl6Yf+pISsOfC0jg4TGkEirUBVx/mrb5Hz0/duksTCyGgCHYAEx6U7B1Xd/0jgGLYlgt+bcEQY6RNUwNbz/zarP7EWeGxTDKXYpuJhX+F8/14nEwK1bfL9oX9xaq0/0vOtS2HJlLgErjoaTrpBK+9DLNtRmTGbZHKTT2Nq+pk4iqxWU9JXth8RsHJv8z1ztB2dMDSOAmHTEPvHp3v6turzGiNTV3SMu7xWQ+CiNSy35btuU3389eqAO6fPDH3cRPkBApJxy/YFkwG4nnDRdbxWQlOd4tMNUpQj/JLviek5mPrOz1nW8hiO13+ilSU9ofgFtqh6C2mukqyZ/tHl+7/AQuFZeNjiyfqzZK2pUQ+HVtbB17it44t1IsGUECJhOfp12O7aDCkU7nA+fjWm8tOqT5d5DYHwQP/iaj60p49qvOWZBM43/CxGgXtpSqUKJu9yGiCuFDaGBK71LEFVZM5aIDWD1JA14Hft29QszWJTQ3wu+9+oyyRlOzgKg3jEPEEH5wGSHqu5/hUmEnrM5DMFkWC2760HmXi1rVJv96/cwatLA23wH+suGMgN/SsHbZ9qB+vZIUulgCF/lS0aHRD3iSybI+UR3uBK99X8XScY0fYEJpDg9Sb0oiOXbJR2aO0bkrgsIdR9y1HgSO6dfvaI3ut6tpEWyGyftWRAi1P+4PpYp1AMOb2JVUpiffL1/aVmWOGnAqYI7EgPqyjSIVENJ89o3aTxzeV7LbztSBykY52pZKBzwjfWSdGWjGKX2riW6OsmIAjX8RKXWJwQ7E5EtWaq0bCzdWD+gDQ/X+g5wJDyJpIbCe7L7tw3QqcksKm3ouQ5OGL4Y/Ih9mAo7ZLdEWOC+SyXhbsy1FZtOP2FGRBsD3MLDSqr2/6KC21/ZAXQrkrnuP9eEHHCXlt4D2gt0ms2heQJ8Ue7VVaHWb8k7dvqfgsmO+AEmje6SW9uUTwWNSxUlIgamrvrYy/8RNwccp4Yo8ogqhhmhrjaJxRCfhJRkRsI1eSP104WKbcjo8g1uJXEcX/pBIuxeD0l6d32VU8JzO7l6U2qKAgHnurnJIMLsXLyDLzp+wuQvsbYzdIRK2AqpU8izZnijCZ3NlmdioKbkN6BJ6vt7Cp/5pwjOTZ8pKQ8BE9gGg4pcfjiuKuamRJlOp1DxjTmj8OJxlE/ULB/8CHT/Px7e0lt2TILfNnMsN0ebavivlzBzddianMLP8eoz7fh5a5wakBYrgkHgM8yiSpfLzOMZKHPnYDvHa+IhquKyDzJsnY8+svcDdYS8rtpFppzUfze2DhyfAXnwbPmGpvUqWygP4sDU4VNps2OeOf7Og9LOwzgFi9DE+gFR4oDjBs/hK4nCq28PV+PA5X/6qpjU28q3ydNrQr0+qt6xshYvcUeukcFhO70DwX/GtSZqJpsHL7H3ocup0q/0FAJppbtFMbT7SafF4G9K3xrv0fFgxEJC6OOBbfC/Gfr2hc4Tv/xtjOo+cPZ4WldljQA4YakyPJDkjBqbnI4kvP/mq/bVtbO4w8d9ZDVBOWZpehKZhvH9j6TSHTsIDsbL4eDY0VTsWJIYiPobGQMu/cv+oH03GJ6TKnQwf7qaehcmznH9wSbuf6b5v45od+JrYpoYkt/XhVlrdOgNs4SsDhxhL+jK9O2qL41NWGwgyAzSDYrDPNdClAzTJFTDlLLHItcGemfFJuEiWKodohn8fmRFgHxShlje8BjGJ4KXiGIdf0OftuhPha78tnnen0/BTiZbJ1T73EetUYcS/Gxf3kLRiOLSyxR6qDp5qwMHEYUjNFt0lnoIIDek0b2P3Yj072KYjWhJGLEeP7XjFFiO2PoBNoSrhz+Qh8q0UTNgxWpEYo+KHvNl1eEBXySunHGlSB7NimSTKxCc5sPJjITZ/4HTUTqD9DitpY/lRKKdFuT0qYw/SVbTWOo3q37vHiHuKP7+Lcr7JMHhzQd4kQAACkcRRIlvPP8sUdd1e1tu7pm0DBB6+HVhVHpwdepYNe0r409ck1aCxItz43sVLIwWlKB74XhrdDQXjpv9GQA5z3Qi/qsVT1KQ+NXRh7FLYaY2op+vS/EzbB0d6q5YYsbhR92E1RI5VxE572TnGnOopKRK3UtWlJp15PDgZ2ur39/ekkXhjmIwbFzNN2MfsoocaZiFcdM28SomgGouovukyph+eri3HK92zeGkpoD0Aqm/yUPcKsL4AxCtsb/xgfkWPs33UQYimlo1AaBNL1/m+dzKoH0xVfvV8NLhAuWR3mDUimcl+A4x8N6pDEAiHRWlwvwSr4AOut0VHeHPOZ5N+a+pZKRNa2GZZIpMThWlD9O0z944DSj3kisfD+vKx7sn/vfhF0nNwGz9ecXEuo/dYH3NfuEjBpE58nMtWorStt0BENMaTl0gn6Q8SzVENrQXlBx/iuHHzW3gp+lM8Vs2swq3lxlRvfUind7+YgfCzdJRBESXwVBmFZ6qDuA6OEkMmfK6eBuRWBrAX3HvCoH64+wUH/0fvXl+Y/9ePCJ6aRMfQIJS3MKByu0MNL/XeK9uvHbQSifDr4t5PoGsi+d/1FNeDTSKwEoI+Ea5/ZjuIPnE6SaxDSKAMM1TOPjau6eC+ADHmk/s9B4UiXSdj0BQkjwg3FIXvyfq1h9D5reuoRxsGNvPm+FkOVW3IXTPJ9RyTKX2DjS3x8BH89UFT96T+KiHby/fUj+/BJSQMV/njZ/ggsEVvgZcNhnqJHFDNpWvtiqLJPUK8dU1ZhRkOBhfL6zPRmfaG+iqzzPDRE6w577KzExMr4YRW/3ppCzH6ksoALD/RcTVI1O8OP1VOXOSPjeB7UYoz7UXZfzQ02lFXQQBcW+n5dHssFUxbag97/MUnWOsELyHI1US9qh+Jm6ULoPI8zX48qwdvyr3EiVbajhjWBhGtGrIIEdwxktA/SDuy5mZuNYs3E7H4S6hlm1Gg2LshUz/+sGIqifcjl7KFBaLdkeo+KA3zUkYO5itdL0Of5PwrjlsuqdaLUSmOkJAgfF91rOxi1DfPXGJ6hJ0dNVyB1jjyPUeX7yHgN67KrWWspjX3qNbu8Ru51cqCbeGT2mOZUUCg1SbW4hnnt41YDKTZ1BbdoAGdudSfxV7nDOp3G5+c5nPeYkPLEMD5FfLvoWp62EVyNN0W/wagXH/NkF7hXOaZ3RkeOH9BIqFvbUeyS80O6SQ6hKCiVLgKB4t+/4YMD7f2Xj3G1VWG5SDFGUdu0iJxtNJotnyN+Rpg+I4ZfNuzQ6e+/t9WpR26Ep+4atJ0zZFgGPG76G3ZttJzPPEQfr3XilKumNmVRBff5zYTL5vufT5MXaOa+XQgJGL2R04tieg3Ij251DrWmqvBvdWh1HrvVUmb0cJU07Ote+b0xinJ7rpEdgXTXywfx2hezu0gb6TrUNAWYnZI4P9cPkc0uITx5FKgNgepKpym35iqknuP9hvWJlEsPG7W5Y5yB8K5mRuqUosMwSxZzLOX0nxInSgt1/ztL1gtZmN67hFHyJDmJMJg7DW6csgNgYJgLQ9OndzdlL0UipzEr/Vi5by8R65bil5SAkUwxtAtC1RBd3lNXH5966dOArwt1OwhhYNo4euqrl8CRkSMCdnzP9TLbuOKwi8392sKBymBHOQPI2AcPSwAux0bD/76H1aF71auoTZ0xeXW3LjblUpy9Kgz7s1UWoBCTIVcTVw5nwgoR1rwdxhKaF+CJ9A8PHCwTm6qO6nFFn7kpZbBOfMGbrtWLnph9TR1FrBGVelmv72Qyus7frf78798awQ5XjPOgXAR7dPYhVvDeHfjoSPVLUNhQqmg6//S8hDfpZRMoTOomyCl/lH+MUUbtUiPAjhM42Vz7P8mlHXA0Pbbi0i8sAvO0Mdz4eMOther5KvuO7EGHe5vsKnDE1IUXaA9PVlIr+V6d90gqufpqvJ+bu4X7a+89H69FBkCXd+FodUFT3sUBplPOvqsTYZeaNJaD6A9urU/Ktj2Jzj5ysfN+yzTtlCmdYSDmGHKce/F3o0cdfnxZuBrf6mQB8tzR1QpTCmx19czhFWh1m8Ya4Uau22sKv1URjIzpsCJYGAcku2Rm4TWQ6gzv0unPo/jhv67V1XT/zWbgQM73nDNiJLNznt3MKD3TU+THefOq9fXOxtqlkkNWSHiPQp0ZV1lEXDla/5IckfGb78p64Iwf5xuT8PUqQ4HZ0BDaWwPuBoRc+Z0ij9jwdpqBNgyCQTTlldk7xt5Kv2jkDh9F+AyZElgJDVNKlKl2FoSug5SD0VqpD8j1lNp35oDrKrht2eZ4husCOwoboJLnLBJYwEP8JIX6ni9DdoQ8F4HT9UJsX44DwajA8cMxythighd+lVcL/dJ1QH/y2YbNwOH65hr2PqbCxZ6xVuidATcwSSXpCnkDehzL8PO2Fqew2XYDJTIhWAcA/gfuTcFp/t0L2fMEICCjC9UFkAz2W0sUJ6XsBJ13hb7gA2Dzo/c8yoaro/3adV1Wz9YGha0XBfx7l9XpfO+UzQbbLonvru1iPJTV8/AkkuxXS2mize63M6bMDFXzJyD3/UiwNedfZ2BBY1htsYgWDLHi7BIesXp6J5ZMvdmBC36LVAYTa2R03/M97m97ZP0WMjoSquSBAQ9rU4TQd1rB56kHypfOzOhLt1UZ4JiJnGgdEJhjPTLJ3FIp47fqhEfdLyEAfXgBxQwz3ILrxm4uNWTWIdja7F3N2OkeApAeLlTJg9BXFXL/kHDGDhXO9RmLMg/9jwVUA8evkuHhTB5sGiOJcbfrbrFxz5ave69MwgbPjECjY9mxpXMGFPp3KsT840TNC3Oeit06DluvLJmhlTBCOMOCWiWDA+enILSFtg7/btVDBk7GPqrOcvDP/eWOrxtiUYDMar+3EXj6yn9ngMxZgRe/n+r8J6o2qLikAFxzwktpM0drB3VJMLkj/SiW8zUbh0Lz38FKmSytSPeH2DPdArn+wgdHiZTh/RwYJmPO+Krj3+777MmtYmuKxYBBi7Z3gJB/H03u/6oBjiHnoRHKd8NufkqSQAGG0LjLT4ABcwISxZjKdV5zl6ugTjS1rrnf3zQEhdqcbCeeQvLcBfj76V3N4fb6VkIWeR4oMtD0FHdpmOVi+q1A9OC+ypEeW13povIZZf0XeW9l58lczVNz/v6pl/7xZmRbls1zu7h6c5OQEH4Z/O/wXm2/RK3S/xirybQtrJd84iNrf3ApT5yelpbYge8DlX5xcnOCZBpJUatCaoo+iQPYsD91zDNzYvpgwCDDVo+vT7NylXIDPkImNg9oKrBlu2CvJEfVwGn4l9eXW8SHV3l2mh6GrUB9xCdfzk38kXUIGcBPc1DDUmsSiImaERZxbQQsE5Ooo5H56khXASsnshE+L69TlCJshpjvI6ANrQSOdfw8mCSg0Xoz4ZlT/li/WmvWx4c5/OaSCyVv61NwePqD8RBEZLLQrjV9dHEyvYsDfkrP3wAIkFBTcxFvIRkbl1HzFvtNVOkMCdoPc9kTXyWB+2iSJ5nsSgU2bYsGHtNRC9l0yGNRGX2y1RFTRFmZFoBe/AWN9H5s4PmJ0CgxreaBtbnoNfoUUA22kk696wO2yaScetGQyuqxyh4/k8Gd9WWr5rYTDmmhf/Afdaudr//yj5OYNtVIcUW1ambtq3l+y6VlFet764Y2b+zxuWy/jdknWr0zViS5ygGx0s4iRddFUsSRfxKqoyO7RlER9C76HkfeypMLOhBkUqLuP4CJ4uxL0nPN4AlfrBUWSZzCguo6Z04U1M6Fgkngu3uKLxbIVzzDpIubDHGnfp9Bza4XzJ21oZ7SFc+Yq0YLmFCazx1THTfbBhOy1bKvmkclAcHknMYTqaB/3ng6r6fpU4HHjt9BBlRflP2IhYhKnIqqKhKrq3rYVKkw3cIdceDhfA5bL8RIL6LmV7MJ58DNPDbkzUqbgg5GVm92U8m9D5LvCRWpf8ezIt6Iw6vLtDF7rMIU+2uXi9p3UcNMtbRmxEryRRmasgwh7f9BodvgbOSSsp07j+MHVqT7IaF5aTOR1zMoN7p0uhoa9G9RtUMPefJm4pdBUyAdRBkaauLMuaU6BQ6ckKawPEqFjf6BQlmdGohThUS4BcrnGZYJzVNfp14q49r9/oX4LY5aivl+t8IOCLLEp0uT9BiHiSX23tSdVIK6D0jYOcThMcTP1d7WKoTej/U9XGmcsrLP1nVbbV097ZasYFdcSR3ntlbTwWz6PgZw9M2KNlQHO2pJr964NKDJBcSzd8getR6oBWN04HCcfasuroBwSuUGqJ82UStbrhWVlAnMFW4VyQ+2zZnFegf/dU6CpYTdVUizJnvBJraLNIZZvB1yIvYIiViI0H4dMw5zP/AHezFbsmRxXeaJA5XHGXOPxr0ex+86mJemGowrCYeyopQEqhKr+GKvWK31DzwiLNro9QykySGhLv0hKRcBnGOidBMll0O6maLIlCu8lQBkTzkFRrPdjOT7ksPzVR0vZ+YvDNET0kwRxQR31eGf2dfwVC6K4lmuDU1X61HFiwVgZTMJ8wdxiL43UsyVC1/QUKABB0dYqT6Nix85bfVRlZuL10Co58HmBfY4rnVgZzw6NHigzmVemnfaxlBtBX/L5C/8+gavP0UP7WH4SP565i3hpDLCr69ZG6BnS6r9sBJThC7yliVHF3Vt/tpbFVPO6q09ANy7kaJ3aHh2EXN4Lz70UqtFBLKl3lA/Y938ooMhnZZOzKjZi6n3qC4FiYP8PRjqtsJYe6ntvUPfsgaC00c8AyXRQ6IrPihXsmW8dMZ4ZldVJt1/Vwr1pzLMznyQN73Mwx+JHhFdEsaLfNNt4dFnHMG7/VnGMwzrGTqf9Sa9YjGLi3fgbuL/xDIAB8JoP9CyE0dq/q/1vhqzCDB/6hsoZIG5yNRFY0mdnSkYMFg6Gm/Vwqp6jHrIXgGBJYyEQ/OMe3YvcNVW5ehXYVTTY7Nju0bIEXo7Joz1jqIWK3fX//EjddbdhdoSQyp4bgG18+S5jkaKmm97cZ/DJKAH+jZazVitkCn8wTa5j+RqUzoAnrEMKmHjo1VUP6aLlRssb0CbkASCo0K2YlFYFcT02oG1+gupbSmG3Ddg2zFvXwGRFZpwhmeFTazigGbN8oCBP1QmP3/KaB/Q4d30PDFQQOyfwueNnChfBzlbwNwdisF6/jpwzqXc0771+elxZbIUmzhnAOdEc9ASxYlzMaES6umgw9C3fZLOxqSVFYmw/D+j661lvN4v9NJY6Psmv5J9Su7RpYjzQtKRJnlWxQwQlNVEfIfNXL0FDCw6yirFa/YrAuWr5kIFHQF6ehdPbgl7qqa+nyAMAuGWjAYKtk37RHITwtsWjJgkmDgu/57nh033csRxff607na9QAqLocjXRCLPk1oQHGAS1MH0/3EmlP8pxv1tG5PV9JsG/CFxotYDXjIqd2Elu840ZWSAz35nTRo5jnIccCJVNNCeVvSCpMoaJMpIUDDBshU5m6jef/B+n6Fur7xzocBtONHM2Jb2NqOHkRZEx9DsHR6+m8kzRQBSmqfb7a6HthD85TY0BLx8LczIgIbUegrSmD6r9c8G47l0CXEqjxCso3shcUfJUPUsflzFsTCpzMqdRckNhAoalS9OXeidM2k7qNz9YDuSVcD5ho27PQDWX0DgMPcLBxqnV+a18Z/Bjj2tiA583YvWnrZFBjQrWbbgQ/mfGfPt9BrJU0uBgmDIDenoYDwYPi/t2Thq/8wgt8rYSptONRBn+4a0B6VchtnlswJiMXT9m29/9iD91avsu+o3CuaOnWMdbYwvS3RhGJrTisiEVlB0IzwOp4S9vNQoB28NugrhnOa0DA336ysPjwYXZEYwx7qsD9Y5/VlZpvVew6LAJonOJ86CNCAeF0n4qB44uXVf4xdKMneeCtGaTQ9KSmFe70Sg9TWlRZzJ5uWzTJgiTGf1eZNyfh7m317w2TSLtsVEQqFHJBETZqHftlPOGJY8Q9/59GMkYr3nLP28UnnqaA/cprm7jV73ZDNIhnQetslolJtEyEzvbaELREB3mdLshpljUjE/epDGGZGl4QTS6eKbhl2U8dE803FBqmS9ifJnu14+6u8MLDV5Zf+4QkRF489lEl2zh0ykqSGxr3Md5t0XOMVVt6vNAzSNLqg4xgHfFf0b/IrubSOsSo5hZTmLF7nUtSY165MXclbgIBO63zSPMoGnd3zFuGsEr1ECAwZtu6HxdqXDZutk7qkH3ML572g0ExKRGP2sQz0fSdcS/2e5uobxOkp5hxV//sSLV2NKWhUw05KquDNG/GFFRijiE4FMMIq8ejPnAiFRoLz2M8ufUTkwsccxfA3M7Y7zNnAmD0WaOfm8XVicFrb0AUZjtdRjBdN91DDKHrTGgRvUnzmlOWx7hEyAwnX6oTkf442RDZNOM4pck9A5t+fhfGzsQbEm8NTIMQ2bYL6TIJ8TyzQZGiJ1iR9PGaNstyBB/7bhDWEmCOenAR9KhbManzBo08Jejnb5Fvsaxj7e3hECKoN/01QnFxtz2oDb3J4tx1N734KDXCPr3ZbThCvpD8CMU/Dwpi5817Nz9cSXN0XuWCKKZ2DRE27x+DTSGmnGFhaOtomFPazO09VbyLY4DnmRo4fIBkTyWQfEXrYqTcbXSKp67ih/I8DkOak7xYwAOqU0htE5D2+dVsZNHajL4+mv9rjfOIEnETOX4/jppSlxRk260ySYIGRyPIlP0L0LPqG2opnlWD6XRQgwXK3D8+7KivPcJWjpaIduc8DFD89DWDOPEgST1YndRqdjzMmg+HW6XOz2FTelHWBFQnJgdMFmkobBvl84YWoULZpczSQ8AW/AAMquA5CK3i/B9vOLTC/wGjLEc6mI3BIFiNxy1OUWk3C6g9b1XgB+ogsKxUrRVq3QV7iKg7J1VSgfffUqFp5dxgeCspJQzdDWcJfWHkGZvYqbeSl8kKMEOLLVoscoIw+eWfWAUzyHCrSGDiiLO75LrQAVgK2eI4k+UuLyXvyKZtp1pDqdinGdanFnG0ttmdpIKanPyXU/UboS9VtjA7XMri0jYQBfeVnIvkvEX9AXSABkmkpSYX7rzN5y/fkIOh7Yc2g2tW0AGEI02DrPOe+EJw/mu4Kf6f5SUepHok4UDkc6SYHCZA0ZGfrq9GrXi6CUsEsauXfOvXcu9VjgUpbyCyzgNh4jCfqlyIJ/Dy6DpK2bidoxdBcWGK/fxkeygh7qS2szKFWIjN25QRxydMxcwI4+BLmMGhI1d0kVEVG2Y+f+Tj6IP/JmdxjVeadqQGPA+PCSpL9+eDx/Ykg7cFF24GENhtY7CrzPQoGDR6l4Sd8gOyTPqidfMh+w0vzBExLfR/KpuCZ+aaYpV7Ds9Daum5F609JVWaSwnnQCqSybGQxT2DoPLm8hi+rDFt6pVlrXUbuI64WxocNGvKJrDLa4Th2B6pc5U434huvhLNDP0Bc/+BvmaLqNiEQ6QlB+51TUcWLMWON7krA83a1VdR+9l8NRQiRnKy7VWBq2EfCtXd732pQhRNeHejQvChge3Cv3HmHPUuaoq0/rMqJek8+GoN8SxRIH3RovC28Yf1v/RrFzVAqsFSL32PwVpjRxY6yUOrCfUgw75SsSQjye6Yr8krlnbYye1TxOo/N+3PUDve9xPTkEdDEFHwvetkJQ/KJisvGlRYPGCUUqAei79EpnW96EvGENO2PwtOBUU6OUe9Bpl+03DuQQBpLo/b870i2+DvAkB49lQkhKiAIDlRJd38hUTg29VhVZKLKzcQdetwm+mADsIwMtrBBLMoyRJ+nsBFFgAE8z3LSW+Yr8GYxsKaKz6sLiAtCRie96m7ckaqzCfPSZwT/p/SzBvq6knVU1PUGHGoVujvRkAGRYNVdLLxJ0XEmYe4CpbJVK0Ix0ahizKy3WCpsAmxwD5n6/Ahx5R6iGq9s2YNTIZm3l2JGNi48VIUcKO34Cykc2tXuI0leT6LTprvZOH4t4/hJr82xmiObxbQeRQjJMuS2uaewngmJ04+LaiVXEwE3RvyZZMEStxj926P2hS9pApvJVN2vXGgpFLBE7pqCOXGIIzrQaV1fV2Nzpnuqw6S4qBylRT5JQrISFnaynEUL0lYh7jx+1Q/ru28Xo3L9oCRd/7tBOHTEiVs0UMOmVgBf3AmwphJUKtCjuOuAxcc0p6GJrjPLJOQZM/dWgf7F7FnIE669fz4VFzq4/yfLgncmKkQx2sTYzOBTLqe+43X/7V3L+GhfOgXJcnxiyaAzSyof2Xh3d+3nj5X/IgZ/HLT6aqY6jONdYh68liuQw0EM8GB5U6X1VP84J23b6c4PRPksWXNKetICXBKApCkBzROxdzkitFVuMMdvP0qakQts5V4qyTqhB0cGoofz89WIxE0uDsnL9z46v8X1wIUaucu62KGJAyyGls2ekhwah/r5aV0OZ+4jk0dIoe2V6Fy1UNvCbEj6f+dk7/mN4yU+P+l/hFyNHJGf8oGOKyawrAFsitqRQ3+hhDh8MFBf1XEnE+n+K7PFmVL2B1FxI2nPnD+XjAnaoOZH4HscAR5BqSDUq81usDcL25WRyMl7EDrP7K58rm8bVm7hBJRhKIVDZ3xXtokDukKc2gbE4xY1hszH9QmYts020Z2zY+YKLKdskUajQ/X00Q3hGUNsKifn0F6A6Ia5Qn1LG7Lb7Wa2jkN6J7hGtt0NE6SnkuShLjDHpjQAq0Lb1u5sShbjDi9hg9VlrFbgsgWvre8XVBhpXqA5BUcSZGWcJWU5p3bomU6HYV/Mwj2ttehP0m2QhozNLmiECCTCtyQ8MxHrW+7QdeO9NmFcDfaQAvpjwKubzWNNCm2bZjDXY3A8sMW5/tR2TRaEN+FsOrgGflvJsBsgsLV24USjnJYl8PuP/nPrB1vXe5yfqCZdOiItVIz8FIpCo8a7r2wlvuhVp4RL6S2z20vMQwuJAzBhg3glmBhXyYV3YqHH9uzuf2V1BkGv3AlwWGQByzbQ+JFk5yVNJMY9k6isVRgsc2ikeE45DSQCqvmtoZjOHt0DGgK9hWctY00v0ic5JJISBlhw/u5n5u64JVQs82+TTvGpFAg63/HZotiTb6Tx9wO5XJXSy+VBkyrYtYKfNjx9Wgx/+TCqwb9M6c6BoVr5FkKX4q7kA0ygqVsg65JR4AKcrPJRdylljoeYab0Yq0dxhXVwj49m8Fzr/eUo4QCmS76Ib0SpERC6mkW/YUsIe/SrGkJxCtpi1qksMidk6KdJF8jOw3lskmHQmD1CWuW1rFNBBVQVLOFyjcq71bLB6pHMF38Tbzi1vp36TnRH3zgqCBrTz+eesxz49FCrn6WWqVIMke3SsG04Ov8gbNb07tzVwivdHz6Bq6yU+/DCex1V9S7CbllyEvVh2ewFWc6d5upjlNtiBkCYlaieuladWnMClGR7EOcn21n/8dzknNmuaGYkTaNLhiCOEQXkH6+YVHex1ODSBkMR3d2+L6X0CzdzQEBL1LyjQB9U/q+T+dCDCb+0ZpMBv35ps2wR8D9B3uovaHgnFH/G3H34MU6SH+HdK7YpCxQuBgFGk+zHs9eeWyMHHckgVhwlntueNt4eamk8+xBvrxhEG3lsf0gqB+xbGQxD4jWLXaTcGry7VV04g24Gw00IpkmA2sLAdrDgXNTbqxN9r9PVtSUnnxQUpwNFBxHoL3z8h8hHG8c9PTeGdlsgu+TyW5gF7vp1eYabtOXKW1MeqRV+r+VqzwwoXkwoSFcRSLOSynnmVj2eUFb3FBAuuPmDV57qVibCYQPY2StO60PTYOx8iMb961ReXG1GUYum265AVVAETsDRORWitWyMYJgLv2oZySgvkkZjW34n3jwoBOfZYdYFhjWHt8OKAMyDgTWg2FgBFJDligWVtItk/mnmZTqxy84vgyc3jztIFyT6HIF0RWZhNEUnPLzaL7VO4nLXrFheD5Rz28VaPbhGkkn6QaITm27lYof56jc/zzR1X64ASHDYaViPssntw15E32vBHtc6ko2Ijd6SLl965DWVdpT62lOn88IsIqkSa9HhIQAc71B0679QOQ8WlcWvusxpQxmTegQMcOLqAm3tnvfqSm148gWcRIB2nCXdWBmeNH/eP3kWWwt3fqiaaz3d8A8ar27YfK0RjWxVprcG5JoGzReVXDFE4805qNrB3zedC3hTtgQjk5O0FTz2ojdSkzY3ysoNaOtUR+ZwfsVJNFJ2OgDFXU+e6WpZ/58TTHL+92Vg3Qqqmxb72i1Bs4V85r7jfyhovVKphXtCVswuIyGY+eMPdogCV4YBD4efBQwTYuDqLCJH/T81V26sJ/HLBUBPN7wspj/LvDbzsH+4S/ygGtsNZjtByQQarDc3L0+dw46/r+KuVp+RLSoae0n1r1OPNcBwqgDMcECEaohrZJBnUZa8MutTDS9ZLuEadqgdWcNoJDNZpPsk7c9tR3Zmp8msZc+aPb9PjzxhxicxlM28qF2kuy2tkISa3eWlvaWSArNnx1oQhR8GoAa6Hkt5LuJYxPoYWI6Mpdp2DrOwJYM030RUUb0vVVH1ImkpylKun3hNc9qckTRwK3ywaRExtU0U0L3DzlpDYX8qXdABM4CLY2C1hcY2eDzRCj7XnqxQHWHcM78z5O/hoYl+Ny34O669D2ZnCx3C5AokidWUCk0r0pwXiihoUepCTVV4Z/errc8wktAtJ8BH8hIr/TE4nzU6Ec+LG94hCJOBxv+Ka8DR1OWI24OvNdOMW5lO3zJRwyC4s1fVgC3d8uCuMqqtt8O15qPLYXmYh36gKwkWaGrLlp/E/OLnezO/hHXQV95xAIQRCaaMrGkV78G/qOdUUl9BYt61Jp6rpRi2fZVeBFbqJblAbmV8Hy71PRUJqDEHNCaYqQSd621RbdiEnPm6G/MsKI2h51I80UHBWTrr7vhqmJJsChBzlm0Ps5ySGbKRW7ohVvMQ37JT/8SdQRxk0Ql1tDARGAeDBq8cvCBb/nAcVSInsTf+6Ih+HeFs9z/aaCQ63EM1hs3dKUfygJ2jmMF9UB+oaKLtO51iek+zxNWEOPJV97d1qoTXZrH9KbueePIg1so7p753N5Sk4q+aGhbxAS+JOdG6+ue4iFuzoZ3hvIrUweuIpUh+Ao6VmN17XqQvoDNbxi2LY7ndav2k32BMsCNL9Vr8gMXx6p4LVREP8VU9OKRCD1om0tjfvBFTevStmpPqqpL/a5bLnjzYpU3wHPGx5IFulC1lPnjpk06isRQHCtT+jnJ7WRXuyZXfTrdhEX3eRzvQlJJi2PCfye+pZbxSRArWMVRsxHA1tDwB2ehsE83Vb0gN2s/476oHm9t9uPJU+RDQag/yQghBFbkfN1H1rSign6cIs/2xrxkDorGhrURlEps9qZQG0fmFnb/Y2mBwmQ6G8DRcoqOphgJc1eb1dwjkwKtHdsGFKw4NB3dhhwNzIJcGYnO3zPPuY8yAnGRoFbg14iKrlpNBeojjs6eLKNH1Dnr4GQCUBOKiSACzgq6zt7osG3sWlkolK5YQLwCB1IW+rRzQ2xa8VDfCgqnKhhJKMxN3oK/AW8K1ifZm3dE5LnRsRhTn5dbsJkG+eY9YHvi5Wy4FHh7iaQdOyfXe1RoFtnmMh0y89gcM5dIoFaxmFNpMll9V1oEWGxKkXS1gaplOtJf5eQflYdrxSGkbfw3Qo4gK1C9VFoKkhzaN1LMC6GcS+RaHGedBYN13CXtxi9q5FRCSwgFinnbFrXg91hVPHeWNyIii49wTAByqHf6ijZm/XpEN5eE0XPKBvzrJ+Eodq4T8kEAt2sm6drdKz6L0JQr9rYjW5GeE+Xhs/7vNRtTCUMlFmW0VaJookx+TmqnG2yXIvpnsmGcdERlGPBCipg/teEuZm4rtYZNrVMCGO7Cm5HQQwYSDDcUwHJVtdwLX+Da5rdl/EwI0Ve7EODtH3fUfwatsVIf+96aXvAycetRnN1IjN1v2F0nl9aUUyPidTKo7gzcc60clnxxx8T1zWV8KnAjtkitDi+CITK6WW2haOp+upEcVNDzlGflb9qMEuNruRInJtNf34tTNhFwIkR/4WAfy0Fk2Wr4GccFy957q9o2zd8Tp/K8lHF8+xr3Aaz76VtxPQAzH1nDReh79QGiwLMXeuF0cybkkeak9C5sCstoH3sNO3FLygOzO0GEOcoQgdAlLOZI4ufPfA7eCkBztSsXw41kwl2mnTn7vtttjDIR5G6j2mepGLI27EjZzazZ8k3mCCKEF36AEix9NTbpvW3GNHnnm4uZhrvrSWu6mrtXH7+gQkPYohQnhOA4aY35WY5JAXC7ek9Xnb8kD4V8kWjsNHb2l9tHuFIXhRKXyIiCy2ttapKrp9A30jPnqsBbbIY7lYw8vfBXrDyw2IObN3ERnGGNqnXLt9LsYLcyDJ27XQIrO/1BE5MpyTO6l0FdEhbpEQ1evVTBPp+lMsXTPlHyW7Jg2eE9HLk4Fq8DyW2ABhEOZH6iDdjxzowdZAOkDh79gr/pi8ZFxkkJPdePKVbHrbYMV5Zbb5Fkuax7NwXsdHdoOHn/QyjFKZNgHbFfnLRD2nQQ4GOhauI1+DRYtU+1JNKvVAdtYTVOhH7c9mgTO71uELdqqP/k0SWax+qHPUvsdaKn9MF5RVZHd5v2NZl9cv5UJwBWFZmVXWT0KL2do2URqNluSUzuaw7e25XYTF4sxwiBHeKZxi1cFx8BIkaJNKOXC+0h5gejw+PBKNU2KTDUi7UOsMYXx/4XbtI4QfUdbtdRYlG4f7OmDo2qxKSazPseCxn0rnWJG8Q0/WPzBoMPrPLdhZRdVVekpojHsfzZ80CvAM3komzd01sciqvHTm0WM5dtUsUFFg43n6OMQck2cNvlvfzi9MvTMkdC63FU2HV7jrmz1gwxADjw+IwY9OriQTmA3N+AqEfqQ9S2cmAVmV1xn40gZD+cqy5kOkpgA+3Bo4Buk6SRFR1XQ/ioo0ryypkC6FfBOeXmZc2eYeALToJAdCKtV0x1ConMbTx0EiXxVI+/mbBrzGLKZtz6wNXfM8X7EvSWWtbqippKU7/IW+8D00Ml6w1vPjPPZcM3zXwRsnAaIzzJCB5SHe7Bta7vxb4vxSw0nalCBLAWM7MqLFWFgwXpbhTiyp7kmJAS21a7woPAOxmtJAgJKAwQR+FAmRwXfFKbn8XjFwEzZmBEnP58bStnxPmNTHwY00vyGefu0Kv4nqxTJQNk/boI9K8olDg8plEHahzlVU0U/OubAhr5qPXoss0cr4VYid3xX6laLL6KWcTUHm7GHs8MAhJ4LbMkGcc5wgDHi1hifxDgFaWUVUlRm0jZsbzvJcispzA6ozPvushsmIQvzCppCiRg3isLNsYZs+OZI5IlHjvbaQ1ugGETnWWAk9jHFxw8y+giL7o52ADYz4QCuFGT0UFy1wRvVnALpBOXDL1C2gps3rOxeggMD+RozFCwyUwc7kGkjX41DYl8stOBrLf1Zmso7RECYPHfnNz2R11IEL1tq3Y84ezc6b6hi59tBZZ0o6PA16T4uZqg43Sl+BQgxSiGIL9QJl7Q2DPo1JwloDFuYQAmHQJCFW6RukjwDuMfxM92S+ARLq4+kEKqmUncSFLPVOEAlUrpyOIPeTWlhgx2e/0n9urM64lqYesBScEr6Avtuzt4k8n45lXydrJAuDuZ0A/+jynsIdxzxdeaezbaLqejBseYc3WHd6CAi4hwiVTyX9l9t5Ys2QvRqAlGQ4VyyARDFD0tCVRhcBrDcHds7f9DQ8MSO2kUsjfSmuD4llheV7XagK7GfJaDQlGFbcxMHp/8xwYamH6PLmg6yNlmerc/EcMNYfeUQTINesk2Sz4ty3mMYdLjYnCrMbvrWytQfdwCYhy2BzV1I6UIW8YPyVRMUYsgxgefGLnnptb+KbIYsIA89Iw4hVoUqWUrn6OhUOiRTFd539RoxSi4IcC1PSMLyrTLICCuyJy60co0sqe2rQ1n1j0AsyGYCCSF3oFPNubn0WCdiGPfb9opqbDyJD5YAW1c3TjY2ekyhvW+iU2zCvTrfOkurIGFotnmkAHsPglI+BI6MZkcjFVky3fehnBMs+2cyJN4aiMmBMDuHr9eynWaWCq++mkwteM/TjYudTTiLLB96eyxb12S8AUbLJQ5osoymODkScJTsWfdW1QxGiI2F1Uf/sa7MujM4d1nSAe2y2Evf+iX10lHHhWpAnDeI1Mvx11GquZSYoL20zcglKBNt7asNWMMTcMyYxrcq/ztjuJDKTmXWhWSWtAZuQgF+v6kCnoOAFFGSBRH9vkyxsJTJFEsf5/EvGUspNifD7+LSr7KEaRn68BV9N5REusNWmHNDX27DYgzGY+yAA31yD5Z5AFYIB1hSFzGw7bJotlo+1MJBhptFVPcMXHyWD7+W92jwPDZkNnCGQSnaPkGX9Ig4U44+XEsCsTz29Rwu3/09VacWO+ThOoT9027FOBk/A2rLUYFbI5ACRVEtyESE8I2SWS96KdxoHKRVaW47AL9Ex3JhKfBlhQqgskq3ImUTj+mBcRk2qTJsLsS0jhfbhR25i8Nq5U5g/2r8ZQe/5ZsqVeDRzJOWFMNkKYudE2Co8/FLhHjIgDPfXFNjci73y/ejtIMh6eGMhcKfafq0SFc1zOIpMyJ5qiT9RZQdAg4Ay9m40mJ5OjXqcOUMO5mg9HmIZgfvfyIHryc1Pwne9jqQkc4jD2ffsApuhBmve529dQFECxTd8yPcT+J1qhGNCtyYXuNEkd5Q/FNghH3PlOKUBnZltEgXSP7pIa4EjlG1DXU6oVX2nD0KqtR2gqxdrlk4DOu9UKcgnij9PTUmUniCAVJNnwVekeSUyf2dTh+zTf3BFbizsqMo5lnKaXYEqj52TfkVMB/sB+PSrcMO/jki9gUop5ZYAUZVesNlfFdmjbGBQjp9Ql8Hm/3MJL4lbWX0DuvylNHpQWjP1zKp6dw4fddj4GuQiGuInam9r+o6XDJDKg9ZucQW1O10UGRPSStLWZ3cuW1eO5OG85YhkB3O0tSWF+afhw1M8tKSAi8imXalMO2CJNDNN2kqrhPFKLlzEq5jxfyt4C6GU2acSlq4ayigXSps1HwdyuubYukh7/HdazA5hh+hT66FvXQedN2TNKNSkY87BUyCauS3X5jJ6uEfTQ7Aw3h3B+ZogvyGdDTvFpk2CEsaxuWhCpeC28olg6/1j597s7KeajrBesMqL2/GBL/i2YdGff6/oTdGwLrRpBH4WfkFm/xvLCREzqxzFF+aYBbpl4TlURHfh3Xl9nwSW5wDjVPrU5uBLJAWhbi4Znj+j2mvOKCf4ZraIMAExTrz/dwDRIz+kf0s0fFc7qSGg0ij1A+ivpDN6VYaHhQofUq7WS/kEqAHSJE3Ldm3JMGV7wMNPSKaHAe5O+/UZD8FV71a7H+4PjKoLV5xaxl+9r3lpA2Cy0eqXORraZCLACQpm8Kpq+BrYqF74LXFOxy/c9Zk2fKcZt+vgA4cs3aB6ZwRLTloTDF7TEwghJh6U/bKE8NugZBuCWn5k8d1tCFcNpe1w71iGGrybUX9rivxWuW8duVeixTqvMRF15hwErbD94oo9S/vIDwiLtrLeggGnBbR3cLVLRRSnvhigPuUljfa84IFfg3DKv4OA3Xx9bMoP3ToH22q8fGV4UveomrYtUEuYd1kb1q92eSFII+N+d6CeAssA4vAIVMLxxH5slED8uxG8CkRAL0BFL8iF8wKhEo/+8qqAD4fX0zfHYpNMDAT60506ttbRH3mvrX4Ff92YM+eVHnwsfyUEy3t4ar0Q7VnxbsA94DXgAIwMIX+3+NfzXSxn5HX1jCdYLoNiMlVb+KBmtV+35t9HJQkE/GHsWpyKoX4jKoKat8fqUcos0anQWjhlu+BX+6/Ni3nyG01sHl5Yx4D0PlYImYWr8XLyNhKIgJ2bkg4FHuq5wFfBkb2Z1JJgiO5/AKP8API4y1h+yzPXcxB5/AHzj42lfjdqqTgBflbetzeo1NpAwoyHyqYN5CtM7SZsNbz3j9noK190n0ubXEETL2E6IyEbibznvYYOzyTSRTwZvJMWbVeyNbLRtR8kpbLEzRCB+h6mIdz8k7eTKIF4WaIUqv9WCZ0meSakvy9aUhx8t9lcqaS8ExrZ7RwdMJielJfZMtWTGYXMOOmjaj9+IilDhUI+0sZO36YSvAhbqTvk4mGFkoiXkMGiem+NFg5SErPh3Eo4djSV91UVlbV288JGfJ0BOwqT3Z/ncJ7HAls6qtDrGrhLr5U3CI0JTrv98YCOqxu4d0jIF2ChdHJi01pQgYm9JvU/0d/97UzMJz4eXhGCdNIVUKOEJpL8AtOcJTp2hKVIkMAL34vxnGzE+/tlHRiSsLMtUEd1Z+HKmMdONcRfsmLbO35NGRsw6cchsuWy4mwuPy+lBnkzB2quhxp0ms9mjF+IrDDS/5xZP4EcwXuRGZau/Z0yBQJBAzRlQm8e+OemyHuy97BptPE2LPxU2d7EWsY3x+YQzQqzyAGp48xBkCF8EuhYxqPweKnFQF+3du9s+eku5gmVoC3cCqJVfUxaJYDMXZ/mgapaE9q4xjP9t9SvVqqdI+d1q0j/CecQ3rvwWk7evF1A3Hsm0uQoW92aUMIUspo6o1Vgpx5vVuRu7rLLnXZDvGW2IZTJJTKwGK5iYY5yslDhLuQno0pDv25ZEYoXzazbX9LXS/fs3qA88/xxoYGe9q8BDdIYc1Ih7ddwULQERN1E/IDnHhWWcupRths4bxd525HrtUSIiGDJM2p9Dw6/Mxf0LVjWNQeYxn4URiR5otJzr6ic01bGrsMS2KgXPff/qcZbB9I56uVBZtGuJUAzen13GaNlPodk21b5N2h6EjRT0LLQyNz8RkBcbN/cML+Bf2lsMbZ7g5illa4iISG+alSSl3xSueFg9IcHWds8g+M8Shk6SsoJg2eMUhoWjudTtQLVHqdV9VC/hTSY+PNEXwyO/oqt+tQzPXw7eTfOli13ZbM6sOfXmgXG+AwcaGA7CUz9P/ItIGheyOj4TtMxj1vRkRylFxGwb3bpbmr6eLXoo42btAqqvYphVh+NALG98N3Fx+2RQ75aGNVCufoRQpzEJYjtF9HIKpS92XY4Ru90/qR8AWjhizpw/Bzd8g+AIDoPKDxFQMCOX4eTrzGKvmiDtZCjVGpSok1lqVGYmCbj2W8qsfzLGAYwlPTmdwdVadD5ukIQrg+CyIvFaXZvQ+6MidHWgkK+Z2xUpDILdE0bB0be55JjUHcB+6OGcEM4tVYHL/V6yCUCT7mYh+qZLcg0aj3W+7jm6Ek3SB74SvGwh/53dBRVssvB8exi/l/TxxKjrwAst1Ls+Y9uOGUCErQa9SSjK/PHAl6EQAa5FkVM+4YbylwGf9tjJrrUB8NlFZ0UwZyVCxIGo3ZWR634IweGljDAEhwXoFqZX7tpmpTbwzlpDNMCtNlX4QLC4kxl/caEG5grp8+YTaVJ6MTJJpWZXPEbT4cR9feeH1eDsObllT7jVYuMz7OiZUWcdRqXz7nVRHDAf+7IG4+If+/MgKmaShGXyRZ/yC6cZUiQawFesiT2zNNj+fqJVLPXnMw7E15mth4n0G4BKskFGE+2Nv+teJjj9pJXBt5+5ymif/w9yHtBtMCDj1f1l5V8n4iNZJ5c50qyapU1fesRcn5tEqj9kL/ScVcLSjqSxhRTRyE17GtPhSVugRGL75N/zIMtgMfZzNVbxjYFoR5rIA+hG0bFyY9qLjnFphxyR1jD3OEGxHa4gvaWheHrTCBPM2kj8Zfh5rVdtoTaR4EswNOREQrd0noZTY3eIosIfWEw2VvZKCivymyMCQFmtXsnWnQX6sKl05UH7tsgGHP3lPCN7MY7aYcFBKveS1bfXqMwsqf0s6rQ6BqQ12ht93QagQGrymn+EC7qGJZLKXZ1ZXaynI8JGI+0HwE3dJk/yGoYtdh74mx84CyEu1+TN9pxVhMrn8v1eTgZNJz18csdCP+ZLl3SFKQLqjO8aOPiajn6wJw4Q5/NsfjBu8aLxFJ7DN7J/ck+xMZLRmdJpuMSU9hnCJueQkZ5RgLBqEkF7Ylj1rhL+z4j3Yq/UxaEFBVozVkpjBxphIuGosuNG/QzmHH6xnQKYNp3LfTrfSLhqnbJhaZz74RRnqd1ElIqYJMSYpvXZGbdJ/g+YSlJx4VTHPxv/3ZxoA9lLh++9HkAMQvngQD+bV12ult+8sC2eeB9JSBJVPrmEnb5eNw5Hy1wsswZJBUXOcA4NEvFc+NsZAE5PwfCUhPb5rTnThTRzhuFf3chojY5Jpi6lZeBxFL4KTJ1fh+AmKyPQ4iLM2gNW6ytRCfzu5YzxHj0w7MvQIeuxGSiLzPiuUh0C4VAOXnaQDfkuNzIQ4lG1+dLhY/XITmuXZUmHD8SE8XjlS6T2xGOkz+9WTpaiNPM+M/9Y8NTgLT3mCbOk+z5jGpRhCZKDlQIHiQzksLzeTO8PRnRsvaAMBODJDqAxk7uJ3q3bfkYA2439KZhJxY0wqy7VruU5H3ZxvT/XdosjiOPKm1CKyAU6pmBKTwZ9JXv1Y0GHs+KOnGQPCfI5ROQ6Z/xk/fPVr93NRiUpYg9vIPns3HUDYOltymxfr86+6dbBLqn/Ou3rDHIqmb9EEl5nFykGYm0L60IKuIF8iPR9IaHdP98IgKlAFd9A3HyEQ2MMByFY0KXs4a88SRL/s2DHtqxlBsPEQTQLAR5UxwSbJbfc0Fsz/2ciW60J632S1fxGN5bmJgYTEPsWQX2E4p4f9fh3KSlPJjo6PoWofa8hZ9tOT8WkcHrhbORTgdCQ0tHknRM/k7tdh0lB+Kjn5n3uScFuLZexpMN8jUbZ4OKJR+I5RIvrY1IUlaTIzHYV8xetFdZvcoVDy1RXBfl5COFVgnRDjS8ttYQphRak1pn3QuJkiQAoqdkRzzFWQyu2DEAmPFaHSM//2kVf4mL8qM9GNFf8VfNH3huOEPNjEjS+ygv9nGRvl8ii5hgidJiIXLcVb/03IEq8K/UPWsDqbGIXLg+gZhLsyZqSZ/jdQTU6NnfG3uAtyhPiMDYVTDThQ+jfBgrzoxVoCRSIQQKWijAVeiUDBdUUuSJUE2076S7K5d/nnkDDS76n6j6kxPCDM3CLDL1cKDZvArWigaU/71BPS+EnbfJQ1vTzctDKs9XnDWUXN6dIToIw1JmVVE2IB3fJNfCLyWxrDHVLLAYvgW3pr6WoeBZTgPN5tMist9aWjQBl5xG3NxIQCjb9xK0Ntc/xQ4Xmsq5dDXe7ltq9UGi/UKLm8IU3kLikJ6bhxksaMjqucaTQ8kTxMnBa2z+Y7YDaqooUKrjHyLCiMm9XkyjXZFc7/1/L4/Akcbe55UN420tVHi/+Qy/aPFn1q0oBTScVShvaRd8jcL2qD3JhpXCbn+nQxkvt/NAncroWFNoGvGy3XySITsvqQYf/4b5kMw8Cptb2eZXozJT6VvGa0J7RW8pte3/g4SH04Qqo7pHq5duNpRhb9wp3C4gL+tDDXSMMVnp1b+Vsh03GlFRYwxXgeGEu7+6qck7AHu37DLJF8gFb7abqmnt8FfdsnRK/eTeoMuvtN94s4pFPlKCqji7Hi4SYeZDUOvix962HV6Lb+a0U3JPKmeqVrWeRSj18vitZCWh2Q6rwwV+/JDU5P1be2Q463H5wNKby8k4G8heulCLGeHJ03yDNJgwAHPWCHQFvSrhmoYrfTFMu219woQpCzXgpBlW60YTFIJ/IzkpPCOH3TaA8uceshl9ZQPKl1gJd5vjJV2dZZ1KgVUirknhQDgO04SDm1E9OLhrjsTt06R8TRz1Xq42N/wlONMVHPGjn7i4T1QKtpVIoHmOLdhhN6fPZikzdYfQT3RdKN5c+TwAy5CIL9lajyzMDrCGJQn7FP4+M/rgAIwpc7x7aebQnBiAUNEtQ6n/tOEukfWLgLSAKBSpC4jwjuXE+ZAi7hs3deB3mrxSfxT3ywZalKTJZtGkrZJ+JyW7PYePiMrLZfjpPrkYV84hrSyGiG/RS7WEEweAjLaa0VrjR8BUuPftekiYzC+YbY7557EqtcNgiabIgNxj1A4GKxLvCtbs0yA1NRvaH879TwHTnYk7HP0xUAF0qU/QUfiYc3SwwtixmGdJETd/Kzqa0g/5ZI+FiGf15aS/9TQpA7N0cRCyaYTV+EQuTzr80vBpx1NPRnOpDXN2duhtsuyF2hmwPQe0stG6RlFsrDK0tVJLgTruMOgkQo5MtK1Z7Ult7BaWGwmxlyNJ/Z+A8H5fnMTFw5d+Hvp6Y4ZT9c+MSvydVu68eIemiF01L7DR85VOvnLo9dTpBGUEM8v8+M6XLMpASVHKZqWNlGbdTVvYK/c26o/eX9+a4T55MazNC2qFS4c6x+0oz4bEeF72r7HUZykxXxDvkNuv1ecy4beSJWqVTjmHbBlWbhNVTsI5PLJuIa8mCqlX+RpgjzwHuppCcI6p913L/5Z2lYSVe/gsg2CTAI8C6iW48cHXj96rFgbQwdBrNQsKFQrVE7JInA0mBHbka0rOZ1ssI4CuW6ORTwpioOmvBJgPp0p6mMgrU619XYFKjBTCl2ekGY7GVCCm3o+felRf0hCEHEoBZUP+utHJ1ipNIUmCmk5Fvw507NYxjyp6UEDO9aLPe/5K+QAMERXV9jAae/Z30q7JkibYGcVHeFYSW6XpsrIZZCWuABJI6Daesdp0C6f+2f6rWabnTkXuTs407jYxUoSCQAPoFV3eDBn9MxVJcKbSwL7hlTIpvZ+btbh5IvmeLLUaCUIhwXLtGdioBhIeO7Lox2nb992jAuDioDe4xGZEa+JBTT4WG2g+eBH2lXURwwCr85y1TITIhAP/Dj15GOS0HdPtu/G7IdzaFBqJugFM7awbIFsKhPrm5JPm97TEZEZ9zXdgpuVsa9l7VAGXMbV06ixR2utsxzHZZQyePd6kXsagDb2TzsYXyYGsLHQb87jcRhUdTFq7HhAKye7JUFCMXE8eBRS9Yi17JSE/Hv6H06BJVDeFhZDBmJ1xG/RJCCqLp3mLrzS6A/iKbbrN4ET7qj2wVKK5XUFbaXdlw9iJubr9ccH13r660F+duZXKBT9CoENbIoMrtEJ7UprkusbiAoMvDqgI/T6k42J9spk74VHIKPAbqKobQulnHvl2AIFWvdcUV2yzFIiLv4BKRKrYUqlMEYao1QvQegu3EMnWqkyNUv8jHX/O8lNEarx7aUeunaDzNPAo2QrVLRHmpfNupjBnC4vgyBx73iyzYHdKV8eMKdHdmaYlJLPbz2wznsv4qr7sFTDdHwbdw5PYYVYmSavdceZPDjpq7aRiOQBAdB3cDe4KNzd4rt8tJqug+J9y5DM7oTiSsrdisrzGJbJo9McRXDHqDMbmBLoI+eSPOxKD0SopcMU7TeMUshA5dLP/s4GVHXas12kYtNSZbjUxrXf7dXou+Ml8vVIO8MFE9K8rPryNnhV9Mz/g9jmMSbAewY9KLUQbE/y61epRv16SyWUyz8QSKqXp377GP4WUZtIE8VnVzjzOdGFN7DMvDTlPK9/6yPII66wrbSv+vDZunSbF6j023qnaxe+lUg9LevYvhC82VhZnne4zkIt5M3whZswUDxWgSL/wVeE/76Yqc2YZIBb/4Xgjo4+sPKRakjSjRSS/z8sTGc5LiOKbME1zqnCBMIhW5F2oqdC3gK55ojGIlCL09+yNAfDACTIv1rCpkj8vYryOrxdlUt5/W+VnyMipcmHZ7up5xlszTxbBId8xPgeTh+2wAoUp5wUMqtCuAB/V/6HNUU5oxBkreCY53OosC+CX6THe3h8IU6fnDCM2Fzph9I2WXDYP97SbTkXs0wU+uVgApllBAdlvfwJB768f/sNfbDYVlh7wnMUZBhtshxdRetS8qJTEjxOjTObAEX53TGEdD9UDgbXCGqNrq8Iias8OKONjmJNQstAyZqeKJ581MZUJJcvH4fdeCPhMaDjuUCLy2SnnAlT4nYIm9wSpml+PJoPoUayI9bYGWYxQttYQ5YWZZcIuuMU/xYEYs99/RLX+KprM9hlRyGy5xdw6VhqFxHd61buXe3AFLN7scp8gq4p7KkqgTi3TSm+277y6noNptFnUcVa8b+DQwKEaNwZviU5iEGZx3HU4l7BttWP774UtM/uZ/At7MzvwxVaoDOkk3T7X7gC3EJdZiq+xDh1csetSwqM8j/hLJZVVWMwujoP+tuu8fl6wPOqvZn4IyMW1Jm71yc7D6oQWirEG0F/YC/Mn4PW5v6/6UEK3SQ6aCNjq0GkklzMhjh2cLvH0GpshnwROHyse00LTxZPYa/RBnVLVykyi6XObZk2QwWce0zF88DwbpC2MMrE6qMvXYwkpWeAOkkgdqsOSXF0MltTNcXf07QSBk4fxGEuXtneDg3WNYCRWvOXJMM+61eOh7TEUrao1eApjQF067rUlUdAnzWsfh8TsaOaz1zaTNF7GqQChBHM75on+P/ooEL0cchg7AvS/VX7KfPCWHT5nplfOhDbxJggJh2Mwvx8is9ImpZJe3u1wnZqSi6iwJT0r87hHOSi8D7bLmMAzcUcX5SZyIZsDV0ufU2O/7uuwJm5fp0r2nB2amdZSvwLKk1WHCfRjg5JlhnEQ+1vPC7GvjxAoeFXUwyoVSkRoThgYfzSvhndpCTLUnjjMSvuE/A1zP2f3AiJzRmlwkf4=">
            <a:extLst>
              <a:ext uri="{FF2B5EF4-FFF2-40B4-BE49-F238E27FC236}">
                <a16:creationId xmlns:a16="http://schemas.microsoft.com/office/drawing/2014/main" id="{DCEFBA79-B8DE-4545-9F4C-F0AD8F87ACFA}"/>
              </a:ext>
            </a:extLst>
          </p:cNvPr>
          <p:cNvSpPr>
            <a:spLocks noChangeAspect="1"/>
          </p:cNvSpPr>
          <p:nvPr>
            <p:custDataLst>
              <p:tags r:id="rId9"/>
            </p:custDataLst>
          </p:nvPr>
        </p:nvSpPr>
        <p:spPr bwMode="gray">
          <a:xfrm>
            <a:off x="6375735" y="2628966"/>
            <a:ext cx="5473292" cy="3781520"/>
          </a:xfrm>
          <a:prstGeom prst="rect">
            <a:avLst/>
          </a:prstGeom>
          <a:blipFill>
            <a:blip r:embed="rId13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0770734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btfpColumnIndicatorGroup2">
            <a:extLst>
              <a:ext uri="{FF2B5EF4-FFF2-40B4-BE49-F238E27FC236}">
                <a16:creationId xmlns:a16="http://schemas.microsoft.com/office/drawing/2014/main" id="{CB97FF52-5FE5-47F2-B64A-5332EA4E6BE9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0" name="btfpColumnGapBlocker607762">
              <a:extLst>
                <a:ext uri="{FF2B5EF4-FFF2-40B4-BE49-F238E27FC236}">
                  <a16:creationId xmlns:a16="http://schemas.microsoft.com/office/drawing/2014/main" id="{717CB656-5FA5-4D95-8D0F-2EDA415032D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8" name="btfpColumnGapBlocker850987">
              <a:extLst>
                <a:ext uri="{FF2B5EF4-FFF2-40B4-BE49-F238E27FC236}">
                  <a16:creationId xmlns:a16="http://schemas.microsoft.com/office/drawing/2014/main" id="{BA8371C7-7BC0-471A-BF31-DFC311B38A10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" name="btfpColumnIndicator872400">
              <a:extLst>
                <a:ext uri="{FF2B5EF4-FFF2-40B4-BE49-F238E27FC236}">
                  <a16:creationId xmlns:a16="http://schemas.microsoft.com/office/drawing/2014/main" id="{77787CE8-2D65-4A5B-82AC-E875BE55CB51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871859">
              <a:extLst>
                <a:ext uri="{FF2B5EF4-FFF2-40B4-BE49-F238E27FC236}">
                  <a16:creationId xmlns:a16="http://schemas.microsoft.com/office/drawing/2014/main" id="{B5347AF8-636F-46AD-B4D2-9A92A8AAA032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btfpColumnIndicatorGroup1">
            <a:extLst>
              <a:ext uri="{FF2B5EF4-FFF2-40B4-BE49-F238E27FC236}">
                <a16:creationId xmlns:a16="http://schemas.microsoft.com/office/drawing/2014/main" id="{86743F0D-0C71-4A7F-BFD7-D3391D5ABF5C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9" name="btfpColumnGapBlocker289447">
              <a:extLst>
                <a:ext uri="{FF2B5EF4-FFF2-40B4-BE49-F238E27FC236}">
                  <a16:creationId xmlns:a16="http://schemas.microsoft.com/office/drawing/2014/main" id="{FA2FF5D9-1AD9-4BFB-87D4-445FE151F138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7" name="btfpColumnGapBlocker580553">
              <a:extLst>
                <a:ext uri="{FF2B5EF4-FFF2-40B4-BE49-F238E27FC236}">
                  <a16:creationId xmlns:a16="http://schemas.microsoft.com/office/drawing/2014/main" id="{FEAD712B-84BB-4252-B387-32F2B549ADA4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150631">
              <a:extLst>
                <a:ext uri="{FF2B5EF4-FFF2-40B4-BE49-F238E27FC236}">
                  <a16:creationId xmlns:a16="http://schemas.microsoft.com/office/drawing/2014/main" id="{A450BB67-8397-4E57-A501-DD5CB9EAE5B3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" name="btfpColumnIndicator504219">
              <a:extLst>
                <a:ext uri="{FF2B5EF4-FFF2-40B4-BE49-F238E27FC236}">
                  <a16:creationId xmlns:a16="http://schemas.microsoft.com/office/drawing/2014/main" id="{1DD1B0CE-72DD-4B55-9352-7B1D7AC7AA73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" name="AgendaLine">
            <a:extLst>
              <a:ext uri="{FF2B5EF4-FFF2-40B4-BE49-F238E27FC236}">
                <a16:creationId xmlns:a16="http://schemas.microsoft.com/office/drawing/2014/main" id="{4908DE91-7177-4E64-A83B-38A0084A7148}"/>
              </a:ext>
            </a:extLst>
          </p:cNvPr>
          <p:cNvCxnSpPr/>
          <p:nvPr/>
        </p:nvCxnSpPr>
        <p:spPr bwMode="gray">
          <a:xfrm>
            <a:off x="1616981" y="876300"/>
            <a:ext cx="0" cy="5689600"/>
          </a:xfrm>
          <a:prstGeom prst="line">
            <a:avLst/>
          </a:prstGeom>
          <a:ln w="19050" cap="flat" cmpd="sng">
            <a:solidFill>
              <a:srgbClr val="CC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AgendaTitle">
            <a:extLst>
              <a:ext uri="{FF2B5EF4-FFF2-40B4-BE49-F238E27FC236}">
                <a16:creationId xmlns:a16="http://schemas.microsoft.com/office/drawing/2014/main" id="{91B55CFF-09D8-4879-B799-6A776FE82035}"/>
              </a:ext>
            </a:extLst>
          </p:cNvPr>
          <p:cNvSpPr txBox="1"/>
          <p:nvPr/>
        </p:nvSpPr>
        <p:spPr bwMode="gray">
          <a:xfrm>
            <a:off x="330200" y="952500"/>
            <a:ext cx="1102585" cy="235611"/>
          </a:xfrm>
          <a:prstGeom prst="rect">
            <a:avLst/>
          </a:prstGeom>
          <a:noFill/>
        </p:spPr>
        <p:txBody>
          <a:bodyPr vert="horz" wrap="none" lIns="18136" tIns="25226" rIns="72073" bIns="25226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all" spc="45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genda</a:t>
            </a:r>
            <a:endParaRPr kumimoji="0" lang="en-GB" sz="1200" b="1" i="0" u="none" strike="noStrike" kern="1200" cap="all" spc="45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0" name="AgendaEmphasisBar">
            <a:extLst>
              <a:ext uri="{FF2B5EF4-FFF2-40B4-BE49-F238E27FC236}">
                <a16:creationId xmlns:a16="http://schemas.microsoft.com/office/drawing/2014/main" id="{CE889AE4-5C84-4B74-AEEB-CD0A6C6B135F}"/>
              </a:ext>
            </a:extLst>
          </p:cNvPr>
          <p:cNvSpPr/>
          <p:nvPr/>
        </p:nvSpPr>
        <p:spPr bwMode="gray">
          <a:xfrm>
            <a:off x="1616981" y="4887401"/>
            <a:ext cx="127000" cy="743179"/>
          </a:xfrm>
          <a:prstGeom prst="rect">
            <a:avLst/>
          </a:prstGeom>
          <a:solidFill>
            <a:srgbClr val="CC0000"/>
          </a:solidFill>
          <a:ln w="19050">
            <a:solidFill>
              <a:srgbClr val="CC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21" name="Agenda">
            <a:extLst>
              <a:ext uri="{FF2B5EF4-FFF2-40B4-BE49-F238E27FC236}">
                <a16:creationId xmlns:a16="http://schemas.microsoft.com/office/drawing/2014/main" id="{7BE23805-B568-420D-8CF0-67499029E460}"/>
              </a:ext>
            </a:extLst>
          </p:cNvPr>
          <p:cNvGrpSpPr/>
          <p:nvPr/>
        </p:nvGrpSpPr>
        <p:grpSpPr>
          <a:xfrm>
            <a:off x="1970752" y="1270000"/>
            <a:ext cx="9891047" cy="5295900"/>
            <a:chOff x="1970752" y="1270000"/>
            <a:chExt cx="9891047" cy="5295900"/>
          </a:xfrm>
        </p:grpSpPr>
        <p:sp>
          <p:nvSpPr>
            <p:cNvPr id="122" name="AgendaTextBox">
              <a:extLst>
                <a:ext uri="{FF2B5EF4-FFF2-40B4-BE49-F238E27FC236}">
                  <a16:creationId xmlns:a16="http://schemas.microsoft.com/office/drawing/2014/main" id="{9E743222-9C10-4E94-990A-A51693465DC8}"/>
                </a:ext>
              </a:extLst>
            </p:cNvPr>
            <p:cNvSpPr txBox="1"/>
            <p:nvPr/>
          </p:nvSpPr>
          <p:spPr bwMode="gray">
            <a:xfrm>
              <a:off x="2034252" y="1270000"/>
              <a:ext cx="9827547" cy="5295900"/>
            </a:xfrm>
            <a:prstGeom prst="rect">
              <a:avLst/>
            </a:prstGeom>
            <a:noFill/>
          </p:spPr>
          <p:txBody>
            <a:bodyPr vert="horz" wrap="square" lIns="36000" tIns="36000" rIns="36000" bIns="36000" rtlCol="0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3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mographics</a:t>
              </a:r>
            </a:p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3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PS</a:t>
              </a:r>
            </a:p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3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KPC</a:t>
              </a:r>
            </a:p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3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wareness and usage</a:t>
              </a:r>
            </a:p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3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witching</a:t>
              </a:r>
            </a:p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3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CC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ice, Spend and SOW</a:t>
              </a:r>
              <a:endParaRPr kumimoji="0" lang="en-GB" sz="2000" b="1" i="0" u="none" strike="noStrike" kern="1200" cap="none" spc="0" normalizeH="0" baseline="0" noProof="0" err="1">
                <a:ln>
                  <a:noFill/>
                </a:ln>
                <a:solidFill>
                  <a:srgbClr val="CC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23" name="AgendaSeparator1">
              <a:extLst>
                <a:ext uri="{FF2B5EF4-FFF2-40B4-BE49-F238E27FC236}">
                  <a16:creationId xmlns:a16="http://schemas.microsoft.com/office/drawing/2014/main" id="{3ED70B6C-74C8-460B-924A-18271B01D4C0}"/>
                </a:ext>
              </a:extLst>
            </p:cNvPr>
            <p:cNvCxnSpPr/>
            <p:nvPr/>
          </p:nvCxnSpPr>
          <p:spPr bwMode="gray">
            <a:xfrm>
              <a:off x="1970752" y="1839400"/>
              <a:ext cx="2800414" cy="0"/>
            </a:xfrm>
            <a:prstGeom prst="line">
              <a:avLst/>
            </a:prstGeom>
            <a:ln w="9525" cap="flat">
              <a:solidFill>
                <a:srgbClr val="D6D6D6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AgendaSeparator2">
              <a:extLst>
                <a:ext uri="{FF2B5EF4-FFF2-40B4-BE49-F238E27FC236}">
                  <a16:creationId xmlns:a16="http://schemas.microsoft.com/office/drawing/2014/main" id="{59FCE84D-DEC3-4D72-B048-8427D2AE9326}"/>
                </a:ext>
              </a:extLst>
            </p:cNvPr>
            <p:cNvCxnSpPr/>
            <p:nvPr/>
          </p:nvCxnSpPr>
          <p:spPr bwMode="gray">
            <a:xfrm>
              <a:off x="1970752" y="2601400"/>
              <a:ext cx="2800414" cy="0"/>
            </a:xfrm>
            <a:prstGeom prst="line">
              <a:avLst/>
            </a:prstGeom>
            <a:ln w="9525" cap="flat">
              <a:solidFill>
                <a:srgbClr val="D6D6D6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AgendaSeparator3">
              <a:extLst>
                <a:ext uri="{FF2B5EF4-FFF2-40B4-BE49-F238E27FC236}">
                  <a16:creationId xmlns:a16="http://schemas.microsoft.com/office/drawing/2014/main" id="{5B88D57F-18AE-4EBF-94FF-5D71DFA0A250}"/>
                </a:ext>
              </a:extLst>
            </p:cNvPr>
            <p:cNvCxnSpPr/>
            <p:nvPr/>
          </p:nvCxnSpPr>
          <p:spPr bwMode="gray">
            <a:xfrm>
              <a:off x="1970752" y="3363400"/>
              <a:ext cx="2800414" cy="0"/>
            </a:xfrm>
            <a:prstGeom prst="line">
              <a:avLst/>
            </a:prstGeom>
            <a:ln w="9525" cap="flat">
              <a:solidFill>
                <a:srgbClr val="D6D6D6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AgendaSeparator4">
              <a:extLst>
                <a:ext uri="{FF2B5EF4-FFF2-40B4-BE49-F238E27FC236}">
                  <a16:creationId xmlns:a16="http://schemas.microsoft.com/office/drawing/2014/main" id="{CFA3D614-A784-46E5-9243-040145ADFB2F}"/>
                </a:ext>
              </a:extLst>
            </p:cNvPr>
            <p:cNvCxnSpPr/>
            <p:nvPr/>
          </p:nvCxnSpPr>
          <p:spPr bwMode="gray">
            <a:xfrm>
              <a:off x="1970752" y="4125400"/>
              <a:ext cx="2800414" cy="0"/>
            </a:xfrm>
            <a:prstGeom prst="line">
              <a:avLst/>
            </a:prstGeom>
            <a:ln w="9525" cap="flat">
              <a:solidFill>
                <a:srgbClr val="D6D6D6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AgendaSeparator5">
              <a:extLst>
                <a:ext uri="{FF2B5EF4-FFF2-40B4-BE49-F238E27FC236}">
                  <a16:creationId xmlns:a16="http://schemas.microsoft.com/office/drawing/2014/main" id="{01691015-FE72-4E5E-956D-8E0C58DA9223}"/>
                </a:ext>
              </a:extLst>
            </p:cNvPr>
            <p:cNvCxnSpPr/>
            <p:nvPr/>
          </p:nvCxnSpPr>
          <p:spPr bwMode="gray">
            <a:xfrm>
              <a:off x="1970752" y="4887400"/>
              <a:ext cx="2800414" cy="0"/>
            </a:xfrm>
            <a:prstGeom prst="line">
              <a:avLst/>
            </a:prstGeom>
            <a:ln w="9525" cap="flat">
              <a:solidFill>
                <a:srgbClr val="D6D6D6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266765750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btfpColumnIndicatorGroup2">
            <a:extLst>
              <a:ext uri="{FF2B5EF4-FFF2-40B4-BE49-F238E27FC236}">
                <a16:creationId xmlns:a16="http://schemas.microsoft.com/office/drawing/2014/main" id="{4CFC3AC0-0228-4EED-80B5-2B873A711805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6" name="btfpColumnGapBlocker229825">
              <a:extLst>
                <a:ext uri="{FF2B5EF4-FFF2-40B4-BE49-F238E27FC236}">
                  <a16:creationId xmlns:a16="http://schemas.microsoft.com/office/drawing/2014/main" id="{1E4010B8-4645-4095-9420-D60A0C3FEB06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8" name="btfpColumnGapBlocker469303">
              <a:extLst>
                <a:ext uri="{FF2B5EF4-FFF2-40B4-BE49-F238E27FC236}">
                  <a16:creationId xmlns:a16="http://schemas.microsoft.com/office/drawing/2014/main" id="{F29270DD-F2CD-4681-8B3A-6BC8B6DE36E0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6" name="btfpColumnIndicator217541">
              <a:extLst>
                <a:ext uri="{FF2B5EF4-FFF2-40B4-BE49-F238E27FC236}">
                  <a16:creationId xmlns:a16="http://schemas.microsoft.com/office/drawing/2014/main" id="{08F6C849-BA7A-4EC6-B614-29FC2688F22C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btfpColumnIndicator186914">
              <a:extLst>
                <a:ext uri="{FF2B5EF4-FFF2-40B4-BE49-F238E27FC236}">
                  <a16:creationId xmlns:a16="http://schemas.microsoft.com/office/drawing/2014/main" id="{6CDD8ACB-4BC8-42D2-9DFB-AF73E631F345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" name="btfpColumnIndicatorGroup1">
            <a:extLst>
              <a:ext uri="{FF2B5EF4-FFF2-40B4-BE49-F238E27FC236}">
                <a16:creationId xmlns:a16="http://schemas.microsoft.com/office/drawing/2014/main" id="{8D0CE5EF-CAFC-412D-9D18-C1E6D140332A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1" name="btfpColumnGapBlocker777885">
              <a:extLst>
                <a:ext uri="{FF2B5EF4-FFF2-40B4-BE49-F238E27FC236}">
                  <a16:creationId xmlns:a16="http://schemas.microsoft.com/office/drawing/2014/main" id="{8530EE9A-C45A-4F7B-B8A1-A4FBCCB6B320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7" name="btfpColumnGapBlocker260966">
              <a:extLst>
                <a:ext uri="{FF2B5EF4-FFF2-40B4-BE49-F238E27FC236}">
                  <a16:creationId xmlns:a16="http://schemas.microsoft.com/office/drawing/2014/main" id="{E974C618-038F-4B8D-9166-26B0BF44AF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5" name="btfpColumnIndicator447099">
              <a:extLst>
                <a:ext uri="{FF2B5EF4-FFF2-40B4-BE49-F238E27FC236}">
                  <a16:creationId xmlns:a16="http://schemas.microsoft.com/office/drawing/2014/main" id="{9B884BA5-47AC-47B7-A999-3FC0285BCD6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btfpColumnIndicator495219">
              <a:extLst>
                <a:ext uri="{FF2B5EF4-FFF2-40B4-BE49-F238E27FC236}">
                  <a16:creationId xmlns:a16="http://schemas.microsoft.com/office/drawing/2014/main" id="{2CD4D682-6D2D-4EB7-85B3-E9B3299D826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7F5D385-AA98-4DB3-ADB1-BBCC5476D7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X </a:t>
            </a:r>
            <a:r>
              <a:rPr lang="en-GB"/>
              <a:t>with ~</a:t>
            </a:r>
            <a:r>
              <a:rPr lang="pl-PL"/>
              <a:t>x</a:t>
            </a:r>
            <a:r>
              <a:rPr lang="en-GB"/>
              <a:t>% YoY price increase over past 5 years vs. ~</a:t>
            </a:r>
            <a:r>
              <a:rPr lang="pl-PL"/>
              <a:t>y</a:t>
            </a:r>
            <a:r>
              <a:rPr lang="en-GB"/>
              <a:t>% for </a:t>
            </a:r>
            <a:r>
              <a:rPr lang="pl-PL"/>
              <a:t>Y</a:t>
            </a:r>
            <a:r>
              <a:rPr lang="en-GB"/>
              <a:t>; 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640A9C1-96D1-4A46-8B52-C771A82026C1}"/>
              </a:ext>
            </a:extLst>
          </p:cNvPr>
          <p:cNvSpPr/>
          <p:nvPr/>
        </p:nvSpPr>
        <p:spPr bwMode="gray">
          <a:xfrm>
            <a:off x="330199" y="1681704"/>
            <a:ext cx="5495528" cy="54965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How has </a:t>
            </a: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ce trended 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</a:t>
            </a: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oY % change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 at &lt;vendor&gt; over the </a:t>
            </a: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st 5 years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E2D3841-0399-469E-B3D7-DB07C61AAFC8}"/>
              </a:ext>
            </a:extLst>
          </p:cNvPr>
          <p:cNvSpPr/>
          <p:nvPr/>
        </p:nvSpPr>
        <p:spPr bwMode="gray">
          <a:xfrm>
            <a:off x="6366272" y="1681704"/>
            <a:ext cx="5495528" cy="54965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How do you </a:t>
            </a: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pect price to trend 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</a:t>
            </a: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oY % change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 at &lt;vendor&gt; over the </a:t>
            </a: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xt 5 years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</a:t>
            </a:r>
          </a:p>
        </p:txBody>
      </p:sp>
      <p:sp>
        <p:nvSpPr>
          <p:cNvPr id="22" name="Rectangle 21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vl5jf/09ap99kD5plAaxXVCNjEk7eSh8qzNCHVzDwg4tv+lTGG6Db5+KUUavBPoiliMC3X9War5X/WM20nA0a3ZyBuReIaqDHFemqWco9yxEFZc5RhIYFDxCCtaF63Gjz0TeNrdhkGnSSf+qIi1ltlKka5lPyi/+tQs1vBvS/Xu6/hNUjNR00hkI4NsjaUa+TFQ0+14gmi2A5DxQCRK74MauCsLncRDGt7qg2hk2F2935u5nvQTb/WciSuEZ4KRgYU3eIlvrvaz+A4qoRs/99jRiMYbUxnJGyfILRdmRvPzZ0A8R1+JGCWcWgh++Lmv1VbN+Lh8kb9kb7FVumcuc+QXBlJX3sHCW0Y0b5M9p4DSSdD7uPUhvsfX4EJEs6qE8VrGORyIRIUbZlFoUOULaD5DpJBjFON/TpvB3eildI/j7aflyfWLDa2eo9S25cbapb8izl1ye/iSwqPTADtsmsKFt3Tqqm/2/p81E+yNOUc4fAejtAMVKjN07qf9Kw7VjPJD3jtmYnam+/FqD6fM2uqv6Uh+1bpycyA/02dZmtXVnhThBMqX0BMzNyok0lDHc9tveBpNw1ATrJAlY66+HiPvQst3zPnLKkN9XeulqMSpr+by8eK9kVuRpVJp6Iso/68VV1GTkydhxlEYoFvOOd5RRQYeSLO6KOncwrHM0P+aYz7JZ714qV98nXsvFE542C5QOiIqT6aqXz5uyx7SP301+3Uw80yo+sr2XQLlhVIF8wUXDYdJrVZHvqMU7MwPFW1R7Dh9WmROslndw5h+py6deEHC04gD6DSrGTIq4QPOeAsJ4065A1Od7Ym0c5Y1ZMk91UzcIxcXRfgP/wbnRpYUFg4Xn3EQQRfxA56XYosOFqWcoaWBEmcyvJ1LSui9KKA5ogeM1aNU7GR+Auu5BUecTHXuLZIFKTwQQjiVt3svb2TjGryq1WsyKOcuPzsW7sxgfD9Pg5DN8y4Vl2lkXM4zHpbT2F6AG8jreozmEMk2tnFZGbUmHO1T8M4eWFJcWyaGgofpOitdYA7/5vI6nrTB/OtsOVb2DBYuOT98/inWKvdx8BVng11YfVVCbCYn1y4+waBSIVELuTaRcgz60Lm5zWM0Bd/JcqbCTxDJKVO4PzTx6p6Rq8MagxC9Lr82Eug4apcwwyn92tGInOrIlexK9+KMtV4s3n3wKcfqicTZd1rCPWeFyTvyAUNweoxJi5Az6uhWrXrJImgmzC6Vx0UvHwkc3GYWCFfZXVOAOBWWIMaL9hu+4ArItvu3A5yUXQ51GYOGGHgO11sTIkcU9j8c1bxg0T2hQy9F4ZO5UizGSUA5usyrO00H95KZeuc8fz/onutQN1X1pZawPDpodbI9kh2lEHRNF0qIJQeusEK/H4hfRqBRn4e5J8/4p8h74fJzYFGgnu+iPb/6IpZf4RvnY/If48qwoCxL8oSGlx70U3rDmPNOCnF+LU9XXgYqtb72CLigObiP8xmdtUZmBTpovFyiHunkLZn8AhuDdXtVqmICwn8iTt3YSMR/xqww3QD+GV8uWwu3GJ8HyRqcxHb9pV0XJZ512EM24EkgVObVAqRYA31pEfUJOF6Y68JtKrwSZGsdfHXagY542kcq+jeWnEL/TvRQqVDdOHFBunaHVsAjREcBk4UDT4bHnbeMf9VDE7dzntVqtIfWK2RQLPV4NDcNthiiqIPiZ/rZnKfThczry7sji6c4A16J/C/zssrFYV/NVKVRWXl2ZHp++im7Q9m7CMYnn40ggB4AhTjdFOlpxxXV616eyED3jjAoQKUGwuplDIQVT1xK1+siuYJPx1znQHpLV2L3VgpBum58FMDVy5gbrmoCv4gxwiXPuX3wJFGVODPJWWz6CMSYBHUw/itQjB5w3aogQ0OpuXgDPYwJvqSihOUIno24ii7rdUaQfgCkP27GuDuT2Fg76D4j/uTuYBrgwWWHwQkMCuLcn3MuFwhrvgGZsc1Ukke3YLEMhozPeXeiKE4/CpqbAtk43nNnXl53SH1FJPYqDIHhYzjnxDKin66W1AtdSL8e6tU60SxrhNW2xn/bNhJIvA/V32zEfu+CA+MZwHE62mf6BvMzxLZW8rtldNZOusolAEWQepyCjV6s7fuw9RGknNBzrPkiQXDflt7i6ck7RlYkylJLi/mpoeAjkbNVTi5MTxSiePJb3/cXh+9rvibufAfP3I1OebMp6i0RY01SvsCxVScW02HU1k5BTWxw10kp01o0Phb+YmGuNo7tE34dyi+/+wdwQQJeKgLCSH8gR0tU9XKAd1nMhzpFhAIYTKm976p13ssNsZ5NAziXV0RGkUGy74a///TFQlUB7yKME5Wg2Zq6C2T2llxE16B+tQi4Z2Kv9ZbrW/NO0tzt6YMsL+bMTkVKeb4N9rDqxpwjF75F8mplB9mR7u+Hx/MsmGOJG/5jqvk1Y498E4ZQKVibLVivdwuSIIi+1pTCo+g0ko7CwN75VAduqrhj/LtNN1+ahbRjeu6B5rdrbJoJ9dsECxAtxQ+seKOwacO4zAyWsB8YmUAHV7pfbS7/8Lx5h7xgS+FEVLT8Lja6muIt5B7DYkBKSINgOL1nHifTwN+ebAceqTkN7eTZwZisLNMSn98w7R5DREfwoc6ud/x14KOYibvZqkIelDNlDY5RJMaIQs74hHni1i6uVTjydFYBLhCIxnTt2oqu5sn9lLnxsUi/rN7tKOrl8ut8ohqh1w86PGXAvvGQa5UY52JEBSlk9fU061AOEG++UoSqPXZiizBh50C21h8atTV0+8Vb+cojWQ9bCjVsxupOXxq8MAJyjyFg24a187s9Daw2+7Vo0xCuJEgRmjFdXNHsvV6WtOHMkrguixHhhYGSFPmwy1KZihHXVrgWC5Ghn6eFkoWIBrebEyX7+gUdK9aOmfyb0AEuWsT/XS3Yk07GtfgK3bKemMULjaCmcBpzAbRnMkbgHuo2IHekg2BMMm9XC1bYM0+RtihtM2hzBFtIEoSz837EZ98ROfUKCQxOv58wRihikfK0S8tEgls9+mJFzBByCluZ8pPuZ3aMpI3xpcxJGb2CBBbY1c6Uk5rTARZ6bH1UAi/ozvNbzfENd5NmUwu1zA+w1GFG6mozlNUazcDMGHpldEhELn/3pOMhQe9idP0jNMCEQdoMGVd1QLvUlAj31ZXK2gNl8k2/Tl5W1PqSc+k6K+mB+NeiWErmvZ3OFsQraVCEOSkaPwUjAwocGBOFHTY94j9DB+gGRsaK42SOrBIXfiJibhy6+ajnjyQRDOYIJAKxMTwwKDvj04swyDYxLUqbxqJKpyc4BmMcdbsr+vO5VljIHj2Tq/HTB7qIvUcS9vknpfl2OYLGYAz8djakEwDkiOOiPaNpeblShYThIC2athUzKtxAu745s6X+9BCkMUr1qdnwTkp7ndP1JH0pfdmGmpD4mHwKcND1U5IoVKU0BSFQB/ojFCY1MAV+kAhHxJ1R/yfGSjHiC3aa20gqsid3g3uR+YgUrMp0JTqgqq83mkgLVXMJtndqbR9gejHnU32x6mD8PLn6DDKxtsErm3MdRq7TIxOiEOXPeOSK/+ZjJ8MAbEeNFgZk+EfhAeCHTqXlXoR8r4FMQWbJPnsLxaty46h382SFcZk90LcHGsGR+hDobYO+LUdsRi9UuqLRQs4AEy9cuLKRO3WK79Il3BCrZ20mD/g0iv78c9jVGeXFwQwap+JXYEE8eGRnkN7/SOAf0AwxUsTvxs7e8cUFrfhRKpniYLEXUUC5WAtU9i3vkwAicA91wkPUMyHz2YJ436Ib0d3CCk8yq/PY6+QCGPamQvJpXCnCiGYB9m1Bx2UnQj/dp39uzC+cBjNUTG/GUcDcOER8JBtvL7rMKfArrVd3G6rFBvpAW2eNnSsPYgWiJzBTaKLhFvEY5noAwNMBhPmhxADNAtUqSgKng9Ylmj0cV24/nes8/W9TQ41SI8uHnkC7SNk6GVTiNxtnGuFcv7pnFYJoDY02bCiZJDLdudUt85A3ZYGpjWjtSb/whEgQ6sFmh6GLZzmTto4pRj/e2PyCMQAxyqoKD8IVtWumiXnO+e4fys1rkwVq5hcGpXh4L11ZhDmArQ7h+H3aBiP/lQJAm62W4q6XRJX+fjZKuWD/yv8edt+zMWkNfC2vCen2FN7vcBIzRSsjPlWZEaICUTIUAiTnS8b352rH6P4snv1UXq5WMw0yUNC03h0QiUyE/hoShh92sJc/uXDWu6Gzj/WxmT2QI8GdSZogTXV9ZXksfD2IB7vXL3IihZ2afbLuNqVZQZLlEabCp4o4ULMwmEPumryzU4XPm2V10bVgCVByi2wt3DQxWkeVPaRPKhCxuHqYTZnQKruya9RM1c8jI3cTyBG3aAFg4H69I8xKWvkR/OSbSwPa+VDg3Mj7+cGZfHOISYdp9PyG1RbD5vDK23RZlgfDoe5Uv01nXv4kiOMoCooI5/A3oTl9yeY9+1lKjW91+1R2zkmYZTmi7l3c7aGtNb0liAoSwUTnir00huXfDMmdJ+FrrIWBCOIn/gXfDJQgcDKBelK5zjDwICJdlbgmAh8/eZFVGP7TShUNTYsaozLMfvba7Tv5RsJ+YuRG+ST+HWNTSmUyyF9xowCIkn90jYQxowu0ZbcecWRscfORhb42l20yayvOQRhIq4FvIrV1fBkHdoGM2nOLr3BX+TNTl7Mcesh4g6F0HewBXzfDBFgqcvDASQ9hOL8NGOvoQ5gemeZ/6fgNBXeV5ThGXqqWGskp1xxqAmY7M+KnG8wWMvNx42GWDiJo3sfBzGZRUMuxWCG2tJqSR6tKA4dlrXf9xaabJaClKmiEC67XnLrkkqeJN9MXsgRgZVZCYkMl/u3eaoR6vKFMrCz6gT7GRBk0Oj/g7LM5Yf4XETINICIDH1y5qU+RaMwVvoKhLvVbXgRj36xA8UmKmCrS+L7aiWggXN5utfbt1XeQvVMVO0KdldpgJuIpFcSG85SPsJAHPyFGNdfVsT8NoXOsbDEcPPx5Zhv9k5itfjWymh71D0KxT9hxltABtDpywG0QrXCTs038TSxgTgPLuEHvFFsXf3JhxhJnlf33DZnAffJSvVXusGmfCY4S2lo7nabBmp8Ku5J1J/60bDWfJ1bnTR+BgrJp7GiAR1Msw04cOIPBg7o36Nijtz3yffu2OC6u3HQ3InTRUh0Eu5dojd7XU6SZxWHwiLBm9pGsIvG6s4TQleqBKrz8VSCavIyla6IXfBoJiRZWEnEpD54CoN7C6I3EtD6zCFDGchInuht7z2y691szn2BE+gL6NQAROWmcmJnU7X6jLyjFBUExNwFwrpxuQVUken1JvzaJHvai9fcmqlcUNSFuXT3SdQaikc2txUyM8dwgVhcT0NFFpUT62zdOUdZc+1ywv+xd7TszK5bAkgu9R01hg03AYEvJ8lAR4W+xum/b3IexMfUjXVLOGZXTqGqtyytVmSKVrOTuRfYYoTf5wt5/dn7dses2B4Uv5wY1QKPrdtR0iK0zdj4gct7k2ddwkBXGX+U0/OMMNpLZlj9iNzPBKPljdppNX5vVvgVVn3E2CVCdvvbEX4mp/sL4qTT0JdCykiNA7ho5DHZNRSCyfjxq0f0BXNNpg/knnxcRYvJXcWB+D95YJYd8MnwNaeIAk++rhB4m5PXXGrUn/vWYRwKBlJJtWIGOuu5J0SkRHA0Kdr+qrtS7FgdQDHAIg0G08lPSK0iA7lptIf243t3Q1qw/kgM3gZkMssrq218gF40Sm7lKdctab7UHr1HOyBorDCC/r5hla6vR5g+wH21YvJxRbb01r2+O8NCSOQWTqUfqJn6zGTS/f6YKOvF9nVca8O9rQeG3sj719snvAaPBm3Yvz7E3fNCaCv+3UOYA+0kBp5h8CJPkubzeG8dMlUC+ffFuTWboUcAA2ukmhyh9lZXQ6D3zAmSk35siH/k881FU38DT/TtWEGZWL2s2eRkCLUpahgZpz26VwmLCpVA1XXRhr4bQhzXopjHO9IbqqyXz7r0UVOPUJaixLNu41bIGknQFGlxPPd0PkltP8iYvKkOfQURW2XFXjnNoRfAhEuyXRf1EDz/hVsuvB29Fu8rkopSH6GeIaT7mrggnITnqZBWyI4w09Q3Sk4n0lYv6OT6Dv/4f0+Ez3ZbnhhZ5jkw4POH06C2ADZGLhNnIM9LFtX0gQL6rd7M07exSJv5DpR0pL4924PpK2Ukxf8dRg+m7lQu5jZAfIAZdSi0wPDIQ8/8Gz08fw1ih6BWZIRRs+fBwAnv3LzgkOE7T1UqQj9D9scwfphk9swOSgniyu3jMSOa8HSQRvwR3NSIQ3l9yYCCCQrlXQZuNZryaz5ulx67FjiwHXV1yKJt3paCWCug7wZHKntLszoGS2XTP/zWdWb5ls3jmhu0mq4tZy1DGCohoYaXLjIwQtUBXGDNoAAQDOuTizYl9SVvUZNfIyU9QBzYcOs85idOvMFK7PKpvu9s8fVv+bajpz7BzLQ6ix2N3HWv31KM2m1o1sH9Z/yeqvVeMwm3uUpyqrSKMLuqYIo/RggLrPywjz3cZoPjBd0GtGUmQJvLg+hWTa0uCDJbTinQCBGyuwesQLOpYJDVJlUv5Yrg15p6ruftou579aVKV4cAcKTSUF1NbTb1kDU6w6++baPYGzrfddQKd6VlHBtGWjcHNg2DuFmqSdUDfTv9EqruaGXRLj6NQ8R0g4ePuAiMF//S3GZ7pG+2/TplP0Q/idGfe7y0Ch1ljEUgb23WNBAYvbLI30dF/BHEqHDQ0ekhQUx2kd8WdPPW1BqZLzycY873mAQVR2NpFClvHm1u8y5imXlkTkvje153Hm6UcU3XbWflvktUULjN4WGp45Fb/hHd6iJRB59qe5qN06DI0UMrqUHZrMu31vwdb7NfZ4RJoj2Is5qyrb72xpUkXvMygshus5ED6vQx3GGFMbq/a31BQsg6lvO4KzSMlxR33EktQhLJWdkO4x0ZclTWxA3cHLJx0QBONQejwOWH53zC80QgPN7U7l+t9fvBnT9524UZHDroHNw7dz0NlhmuZaLjwtKZteJ+2xqh3phIPWvuQgtkpuC4lgWi+fqy2Oc0qD42TfM+tiqfRJHZIYfWUUXROr/US9NLvmFEZnetbY8SsPMgbvbaRZYSzjTbw3fYE+/Ua7MNmGueaZMLHRB7dJtlawIWcrwFhfAND7ceIRrrn4UcAzdmv9/z9Of2pMMQaVMyT8ONbTE/zm+XEfLiO2K86u9yMxI/N8edkLLTVOpEf3rtaueQnkhiYqv3x+PrInVpA4IGsOW2rxK82OVHJPZIWHM1bzGWOn9u2xocAA3PbuRXIW2Hvga7rDWfO5RZXANYNn7dNpBc7eCn3qYxyh7vGxfVy6BMw5/v120oSOt9bWzQwLtTxHScgXGkU05uzv/W85d1o6oDwlg8wvLY7TVCz6EEY0flBko8LqzoqCqzLIDmACIi5jLsKLDUTyHSNrHPYyu+QOpJIKRqXAKzWFmwn7O6r/YuaN6/ospcb/VQz/4z2ZvxxPDTYXOP9ApdxUzdYLFPiBzmXqbYHpKU96E2Nu0/4jsMiy6Hluk/Y9eZ/blITYsAfL3jD0rKPJ5YeG9BmXag+QUQ/4n93os/kSy/plXZj8sq7S+PRlp35oBsmUWxM8Rmxyxy/cUmtOUq7+TwVC1z6hZZFguyjx3HMxXhqAKhkUILhVYrSglsKjtdmLSHv7Tqnw1fBaqWZte+CITm4x5DZCtd3J6LbgP9BDqqzICZPIWE940l9ad1ce8DR+9dxVWlb2gwD0QU1On4rrKqDcVsEfklc/JbYq4zF6FddEw8mvuKa82lklP/0wEy7TKNvxFzRV3CEgPbWnDiAvrWtiZXJz2hnCikvEzcBmW5ECf+k7xXZ6aSL0Z57BPDSTY6ZpB+NJYqI/GkOw5gweGE1sC6CpZgl2tW7Ru0zU5Ca2TwwM9wJ6kiDBsUvfiqByN/AaZMoUJQKx8frFddrzXOVW04PGtCNmilvSw7GBEwHM/oiKyycouhfrPnwH58USyEyASAcVpu011XfVFEpry0Vj5PYJYOA3v3N5Lkyc84zhyGIkLKfuXqlFXfOi1woMwuDHCHrnyJfoFzJLqRXOSWS69wd9c6qpgIQWWAjk/e+ykbckS4W1SRFVf0cjcuEh3rBujONbzKuL8D5URRbkrpMRC2DwP9g43T5S6+IYOMwyrdwhbiofoCGTa32/RjBzvH6Gss2vEAVsPHT27tPPdazpQfvh8P0e8fQYsSDtvW5J48Caw+/Z333j1bqDwJU/bH3fVDfY4RIl3y+0C7n0XjdLO2uxHW2jBzVRSvHy+8zB7+kKHbAs5ZhTWvzYyMaVZUF3MU8BwbszlpkT1SUEhvFtyVV6PVCj7rFZOvj/hPXnpRvzBbmGedwLIagOz0TSkyTs9XdESmMb68yGeqBXysABQiBXDwl1jfp5uSotGYJ61285fsrKWz7xG+plrh0rQm+S5cdhLg4x9S0Re79zF0VP9of2PSRdVmcGO2X3PcF9Kwub3me7ElsgxUPepbxDTisEHr791oTP2ollQ4Ea75BcSVsTQ8X4KX2oKeeyI1gA9T7v2h95ajgylM9ieskLLvC6vyiyMYXaqZ356t2i8b6haZOxEvhYcJ0LFjmWO1oKAMLwygmSRCp/XZSarbTTSr31DCwybkjeU3jArrdu1hwngpJ2yeFsxZzUmBDnHAxdVpe+P0SNGYx4ki/zZMNCcwbBbfNEUrUlKdCBZ8j5rVexdJI0bPBxye9U/DRYskz3kUX+517MsNvt8cbCxhEsvPyC5bOwrPwoq1enCWvzjKDwpKOh57Vgh7kDk8r8QztvM9WPCsneMKY/T3le6D4j7yJav4qiIRNxEUXPvUCdpXnJfyHMZ6w2CiwxhUjFr9i1GhBBvvKOIW7sN0XpA7uNR4PXL6sMpTeZAAKog81ZLoteq3lk8Ni5bLYLS72OPf6V+j9SUDw/p+fpr3djNxqr1EI+mPnQI6HqPGHRM/OiTf+kC8+u4zi4vSHwXiLbPU/xfE7Dpm8F+5+KWznNJQM2h+zk0HH1ySGjHb5Q703YZ9RSFiPdhU8J6J3IlIfN9dObTM12hcbp5FA8LzrYJNsOfuNo9DZLMuHVSlfYH6GA2vInaNiW0BSwZbScYbgO5gve0soFCjQtTWk1nlKwuu9de+k1OOy21shH/zxOn795T5pzDpBZWt0Y1ZzV+5XT14uFqlIYBJA1rNNWB30W2ofcXkPrCXT2mDz1YiVj3iWevP4w3jg1aXBC1uwLssuBMpC1vDWo0/triYd83/2a7voSxKEN+trE2Or4MGJ31xpX4RxbYXRU5tXx2xlpN+tS7vTOg5gUcwYqbUr6cHjpcI/gt7NJOlGYy66fIlmG+e3u67J6u3r79PESSB1XWjgwdCpnsw51u5ol9MaLeSo8NY65jqSOtlrd5cKlLkJkRrj2UYDeOD4DmAUVxNB8WqlwaoRE2RNLrp2gkeE92iEvVmEL3uAzMST7h97nxnslXjDK7ElMMRDrLCjLkaLWCYy483xVEwURHTxAOD+XUO1mKh6BmdXDxgrwV3fUtz8RLN0bPSyGiCzZvqYFNOgYWm3sYMDv6zIY4JahpwM1utCzJ3c3/0eDAa/6kWVoR6IOUBqN/4M17UmTbsf4K44CWJig98UMaqTFe7xffdyafk4fiO71pIVFO4dVwMKZaHKRFqa01dIXDcTBbmm9jKAapFvNWvCPoNXTsCFZE/ZPH0AvrlDKORwpFcNHUBpBucl4QGyim9uvjeA9GaFXraPQZDISah0hM1be+xOeV1oZ5zRCwgVDGY5X2u/bWPlKy71jXcUCSulA5QfmAtwfDGqlXvQEl2JVX56VlD1DnWOf6Wr1sReItod9vYtIgXRS933FHEFwxdjmKE+2RWvWmsaBIeRsUhA519NpaXyHEo6pfitQvFE6z0+c48wdJRRxBb4e0b5LzVcvPK6Go+GX/tSRxjcKuvnPRLqX/tJL+SJup2626oq+k30O3TzCTBe6A6DLyiFhmB+K9DvHNv78wbQk3zLOiz6SVRY6smV8+9x2P08PN4ANd3y1x0DO1K3Gwu00kflkBvLRS17l7Y93lyHAAOaZOmn0YdG9l03oPDC1v52S6LiEwvklAQgK7sMUAgWtFe21wULTbx6o7/yzjXtm2u8cyJYkIEZBELo1i23Aw9dtpt4sL5KLreQfYmSkF6vRoP1j+QYklIUbu6TWaggjqi/io0k27HqJ0pSXVaxGgptVdUfnd6FQVyL4pQL2LVFJoxQOISnayhrvbMCMkQ7ywgrgxUSh66zg+u8hiCLIM9VHo5shhTxzyP+6ipaPVOtgib3AXKD7aTzIyKYseJErVih9aIxLhtbvJAE9ZNM/Gl9VXj8GOa9JtDFFLJl4Q3C6qhprn3gIbUxwn7D4+Qi/x0A5yiFGO3vn3dfWPb6IEabLScevxuOSaEZMwUybp4T4gn5TE44padgxnfuX2VQhCq6DcDNN/5gy3YG0BkjKoXkFzjSSFKpliZxMKbM4V3CBqe+MYoe1je1QbhB8Xnaf0T39UVETTtLtt3lf375b8lBgvlsnrUrokMd8ZlBZgNtVaHqSneBqoc29OzP8khjNUcO7vt5L3wOaODFT575DZwEEleBPbn+QBtmV6WNEtE9nas42bkuzWa9pcIfncdCSD+cq9Z8N03yk8cXz27lX8zqqluqmVr2SOGic37e6JYqG4O3VljCAEYXStTflHX6ePwh7zTWAC2WbKYS1Ekct+UTk681x9zhIeY7Wy+F5u0od4cwwOu1kLHS0mQMZeOXp3iH75TUkW0fkrmFXKHHiuDWSMWZn2KQQa949/7V62GkqcYmy/JXQXGiX7x+eA8kfqQlsjWOq1aTL6l1eBDT5sWJkYjaDdBF7i5Sx9dTCl+4Gtxu/QwDamRvSBZRPNshxDC+wgUOyyBKR6tmd6dHLXyQRLOFL7+H+t8DLAvPGcOIDY60yUHHjA284NcA3BiYZdG3hb1PpCYNhXbojBUFu4OKNmra5VFs/gtb0KGK28ozz8g1SeLjx6yWRilmUFt+lJBGeKYrLhaZD88qWYlMjw9jp9inkcm2q6oZcfT/irwPcuWqtkoS0mZj6tTT+ne1oT50PAQEpj7oLY8NWQS4GwaATMI+LKnrTC/9hSTxhDCwkzD2E3oS9550roDn/J4EJD6UE0Ts5N4mTm7V4MLw4CBbhxftBjGUdkkvZn/4ulCxOQ2/Aw8bhBnLkBI25yR6Ou2Dm/sy28O9uqK4Ef5PmkYXC69MmkkPVMlDfBoGbqHWQzT7oFi/RZBUGTidqi+87hXxxoqkWgCs4gObEf6DvIM5XVpvWFTrTGrbbFNI3k/yfFqW4W/lW0Ql/xUq8Yvc8dnNc3r/f956XSGBIBLTnuIwEN8jNijsN9UJ/FDMCKkIaiUWoMDhfvrWdb2OdHfrzd3SXhr6KXtdhOVaa8Jl4FaAxttqG549wVmIWxMSksEDYlxBC8qLoDFL1i9fbg3hVeIsX6voI84I52jVXodi3QPGpRvBJvQdSFajhHkA6CyNrpHbhCSQwfwppSRd7W8Alxyo9uxFrFzxhSzOzD4jPACROC2ZzjGXD+vemGnV4pWaA7+No2p8WuUmpW058OJQIdtVZ+pz30eOABbJPeJWJ5FKicEtAEn4tW55RCm0RZ3KrRJUaTq4Ebg4vVaA09GrkmuUAY4vRLabKcELpZYATnJpv5BRmWyxE8n0MPqQDUmP2gCTIDgpvLohumFv4XSuT03TJO1JPkG3H9LTyjyKZYHciF+cXtDSy5Uqoc6Se9etnbcz/GuMPrsFTQd4h1v2jVzLFd6lvaJNeWHbVYJa64dI24OGsBe7yLmfO6NqaIS1p2auFAOxmh4+banEkBgTsYgs0QuFXkXBk0lVZ7BWZsdJsb06Wee2dq29HWTgDNxlQMYPQvNjW7m/Pq4AwWMAA6YUgfCM1iRztWvk5vt9byKX9jH/W6dMdB3dU0aar58xDCMwd5WKwAXxA3XKNGS8IrRCbWo31C7C7iFovUXHFvcs2mv7vknA2nCkHSV3rh518XLk+m9/T3y86jQioUP+kr8tkUeyDKoZrK771Br7//lNZQount0RYEyPsYSfBJ8UzdTvO0IZgEhdVAtTVLsrXz+qsRB1qFqLfK5AAec5/dZJs3FcPQ7o7o72RqsR8vcW5OV0+yQs+1qIQdm0DhY3wdCAoWg6++PDoMcCfl0kYzeuvmD4FAwyQ4p5Ux6lw8jTY9zQZL2K5NtevVrTE12phIv5jbmoGsk3Ag45fFlLBFtDg1XYRCxaxwvPVpAlaWjF1VsouoQlyaNoToDryRGuJEry6FoLa0LFmOveWv9B/HMA7g/fRvi8lZwQr0jbNAQ6tN3zCOrvlzrqVhjjGCTZHshhXkEKY+It5bK7GH4D5L1yHqauJDA8lezDAlMMm1Zmo0mdf0/w4k+ZsHogaMRo9a+FsNzA0amv2X4ptApg+Pq/GlAuGRvHSUKrYErZ/32aHqDpD+QdDsgfmLnPPQrrjvMVgCrCd69eUZl8hHyNJjbb2T68BTcATgH3R3Q4QLeWBO6EiR1D9+wCLxzf8PJ0EJWaBHaaylZLVUpRnjYiEaPxdv+xD3kh5CpqYBZHL/6V5l42VyDzu0Zyy7MagcI9OcND6mexu8gvL26m0EI19t7g3S6ZZ1sShF0wyFD5b02GbFBQo+2fWMFpHaFzu0QDRW5k4xaV4ElsfDvIPJ53YjbqHFLYpSwncxmkFcrhQoyM9A7LRrBjy4ytVtc/AQDu8udnTcs0armv7YxHgzlr1TPnoHRvfuNa4ZFc4bDvowE7R1FRvGYzaF/zMV2MnWdAWgVoneIVl7Fis+tV9dZCZsXR0yrLP1D+7Jx7W4TdyKduHaYhX0IliocE7sFVF7K+9TI/awAyg9r4+3L5D8lmJgLyAmipLPQYQ/yt5LZpITRDrknNCQ+5AuEhL5naA/xUxOIcTDP289GRdZxG+LmtQTZrjDGmvuS+IuHWIr5bhR+/NBgUJZSWdf4rPv+G49ACZnPvBy+THGzV2iI5z1tPxnr311utl9oD0upuzCmlgS+kJeggPegiZwtQo2D4DLVmFs+QFu6tdRs4p6cSWyYLdb0ywMFF1Ez8MOlTShiyT7SN6NegqakxAX8ERIOnpPbRo5HBZ0LwBi5wF+vssiHAQbmRoK5dzM7At8ezBITA5e+LVnBWoB7f+AIqOMtG0stJjsr7HMycfMdh0QZzv9D5X/+uC7bXA/djZzcLiMWPnKPqR+gig78+o4KCJ2zFB6c9o0PyK4W/3/n6edt8uDensf2eLZqRppgBWs9YhVURhfEBibD/roh9mL5vU+I8AECKBUYmxZe2VCjlP6YDi6DamVcbZOGuO1rpAjR11qBpqXi/nwpfRK7em3UqoCSEo4xqpgsp7FUI29UHOk4B+aGTMPk0fKrdYN2pcEex1YbmOzS/FeNhhccBrI49Z7+q1lnRjWJNXzuXkeKJFHUOUA8WGRuToznFrihiFbd6vdUOpTGgKZRTXPNXk34q3Vwxxwh5nSXlJUbk5tchOUX6oeMHAwxQ8aFcr+92rxv/kMcZ8K2XC7KyksESQJPUpT/RRbYE47y1AEYQU7oI5nrCjYxK9QYLlv6wBUR7Bf165sIeNkyIsTHTB8qvTpO6iTaWyikbPaxLuXSNj4vorGs92bCTIh8E3WEH3EJes/MX9NvnWdmaPWKeK7lF8xowkdGvXg1wO/ITpea+fYdwm+hHvv+r6DqELQVByyk/ERWNXBHZeVuOroo+iLDr8PG7DQVKqLVfLj+Qu1OlXFAyMyCM/cyZ/Z4VKJd8rGLETPSuYRSocyuSBmNxL8Mbda7uZmE8VvDM01ItB1I76d+gNJAM/8FvKEquhtZ6Dk71pRsQGMUr/vDkEeHUuPIjbyWkegC1Kyrvfhim5f/yicpHqq9WJiaaGIDwFYp93rKlIxXqF6sLP+1WXr5rujpM0YS+/ikbwZlv8XjRSqfflK0myUzv9x8kgc2TQyhwgSOGtLTR1nVNkUWNr33PJ94e6bOUhHQfIYtgwUYptUQKh1rxjblKtNOkHNFtNjdrQDgnQ5jRGsM83GRoebzQfOZHWdviFrmf9TaUJJjz/j70B0n7fcYnB/T8NWG6G1nXjdAt20FsGeeMYBx83RsdTpM7CIFVEpGT878QUnVE8dHUXuvYuEMcSzfuvDKAOtNphrfY0ad3siUf14WbwOeUdKIivrRo8/jILY5lgqZrbX01gz9Wnrbo1eOeImu2/pOf7kkHVK//g2h8+WEPRxomq9j6R4TD4V+Q2q9SLOiK5EAHLH/DZYfwhgVoJr6IE4lAoMkeQc6o96aPpDPUlRBeL0GXvDrnppWG6h8pqTgV1eqi57HKgQsw6boaF4N00Fn5SfTsIAurNXVA1HG0mMpLcD4FKGjBiU1JQKfJP47UC6QSKhv+4CAYT1Y97GY1Da2TG7I6LrCDaii4FlpET7/7apFaVCoA/z7W/av12cU35+QNmOK8oUwpjZGDd4afZRjDUsKLlCGQaq0S5DKkjnouzPBSJs9wJ8DysX3Ws66I5VrS7C+I1Dc92/uz60Y5HB5rlcSDjqv2QoOaBXGBhEOKb4Ydy1Jfp5sEdGdmRBUkH4YYC73bN67TRmcetcP6hltCvr7mu7Ps81aqoe8Uqfw3ggC3+mzPHHi19Y/2Ztg7pMsfFes+AibjwmiEIUcU7jn2pJ6YQp7nKl4LPeRHeHCPf+M4JtaIAnZIxC+kKzEdu795D82bk7NQK7Wnm/nFCMhRTut389QB4FSaQYh3m51II4tVC1BLHFjE1Me3OEJX48ZF6CrZOoQf5PQvnEQdTVCR31hrvB+PNzRVSdPWbq2HGCdi3uiox9IvsrIsethfI83PpcTNxKCQ5+ZiE37kH/1H00VeAiXcPdLOv7pHLBGffjI9bFcPi4Ep96UvmYjGbeWfEtdQx3q7sRd9z8Mw/HetNfOc9CKNsC9B5bmsF8gfxb4QrluRZWHNiIItgOJlvpok2+LTMsFgKzeHV33zsxrvEPsuPxwrMQKk9lVU40pysf6yosfGa4+9zkuMEyZYUD2C9CbnKTQAMqcNjvnB5OxRVzoym+EHfokFdI/xtpXxwrtDsda+AeRGm0+21Uwbxau6hPdSec8LPOUGa5rZ5jgzql/Z3ejqBG4jRzOXG6hTGSAPLgK/kM3IGznlEqxkfv8ETJdbfwy0T3SCL7oiSRRZ154xNj2eA2TG7aIIbqvStw7ZHLMXShUVpm0qg7fRJCJneNjmuRCpHIYzFQA/ibPXKfvVUlC++pzwScM1/A1ixpLN0UZ2/AZcu3j4ex4fZI09Qck4Qa9wwNMg98c9scNaXpqZlXiOsi9NMvhazNJXS5ftGii1OvSvpAu3y6zNqLuVErcO4/4zdZ/idnffbU79fog/WtiIxNk+H7y26xuHQoVslBCGX4Lzsl8T9p5EzotlybFt3MeeMxz09XK1j+vidjTVefP9QoX7GPf78djSIDx6gkexQbKiWXAMSTNutLlZTKmJYXdBbBQIdrgOi+1lr1uJwsdQgCEeQGS6QBGhh086JufW2Ln4s7atzYztlh+eJbqkq16kYkzfPNCmc/IbVDkjlR9auY8YfrUHavlykxfWlNCdwLrHp8kkRvabOLKXh+GHUlaBG9IWeoaBlSAquIKKf99SiMfKGO0uIF3hId4l5dZWy6GbnuA31j05awGoW+9RT6hQlhwLVoOxEyCrwgc31XjPmmaQ5ZcfYLREl48eWYOHA8k2Byz6asCy5tLW53A8cqG88GbH02qsSUpYbKTTsyW1mOSgmH3CSn6Ak4uBjeYuJ6c6jPujgjgHUFXQfQUOxTM67Uj8yon0by7ZL7orcLpV5ewyy14TtAx74l8O1J3ZCM1vJJ+2rsq6OcQpYtmfzxH1MQGNpxQGbnhofM0T/phfraWj6ZlNcurWYFPCvuYE9xPW3gDLa8IwPxaRVNrcD9y/7/zNtzM2T69GabT5iVhga27HhULlr1AJAe05WBApa0i/W92alXMvKnQiza9Cd6N8DIV6LsBAdqHWq/osaUvb1q03TJ14QzgRELew6y+Ww8SHoewOhJ8jF5NRdS1GdaeFioDARCPF0DB/oX9iDmeQYr463uiHcUIRytMSo3aO+ACKXjtZE3iHCRDrUKDCc1919a0t5UY8irA82FsfEMJ09u/PKbQmYJMMAFR8kVham9uTi3FXIlRKG+YwMWafYNqIdngxwqQMX1xUiyy5T3jxH19ADWqaHHAvPCVbHsT0C9kv/SD03UKeYn9hRFDWx6bJYjw3z05xqpncbQ5l0aneXPcfouixAGd7Jcs8RSt3/pcl8+s9iNa8KiBJ/PgchkuuBhsMCFs9XYi15pprLeQT1nCYfjoZJkkXAjBoViGq7qlBEe7PtgZiifiQ8ALqRMz9cSv7FwcTfUMI40m+u3nRV+G81JySwSsKnf/wo7JZYwVY2V0eFMtMLqmyrsdxZbhJlXEz3GiA7z55ZOEixZqgZWYp0ipYurvNjFQ9Palvt3By4+LpTj1USv590tNNI0Sc/jrNNhXOv6ra9uNxNS+hSu+se9Hi/k0l8lU+gXx+29+cgLyq+S7iW5P74/ng36SRRUTGFWuZcq5yrzzbNfQBZNhaPkXDJx8Lgv/8g7KzpuDiQcDI71Ft8aPTgnm1fb/o/m5+TLqgD3PgjqgD5ZkIc0RPpzno3+1vhkkFLMsKP234dCG/oIMc4obphxGrMMyu12J40t78BUpCgi3mD5nKx5ki0J4o6Xyh8vpKfUaoHZxagysDo951D285a6LTBomYH3wRgChn7p0zbdjplIk1FZZfXjWpl7xPqDC0wZi7CxLenhlDNPZBr3HkaY9CXfhs979Y9BgIDHoguiw+iSY35c6tz58/eOu9KewaWypWjgDRzX7OYDEsbUdL1ACuTv3NLua8QpEQ6mqNylywYcTzzNxyd0K3hn+ou+5107GTOBdFRJtP710UcJAQE0wg5CLxFvXwiUFsoJIXJbGs7QNGiJKsJchOxtc6cnH5X2lu3xUEiPqwBLLEMRe5fc9RKLu+526StffvgTSOq9YyR5rlAG6X0Rfj67H2XLG4r+amMbOqHmhuuecbECBvYm7A6hUdRCzN2IYoN+1Ov9qQxwVkRXeM+qsCl8x8CbDLKnijaxCqEzQLGiOOcI0xXMHuZyl9QIl8f2mPUiA7CV2C1BQJwYL5zKw7693r2FbyjW9PkWYVsv1/lBskixg/w63VaA0SIrhCnBMumopkTJwH9r/8uYcY7H508yjOosX2Elw4ZwjIh0uUICsnNXU9gaASL0pWag3m3AJI1pvcsdl/cJXbpVYjm/nXrckvgyY2/S+niYLSoTog7X/xEEuXD9ESti7yjgleuG0WInJmbSryfHGVXwFSIr8eb635Ay/6QqqSYcNf0bfG9KV2KqxUK0HQCntYG90Iz/8RXoO61pPdiCawvQLb/09rFuVvbWYSd9H6tC0OKPkVBE6LGWIHamB0MPpXWqkgkT3/7OTxQnqj185+vxKw8Wvj6odP+OYsTG7RgKA6/TslaV2QzJBY3iNI0h7zrHhc4smcAm6fHazNZ2e7GEqPdilFgCT/1Guqf75wncz7KYjFj7I0oRnmQKnNtYCwQ0BHPPvhVuO1lsC6bIfdxVPL7VPujEFk+zzQzv0xD8X7SbMpN+bUcicQrJbIklAOssFSDCAO0LtyB7FWTCF9jDFyQ7rwLY0j2+lSt4dU5gCniCDgTpk68tk1FNj/yxf6WYBNBXNE4hxACO3NMGdhENFdILcMp/m8XY0a7IYHNYIHFgQz//ttp90dFaJLakOp+q0wCELDCX15sPXcO2IM2BAnsh1JLu8hdQock+8MGdMK+5GNAYwLhK6ambyPTUBwIXnOZ1dRTOErWh2L82k+/RJyzI2oBTzAS2nJ8AzxQ5rjigWyUAu2r2pFY9sdIcnpnIQ4GjxtzJyATp3X0+MUkHxVcsRQQpXCJNm8o9ekigs+HIafUxc212PkignBvk48CY83bXBgFI3QweUtkeOThkI6+WcXSNu9/RjUY25prV4juwGIxh/yqQnaRTzY0dSkmMlaQ/d0QXHWByGtyi6BTqivPlNBzMpiSMUlet8xGnE5/igGVKrytWolvKZg+8rJOq5HEmoeFVvdu+B/bZFxO/aPpLLXvbXWaLeH/ljL6ofKLdEqKfvNuhQA0SDzVmqEHpjLMcIJIcUsbPp5mtDNhrEz9qbyVQsIm6POWQtWT5ZWAkaRwAEtMYENFu3COPUthAW5AOe5LwjY0vH0c27ywZMA5VMcvDCpEl5bm6gC5lQjy7uAZMtKUR/zORzXvO7TZuGhNxmGKO5iSIliOvtlcTIRwcdxW5ZUcIxbIHzrPNeblzku4TUq0ioGUztJsjsTuTl7eTtmlogLFlX5aSAYsPqjQH+U3WYWeppopSSH//RBPuFZjxPbH1AAmFnnpdJ1SS0ZlEfAxlBQI/zrd7LcsDUT7tzZT2jiVdWQEXhTg/ItDserflh3waFJkFzJHS9hKWVV8WT3c/G3fpDcQwMg4HPXdsClbkyJ5FQ69zGMtEf5ki5bFfQLiBqsA3EUI/uMhDxFosVSHAKvVAztEXd8u6lGGf7A1tCuFZhu9kNWPjDg7mcMoGF6z2nYcuOB0rAdPIDcFaWP/t1iXnX+0ucc8gZIbyvCLvkHGD4TXiwJVq5Y3q87Nsdoqbr49bi98+/3CxKYdLvrhtuq+yWr3UB8LYstJNDdwoMvcW0WjuHcoWbZlcIUFb+zKhrEHdg31Oil1/4whATiWElCPtSZ6bZSH8wudr/psBX/Bs3DpXOFLWEXAratP0sJzOGB2qxEaLfSwumWoOIiGyf3jWexZgE8hoFeB9FsgnCRaGy+tY1qvqgfChPKq+uNSZKmy81hIrjEZCAVWMsJWNj0LlJ6DuozR/uQDa6Tj/5AK7fM3ZM+YdPHGKghXG4sxlzihhVw3Xfio1mi6FSLAeKoBKj2Lx5RVqVl/FZwNPYiG8UqGtppgRMo/Lw2TrZsXMCq8PB07DJtGlYgHneog2xOYZCaDf0a1NuVn0I70Zuf2F4oLfNixUO05Myh6mpI7JveJRNn4xiCNnvmTlJS5yYP+OYK/dzRE0xuAdGXAdEV4CzaQCokoJplhrWW0nHylJRRtwRW7ymSUNcYEwNUdh0tphxBelmPaiQJ9n0TEqOVavOBh8W20RKZaa1jjub7KVM7DA2FT7y30gZEmoDpt4zXVSft/Ct5wnfaAdjKUdKEx2XFSJ9DLvgidsYjEYfVmcrN6ZwzRPwxx+GAatPNlUcL8/uk4yhMev4x7gdNKKVc0TsY5udSGI+EXyJxotevkrP7UQTAbYZiuSHXAY6NqlslvzdlvGB4mVenolcWNH0c1zI/1Gz3i00T1j3tyOFNFBJDOPHDxh9cQKbVL8bwAsF9H4b4I+uSTalZHCZSp0erPee6dKjfwJmIJuIrY0/uMHmEHsh/A0XB0MbFPv72qy0sXYI5jgTic8d87NgYYuhb4sF39QYLSJhw/heaRqmn0qrMEdegpf8ec317ve8y8WWBXqBya4NBM4Tr0yACxXu4f8QU3sQqwCsYLl8+Za/gH4IEalf8y8iDNDW7Mst+fVEF2Y8sa/B17Z5SUfIQ5gSVCvUhNtTP2+C8oYJrXr/ekhjJCGSLHXFddRmWRdHfYxMz02B7ijFLTSPQcsc69sWBuRhtJQoJEYas2NE1HDoB7MeQlYlShXNWVchKY4TvetIX+aW2mJwpHTCIBPPW/Qv+ShcalLxsAVjOFCZ5gtypZ5SZXkCBm/ANRS0DPYUeB9XsoFmsm1ArnsfcyGCcczUz0YwqoTTVHMWsEXhSDm4yqy+TkgRVZuq7k9tjUfXlRAYViHZ2/g2IqR+RikfXdmTYrsrMKz7izmleohSbZAK2DWpfpB6KrqYASawGkyLSHQpiLW+IJMxyHvW0ngSnK4bM0vs1ZgSzfyImLqWWRe5UsXk9/wSnXhCg4Qgphh+F6nBF9Z+WcVVKRWzueT/pGzNZz19RlBXprSLS98B1ZKPZ3f1/4tUIHWzot3K9Hb1PwZAsBrg7nUF3J8DxnSkCZ/i5SpJiiYWnWzyurxUgpTWWwYQLXqD7YQugZVmfIXrq1ahngJB+BgpkRYMRC8tHfLP4ggCUbL7TLm9ZH1UeV4Snp/URJSSvr7vLyvaBWufDUmW7qbx9cgoLSsPbEYxK1Bc2Ytub6p3XXOikC713z1U+sAhAy2QUzyp3CrrWVQw01OrRCrRtM6u0SubWcMUkh3veKSY5do+m6l7EC3pHooOUsWdnHJeFaCU3otCZvUkZ9TYmJAzmepEnW/fpqK/DZCsBS6YT5l2pTdN0p0Nfq+xDZfBzF3VXawG7F/yG/a5PUfFU45xQDat24JSEo3P3oee4mkRZVH/YPyK4q4i9TDqEl508KnyLP/uIIR29L5hMhFJnjJQ9nJzkfkA5K8c3dWClcqiJz5ALZtYliL7Dk/DVhM1kTjazkSCdHGJp3n8qAA7YPCacwrWpr33osgJFIW/MimDf9Bg9kCPs/G9kbfoeD+spdWsiONhoTlc/SMtq1YWkN3EhQUl757kPHR0gtyncldkl27p1yxm98S+l+uUF2i6h5KoJQrXY9SlvMux+NJYcNaA6cTSINOgD4TBpmdna0WTz2Mg2lYXy0a3a2C3bWTutUL91HOlXWG16aG0752Hp3435DmXh9piB90EWIKMaOfFjuUf2HbrSinLvSQbkiHuLgGNwMtnzICKvHRRGcGzl8gQdJVofzuuDoLlV6sLLUP91Pt6fAfHg/SFW0UmT557+QYGGN7gTXtAdTf6YeXYmrcgQYpHTWArvqGAMHZB0BubehgM/JFiUySv4k6fgbwxeUpV013ijU+hsuVnbFoeJ5Bqsc4B3q7sipIupwIXOcGYabWiDJZGzKedMXJu62VuCyxLY/LQ/x7XanZd1Y1tvBCPk8i7gsyNLNQdynXGNC/YdadRDdP+BizV+M3X8XLRujfZ65OoYJg4YOAsvCl7CbmrxiR37p2Ju7yC0CuEcu7fQGgSZ+I6FvRyxOoy7m+7xgu0jKsg4hyvBWiznPEX4CM5cLN49bn9M8zi/kFkPJHqHJyzmVfdcJbF++RrG6zV4NAXRuN00nDAAF2rIkMQlH1NF3qtga+gM5U2mmckWz2mfrgYGiaxPD9XWu3WtWyXXZHkyH/xduRmbVha6SCEqkBA7VjW37hIHd6N3HwkS9QluRrYbi89BlOGSXqcbmCwcp0HHWcroZKWr3OXG4w/jGo1NdImx8WYp3vh7rgD5hCoWCQEwGHWgGExCqxAjPD/HL3DFICGDl2ziOCuYqy/xzQD37bWknJlXzYfGstPcvKhCCVzo6ZsJJGMiogJ7pQRXiP2sHZYGDH8QJWXOiUEmtKUToC+/u8HUAObvOYg020pgjH/CrQ/0/Urj1mR/jSutEk50+3vSTBZnayi4quDMuyZY6tCDYQHWOCCglVB18kvGv+JAulhskHmVeXrILXNnCjWjTxNI/RdHFked/EjbPR1+N0bvaQ2PMKH30xZELI//37a4FUiFIrx2ghtC/fAyjXMXd28uwMG9p2oDhHXFxlsk1Zm2/4/3lOKksOxgTBsCA4IQ7AIHmecQJ2OzgYedf4w7acL1XLTVb6pegKCaa3+tYtZ8zGZj2y+/fEiMiNqNaePv8qEt+KEgRkKnGEy6QNO+fptSxrtqzNg37icELNDibdxcvbpeoRWLiZ1MPd9/JNa6V69tA80L6DF2/lhnGD33lImt5UWkhHE2uUAp0uVjNp5/owITBAhXIqB7DcjkCrWIE0Ka0NCjtsuWwF8W+RvnjQWIUhZtjgro/p6TClA1ISUavn6uy2BSQ+RK8w5blwXuZAE/5UlRIOGmZVvJTLX9gu0nv1WLMmoDH9gULZEIxrhAN/xqZYjuNH43POiErzcoQA/ojAfIQgZN1MX8TU+VR8IDCbaBcojEX+DZnjIdhsGY1gqaspT2RN1nO/w4DgyaUFbKO61CxGroWjFuvDjtwQJIwuNXeRYhg8w/NBcZUXeiUt8WRoBxAAGBgKbZxiEhqfMxdb+5+abz3fq+UjvKIweKRshKCl4Kyxx1jYYNCt93JbrGzkOu0jslccziJCVXZlI8HCig4qbj9IfcwYll61/++hdW3u4rRpv5IKCZeU4CzB95XXIKFpJiyZMIjePhmxfPlaT71pyTigYE23tkYs+8RDIhzD1atKQ3qhUEaj1MaNESEvpFQhJNqfU4imVdxAEVnc+raxto3FK4Au2yQiyDTMDD025l5DL3KfUx7+I+qLeEV4eACbT5cv1kuoJRDcbpTgbl8gbT0ckRltrpj8QTmGeZgs8l7FzNQxjC5Lh7G2Pf1Ug7wHrLTFKDWrxVfoi8T8ZV2a2EGQlw0Uw7+JTM5IbS6QL+lVPpyCmjpzjNqGopbTwdQ3uq0f3e+czQhdIuFVV6wyDriYaeI2qN2NtpbqY1k/aTvfpwN1ej1MY8KEzaZ8uGfA3khFkHrGcpDcGKW7z9bueJcXvs/ZcVKDUIOACjvxF2PkVh8l6uNT+NAfVfk6JLRGlTfIW6446mdky0GWzZzOQ102XOv52cuRKNOXZx4CzUDnrSGLyks1YJfOyh7s3JQ63Df5YFaqriGUsUbWhNbtNTjNjuYorV7m7thMOk4C/sQ7raKloE/icOIc4J1AEDygDRw4P5lqnJNTYyIgvgofeKLl6PsBelJawLm3M4zBOrerZ66qedszBBo97ey7fijKoK9NmOvL6MXx2HSw4whxu9Pmu+KTujnj46ncxq+/nZCxRDJep7Q/EGpLu94f6jwWKkbKQFWdD/bAatyReHdAXm6AdaXV6Ue9E7anNn7AjYchA06EpQAWTxdXV2IxdBJDK8ndhqaJ4T31BodMfeIvXlsGrSGdpO9WdwSPSkpyq3k7JBvdlCQojCydBCxmc3jpT8hTZnlHDbYtzMufpDMTrgZ8EUVOdkXDO9SIA0IcJcS7PpGjcMNVM07w/5mSoCC6twlvnshzGvOdH4/NK5AIBpa3yJMwsBV83f+QPabC6usXzYGAPjsYqCTVR4IxBzs4RhRizqMVgLvMxoMPm8/neKbdWLqslsM5Fb/z2DCiJVWpvWIpGu5Zd38pCCoiMoYDePmJQvizk/uxUF7nHwhpcz8W2yA2DMmVVapfBIePPpGVfvdb2bbIcxq65y+b9zJf2t55DDuC2RjrkAMZZSQeJ3YAsyfo2DGIsOFCef5H1xyTCZA/40Xrdg54KM67Fbaxqd3wNEtIbo1T7PDpAlgbNVNyHULhu5C+YwLYFZ3YOGAkz/Mg34UZHwdW8XxB1tGjQ4AJAbFM6LEXtb0frrQnYxk9zlXgiWqG+X7FFAfpcTOrHZJjtBLH23tDgw/u99zb0jNnJSZIlwIM0lL3NGdzJ5ce3/ZZvAjynqTmOJ89yF/rt4piKBLkS4rEdeJlfsLGw5nKepj8SGh9tXuwyAEQxmOENBluwX1PVqheK9opRHI5L3z17xRg1k/BtR1enTmGHGrK/EvoxDbHNDBOOsdEz/BN0aDUqApZVmWsis+cQP7kDjynVgBGRzqmYzG7b8mJUs5rUtnOC+ZhJLuf00EcL3eaic6WTuwXp5vzjF7r+3EI/hSuD29LAc7tXZ5YckT+BTZoXTd6LgkALhiWHTNM0DJmTAXvysJM574h1lxG81Db8Eo+s0JpykudKD2zd14ETfancL8j3INEFTq53sWvIoW8O+MZluWG2Dbk6U71bAKZO3fbDu3atm1salxeCClpEkMDgXXBc7tTZi6UMfe8+IaZif3fa5fkxFfnlCnxdKeE3BVbGxKPnAjUX1dt2Xk4kiwEqn+uUCJVVOBQfCCJWh4skvoODs/heWMjrzshH7yvR4jrBSJlCUYvADcYSvsFdjTMQgg7PTcNOlT0UKyTQwDypb+wcC27ZGKuSPP/64N7atoMaKy4TwiP8Tg0XalPRkGDA5ajFq31vgiC0y+7TvxHyn99SRXEsz2gLZ1GMWOJPzT/HxGR5wmKUGgvMHyjDElhpprfiMpvucaVssjpiP9XpFXYNM+69te9ZtzJHOYcm8eHueVIzGhYuq0ooFeLR0KSo0EpbwFyy6H+b2QF2YtSipPlX1oGEsPGZw9LHMXxFfOLb7K/m4FH3fdVqF9FNJqVvVVc0Zg7//t97/qMpKRh7yGsuAN5man1Eg8nmeDwhoXXnkkWmVC//eDrKLK2TiOz/HGGSNoWV+OEUDCzfUZCjoi0MvkxldUNhM4yA/fZwDIaJFa2AqnbRNnCC/uASr4ko8X/+4B2N7BJmfsk6a+ph9lthq5J3DtipNEMHVTc6cCkmX7QXDAYUiOS2DXiGfsw2rJfJC1GRjz5nm/VCrBxxX05shgQVmkwFjnAsWmPE4oqzFJZr53lhu8qkmRLxkLe27GZsPvo1vSurwuGQslXQaaEBduTBG/P+oeJlevgXvVcKtXq6T9gM+d6xFEZq8ZAWH0a5fXjCre2EbIk9e9v/gTwQvwwwaTqh0eSJjJ82Znbhng2svZQN8Qb8diASK+wQOXfQayNh6FZgPdaBp6k4G86b5FuzokTjMtwsEIwji1H88dniUFX5JDVIQlv1LWF/5VwVPWpL+dZyfYbUFvgPSkqo3u+GPGY0a+UxhxRbvEUCAON6iLHEvnMIkdg16oxlb6Bl5cIyV1AQZNbFeTzzOcIkr0vWlazGzDwOADs9NPl6cmLjmXsmU/huRKNYWcWqE0SyVqCjVxxabJ4eIBX9f4pw0tuXOtk9NpikwSdiwOvgSLIGNsgZrwDRTmPw9XuL/aXMytKs1Wcro02J1mrcvJsaUAaeAkcoW5aOwAgDIOgoZkuu9DosFl512+nkASzn0dZL1s25oHRNWkNB631wGe8GK/T/ulo4Y+8rFBq4KSl+0k0s7iUAMDL28640cyKfrR+CdBskwWGcmrYaQMB4n2yuTi7Po/kvkc7D9bVauGtaThYtORZb5CGEqP/njALeosVJ1iQB3Hx5k7fo9o1BPn4jLtV/I/5xbtCE9TVtIBa7Z4272plry2G6x8TYX1FtlbJiYDEK2hxsYC+SJ+9EBU4qCv2FMi18k6ZybHuqYK2kZ11ga0ChMBCONS214SH8Do82kspSBl2U2x95u8cDXRudMivtfZ+zRtWn/HEAiR047Q3NllY6L5Y47Vwr2UQ7qqP8zzRNM4DfX1KmaDCHsvpGk8HUaaiLxSZ2a6h8W2qLbqGo/hsuXdGHiFpp4ZTa0DFlC1zROXhWUKkpZPr0S5wBaHQRZb6d4pj0ZgtAjdDULWx+jx88Sz209faG2UlRnvAbYZo5Y5uYFra8v/eiJTbIJv+1ygs7rDsWonEaxgsvj3tjvop3Lpo048HePLrBdeA0pjX4/kSvIoDs59VxvolJNAerzo9luXueOa/bO7BiMVp+88X7iJYjGj9bNIqXQKfG1LcS7F2Q/c+B5Et7Q6sRnN7QilXXcxQFra9qAhywki/c3lN5pymw7KN+nMGKUdpZ9Ui9anWoh4Lw6lk9ySsvV3gRRdD6Wpo1BcN6piRuOGk0iD4Rjn0CdSX97cX93yy71OvecC0MSWb4ncP6Pjh7qK8ANkCVNQRSnoEGy3R6BqXpXmquFfVi+NTU169fujS5T7Htll2QE1s3IxV1KD1imI/VLAb+mDTl+9pwwmAADw5xwU0I12ZiH6YHKzN/T4jgiAqAIwIiwk9UK62qTQ5LAchZ9SprJyhRTqbhT4YVF5VpJM9sGl837xX+GSh4pDnSZlIEKwEaTrHuQm8Yzn5Xt/YaWE1ECVvRVuVKIQrRYwkHEseUZKtcvldq58c27CtTd6v3e5obCLZff+KgcmQVt78nKAtfB5sx5qTXAaWLx+z3UNZhH919fezyUDlcNxIlyLzo+LnAbb5ifdX0EGRqLDoxa4tErjqtHaNC36gdHF/RGaKHe7HHXPNS0iSfKIBx9+YfgHnBQ/SymkVcRIxfdfGByLDWSMM2ZTh5+0ut0sqRqHx+NaOnMal4VbuU6leSMlA7POpv2VwM7NFxW99uFQkFn5o4Ci49pxe1zHynOmTVTsbU4KIfvdcgPRIP6ygNzmiMZ4oOTZ1ACxmTd6myT6sDBND5G93kblWKAr51HnaJYX6ISnW1RVvsmF3vCBHnA37NTFBppMq5xthruqQbzjb4sfGDRm8Wt1akhAAFvfBnCXdmbgh5Gi9RLuAbF6p8BkGN7Y0fE4oD+ko0DxzUinrdtmIrPp0uqNQEApN8zIk9bExR5qVdEPR1Fxen+nlrOGVYo+LgpBfJ5l41WyIrbdYx8KXv0XqCyR6vHXhpFrwpK63BMXGnyH2/swB1vFF+yPfWW217VUcFZqQeS9LHalMlljkLC8UYSswtMDsbeiqPQl54UBKJF+AJNIb+Wks91BvpmZpuHdoiPSYQKB83i0dmBPr50HBJfEO3ALs0jKDPC+qLSQAdWwO8Qdme4K3NbrH/OZoPCOnDvsb0cbBVdJ128qX8s3Jw6tFpebVqK5JrKiaMmSTo0dXlo8nXzPw7WZJe/wIJ/SemAj9AsrIfIrU+8xUwKLVKswq3YJ0RX9EM6QGMbObBWchQU7zqQbV5/wDOhdYl6hKS7Eqs3dcpoEv21wSxQVHIE3JCprWlRFIKwqlaMh/9Nt1edxzcwh52EScGKyGV1wi10ZxurJk9eofM4nPp4iyXtCrS7rRsl8GYBWc4Oj0Nb7xLjYP0Gw1tOJK6pKXCSv5rtN+FUfXdmMD+HVSpwPyFQfP/ELXfBRrSTqCMKBIRVus0DH7nk6X+MTE+zj294wrk6darRm17yx/P/2AIoFbIkG81c3CnTtxc/zy0xo648cTM9xKG2Jf1F98iy/0MbQc4GOVdy8LkSNvDPt0WnayrZoLYmJevA9JZa6xSMB69NkjYpqh8p6QmfzR4g+jxCmxxKDoT7Asj6QfJ5Jc/oukMUo5P0C3BciNoGx9GvyVPr6EiZFJ8tp1Py0rPoox/f4cSF8IfDWyM2VROn+g8ZGMhcIkHVWDRky+zMAO5Et8Ouk5TD8BXL185cWL6paOMCkXStU3EuomMYZ+Zdf/RunbZw5HCX1KJNxpH2hjjGdw7QjzNCHUop3iFA+4bpISUK/Mfnqj07Y+J4e/CH5Yt7WpbClythv3fqmhfiEif34D4IURv0iI8KFGKgUCEO/AssI5IHM1Y3WCAq2vcrY1+ck84E1wQbdAlfYnJCOoiHiraGrG2Y8/DbC14+Jq5ue9/R9fkuVbJoGgbAqG8jWdYEfAmDiOQVxFHuPtXKjCjWJSw2+gkTDB19a0NWoLDU7WPPZAGuahnQdMUBbpR6Z9beKfV+WFvZQE2wZiWzMiiqzIHtcWBaAr/Fz/NezX63ybBAMb5dtgBWDZtVQpATRjc9LpbSahF3QsZTuS9lRDgyKPBbVQxlsiJvSr6s3R6sT+7AqemTQxT5z69faN1dZ6vyfIrA8frna3iTHjV8WXApluFHYCC7hinnfdVGY1wsfDPXnnpZiYgbOP5P033e7qaNOVTwvt9Sv7HLT5xVliF6J9QAn9Hwq9Bg2n/pVX3akRZYWCI9KFijh+sKCJautsGqGQm/mircU3eesmkGPtbIRQW7ZuSmbUw/eX/2QjwtkYCaHANcsVuigxRsBjed1+/Ia+BZHfeUHgJewEM9s0Gy/4i5Hw2QBFgMtoy2wffa1cnJNM4UZQpZ5e6xho5Wqap4a409k5dRukkOZCAGu4D4a07IZfK7niagw50SQSAubIBpCTvCx3CTgXbs+BX70noBtiAOaWCo8jEgjz7tAN77vEDqbnURnXrZ7v83TyBOgzesvDjCensF/Mr3BBJW5IdktLhLovDKkfY/kr6ygrYtJaZ6vYn0Z+ie7QzWjVJdkcW6koPNBab40P2gNiSuNmVKwuusDhCk5TP3Xi53WF8o1NJjcjqSQtZvU21X+IMxyQczEqzqr44cJdXliVh5Z1QxVeRn96oLLb7SbbM9RLx7OZGxaflQW6IHke9Gwe6JuEbQqDTKZ+YlzF4rlldnOWBKZ1d90M5x9ZPSVemHrpsUEOSXWjHo+C9EjHbFDd0XEIltzMlb6ulOfuvsbl7U0VOIOp3TmOYvp7/au+s+uUOP9lNjkUw3cw7NGj730/H7pVEoWUVPK+XuF+UHsUpPtQ1TvzIzZ5IrNJ1yW3KYo3OQzjNKOcZ0aq3CLT1kmgo1K7OgJ1Stopjr4adNLXxclIK5XRABqg6eIm37JtMj+2gqkq/Oh0k8ntXk6DXVv/dSkGTryophpz4lU56wdXu30qHdfncsPFkKdtddcZbpc7gWKCm0FxUAOrZKdgPTsU9aFSfx+R4s5T+C3mg+tRzEbaxNmwOTn7cqBeNVWoGqOEACo8xTgehySBiMXPQiXLmCOwfoMf2F8cqI5bRs4t1N27xPriOXjsbfrunN/hf80yBY2xXZtFODi3BhTwsts1/JhIFQcctSULRCl3wx3R4lE6fqShoGtceX9tGdavMMbh/Q4wT96Uox3zMPM7myzw+ix88Sy1tRyfq0+cX+Q8yct0IJaQN4nZFTuazAVxPaJt07n9MxucGVtA8PLml04TV6AvFr6kJrCTebq9qKzotJlkjiQiOEWOIpKtnmk0JHXhVv268O7vb3Dxybc+CVklUztY0KidHajA6QjiI99dTNFt52bCOmYONN5AK50nz31fEzDqwPbuns8hdA/9TCJuBur9JjXLP+OAtbdkbOtA4Fbr7PgdW0l6lI3St45kbVdDTU1Ydn2DYP4ut5sNfII+xw5vi6b9dzwAtqW/3ktn1mZTsQjfWZvoMYOtrCFHClJwFmcai8ANDOMr9c0v9XyD/FvpQ6bRIoEvguK1CN7nfgeNFGy9S3UGjY/PFnSe/SrWRtpMo5CV7Vz3I+2HAX93A647HzFntixdrMqmjnumugGQnKcv60SukKWfieq1FXpJIlPNQhLrYkLS9DofOOpxhKXMtKg8XQKGcuIPD76ntBY9MfrxfMJegjDsL6F2s5SopDaz+MsULfplK+9KzrHZaQDJBvRD/N1xGrSs5DFs7iTtyjhp5osPDc4FrwTma67T3QxkYvTL3WJVjcgSV8QBVDqKzkiLq/eI6wI5E932v1+8H4eM083j/HqIybvX009glu7vMTKoZII1OZ4rkeuvhjPB6gf7LJZbzMZLzR4DpOLnkkT0IbPU58r5RPGhAI+mccTTFqgjb6mjndZQfAvitHmYy59EHjzUE+qxPz0nucd3p8IrDuNILd9xkqO7iKOqjIFIi4O7qNdQ6YFonLLWizTEIEhMbWaJ5AxjN62vOXIGx1jW8vQruGPYejhlvJnOXpkYmBc223SLq5HpLEPh2ytWQokUkqKx9AjaNad9D2iLyoJp5W98vayhFl/LkIDFpDdzMFf/GocfMBOkl6Ofvk74Ks4upM5wRthHbFNC5LTmIY3vVNOmc3XtliQbyF7JmgUERnv6AzNCUwI5v9xEaKJKW+512pm5aQ7ASkr1orW7qGYMK6lC3wGw6s2PMX6nPfYbckwgomEt/QdjgDuijHs9ZUxm254q8EybI+wKcP5xeXMfQtLil16e1PFnsSyJPg5rx/jzw74zehyoLxDrmC1FHr8Yx3IXGZFy0xvV67PMkLdmZmKJucHv7hGVKD5hCWF7755+iFBJUNB1fJ0z9+3XiZCVBr9qOiLnB4QP6PwfgTeF2m2mojfj8sER+0eEQk0R4xNk0d44T9MUY3pSHxdewnt5a6VYiENzOcgfDT0/xKYGjOfshptuc8KvsyhTgPgmLDDG8CsdF2DsRboQ4WzXR/fmmay+8CgU2sxxHGI9z/nhLkvFlXdj63c8CmsRqNJ981pDGMcMHU2qZ4F3mxtd7y10l8TwAcB8MPRki7vxrD3kZrXc4AczZ3e1/JlkeZ/+iXdQtg5CBUeOdhbAcncFWkUdv3g8v1qL3IraNaSaZlaFDOXR+DIWq6sb+E14+gHMo8f02sw5mO8Ao1AOdNcBgWJ7DO1JpAJ3wxHsoaOiCGuEaamFcn30BiGG+R8QNiAfLgXF5/x+AKGnoo9Hq/3qf2FAYrM0SZkub8O/bIsMZ/SkT5WwkcOM4LT6nyf8jRdjTy7gdX5dAAIGL9AUfYu6QwU/MgwG+g+9h2NBfhgZ8uvuv2Cx3NjmJ9645haHpWrr/mHfa5tJdmDzevxNo/hnyvLmQYGisuOhfdt6RlWph7B0am4W8tJ4MKpZalOUdtbCbdqxgwcEShMleThqBH2KIrQ32b6zHs4H38Ks+yR6hz+YwQ4D0Rvx3YSB0nUNlxV5ZmbPwHBP51f0fubVClJi5QBRsP3bdT9FsJ9SZ0N/eLWYifEHQ2QYx1ZDk9bEmsoNTbthv7EkDs+8u7ltYJjWCtPd4jUAOaT4H019M2eZB7yr6dqKiWMg3jLjWgk6wT5jM463ZQ7dSUulIpRWyxv9sRPejweHckQr8VgLFCRsjIVRcXvWhAo9JLpWZrmEOubcGvQcZ6Q61S6atPCTBC+X5jnGeR9Cba7OqQ5aZ3td5DnQrPe0vLCC9x8WajZdvJVJjYczjquQM2H/qE0FS0jKIbfTWZFB3sOdICXssWGeYWcvQfE/xnPT+nRJo8BKpDQ7vVLSzOCDq2s5yPJkYG8wHGongnaVEVxdHgSja6udZQ3Iz8fcHcbOtEp3g7pbtAIdS9oSnqHBjG3PbeEtALS/4PJT42+rLaJskqZI8jZDZRu6+/o22RGREO+7s+ZoW1Y2sRNGrmJkz2Wt6b2x1UvmhJ8XzZIGPLwt0dq2ec1MHztmbLz6Jt8469BzhcsUsG6Z6KoN148DZsFgR2fqG4TRoEFltXw3zCrmuMP7wiXDiUcP/v0eGUu5CnKiW/GE25qfdBuOYi5cbLhO8SbxihYxa2nzbSNv4YoF9O7VLb2CmaFOrClEERoRIWXWZj8iOAmFXvEBIqbZ1ToJnp9M3dAcpbYxIfNHvd9FnFJS/6Fvc+zbuA1i+tOXxkHVsTFesOYmTnsn8cxiA5U/pjhsp+SPu12lxO/AwKZhbneb8O6Oju9y+oumb2VXbK57XwGK5xQ6EW+KoJKJvDSzIU1N70dzwpR3Wb2W+TWiEf9/EVX9BpJE2uqx7vDe87HQHBSwIRGI47BUVjFVg0EewRjkIGRKB6XsgJYrk6TQZFLA5MGTNrBTZAwPDUUIiclYo4dBDivG0YQ7Uqv9M/AybvBSS5ySnLoD1NWYMAebSGccYirDWFzpl5q/Osf0xWoV6BDb1AoJeVBwdXx3MGewHhBUOeuJuxE/E9Bwsh7nrtYvH8rd5T9uTtFeIdVZG7ac0plAbVqgL9He/aMz79CCFcNb3wwxWjN3+BjqLTJXtmQmcZmEiwxefXM05USiUgimnu3EbCff9bFXVCp6FGm50w0TLQ8ZC8GbNv/XcgV/bAz/w+7qoY0byealbOnmjvtd9tSP5HMt4Z6TtBmoPkXwB0fLHHJMclMKnxbLuDbWcCYHmDatA9uQCsflthLJlEZQ8OtThnFwJ3bMPJMtuE5S8XnWwf+4OpRGUMrgZq3FElnEPsEpA6ixx3UKQKLVlKYhOtYj6hLVckOKkxEFkzKNK1eMOa2R0JCl8p8pRT3HbMWFtni61m2kAWbgPygHLCdNpgmlkKJtXUKxlEXtUsklz9Wf1rSMK13eN8H1J3PbuORbPApjS3ZvLVFwyS64+rcwPjMrDlNkbO1QDL7DpzHZD6R6KZv0cU+Go3Ah91M8k0KG40/Jhy7i8Y++jDNXLqdbK13/fjZxKqAGktfjsyFjQCXIUOoCeAi54f59DIRsYGqrelqAxpT0C3fC31JfXo9nXhmf05Tx7AvhcJjiERJfVfwh3v7lWMipa2OEifJEjkUSr9tlQAFnkSSTMie9hY5f7r5PEW9i4c7SRXIc+ZY5CaUnILvqK4DkWTTxRFitdBO+KOhfOKmwzqF31DzO/8Dg8fUJTFZIZnboS7J117HQ9yR40xfl6QpwxH+WvdFMKKwAswUz/kpA517cRRbM3CrmXF+DXbDGsbhKrbR7unITd/hgJWcU/RboA2cvPXfiGe1vGNjXeu8BqZD1NCv5gLuU0/4eOWm7npGt77112tcsrC4Gp8IwDG5KPhCJoPbpyKpXpVi8WShqhN9yCpJHCI/CIJNPhXBYHRO4F3hCRc1SeRcP6RIMksUys1TcD53kw8I6+dkLjUWH0++AV5hKYpJpg1EC0YD+aOqEKhHheCZR51QOqHko5LHbYAThb4ppc1K1FN4c2IpMF32cyp7gbsqDkhLlSejQOI6hcAuUyEsTX/v8mM5fmNFfJsZIRCXVi4AlPcWAqvq+IW8gNROSqXlYxP9yH+Sot8cMVEIImkfNGjkKm9T5jB4zdgW6xhP9d/wT6J72n/+jzUShcEKd+9HZdEqFelXbg+j+UF3OcEubksZo8LRoYSXdMe3qpL67q+tceZgefC0vQIsRFCh8YKD6PKV7alQXclcjOUyc0o4GFKzzStVfMRSplTbs288Bq20GqYrJtEJhFh/6dji1Y5MiyV0ZdMtBYMfJ0AA747Q7dFyKbsOENIq/r7xceZfXDb5LKZvrlwkZEtQGZCY13bCwIETdVcth7i4zSLR8J5Q05gEn5d/qvZY/Iho6WG5EtJeT0/r8nNNf/u7A3Efw1h73tLE+mvoVhgYE/7UAMcsIJ6aDDWfaBUy3NiCsmu0pO7umPYreVW5hoQemPFjeXgAg5bggO0l+mirxFSwrMadbwxKpw1z1kRO9xguByBDUq87SlL8PXEptbEXbmBSvt4dOhXgBtOIiaUpzDP5JKLoOP61uBHjm67gKXER2njBqA2snEkTSUFfZpzjDsUYMe5LLLBqCBEwPrF+mNlwCduTYzYvmsCsfl/KBP8eCyk6TCrN3dAFyeAUwQgaKgmDcfPq6o0w98u042mmAkWWV5AY60K0j1jGSqpxIptXnKiW++VpTYuxTAkDj8HSq6+JU0Io7owqDx5YpNas3hYhSLOPVBansc+128tjbjp9kbRPFUsPqA6vUQ0HHcO+hzuFu2zfBzXi1jVG2CFBAo3CpPY/a83k613FP8O054nUPnE67N2EvOnA156B7x/Pj2ZXzed3RfK+n6I/KjRHgy14sWF9YytpUbBzkjExU+UrpKJPI9z/W6L904wfAn+i5Mj6uOcGVG6nX1hpLToapoTFQ88dr8J7XmX+NzpbGUqHAum8C0/H71hSo0I1WA69MSqu/YVxKvL8UP31JyuLxrW1IRdcjAG3WWSHNIfYwr5vjNeq7NYJTX65XbaCV2hUsJiIt6aS1Ei+68LUFqQQW8Bn0F7L1a68X0pyj2yBiD6A7iei46TwRLI1B4psI0ml/BBEEnFYHiS5wiAOUxgDSvVMQMKwZYF/UxrTbTJCSLLBqReb5TC/2QFmN04cxhqCe0s/shp8NEf2VeG+7t4ZZgPZVAFpRAlqW8ncyKxUeaMgTWaAMseEDQk159bZgYL8GYU6aS1OBBHJ6anSrbpTByvO0XXHMzlApduB3D/iWjUHgoI8R1EKqJsQrTxc8BYPEvU8vjFYMvRy18b5jrPcnDz/YZFVMAXt22cgqI0rtcmhALPzQTITYXjJyouOyVBmbrih8Yx6FgUOmt2hLYKnTIdex7qe1qd+xshhoYVs1gtN/IZJ+FduezUd472U+9n19sKcn3qgLb0y3+uQfM1G2/jzWS0x1TNQm9+ElDl7rP6ggjAbLxPnwMfMbE/W8LC0xBtsZDDAepT/Men4xa70IFE7VZHZe19Gl8zu23eFcdXbntdN2Zu7MGMXM12WejvmKv1LH8iCFzyHOjQSHc3jkwKjpuQaTiqMn+FWO5szj4VTLfyj3J7eHVS+VU0fLWWRDzUB/nsEgCtk3+Ye0QIwp+jX3EKTfdiNsf9j4bBOlNlFbsISZC9F2sip8V+9nM2cV3nZMOtHy0bpWr7CgSfXwQNAvCYy1CYkrC+/Bhy55rOwnqlKntwtVzC3lfWTVe5LGLvsqxLCvW9eKZc/4u9581snlGvBnsGEdkX3wcJx4nUZ9DaZCzMhGOG7rpWJIGS6Aj/iq7LoNIfy+b0ujhWqqo6ZigDPGBQbukoBYVly0pcUFKtUqDaqo2CeCvTzeVkzwNXWztMQNHyWC1TNFuGvRidNOK/LQajONpqv4YGC+8KQHaxsemUGGGaxtPQqA76m8reHcDHxXRyfyVdIRv19T8ksXGc4y3svPc3eqdW/x2En9k4qfdbdR+1ADWHNbHItn+mQYz5v3aa0svVUrxnM29LKAMbKdJA+gRNBCEbjbTjkeYsotct1e1dgjsc1a+X+NBj6hcT293xtf2unb98eLrBbVm5UeF1rO6YtZ4HyYnOB6xzof0VSOD5/F7Mvl6iiU6Ksx2nMP+cZ2VBOPfHXnw+Mbj+iNRbw4wCB2GRCKWy3rshZZwOkUf5AFhLioee1dmsJJHzA3BAdtyAWH5fielw2AyhJ7w1TJ4aIO0NM7RQOEffaRgvNJyYIBDaV6CRh0BFu284J/pi4LDoJFoV7FMYMchfKpaC0yEqrfDds7a3q4h4UVQNaCCZyZUl9uRKihSJEXUPixgrXMxGm5DB/wQFFMJPB7Rnv4/ThgpK/QkkLKFarAa1HqIfBGmgR7Ih6aCJZD1vB8IhJcnC3aE4nsmiQfoRi6/FL0dgPBetUQ2kRWwbbaz5RLPJaJrt3PvZJdYeY/T5dZjnrukca/U3EkVmEGLyiw3/e84G4iRmVU4u3WeAsDNWlKWkFj6iNwW+sSISZttM4n12n8F6cY1sKao+G9nFXZRZJs1MpLQQTC+rUvv6d/APGZRqb4DJXFDMdzTl9kvZvLY565xQd2ohYL1AKrEx2RycpltgV/6BSMezBszgKCS+j3Ggl/XaJfaLOKRcEOjTnrTnDN3qmhnbFnofNKsrudWFe4Qwfe+67ClFC0bsd9i+uCQJO0fBndzeKMwvG7dJckBGLcGUw0N6MBeoYEWmQIeCACFR07H1VRLkEVNHHWuqOpP4+nMkLN4yymmTf7fZx0+oy+SmWgAqEJgWzulakQNSosabTc9eoIvMoDpPwh8UahXWlUN+AcTl4Oo5rLdi2uUe15OeSXL6+2bDQFuti+XxdFXv3KVHA5syK28yrRvzIiZaCA+nlujFa5h1fuMiUHn4cw5pwTXLIsCkQknDENrZo4SrGQ40BQqpEYe8oYIjBwL3T49T6tsxObW4Oj1vpLiE0Xfb9EUs4h6histmaAobvwage3/gs47AhhJuATrOwOK2unA5vrB6FmMbfH6atGtix7t99l4dTmwPgW5y2JiRzgCScvgGqJey8fgfSSoNSNDrmXTD8QcMR5CrzuIAa7r2B2RmvIgYkwBS3R0fF1voaLmYOkUkhwIKbB3eZrv35B3y/zgHdSBxqc1NcPM1ypPBERS+bfU5rq/v2iUok7vfxfGOTw3trauNU7dvA8stt4EyEToUbBc8xmMu+wo4DNmZRw4gVNR15EHZ/AVeWa0u529J7gQr1XZh2CMQdSBskvv3ge32gpw2MRAyzGv8VXp02RmhSUt9nrjAWQT1mCv3tCsHMcBeJXH6IUO+XjmRI0a4GzDR3+sKWt8D6VbLQAcvJZzJRs8ZVcKnN5JlCiDp4yfQ40DPO4CwodjVAoHYhczN9ZMIB3+Wr+5mm356QZ2nk3Cx/lo9l0WIG5ojqbPJ+60rIjkGpMgQE5jP+h987GWlo928wHDEXCuSyLs6iRxBycgznkHZOT/ZDJtybJItSaW6wZvEitUFWJfkMKzhXIfYut7ppLS8g2oVguoHD10rhbyDTHw9MWF8rjO2knU+AWIg3jOdoUs0HFk6JW8kRjyRe/o6r7qWtoaSPEU5174sqMe72r9uaUDI7AH0tP7CRH5yXGoagdrG4C0xtw23QmNc0cDaUUS/8yVU1LVV1gZP74TofVZrDe8Pn8+d9mnzRJgQ7HqkdNIm2doxkKFylGf6TA+qMIywJHBll8ooWEWrsMCBeOWv4O2AOUVPy5uXmA16IuP3JE5FXVTVEAQ3c2kbXRCWLd14qBQfQxc+OUgfnC6Kz0L3qSwiyKrU8+VFeP2Hlzge4LY/OJNRm3Ezfz1lc3i2iOxIqN+2fx3FxT/OVTtXURtOGOgqsLmx6tUJc7bgbEsafMKlQDSL7B3DWlie/FKFT+fc8+xL0jogldC90lOvJKOihF+D10iGgEVWDAjwIy/erf/kWFCJSYupMd2dG3iWfxLZis2xlIhjetAvzApHYojYeuQ2HKZvd3hZ5kQinAC0oEOuud1g0H7TAgBdvu6TxFEv4RIDJu89Df3RnKYk95+IpK0UD4P7Jd+lNEMk/n/PL4Q8Jv+ujJz7qw9MZlOA2Q8Fv/O/RC3eSuqhxvxdYUx0AgwF/vm6uK+VW5mA8MAudAaeEIAO5nY84GUic6q8qun18/uD69/+kJvjuOoUjpUI52kmGLYIivc2xt5lmotv4/fVA2ZU6IzqAX9MJppKhmkjACsPhmRo1Ym/mgejO0iEGOeiOBZ1aUkx9yZ7Vd46Y5c32E6vwUkHJAga+xVuXHUaxyQisencLiyRiCeTp6vk/5JpiSKFS5sOV02EW7LnTwJRwHUb2XVTdIY9hP1vIeUigdhZDLr1r3IBU5cTEj5lOIwIkf3zxrk9TiqvklqO18zkPibnHmq9qN8SBjNlVK9ewNoeBMbSsK63H0AdQ4UmJHPAwT65lOY9c7yuPGDYdHQWtHyc2cs8iGkQrPqzvKTnTeoBLY95Ai+4xCrhr/kAlQj4nmqR+8xEhBxbzhwN0C2x9FAmKxlBLUzzEYm9lncCSktjlJxjFfILMh9/8F4mYGvvNB27kp9iuRdmKxkoesa8fKlbllLbcQsI4+xMdYMnW3Ac5kkwFTk84JlnxKk5OnTuv0otPd8LgM90TC+wXT63uebBzsbD1y5vyGNPj5wjWL/SxUy3fxIn+nsDJ/oofs8jYpBKRBE4g5UiIC868+iKCnHLTMTtVlpVrW7OdaINxYx0wTqrFo82LEnuD3i3VPwaBUipWOk1xbpl8YhfBgrLt17kD9xPyxu2CxhpSsG4wVFinuCWGqhxGBm9VUrzxDp/5KX0y8NJOY5oQab8Fit5QaCSOzj7KTNiMhOTfvNzNusJlNe21X1tik6kx7vl1YHDyidjLAmFH0Qjv7WlhixkAnhAq5PhgyE9/j+SRorkIMnYvwhDMc0Xfzs51fifEiqCJ1WluAfLAXHXXemRN0BtFVRJNzZ2bXLjds9GLvPBGMcR3ukD3prgYl7PNTDmeeSod824XqEmj89HZ0RlyuXN0zD7QvEF3qq429almD6vPZhzMwgIrrFK52k0n343eyZeklM2TejMaqTiNe4pPrT/0bve77KEkhh3oAPiJLN3mS/e8gGuOUWaLgJ5HGxlvxUdaQTWAWgiOO4TzDUIBWYcJFoX9hH5tvbNQHxtWB5UTurqYpTwzZyvWe2o0ppuStn5c9YgSh4nx9ZulARjcLbLqEuK9jkDth3BA86krlJvvUIyQXJby+wcaMwXdGVXUSMjR2Qs6gtbmvoJbgitwfPqsuYaQg/P3mSDKlxW+qU19dl74gIETDnRlLQpqjceMcrdf9pNx3ReSC62uu85YNM0BT44Xxp7LVO4PHkhziQFFME5woujisaswDlGGyEin8wnMpxZWzbVA99T69ccovMmZ5wWnBD9OZ6L8b0vo6xVJ9o42b9KDMgsospO400Um8YGU17LbVRCpdf79qkdKVJbBeGgQ3sqdfV5Bt6bLQGA7t5ON6drX5+txxt+GpMNh37jptbWkdJkVBmK3Xzk8slejhdL5pOLs2V9V5PXSXMm8jGqfAWKBVZ51LgpWxMCLibGGlATgZsPHYA75rt+puWertEXn8NyZCg7lNftYvUSTr+esN+Uw8QEaa0ZPxO6uUxH8vQn/KrgaVK9qEKwpODwRe25DnIymveOgwF+NU9ghUfRhXHCQjfS90SCy4tXCAsZpukwQMgfCVTvCt853KWUim3TuagoHcB3YWmZ1oKPIJFX/zWD2aEwtB2nis3PGl/z9FX4RzV8TLqaAJbBAxpOPLbC+rLCLPzDjattW4GlpaJ4lA2HTM/hgAQTZ/n4ol83lW8hd0ZXOA/iRZrQal7f5iPKaOJOeNaZoqDxBoM23ua1ALKbKiFlG4meF6J1ClM+fnRRPm4a6O5fsGO++Q8+5QI4H1K8h7NoGUl5omf/r2OlkZCndzQofTkHEHcKVTuVkfyjsN4NTPdiT2J67wsIISy7OOPRtx6QhGLYjXA52u+yuR1ZFDqQng2/FB/3m+dg3fQRHh3WOBMEPlDZOyVLbC4bZB/tmQsrfMIXD8h1nOGt+lwtGqDXD72W8ZK+JCF4ep6cbn3hHl8TDBFKW5arXMbtarq+3I1vtn88U78RmA6DxpxmY3ZC1BEZ4VJoJ1BbsxrUfN70hlyTY5jCSH7UHiyFP1Ke/tsvNxlciMbq62Pmx9ffNI0xTnviSKZj4Vy2SNRu/ShMViHTJOAiLHGbHT0Tnn7CczUuLdLSiN5+cpzW7CR0tyY4cb3WNfsgpFe3eBhiK2BIi4kAa6CLRpJYfTzq6wHZxBFqJ3O/YjxnVtSC5Z/i4LIJsjzT+j24S+Y2Z3FTckwd4SlVoNttVrSHcIBHImPPtIZ5avTkSjQWSvpjvnhWYE0kETsHoWw5mAtvr6tU9UzlI39pftZwPoY/iHw0XhlRn9pz4MPXcZM5x3KNKJT5XPY+yhG/R72Zi1oIYhsdWdUTqWvTFNknc3hne7/pjaL8FhkKCMxF9GZtWMHhPZohw8eP1i3EWDbb2qaEYC2QmaFsMbq5F0RX7ui1DyW5nKBQROyAFhqXwQS56lpmE5UAEAE8GZARQwRfugqja6hrmwIUY4daj67jGJhWLZFmLe4tgeS7m5r05gj2Cfw1JnuxH82H95qrIM0JZKvvxImWONqYGD2GE/GO6wpkp56oZQhpqLj2RQTi3QdzRBy/NAJ9358vnLiyB9yX6kqZ1J3e8xY2/Q1XYkoYjIz+391oR4bdyMY8eV5DDe9g8Shfd3ZhpzRnqNe8pvw+A0qDA0TFbGjK5NunSSPbSRJf8xT3fK0lh+Ctnuc9FfY7H++K3XOeLwDosPC7QmL32pR5YI/2ChFAFZ4mNk9z2tUvxsAXCiplJ3MHg1t42twgIbF28tHh+QRaBFCPNLj07ayHwLjtS9QvQex4fl4gQPerupM5gh/FT6QaZkPR02j7XMsxsMyQytV0JNC21DAAwV8ECocz7slWdEtRlBCUs0vpTHhUKkvFEW7BaU/7UhHF++JosfUGxFbgTd2P0jgxTTFNs6mCW3xV8aHrceMWzaxHshbu3I04m8ysqAcq4i2LoxBMPpPTCZbDKrXTXOM8W1M+8TnBcazh+/gMzGAHgqYJgN56eNDQEW3+2SOjJNGhFrEQZc4pvq+d5oIYgj5QuioIbcZlXoRSHuzqz79GmU7mIsSxrD98pK/+X9lTRvu/giW7Sbyzi/lugRwHeC8GsePo5Hax3Iv81V1TV1UswdEvdcD83IIJoNPsierUKxpdC7AX4/8a4z18Jc+zjIpKgGZ+Js2I7KMZGlnkkWJH26dpExliphLn8BfZ1TaJZDded3d9WWKvEkzxuCu0E4s+1ypCvlqk/HZrixa/tayHZ9uO2RCiq6IN2VqMIlgHZOvGRSzvQFH7kTOqaZ9UahvkanzfEKKrMwUepQHYuDKjaPAKPvlE/DMT8rQAQpp7q39FOXZhK/WL84ZLe20J/11eUmRM5iargEeR9cuAaqG119u4DTBGk+zaWlCiTzZHNNj1LMjus573MJZELGH0xijdDh5GdKd+qDgAO3hfuErP+rXeh1/HOg8blEU/sCS/bZrK+Ogi1cGAAGYTWL/q6t8/9s0JxSkFTlK4R55XJGRhDOwUpP8VuCvhVQVERNbA8kV/alG9hLhutjZO6zQXCNIyaNTQQRmerXxMRjUiYzPQbmHstMgmwT1OSpcFkBpa/IvXKB0mpDt3V1QzwL/qHI4aNf7oZYwTtk2TO0S/NLNkjf4UCK/LxPAtXKHDTEiDNyFFKahX1EIbHzjvZcjpPeCNATp277EMNQvIey4xGoPTMFr2bObmUkgKwKyLqpYZNVeAAuGbQmcad4gRMsbrJEPVGYzh668v4dXoSYC/uJEDb6Yb29gbdwzB7RqkOFclMLrQfgFMeTA8F5j8ZAfT8wzR+6ILRNiFHAWkFON9/eWCBruAfFzHzfXZ4vpadh32B+SfICyJ1RxB+8NaVEn/wWYFGTLYp+cBV6MX6GUssxIvsWAU4K9S8hxhWTXg1A91ywavoja5IfIv7JLoL/mAMMiwzY9gM/sA8csGWtkn+UCu8hufsTmyOEO7tRKUY5gNpX857DcM5Lr/7KjN8F+A/BiSVNT2qTMS5VnalkyuJrQaIG3QM5BNoDxD39a7y6d+Cuhoih3YynJIgE2UEG3r4x9NZF6boUmq9XoMKkzC3c/z1Xko4/DH1q+GdNrNWTk8drcLpB21OWISADbuwrS5k5TWbFtawI3cSXiCpcOuGG05b7BLYFcbVrP8UmGyJ/ZmrxA5PHOoPrb8BycOXpB2pPg8IHtB0BtqaNVIo5/O1UD1QP+J2yEzaOrZKm4SgadGBWKHhtWdpQp8lqWA3n/HCmDm5UOgqYUhHJ58OklMFzS8xZZOS5Y7d2piUBYFmVdJuf8oYzmFRGXQNf2nHZxCmx8b93Amtrx1/c6r4XtWJcDtrJzFDSb/9k6jWN81LuXndDjY20MTchzc8JqZCGar3IQ/ogJi37ZA+nELhoYUOFSX29jZjsFE2z/MV8rInDExMG3H+Vg1/R9LufZvBww9eyfveqxvgSIaAesr8MNFf5woAqGldCs92NH8tmJAmA77es5kzNXysvFqZ1wo/QchBRrH3jx1LH4YMw0TV4r+lGS7r2sXlTwk7wS1T3cgQHRbk6Zo4PUk+5mARe2hW0LcP9RxtbgFElKGomT7gxBJ26UpqjfsftbODSLRomADwMreFh6GWqO/WrGIEq1DNd1OZNwvQLuP3V4bvO4MEoSo3NKoOE1hgiNd8dq8cnZIGGmbQvSzq1sB5X0NTYdJvAJf4xq0puT28BB2080ReDhY5Oo3O3tVFqL8i/ca6TVaoZdJA0i/ejgasjPkLBhJ7JPygCdwiueW+yd3XmuMURVYWbuhonioMkYJBG3QaHgkTAAXE92YIIKoO21jeYJjx9pYqtdFfDoDgk+ln3s6o+01+OrfRmzkcqrQqmsHI03qes7rxJmqROE3ZLWAFwsOm5HKz/F5lAV3Dqp/4Q7uh6CLlcpU+LeFr2Ei3NOuJyX4va10chMcI6CG0JxIh3ndHT6vc5tld+TQNZbgJ7NW6vF9rArCJJkv5ziiMemCd2vxsBgqDvT7y/EzHv6vAHcfgGzkmSRCWScmhi1f5CNu0KY2u25jomWlkzoB4e5/iCGY3QxX1Jme8bmm51v0zhbxB+rK2excxsLTMOtem6injB6tyyCHCFQH29S6dta2cVlwsTtefB3IF795/2TADOMvrjLRM0o+hi06Yz230ETWimRWCkF11gDuJH25DAz8OS5sR3YnitYuuPE/8kVoBaKkZHDGYYfoGtxzSkk0w1UjiQBJrutpo9MqVPP0D5wKGETy/HINiDjPOhJjuimdxZ1pL3gOcxZ9NdzeKfriLajxHJO8cMUL5ZgCGcVETQaWItINljvYmQM9sK3QLKkeG4yc2WpANUtqL59a5gevnddkRaZCbkR9KENkRDS5ZJpLrMAaKLj5A09BQxPuulUazbCqrrzkzOKUQG0mZuUTLO/Perj5wS2yJz/XvNkTX+FW4QLvVrGhbJqCcthk2i+54TlC7jIZriMAXAdxPlzs+61KAmy00ydo60QNQRTt4PvY4ICAr6hr8NjQLhZTLYqmRn+PwYhEmTcz1YshBMZ4ybbTq8kNg++tBlxeg00ChUlGhci6K0olMadrCdfRHg9YYQLFm04yddcpbMBvIBMRPNTZj8rvT7+iTjM78qtONB1gO6uq7mf9GW0h75GgIApopb7YjzkVbB3X5ckiT13hnOB9GKW0riRMa5uufC/46mPhZ4IPeNirSLMvNlnnXWfKyogVQ6naV17g1aaGVv4ucdMUSdN8Z+uV+9LZhODJgEw7WVg9vvGsK1tvFH6EDRUN3sH/DZxbQwkTB/soLsADw4UUj3S1KskvAhpgtDSzi8W98e/Ul1BCRVZE5/bwNEyCiYjZv5OeAX8/ObcKIGaBSLGQXjMlEObBxk6aWxdP569+N+M7CnqfxBJlXz0R1D1N2QWuScwvaLnWQn56EL99Ql+9hdQxQeB0znPfkqIteSaogT/6D2xDV5ZmSkNdJm8af3G5BaTCRN073Q1wlqZtXjDFqOaU99LtI1FE/K6oO64sWKC1z+q/KyOcsz056IZjrMGq5nDw8SvJWTpbt7Ok7m0+2XAddJEFwtLAxPtpkwy1AmRXYxUhmgg9hnBi/YEJZN3bY8UL6RB8Odsk9aIIDnZq/GZeSZchrabeju4aWjj4RWhLc7DPVNG6AO6jIXFfza5zp3S/RVTjjwvbLPA+WCALCTzktIgRuY+2E1Hy8gdAkxmlGVtU4+kG3NrpPMTYYwv/YH7Zn8tgvG+acbCI68TR2SXz6jynJKt1vluaPoiBiJ4CsN5guao9mmMUD5GwOWdCbk5TIS64ngTjdl/azs35LJpJGgR3rYt30PDZ/2irbgN6AH5Mh1YfGF18Fnk/IcD4XzqEijF4JIyC9Avqqf55+A0bMYer6E+7nn9AXzn5ovyWonzNUz09A98bJG02IyCsl0WGptQRn+RbT+UVL8bNjg5GD5iP0TEmIYd6v4QRD1h4Zq86uVTO0LbXc+Ax" title="Mekko Graphics Chart">
            <a:extLst>
              <a:ext uri="{FF2B5EF4-FFF2-40B4-BE49-F238E27FC236}">
                <a16:creationId xmlns:a16="http://schemas.microsoft.com/office/drawing/2014/main" id="{E12B60BA-C150-47DE-8A89-CA1949D270E9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 bwMode="gray">
          <a:xfrm>
            <a:off x="339726" y="2180650"/>
            <a:ext cx="5486001" cy="4040822"/>
          </a:xfrm>
          <a:prstGeom prst="rect">
            <a:avLst/>
          </a:prstGeom>
          <a:blipFill>
            <a:blip r:embed="rId11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3" name="btfpRunningAgenda2Level832722">
            <a:extLst>
              <a:ext uri="{FF2B5EF4-FFF2-40B4-BE49-F238E27FC236}">
                <a16:creationId xmlns:a16="http://schemas.microsoft.com/office/drawing/2014/main" id="{10D01A4F-E199-4BB6-A494-3033546442F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-1" y="944429"/>
            <a:ext cx="2720517" cy="257442"/>
            <a:chOff x="-1" y="876300"/>
            <a:chExt cx="2720517" cy="257442"/>
          </a:xfrm>
        </p:grpSpPr>
        <p:sp>
          <p:nvSpPr>
            <p:cNvPr id="24" name="btfpRunningAgenda2LevelBarLeft832722">
              <a:extLst>
                <a:ext uri="{FF2B5EF4-FFF2-40B4-BE49-F238E27FC236}">
                  <a16:creationId xmlns:a16="http://schemas.microsoft.com/office/drawing/2014/main" id="{FA6416C3-B933-4F46-A423-C62AAFD664ED}"/>
                </a:ext>
              </a:extLst>
            </p:cNvPr>
            <p:cNvSpPr/>
            <p:nvPr/>
          </p:nvSpPr>
          <p:spPr bwMode="gray">
            <a:xfrm>
              <a:off x="-1" y="876300"/>
              <a:ext cx="2720517" cy="257442"/>
            </a:xfrm>
            <a:custGeom>
              <a:avLst/>
              <a:gdLst>
                <a:gd name="connsiteX0" fmla="*/ 942786 w 2880817"/>
                <a:gd name="connsiteY0" fmla="*/ 0 h 257442"/>
                <a:gd name="connsiteX1" fmla="*/ 2880817 w 2880817"/>
                <a:gd name="connsiteY1" fmla="*/ 0 h 257442"/>
                <a:gd name="connsiteX2" fmla="*/ 2826096 w 2880817"/>
                <a:gd name="connsiteY2" fmla="*/ 257442 h 257442"/>
                <a:gd name="connsiteX3" fmla="*/ 0 w 2880817"/>
                <a:gd name="connsiteY3" fmla="*/ 257442 h 257442"/>
                <a:gd name="connsiteX0" fmla="*/ 942786 w 2826096"/>
                <a:gd name="connsiteY0" fmla="*/ 0 h 257442"/>
                <a:gd name="connsiteX1" fmla="*/ 888066 w 2826096"/>
                <a:gd name="connsiteY1" fmla="*/ 257442 h 257442"/>
                <a:gd name="connsiteX2" fmla="*/ 2826096 w 2826096"/>
                <a:gd name="connsiteY2" fmla="*/ 257442 h 257442"/>
                <a:gd name="connsiteX3" fmla="*/ 0 w 2826096"/>
                <a:gd name="connsiteY3" fmla="*/ 257442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1111101 w 1111101"/>
                <a:gd name="connsiteY0" fmla="*/ 0 h 257442"/>
                <a:gd name="connsiteX1" fmla="*/ 888065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12090 w 1212090"/>
                <a:gd name="connsiteY0" fmla="*/ 0 h 257442"/>
                <a:gd name="connsiteX1" fmla="*/ 1056380 w 1212090"/>
                <a:gd name="connsiteY1" fmla="*/ 257442 h 257442"/>
                <a:gd name="connsiteX2" fmla="*/ 0 w 1212090"/>
                <a:gd name="connsiteY2" fmla="*/ 257442 h 257442"/>
                <a:gd name="connsiteX3" fmla="*/ 0 w 1212090"/>
                <a:gd name="connsiteY3" fmla="*/ 0 h 257442"/>
                <a:gd name="connsiteX0" fmla="*/ 1212090 w 1212090"/>
                <a:gd name="connsiteY0" fmla="*/ 0 h 257442"/>
                <a:gd name="connsiteX1" fmla="*/ 1157368 w 1212090"/>
                <a:gd name="connsiteY1" fmla="*/ 257442 h 257442"/>
                <a:gd name="connsiteX2" fmla="*/ 0 w 1212090"/>
                <a:gd name="connsiteY2" fmla="*/ 257442 h 257442"/>
                <a:gd name="connsiteX3" fmla="*/ 0 w 1212090"/>
                <a:gd name="connsiteY3" fmla="*/ 0 h 257442"/>
                <a:gd name="connsiteX0" fmla="*/ 1212091 w 1212091"/>
                <a:gd name="connsiteY0" fmla="*/ 0 h 257442"/>
                <a:gd name="connsiteX1" fmla="*/ 1157369 w 1212091"/>
                <a:gd name="connsiteY1" fmla="*/ 257442 h 257442"/>
                <a:gd name="connsiteX2" fmla="*/ 0 w 1212091"/>
                <a:gd name="connsiteY2" fmla="*/ 257442 h 257442"/>
                <a:gd name="connsiteX3" fmla="*/ 1 w 1212091"/>
                <a:gd name="connsiteY3" fmla="*/ 0 h 257442"/>
                <a:gd name="connsiteX0" fmla="*/ 1212091 w 1212091"/>
                <a:gd name="connsiteY0" fmla="*/ 0 h 257442"/>
                <a:gd name="connsiteX1" fmla="*/ 1157369 w 1212091"/>
                <a:gd name="connsiteY1" fmla="*/ 257442 h 257442"/>
                <a:gd name="connsiteX2" fmla="*/ 0 w 1212091"/>
                <a:gd name="connsiteY2" fmla="*/ 257442 h 257442"/>
                <a:gd name="connsiteX3" fmla="*/ 1 w 1212091"/>
                <a:gd name="connsiteY3" fmla="*/ 0 h 257442"/>
                <a:gd name="connsiteX0" fmla="*/ 1380407 w 1380407"/>
                <a:gd name="connsiteY0" fmla="*/ 0 h 257442"/>
                <a:gd name="connsiteX1" fmla="*/ 1157369 w 1380407"/>
                <a:gd name="connsiteY1" fmla="*/ 257442 h 257442"/>
                <a:gd name="connsiteX2" fmla="*/ 0 w 1380407"/>
                <a:gd name="connsiteY2" fmla="*/ 257442 h 257442"/>
                <a:gd name="connsiteX3" fmla="*/ 1 w 1380407"/>
                <a:gd name="connsiteY3" fmla="*/ 0 h 257442"/>
                <a:gd name="connsiteX0" fmla="*/ 1380407 w 1380407"/>
                <a:gd name="connsiteY0" fmla="*/ 0 h 257442"/>
                <a:gd name="connsiteX1" fmla="*/ 1325686 w 1380407"/>
                <a:gd name="connsiteY1" fmla="*/ 257442 h 257442"/>
                <a:gd name="connsiteX2" fmla="*/ 0 w 1380407"/>
                <a:gd name="connsiteY2" fmla="*/ 257442 h 257442"/>
                <a:gd name="connsiteX3" fmla="*/ 1 w 1380407"/>
                <a:gd name="connsiteY3" fmla="*/ 0 h 257442"/>
                <a:gd name="connsiteX0" fmla="*/ 1380406 w 1380406"/>
                <a:gd name="connsiteY0" fmla="*/ 0 h 257442"/>
                <a:gd name="connsiteX1" fmla="*/ 1325685 w 1380406"/>
                <a:gd name="connsiteY1" fmla="*/ 257442 h 257442"/>
                <a:gd name="connsiteX2" fmla="*/ 0 w 1380406"/>
                <a:gd name="connsiteY2" fmla="*/ 257442 h 257442"/>
                <a:gd name="connsiteX3" fmla="*/ 0 w 1380406"/>
                <a:gd name="connsiteY3" fmla="*/ 0 h 257442"/>
                <a:gd name="connsiteX0" fmla="*/ 1380407 w 1380407"/>
                <a:gd name="connsiteY0" fmla="*/ 0 h 257442"/>
                <a:gd name="connsiteX1" fmla="*/ 1325686 w 1380407"/>
                <a:gd name="connsiteY1" fmla="*/ 257442 h 257442"/>
                <a:gd name="connsiteX2" fmla="*/ 1 w 1380407"/>
                <a:gd name="connsiteY2" fmla="*/ 257442 h 257442"/>
                <a:gd name="connsiteX3" fmla="*/ 0 w 1380407"/>
                <a:gd name="connsiteY3" fmla="*/ 0 h 257442"/>
                <a:gd name="connsiteX0" fmla="*/ 1540707 w 1540707"/>
                <a:gd name="connsiteY0" fmla="*/ 0 h 257442"/>
                <a:gd name="connsiteX1" fmla="*/ 1325686 w 1540707"/>
                <a:gd name="connsiteY1" fmla="*/ 257442 h 257442"/>
                <a:gd name="connsiteX2" fmla="*/ 1 w 1540707"/>
                <a:gd name="connsiteY2" fmla="*/ 257442 h 257442"/>
                <a:gd name="connsiteX3" fmla="*/ 0 w 1540707"/>
                <a:gd name="connsiteY3" fmla="*/ 0 h 257442"/>
                <a:gd name="connsiteX0" fmla="*/ 1540707 w 1540707"/>
                <a:gd name="connsiteY0" fmla="*/ 0 h 257442"/>
                <a:gd name="connsiteX1" fmla="*/ 1485986 w 1540707"/>
                <a:gd name="connsiteY1" fmla="*/ 257442 h 257442"/>
                <a:gd name="connsiteX2" fmla="*/ 1 w 1540707"/>
                <a:gd name="connsiteY2" fmla="*/ 257442 h 257442"/>
                <a:gd name="connsiteX3" fmla="*/ 0 w 1540707"/>
                <a:gd name="connsiteY3" fmla="*/ 0 h 257442"/>
                <a:gd name="connsiteX0" fmla="*/ 1540707 w 1540707"/>
                <a:gd name="connsiteY0" fmla="*/ 0 h 257442"/>
                <a:gd name="connsiteX1" fmla="*/ 1485986 w 1540707"/>
                <a:gd name="connsiteY1" fmla="*/ 257442 h 257442"/>
                <a:gd name="connsiteX2" fmla="*/ 1 w 1540707"/>
                <a:gd name="connsiteY2" fmla="*/ 257442 h 257442"/>
                <a:gd name="connsiteX3" fmla="*/ 0 w 1540707"/>
                <a:gd name="connsiteY3" fmla="*/ 0 h 257442"/>
                <a:gd name="connsiteX0" fmla="*/ 1540706 w 1540706"/>
                <a:gd name="connsiteY0" fmla="*/ 0 h 257442"/>
                <a:gd name="connsiteX1" fmla="*/ 1485985 w 1540706"/>
                <a:gd name="connsiteY1" fmla="*/ 257442 h 257442"/>
                <a:gd name="connsiteX2" fmla="*/ 0 w 1540706"/>
                <a:gd name="connsiteY2" fmla="*/ 257442 h 257442"/>
                <a:gd name="connsiteX3" fmla="*/ 0 w 1540706"/>
                <a:gd name="connsiteY3" fmla="*/ 0 h 257442"/>
                <a:gd name="connsiteX0" fmla="*/ 1641694 w 1641694"/>
                <a:gd name="connsiteY0" fmla="*/ 0 h 257442"/>
                <a:gd name="connsiteX1" fmla="*/ 1485985 w 1641694"/>
                <a:gd name="connsiteY1" fmla="*/ 257442 h 257442"/>
                <a:gd name="connsiteX2" fmla="*/ 0 w 1641694"/>
                <a:gd name="connsiteY2" fmla="*/ 257442 h 257442"/>
                <a:gd name="connsiteX3" fmla="*/ 0 w 1641694"/>
                <a:gd name="connsiteY3" fmla="*/ 0 h 257442"/>
                <a:gd name="connsiteX0" fmla="*/ 1641694 w 1641694"/>
                <a:gd name="connsiteY0" fmla="*/ 0 h 257442"/>
                <a:gd name="connsiteX1" fmla="*/ 1586973 w 1641694"/>
                <a:gd name="connsiteY1" fmla="*/ 257442 h 257442"/>
                <a:gd name="connsiteX2" fmla="*/ 0 w 1641694"/>
                <a:gd name="connsiteY2" fmla="*/ 257442 h 257442"/>
                <a:gd name="connsiteX3" fmla="*/ 0 w 1641694"/>
                <a:gd name="connsiteY3" fmla="*/ 0 h 257442"/>
                <a:gd name="connsiteX0" fmla="*/ 1641695 w 1641695"/>
                <a:gd name="connsiteY0" fmla="*/ 0 h 257442"/>
                <a:gd name="connsiteX1" fmla="*/ 1586974 w 1641695"/>
                <a:gd name="connsiteY1" fmla="*/ 257442 h 257442"/>
                <a:gd name="connsiteX2" fmla="*/ 0 w 1641695"/>
                <a:gd name="connsiteY2" fmla="*/ 257442 h 257442"/>
                <a:gd name="connsiteX3" fmla="*/ 1 w 1641695"/>
                <a:gd name="connsiteY3" fmla="*/ 0 h 257442"/>
                <a:gd name="connsiteX0" fmla="*/ 1641695 w 1641695"/>
                <a:gd name="connsiteY0" fmla="*/ 0 h 257442"/>
                <a:gd name="connsiteX1" fmla="*/ 1586974 w 1641695"/>
                <a:gd name="connsiteY1" fmla="*/ 257442 h 257442"/>
                <a:gd name="connsiteX2" fmla="*/ 0 w 1641695"/>
                <a:gd name="connsiteY2" fmla="*/ 257442 h 257442"/>
                <a:gd name="connsiteX3" fmla="*/ 1 w 1641695"/>
                <a:gd name="connsiteY3" fmla="*/ 0 h 257442"/>
                <a:gd name="connsiteX0" fmla="*/ 1793982 w 1793982"/>
                <a:gd name="connsiteY0" fmla="*/ 0 h 257442"/>
                <a:gd name="connsiteX1" fmla="*/ 1586974 w 1793982"/>
                <a:gd name="connsiteY1" fmla="*/ 257442 h 257442"/>
                <a:gd name="connsiteX2" fmla="*/ 0 w 1793982"/>
                <a:gd name="connsiteY2" fmla="*/ 257442 h 257442"/>
                <a:gd name="connsiteX3" fmla="*/ 1 w 1793982"/>
                <a:gd name="connsiteY3" fmla="*/ 0 h 257442"/>
                <a:gd name="connsiteX0" fmla="*/ 1793982 w 1793982"/>
                <a:gd name="connsiteY0" fmla="*/ 0 h 257442"/>
                <a:gd name="connsiteX1" fmla="*/ 1739260 w 1793982"/>
                <a:gd name="connsiteY1" fmla="*/ 257442 h 257442"/>
                <a:gd name="connsiteX2" fmla="*/ 0 w 1793982"/>
                <a:gd name="connsiteY2" fmla="*/ 257442 h 257442"/>
                <a:gd name="connsiteX3" fmla="*/ 1 w 1793982"/>
                <a:gd name="connsiteY3" fmla="*/ 0 h 257442"/>
                <a:gd name="connsiteX0" fmla="*/ 1793982 w 1793982"/>
                <a:gd name="connsiteY0" fmla="*/ 0 h 257442"/>
                <a:gd name="connsiteX1" fmla="*/ 1739260 w 1793982"/>
                <a:gd name="connsiteY1" fmla="*/ 257442 h 257442"/>
                <a:gd name="connsiteX2" fmla="*/ 0 w 1793982"/>
                <a:gd name="connsiteY2" fmla="*/ 257442 h 257442"/>
                <a:gd name="connsiteX3" fmla="*/ 1 w 1793982"/>
                <a:gd name="connsiteY3" fmla="*/ 0 h 257442"/>
                <a:gd name="connsiteX0" fmla="*/ 1793982 w 1793982"/>
                <a:gd name="connsiteY0" fmla="*/ 0 h 257442"/>
                <a:gd name="connsiteX1" fmla="*/ 1739260 w 1793982"/>
                <a:gd name="connsiteY1" fmla="*/ 257442 h 257442"/>
                <a:gd name="connsiteX2" fmla="*/ 0 w 1793982"/>
                <a:gd name="connsiteY2" fmla="*/ 257442 h 257442"/>
                <a:gd name="connsiteX3" fmla="*/ 0 w 1793982"/>
                <a:gd name="connsiteY3" fmla="*/ 0 h 257442"/>
                <a:gd name="connsiteX0" fmla="*/ 1962295 w 1962295"/>
                <a:gd name="connsiteY0" fmla="*/ 0 h 257442"/>
                <a:gd name="connsiteX1" fmla="*/ 1739260 w 1962295"/>
                <a:gd name="connsiteY1" fmla="*/ 257442 h 257442"/>
                <a:gd name="connsiteX2" fmla="*/ 0 w 1962295"/>
                <a:gd name="connsiteY2" fmla="*/ 257442 h 257442"/>
                <a:gd name="connsiteX3" fmla="*/ 0 w 1962295"/>
                <a:gd name="connsiteY3" fmla="*/ 0 h 257442"/>
                <a:gd name="connsiteX0" fmla="*/ 1962295 w 1962295"/>
                <a:gd name="connsiteY0" fmla="*/ 0 h 257442"/>
                <a:gd name="connsiteX1" fmla="*/ 1907574 w 1962295"/>
                <a:gd name="connsiteY1" fmla="*/ 257442 h 257442"/>
                <a:gd name="connsiteX2" fmla="*/ 0 w 1962295"/>
                <a:gd name="connsiteY2" fmla="*/ 257442 h 257442"/>
                <a:gd name="connsiteX3" fmla="*/ 0 w 1962295"/>
                <a:gd name="connsiteY3" fmla="*/ 0 h 257442"/>
                <a:gd name="connsiteX0" fmla="*/ 1962295 w 1962295"/>
                <a:gd name="connsiteY0" fmla="*/ 0 h 257442"/>
                <a:gd name="connsiteX1" fmla="*/ 1907574 w 1962295"/>
                <a:gd name="connsiteY1" fmla="*/ 257442 h 257442"/>
                <a:gd name="connsiteX2" fmla="*/ 0 w 1962295"/>
                <a:gd name="connsiteY2" fmla="*/ 257442 h 257442"/>
                <a:gd name="connsiteX3" fmla="*/ 0 w 1962295"/>
                <a:gd name="connsiteY3" fmla="*/ 0 h 257442"/>
                <a:gd name="connsiteX0" fmla="*/ 1962295 w 1962295"/>
                <a:gd name="connsiteY0" fmla="*/ 0 h 257442"/>
                <a:gd name="connsiteX1" fmla="*/ 1907574 w 1962295"/>
                <a:gd name="connsiteY1" fmla="*/ 257442 h 257442"/>
                <a:gd name="connsiteX2" fmla="*/ 0 w 1962295"/>
                <a:gd name="connsiteY2" fmla="*/ 257442 h 257442"/>
                <a:gd name="connsiteX3" fmla="*/ 0 w 1962295"/>
                <a:gd name="connsiteY3" fmla="*/ 0 h 257442"/>
                <a:gd name="connsiteX0" fmla="*/ 2122596 w 2122596"/>
                <a:gd name="connsiteY0" fmla="*/ 0 h 257442"/>
                <a:gd name="connsiteX1" fmla="*/ 1907574 w 2122596"/>
                <a:gd name="connsiteY1" fmla="*/ 257442 h 257442"/>
                <a:gd name="connsiteX2" fmla="*/ 0 w 2122596"/>
                <a:gd name="connsiteY2" fmla="*/ 257442 h 257442"/>
                <a:gd name="connsiteX3" fmla="*/ 0 w 2122596"/>
                <a:gd name="connsiteY3" fmla="*/ 0 h 257442"/>
                <a:gd name="connsiteX0" fmla="*/ 2122596 w 2122596"/>
                <a:gd name="connsiteY0" fmla="*/ 0 h 257442"/>
                <a:gd name="connsiteX1" fmla="*/ 2067874 w 2122596"/>
                <a:gd name="connsiteY1" fmla="*/ 257442 h 257442"/>
                <a:gd name="connsiteX2" fmla="*/ 0 w 2122596"/>
                <a:gd name="connsiteY2" fmla="*/ 257442 h 257442"/>
                <a:gd name="connsiteX3" fmla="*/ 0 w 2122596"/>
                <a:gd name="connsiteY3" fmla="*/ 0 h 257442"/>
                <a:gd name="connsiteX0" fmla="*/ 2122597 w 2122597"/>
                <a:gd name="connsiteY0" fmla="*/ 0 h 257442"/>
                <a:gd name="connsiteX1" fmla="*/ 2067875 w 2122597"/>
                <a:gd name="connsiteY1" fmla="*/ 257442 h 257442"/>
                <a:gd name="connsiteX2" fmla="*/ 0 w 2122597"/>
                <a:gd name="connsiteY2" fmla="*/ 257442 h 257442"/>
                <a:gd name="connsiteX3" fmla="*/ 1 w 2122597"/>
                <a:gd name="connsiteY3" fmla="*/ 0 h 257442"/>
                <a:gd name="connsiteX0" fmla="*/ 2122597 w 2122597"/>
                <a:gd name="connsiteY0" fmla="*/ 0 h 257442"/>
                <a:gd name="connsiteX1" fmla="*/ 2067875 w 2122597"/>
                <a:gd name="connsiteY1" fmla="*/ 257442 h 257442"/>
                <a:gd name="connsiteX2" fmla="*/ 0 w 2122597"/>
                <a:gd name="connsiteY2" fmla="*/ 257442 h 257442"/>
                <a:gd name="connsiteX3" fmla="*/ 1 w 2122597"/>
                <a:gd name="connsiteY3" fmla="*/ 0 h 257442"/>
                <a:gd name="connsiteX0" fmla="*/ 2290913 w 2290913"/>
                <a:gd name="connsiteY0" fmla="*/ 0 h 257442"/>
                <a:gd name="connsiteX1" fmla="*/ 2067875 w 2290913"/>
                <a:gd name="connsiteY1" fmla="*/ 257442 h 257442"/>
                <a:gd name="connsiteX2" fmla="*/ 0 w 2290913"/>
                <a:gd name="connsiteY2" fmla="*/ 257442 h 257442"/>
                <a:gd name="connsiteX3" fmla="*/ 1 w 2290913"/>
                <a:gd name="connsiteY3" fmla="*/ 0 h 257442"/>
                <a:gd name="connsiteX0" fmla="*/ 2290913 w 2290913"/>
                <a:gd name="connsiteY0" fmla="*/ 0 h 257442"/>
                <a:gd name="connsiteX1" fmla="*/ 2236192 w 2290913"/>
                <a:gd name="connsiteY1" fmla="*/ 257442 h 257442"/>
                <a:gd name="connsiteX2" fmla="*/ 0 w 2290913"/>
                <a:gd name="connsiteY2" fmla="*/ 257442 h 257442"/>
                <a:gd name="connsiteX3" fmla="*/ 1 w 2290913"/>
                <a:gd name="connsiteY3" fmla="*/ 0 h 257442"/>
                <a:gd name="connsiteX0" fmla="*/ 2290912 w 2290912"/>
                <a:gd name="connsiteY0" fmla="*/ 0 h 257442"/>
                <a:gd name="connsiteX1" fmla="*/ 2236191 w 2290912"/>
                <a:gd name="connsiteY1" fmla="*/ 257442 h 257442"/>
                <a:gd name="connsiteX2" fmla="*/ 0 w 2290912"/>
                <a:gd name="connsiteY2" fmla="*/ 257442 h 257442"/>
                <a:gd name="connsiteX3" fmla="*/ 0 w 2290912"/>
                <a:gd name="connsiteY3" fmla="*/ 0 h 257442"/>
                <a:gd name="connsiteX0" fmla="*/ 2290913 w 2290913"/>
                <a:gd name="connsiteY0" fmla="*/ 0 h 257442"/>
                <a:gd name="connsiteX1" fmla="*/ 2236192 w 2290913"/>
                <a:gd name="connsiteY1" fmla="*/ 257442 h 257442"/>
                <a:gd name="connsiteX2" fmla="*/ 1 w 2290913"/>
                <a:gd name="connsiteY2" fmla="*/ 257442 h 257442"/>
                <a:gd name="connsiteX3" fmla="*/ 0 w 2290913"/>
                <a:gd name="connsiteY3" fmla="*/ 0 h 257442"/>
                <a:gd name="connsiteX0" fmla="*/ 2459227 w 2459227"/>
                <a:gd name="connsiteY0" fmla="*/ 0 h 257442"/>
                <a:gd name="connsiteX1" fmla="*/ 2236192 w 2459227"/>
                <a:gd name="connsiteY1" fmla="*/ 257442 h 257442"/>
                <a:gd name="connsiteX2" fmla="*/ 1 w 2459227"/>
                <a:gd name="connsiteY2" fmla="*/ 257442 h 257442"/>
                <a:gd name="connsiteX3" fmla="*/ 0 w 2459227"/>
                <a:gd name="connsiteY3" fmla="*/ 0 h 257442"/>
                <a:gd name="connsiteX0" fmla="*/ 2459227 w 2459227"/>
                <a:gd name="connsiteY0" fmla="*/ 0 h 257442"/>
                <a:gd name="connsiteX1" fmla="*/ 2404506 w 2459227"/>
                <a:gd name="connsiteY1" fmla="*/ 257442 h 257442"/>
                <a:gd name="connsiteX2" fmla="*/ 1 w 2459227"/>
                <a:gd name="connsiteY2" fmla="*/ 257442 h 257442"/>
                <a:gd name="connsiteX3" fmla="*/ 0 w 2459227"/>
                <a:gd name="connsiteY3" fmla="*/ 0 h 257442"/>
                <a:gd name="connsiteX0" fmla="*/ 2459227 w 2459227"/>
                <a:gd name="connsiteY0" fmla="*/ 0 h 257442"/>
                <a:gd name="connsiteX1" fmla="*/ 2404506 w 2459227"/>
                <a:gd name="connsiteY1" fmla="*/ 257442 h 257442"/>
                <a:gd name="connsiteX2" fmla="*/ 1 w 2459227"/>
                <a:gd name="connsiteY2" fmla="*/ 257442 h 257442"/>
                <a:gd name="connsiteX3" fmla="*/ 0 w 2459227"/>
                <a:gd name="connsiteY3" fmla="*/ 0 h 257442"/>
                <a:gd name="connsiteX0" fmla="*/ 2459226 w 2459226"/>
                <a:gd name="connsiteY0" fmla="*/ 0 h 257442"/>
                <a:gd name="connsiteX1" fmla="*/ 2404505 w 2459226"/>
                <a:gd name="connsiteY1" fmla="*/ 257442 h 257442"/>
                <a:gd name="connsiteX2" fmla="*/ 0 w 2459226"/>
                <a:gd name="connsiteY2" fmla="*/ 257442 h 257442"/>
                <a:gd name="connsiteX3" fmla="*/ 0 w 2459226"/>
                <a:gd name="connsiteY3" fmla="*/ 0 h 257442"/>
                <a:gd name="connsiteX0" fmla="*/ 2619526 w 2619526"/>
                <a:gd name="connsiteY0" fmla="*/ 0 h 257442"/>
                <a:gd name="connsiteX1" fmla="*/ 2404505 w 2619526"/>
                <a:gd name="connsiteY1" fmla="*/ 257442 h 257442"/>
                <a:gd name="connsiteX2" fmla="*/ 0 w 2619526"/>
                <a:gd name="connsiteY2" fmla="*/ 257442 h 257442"/>
                <a:gd name="connsiteX3" fmla="*/ 0 w 2619526"/>
                <a:gd name="connsiteY3" fmla="*/ 0 h 257442"/>
                <a:gd name="connsiteX0" fmla="*/ 2619526 w 2619526"/>
                <a:gd name="connsiteY0" fmla="*/ 0 h 257442"/>
                <a:gd name="connsiteX1" fmla="*/ 2564805 w 2619526"/>
                <a:gd name="connsiteY1" fmla="*/ 257442 h 257442"/>
                <a:gd name="connsiteX2" fmla="*/ 0 w 2619526"/>
                <a:gd name="connsiteY2" fmla="*/ 257442 h 257442"/>
                <a:gd name="connsiteX3" fmla="*/ 0 w 2619526"/>
                <a:gd name="connsiteY3" fmla="*/ 0 h 257442"/>
                <a:gd name="connsiteX0" fmla="*/ 2619527 w 2619527"/>
                <a:gd name="connsiteY0" fmla="*/ 0 h 257442"/>
                <a:gd name="connsiteX1" fmla="*/ 2564806 w 2619527"/>
                <a:gd name="connsiteY1" fmla="*/ 257442 h 257442"/>
                <a:gd name="connsiteX2" fmla="*/ 0 w 2619527"/>
                <a:gd name="connsiteY2" fmla="*/ 257442 h 257442"/>
                <a:gd name="connsiteX3" fmla="*/ 1 w 2619527"/>
                <a:gd name="connsiteY3" fmla="*/ 0 h 257442"/>
                <a:gd name="connsiteX0" fmla="*/ 2619527 w 2619527"/>
                <a:gd name="connsiteY0" fmla="*/ 0 h 257442"/>
                <a:gd name="connsiteX1" fmla="*/ 2564806 w 2619527"/>
                <a:gd name="connsiteY1" fmla="*/ 257442 h 257442"/>
                <a:gd name="connsiteX2" fmla="*/ 0 w 2619527"/>
                <a:gd name="connsiteY2" fmla="*/ 257442 h 257442"/>
                <a:gd name="connsiteX3" fmla="*/ 1 w 2619527"/>
                <a:gd name="connsiteY3" fmla="*/ 0 h 257442"/>
                <a:gd name="connsiteX0" fmla="*/ 2720517 w 2720517"/>
                <a:gd name="connsiteY0" fmla="*/ 0 h 257442"/>
                <a:gd name="connsiteX1" fmla="*/ 2564806 w 2720517"/>
                <a:gd name="connsiteY1" fmla="*/ 257442 h 257442"/>
                <a:gd name="connsiteX2" fmla="*/ 0 w 2720517"/>
                <a:gd name="connsiteY2" fmla="*/ 257442 h 257442"/>
                <a:gd name="connsiteX3" fmla="*/ 1 w 2720517"/>
                <a:gd name="connsiteY3" fmla="*/ 0 h 257442"/>
                <a:gd name="connsiteX0" fmla="*/ 2720517 w 2720517"/>
                <a:gd name="connsiteY0" fmla="*/ 0 h 257442"/>
                <a:gd name="connsiteX1" fmla="*/ 2665796 w 2720517"/>
                <a:gd name="connsiteY1" fmla="*/ 257442 h 257442"/>
                <a:gd name="connsiteX2" fmla="*/ 0 w 2720517"/>
                <a:gd name="connsiteY2" fmla="*/ 257442 h 257442"/>
                <a:gd name="connsiteX3" fmla="*/ 1 w 2720517"/>
                <a:gd name="connsiteY3" fmla="*/ 0 h 257442"/>
                <a:gd name="connsiteX0" fmla="*/ 2720516 w 2720516"/>
                <a:gd name="connsiteY0" fmla="*/ 0 h 257442"/>
                <a:gd name="connsiteX1" fmla="*/ 2665795 w 2720516"/>
                <a:gd name="connsiteY1" fmla="*/ 257442 h 257442"/>
                <a:gd name="connsiteX2" fmla="*/ 0 w 2720516"/>
                <a:gd name="connsiteY2" fmla="*/ 257442 h 257442"/>
                <a:gd name="connsiteX3" fmla="*/ 0 w 2720516"/>
                <a:gd name="connsiteY3" fmla="*/ 0 h 257442"/>
                <a:gd name="connsiteX0" fmla="*/ 2720517 w 2720517"/>
                <a:gd name="connsiteY0" fmla="*/ 0 h 257442"/>
                <a:gd name="connsiteX1" fmla="*/ 2665796 w 2720517"/>
                <a:gd name="connsiteY1" fmla="*/ 257442 h 257442"/>
                <a:gd name="connsiteX2" fmla="*/ 1 w 2720517"/>
                <a:gd name="connsiteY2" fmla="*/ 257442 h 257442"/>
                <a:gd name="connsiteX3" fmla="*/ 0 w 2720517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20517" h="257442">
                  <a:moveTo>
                    <a:pt x="2720517" y="0"/>
                  </a:moveTo>
                  <a:lnTo>
                    <a:pt x="2665796" y="257442"/>
                  </a:lnTo>
                  <a:lnTo>
                    <a:pt x="1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btfpRunningAgenda2LevelTextLeft832722">
              <a:extLst>
                <a:ext uri="{FF2B5EF4-FFF2-40B4-BE49-F238E27FC236}">
                  <a16:creationId xmlns:a16="http://schemas.microsoft.com/office/drawing/2014/main" id="{7C51F40A-3414-4D21-AFD7-899F08E7D0D4}"/>
                </a:ext>
              </a:extLst>
            </p:cNvPr>
            <p:cNvSpPr txBox="1"/>
            <p:nvPr/>
          </p:nvSpPr>
          <p:spPr bwMode="gray">
            <a:xfrm>
              <a:off x="0" y="876300"/>
              <a:ext cx="2665795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ice trends</a:t>
              </a:r>
            </a:p>
          </p:txBody>
        </p:sp>
      </p:grpSp>
      <p:grpSp>
        <p:nvGrpSpPr>
          <p:cNvPr id="29" name="btfpColumnHeaderBox566460">
            <a:extLst>
              <a:ext uri="{FF2B5EF4-FFF2-40B4-BE49-F238E27FC236}">
                <a16:creationId xmlns:a16="http://schemas.microsoft.com/office/drawing/2014/main" id="{7B5063CC-8B18-4067-879F-A52017C70EE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6366272" y="1270000"/>
            <a:ext cx="5495528" cy="318997"/>
            <a:chOff x="6366272" y="1270000"/>
            <a:chExt cx="5495528" cy="318997"/>
          </a:xfrm>
        </p:grpSpPr>
        <p:sp>
          <p:nvSpPr>
            <p:cNvPr id="30" name="btfpColumnHeaderBoxText566460">
              <a:extLst>
                <a:ext uri="{FF2B5EF4-FFF2-40B4-BE49-F238E27FC236}">
                  <a16:creationId xmlns:a16="http://schemas.microsoft.com/office/drawing/2014/main" id="{AB2CC17A-41B4-4DE7-A989-B5D9FFD05219}"/>
                </a:ext>
              </a:extLst>
            </p:cNvPr>
            <p:cNvSpPr txBox="1"/>
            <p:nvPr/>
          </p:nvSpPr>
          <p:spPr bwMode="gray">
            <a:xfrm>
              <a:off x="6366272" y="1270000"/>
              <a:ext cx="5495528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ice trend in the next 5 years</a:t>
              </a:r>
            </a:p>
          </p:txBody>
        </p:sp>
        <p:cxnSp>
          <p:nvCxnSpPr>
            <p:cNvPr id="31" name="btfpColumnHeaderBoxLine566460">
              <a:extLst>
                <a:ext uri="{FF2B5EF4-FFF2-40B4-BE49-F238E27FC236}">
                  <a16:creationId xmlns:a16="http://schemas.microsoft.com/office/drawing/2014/main" id="{EEDA2281-1869-4DCA-94E9-4B52989471BA}"/>
                </a:ext>
              </a:extLst>
            </p:cNvPr>
            <p:cNvCxnSpPr/>
            <p:nvPr/>
          </p:nvCxnSpPr>
          <p:spPr bwMode="gray">
            <a:xfrm>
              <a:off x="6366272" y="1588997"/>
              <a:ext cx="549552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btfpColumnHeaderBox254200">
            <a:extLst>
              <a:ext uri="{FF2B5EF4-FFF2-40B4-BE49-F238E27FC236}">
                <a16:creationId xmlns:a16="http://schemas.microsoft.com/office/drawing/2014/main" id="{6EB48185-2766-4369-8CC7-239472907B86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330200" y="1270000"/>
            <a:ext cx="5495528" cy="318997"/>
            <a:chOff x="330200" y="1270000"/>
            <a:chExt cx="5495528" cy="318997"/>
          </a:xfrm>
        </p:grpSpPr>
        <p:sp>
          <p:nvSpPr>
            <p:cNvPr id="33" name="btfpColumnHeaderBoxText254200">
              <a:extLst>
                <a:ext uri="{FF2B5EF4-FFF2-40B4-BE49-F238E27FC236}">
                  <a16:creationId xmlns:a16="http://schemas.microsoft.com/office/drawing/2014/main" id="{0F95980D-E164-4B7E-BC37-B8784CF4FE92}"/>
                </a:ext>
              </a:extLst>
            </p:cNvPr>
            <p:cNvSpPr txBox="1"/>
            <p:nvPr/>
          </p:nvSpPr>
          <p:spPr bwMode="gray">
            <a:xfrm>
              <a:off x="330200" y="1270000"/>
              <a:ext cx="5495528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ice trend over the last 5 years</a:t>
              </a:r>
            </a:p>
          </p:txBody>
        </p:sp>
        <p:cxnSp>
          <p:nvCxnSpPr>
            <p:cNvPr id="34" name="btfpColumnHeaderBoxLine254200">
              <a:extLst>
                <a:ext uri="{FF2B5EF4-FFF2-40B4-BE49-F238E27FC236}">
                  <a16:creationId xmlns:a16="http://schemas.microsoft.com/office/drawing/2014/main" id="{32458F2D-4D6A-4A23-9AD5-7146C79AB432}"/>
                </a:ext>
              </a:extLst>
            </p:cNvPr>
            <p:cNvCxnSpPr/>
            <p:nvPr/>
          </p:nvCxnSpPr>
          <p:spPr bwMode="gray">
            <a:xfrm>
              <a:off x="330200" y="1588997"/>
              <a:ext cx="549552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" name="Rectangle 38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vl5jf/09ap99kD5plAaxXVCNjEk7eSh8qzNCHVzDwg4tv+lTGG6Db5+KUUavBPoiliMC3X9War5X/WM20nA0a3ZyBuReIaqDHFemqWco9yxEFZc5RhIYFDxCCtaF63Gjz0TeNrdhkGnSSf+qIi1ltlKka5lPyi/+tQs1vBvS/Xu6/hNUjNR00hkI4NsjaUa+TFQ0+14gmi2A5DxQCRK74MauCsLncRDGt7qg2hk2F2935u5nvQTb/WciSuEZ4KRgYU3eIlvrvaz+A4qoRs/99jRiMYbUxnJGyfILRdmRvPz2R0QUDC1uv5Lq5MocpUjoagyomiNX+RekIf4C6R0yKnxhYT+FVDG9gVbJS/rti4t+yEmCW7wWKM8k3GOLKUBPPq3dAJe2iyqCWWzHnduTYf8RyeTRUehDIo9dBGuuaKbL1t8kaFg+KyFATnXA3Z4vHOJACGR2K0inzy16Ii6yYn5HLT9qyaeTkzR3TPdYVPmVSGWW0XBUnKIK8xtLyDdg3WUK9cE2WGICScQlAbdeZ8mjcT+qKMct0VtT0k5GW0nyPOkDCKZYNaTQ/Bfq84hwQb0nkYmNhGyNriR02VLKLfomaJrT44ARe0Xs9bfBFcQ5R/oCC6MMiRxZm5QlRzJWZj6isn4RrONmIa0kHrwuCriwgW158AXMVULWmvTCrq6PloJaV/yfBqzUzufm9mJQbrklOH8iuTMAq4XnJuMoJEcQR29MAjl4TM/aoavAC/iAgogrQDfxLzBCS9jH7gZqy0/egJP3rsY/1vLOCTeKf6Po0auqAiolaP78XfUfs4tNkS5OhBTaEQDXyCGeAbeCs+lvBkB34erVC2JSzhv8rvOglw16CdrZfZvgk6khGlUQbTpob739RdtCk20OArk11MqW0pCV3sxK3eAqHgd9v+F2xtO/6SHoxverNHEyeBYBqtzL+rMjmqvnKIRxMgVoBVH14E513Ru4oXMeOadBC+zf+RzinySrb12a+OxhkvITstWtNuEAweSdJbHRKTRw4XqrzvogTDu4VqsdCoy+5Rx3z8IkYlnRSPZ3CT69ySb9TrD2o6Bh62WrwT6Hm10erVgn82DKN4bJpt4PpiUmSp3w1JBdqhTwKnMJnre1y9TEtPYHnADQlA64jP12Wy8h0PhWk6dcsTO7slfCUUcuVL3j+/DVazANaF5gtld5JAW/E5LbsTrDx0dcFGg0oK+BkrboVO7C9nF0wn+giO62GED1X1kgoGmBgJBL1SAYFyK1DKVw1uiKluqWkzL7WA4J8aJCwloBx+Mrclw5/SwwaamyUiqPTBiEFgEy/qOse/0avGN6pW49WATQYiGkTp5wsVnM45dOhmPrIPseSnfNiT6qxxexsjR1Ne2LLsLLTZfvGH+a2Px0dd6mBrN0xU01WqzIRdshCoqOTAyBYE+FpVZlvmp9wxzL5zliGxE+YfK+0qV4B2fXL1oM9+NdnFwd7bK6Bya5cu9Hs7svbc00AJULG+hmLydhEVREKL/4TkivuT6EcqgQFBJBdQhTrQEmfuXLpCK3kR692mMDoVI2e7VfhdVSRxKEZprDWm+hIOf7Hh9Y8+Vc2bZGbNS1UnloBkR+6DqC0e5ITGt9+3G9bUetTR3uhIwcJKhVTMkApN7b8LTC+m4Rt4jB0/cPS3f3vtl+OchD8WepQ3WEmtPSbewh7aYbmcaCdItekumxxzMDzkYufiqw+FL9LD9jDS5NI8nzRbwiA/BnNLrUVhfhlvc6Lp6chvT7aHqlMjgnoakDqndr2cyzmQF/FWhGqN0ArXtZBibj9EyvfwtD6P7PGL3Nn4n3vu2ATRcNHQiZQ74K/t9Bn6VduPwlAmWOCfbVghl6SHSOarNHezfbhvxB2Q6Q4KnZ2nSmydfaWlzoppEsdqS3ogXovJ94HzAD2m1JChYZbql0Y9HXrjZhnbGo+HW8pXbYz4IaZqkFaZNEhD76eWqwhsaxvzMsD+4FEzdzwKwD+CVU2oHH14rvPFYnbimH59Li3zT81PcJtZThlYP+AzXxXxZQD4Dyqul4wti9ziQRdzfDoEe62xtoMx3uOi0pbhq7gv/z8/+uX+GHHy2vVY1pWhRnJEMSqVRu2lNX7yiZTlAe6I0BFY6fYgRKcw60En4m1j87jHfIY9F3e41ivayYu5JX3VUAR9BO4MYtRIdLtdyCrwMCgvWofwCZnnmYhZi5wL4vFhwxAy9lEFF8cunszTDgQ6PrHBhsNFZYa4BztzfEH5G3ey46UD1qMFsJ5xa9zAbqImLjQvhoRM8SgWbpGTz4fRX70YkPkrROmIf4Lb79z7yCYGQGqLbApAjW/3JqUjkpeBmy535cep/e2ix+Z6IB3XAKxx+xkhQN3dvRPsWrXgR99tm6nLhO9lSpEvp0+pm6mITqPzlmGUHFM7UqYNhe9HUwSXxkXt9rhqULwCGPuUpHkGeKnil9hORtxw16kUhrbqJSFuDpwNpfYlyi6wf+UqcF7p5w7p+/cfVeThIOU3tOPB9ORnaCPzzorPxZtfZCW8A9EHBuPJhjtG1jj4F/8caU3GeF6LUjcmQGbHiUXVmJihyqd8NyJAkYm6WLHsBD41CC2+1v4RaP2uuSKaiADqPGxtLBP+haDCfx0/1BfUhBUxM0aO72YCBJ8kttkbz9aayP9CRO6unI4t2ubgkK83MR0Oe22WUXeiV/0WXE288yt8L86MVRK6Ycwwd10382Mjf5cccw8H19TXrdmKb3F1hT++2ZFz/vmtOLBj4R5aaG1Q9SrrdbU6kVHAejKtdSk/RaWORTpXoU9+LYnLpAfNxOsBlL7sm+QgXRUcLICHjnNXdi/7JbkagLSUNeBR+ejWOJKfA9Opfmm3NuJZ5Mh9UWTSHRlA+DSasdtoknxU/xhojeazg5R6lJSEIioZI4rM/2sB12rIoleaiHYqE4HVziFHyVSlsvUs3zxu530PA7T/5idBEymtHB/KYWF7t124ILt+6v/o/8ukreWIenEkxhJTrxecpqJAgolQnV5DwMxdbsvFozjth5pO6bzKibk1Vg3DevrzvCkiKLK7o5MhGP8KVL+67JyGbPyc8bvdj6m/ONHtFfgxFrhxv0KYprDi3DUnnDW1GSg1W1F1ViMCwJ2tjLWJC24LZxzgGbnewMAv21eNb1iEVafDq+ESOtfVozBkU1GrVb2FWHFofTLXm1ddJtYqUFiubwcAGNvwJGPOBVqGbnYZfiykNKwJ45OzQYMxWFA2Zo92gGpOOHJTN3s6VVCRTnuuClCh1elwFkZ99eAi38EM4FORbIuc/GbbjjDXaWduEaK45lb9UFqgbYqIWw/Zqyy7ZQIY34+r/6XRhc7j5xo/z/ZVKrUyOmAEsiEkZTkIHfgniG5wkRa8iX1Fv4GXC6BwHGKlot+rqT2AzNGE1RH4f40G9w5wx+KX9jtZzajI/LQ6r745SclAfU9ecQzeajqGS7QoCFFmwO6VPC+GhYH6t4nK/O+29q+WOAy2nlG2O4M6aIMQ1WoHVJn0JpIo0Dwquf+kNF0nyl9z69YKKMFWuKcHvxTCTVEw3AYXTJE5SYNRO5GGx47ni8UupxMlaxKBNgtyRQIA3TANxrB2z3JGQ/cLw6jcL5ONILUfTGSeNoC3Izs5Dx9z8UWLV5OJVACjRNUfj8efeaFUDqY7WQj6aj4vzrd+Cr1EyEFrx1d70+Sxac7riBemz9Lu3DyDuUll0xdUr+HSnkvPMfvd3pruq98nIkhGqPN/oKK417ZocqmwGxN9yIRRTc9ye+kjCCPEWb/GmlBHIrLuxCMtFZXl/LTysdNyJu/CVxVPehW5qFMjuPAAuekFBMLlSkrtcqRt8MT+l7gKJeRkUNxQQVSVr1c/8Q9w97CAxisFSG7M9F06ZmlI0e9PvCODYPg5vMqq2+Zis9e80w+cmxGqHOrhwYk+49oOoNg82qZ3rGvW5Mxqf7Vzp7REd4Hd/sIXN6O4CP308eS/2aYApmtXypbLuroVWmQP+9yHzqRZGnUJ6Vnt9aBeVHhifJVqsH4xHMm5vgjaEIa6MkClLJiEpkawNuV2gu6NuRudkCR/BrNOeEP3obSX+Bl4BDiNa8Axt3Sgmb8SRBC+IAhLaXjPfk04TvFJmSnt/Ak89RTLMQsVHtRMXvuuGOGnG8bC6MxFkrHqPgcg4EKc9bbJGVc+O6SQCr325y1obOXYDgYsykj5BpViVckeIStH9oX8DJhC7aVFJ9Nkg5LM7KVidOdRaXt+KLmJfuUVbMiihzTzZUIeIA/TwnuYgtDBnf39w6PkV6g+TeM0mNnxP4VQQiecdN7tPGOkHgP1+2J73dVMlNpr0/JcOP1mJ334YNWl2ReVXDaoAiDPFFpyVfCKZXVEgiyOymrOdLUTV6QXCTPZPE9aRtOHcRQDORTdMpK46xxdVxjHFvdG2EPJ8HRtCFT9WT5xlfpmuSGymruhyIVNEDb5XNS2O9msU5LZdA0VMubcTEbXH+Q5T/HzhFFEn6zU6vqE/Ahha/IRbRtabWynGSzPr65m+S9MFCp7i6dkyN4vo+hpjouvp1AyYtwHNERNxdEgnnhWbVdRltkArkf0GrG75XkXUt5/48+9CCGfffuSMAKQdnKmoil58fwnocBnN5h8PopI00Jhim57ySzj+DMzqFdj3k43Y4APjUQ3QQbMO/Nh8LJY1HOHf7r4iCeCHbvJaUwWObHyzkzX8YtHs7w/hl0Y+s4KLaeNHijSMDtGDJw9SbCPh0gXtDN24vCpwYhow/m+9M8f0tWbzEpC0vbeL7Baljugf4SPx0KlG7xoOh5WUeCXX+MpGy/yo7xLyMZ8WBHqc9/qH0S9Aql/YqHEfLdC+X+Osx/CMfmpf5Sz1VJiYUWGPsQomvrPvFaylong4lf8DQVMVbNmvYWLcSGMsZ2hUCN42hGwxfJEHUPKZXkJ8BE4eRI0fjnWjjG2ZrhhuUzfJU1ovZWfkWtIgcjH2piGZLEnv/b4NmR+8hPKCP5zp+yHcFqYI35UTkCVLw9mA/+swPJVvpB6FysvzcHw7VYOUisTwHqdGLy5xX6210WkObD6s32Uw6ah4OxseH6qhWNiSfPKBrmXYyseeGXwkqI6yVgvPHUg6nO01R7uWKhqGQ+pz0j/PVh5TaK0I2vLOPY3FyPOh2I+4AcEpf7AdOUpG6Kc2jlfuTpmzX05TIzmdDvlPjc/dKygCzMywDnXDVVZCiJnDEoQujkGAl4yhxyP/vMTeYdljaFFVGvX3BpG0buXiplg7FQkwTf8h2n4QyewhRch1Jxx6MpwpHvg7O8PYu2EsH21SWge+AX9wwrWU/EAOpqzJBm9eogDcd0ITL7zwVZQjGSLWJCkra5//IMFHlmOXBZSEl+3PNwfyhID3CBCWwlVz0WCkmV2ne69aka0MwfTDGyLBJFRsvxWX0naLxLdlAEvgFVgQnI6f62Jit/Qimp5i6KzYr6EPVjdz3Ws4awvBlAR8nTZdqc4q/Ut+Q55QHsWZ1wZ5glk1CRSba2EaHnMYpgXZ9Jxs9av0z93EuHgoa1skwFFEsGjThuSyTl9h5LLvH5EcT1jBI3+1Iv8WZbpapEQ4SHaahUq19241YlKzD1rTt41xcg/PazJpZDEOzP146GKxGYZmgSN8KPYVpKGTpdqLyA7kGIVfNl7PaCzq7jeYu6ckdXayvQkBDZjXsEehaxjXiEDfWbkdFPfqdVpGHD9nmTXwGJqYovkoBbT6eVJHRyJ/M5/lfSHAUgkloSiR3tY98cxdKj0KxrH2Jp3AiDqgy69JZWylJdaBmBv49AcfPrfNnfMbweayg1CsDqeYV9JRtsAdkbzVKR1YR+jMWgE+pAGmCaTcItC9jUagguTiTnfZ3oYeCN7KGaXCaDoWmy8Ai0XPSb5qMRHdgnlh8oXHfZvb5L8iQdvO0ZeAoEa9A6U5RoORgcAnfusB9FBLoLS9Od4FRkUe6FcSCRVGdAoTSchUyiu9w6REonWhGTi2PRWw2/mEbdWSFDlMQ84D+bsV+qcwVmnaWUWvam7v8oC1lM6zuf7kgrimFzpq0UiYX0TatwCi7RtG345GvKBlMA4z2RJgN8ewHHJu3GnRCmna0mYo/3K0PWa6PMUOe1VJc7C5Lv9GCzg1pFqzZ1fH9dpFZvGUxKw5FrTNWON1gBf5wWCtN+QOMpIC7FEj7lmYAE8nylE/tNmOMLCY/rI2s17m3yjFnhbv4KpIO0jPgeXzJl8nCDGrT6pJa99AG4mwR1BBT2vD7J5RRFkmCqy/w6dz6fyZYJDcpFs7or2gYRjcAeJY+bU2RfIbSguU6VpmytCexiO0M3qfSnQfxA4r/zjEmoxiINT8U59KeQkKY8LwGExulQDiEgJUjkP6JT74IY40NQCg3ZSyrNQChx2FCHKalOvNsRLJUU4g+mrOmIaBb2vFfw3XYmZ10YWTDOCwRXiUa+dPHMWTPJMm2Rna9PIwVKqbuydyxKJ626PE8mkO6DoHu8jBkTgPU/95XpgVeT293YpukRS1vJI8vJ5mjYlQb5W330GEZs4EHjQccNmTHAHWl5g3h/n8TCIos2JDktbaYy42Lp+hEHxGkEiwusH8FVoiDJKW+kS98FYwpD8tBOF3KsiG5sRyTWHrylxCDkPSAtxIXAzTbq5GMCWWV5rr8wY4C5GJi0yTE62P27RFqoyz0kRDjlmvIZIYNeQqZ/fVxOUQLhZZK8DoZRCbhhFoAz0oqXpUaMfBwP24QvqPitTmvIBii/fg6aCbHMxKDZCGriPn7l2jltocTY9if8N783sCg7Hx2BUINRMIwb5/DR/28SI+3DgNujGumcjBGHTeVCsOgUTgaJhZs8etixR1RDwDrXD7XjbewSkV0AEg7s+p/0+TailmWa4oBMtV0wd++ItlZH0MubZuOGk160fRoZitbzevbXdYJquLho5ifkBEaWGJYeT+0/Ow680t5kRjiPPS7uM09ISDbfZOMLZnsmFopOGJPgyiHhRM0E9Iq8iV5Czf5uBuKWdCI62quuhFzRehvNoLUhf8nbE3VjzHpKfaWEY9uCUZ4jDia2t6MGCDLL8yx3hhRiNtYN1w/BX5lc18bG92o7Nrk0lua023CBz94jhNzv1zjHgODMhrMTBH+zHsv2r6MBlrwPOtG10CrOIB/WposB7tXehg4CxmIdS0epRBD0a/zE2h6BD2yiMx6QQGTuEGnmMX/ra72Kt4N38JKvB/bmpgPG0nhu3Kfo524dOAVpHGm9lDBeD6QL6PIjPYmDWzPKma7b43Y+no3MuOdNj0Z2Mqxk9ndhiPQX9k4LkWQyvGk5neYK2QBGHNOxcS7V9EERUQPQGOhA+n/bmPoh9Iq0NKESOQD5aHdpSq1XpBVjuXiaxxdvvA4CIaeKe68l+7tenql0sD+xq5iTATApMvqxHJ6cvsbEFA3dx4NvGAli1RtIeG/8Y/wqL+8+99hbJYE2zj51OXfNSQchYlOEgEtPGyspGkZ5Z7mv3RR4FNoUekN20FGmdI7JFxQCcPe1xMX+O12vxKHyP1mPvhq/sVdVpRDXR1tgozewKLLaHqOAMbhoUet9WHmo35QJy5Mb8J8FhLpUOON3BHREFRCbGHfWS3CqN7LGZZeWL5bxWoa8cEphhK9jANHby4MxD6EroDzijjhgjJqcphcevdbDRfG6Fyp8SmNBVu+2uzCSeOh6scObhuxfF89QsPKTpISeMMiNghM5WQuvjpZOy8WZnEw3bXDbeBEtaT+IKq8deO5lw6dvCNwG6isx06N86EAyBbeSr0Bzn630cyq5tnqFPsWZ6+kamKJjQo8IdGfjfPSKG9XrFHik7Adx9Bo4gPgq9WtMgw76Qmea4JIkyehdx/k9zmbtank3sebvm4plQyZK5KI4YDwZEeQKM3EcCGYCK5qtKKLqC9gQ0qpyg6BDxFcRcn+/4WOp8mMw6xUHuUtT22d7u9ES3AqayxtMPYpl3z+133qor/2IBUcqYTOWadqX3ChQXDL12I/KIHF87ii/n2XbBEwvaw9urRahU3boxX5xK0bsRM6KaaI8E9886Wi2PlVireFsWmmZGEfkbcCvYH7uS7HLfWRqAfS7qj4KcpsLzYHMdHhkDdHke329NOCCnomqnpERad9+YZx0QA9GCmnZ6wPUjc+3Twc1fBiD0rRHLsKOIRurHy4GT0sixYKledGaDVqE8IMgZ8cZjZk7t481xPEaMFgwz8zWCaJq/EjR5GO8qMU6/V17tAsnHDDkw5JGCj4lvKB8Cvg76SRXI4gA2oPB7mJ2CBOc5RXM+l2h89RH4x57W5wkUuCkUCRh6nWMO09TFxKRQrfaCgaxdYVx3Xnv8ltn3KWEGtQ1xHYuHiENu3pVkX7zowFo/4Or5ufIdM0+2MmWsO6YBy5BJHQ9pVXmpkvcbJ+fb0AsRvFYGfVxcy8Az0lsL2a3HIMBfuiekJt/kEAXlZzbITtzgyzEY6NoVXc+/o5tyfPNnvCONyhtETFmvAnQY+U16pnOGIzpMpXwHW6eSbT7VaGZdsRbOiC0XimZKj4ZWr4XgRBOFXg5LIWcmMTLVPTrTqGRESHHGcEhKE358ZRiF4kpAfZG8ms70xZ/cPvxEMEUkgSgk2EhBfOUGNxaYmxP2Yqt3SocfeJntuSHDjAJrsMXrkW51o+EWl3KoGC5F+IDEOaypV6GtcyjbOn+S9Hj/yGA/2MNcMoDmi1wqY2E4qXOpnvm88vQ4w9yHFuMaUEY3b0V7svQ5LC1n1J+ZmT75elcPXLqCuhiSsHxVlhWOf0/0cjZsCaqBrIqNgG1WfHbUCT6RtGYGAL0k2aQj1kpaAYbRqtV5ekIeBi+5LM5OY8IL5fuXF7AY4B5hfYTM+C46McccyqMoPg5670sJ3aW0dFsX2dTAbXerWU9DY8KI9u4+BWChO/nfw5e/ZLamkFD+nf2NZ9pn5o6BYoaFxTuRab2rMYTQKNS8sANTqCnTGMijZ5OFueKIUKROtVIixHonVUfcAcVfO8T0ZSkykJsxNDR73cKETySNH8ZBytcpGXFCcGvyzNlsfxdjYBAxjlgY2zdMi9bVWaxFyTNJWcmbaeMfvqnr/TqkA6q/IXP2AJ662Va3A6MZW+dsXHznTLgjqomOenJpMTwah16k1qrRk5xGrXeL3BxXCKFJnfAqTImQ93mxQsiIsLTSrNdufKNwxqJ+A8IJazLld3bPdSroxfs2Aue6r29Ar1FrVa9KyHAckJTwhhwRtfkm8ZXReES6K8oBpH5NwyKWtrZut3smdlZMIgQZ6Fn22+SWpEbhnxPXst0Xqmt/fiWCk4LaX0yOTam2rtjMnPL/8WqpZWBBJykYrVng1KziovcUZ5y4mTHCEQM3IYUBBRcf3a/tawbxbezaKOOtqjym9rnTeeSYe+NiNzqFF1/hStCpJ8jbk7JzrSrCPEDalzVAMnGxhFPHMOc9HND076nOwSIJshroeO2pT2q6u2l3DeC7ZhY3FfF6o1Wop8Bd+N4NL02Sqgrpl7WngpFc+Wqwc2DdBoBiQbIlAxPhpS0Q68eQ3QC8QD1jT6qv6zSsC5hjY2WlrgB0Ab3tJbANhSyabrydSPEC3xchRfUU5nBY9M3lkey1E8Ug1T/Vafsdy9BfpbRPtto2RIUFlA7LHOB+P9FGQv0gppOdiTjYDRUbtewFuFeuPyou736tOSXS3u3SBXr+PfCtL4poIDJn1UhyY2VdsY6hdxFe8Ta5xNZ85+EqAjvY10dcpjP8h5MlZc/VcEW6tQ/NUOH4Jns6qX+tE/cUYSZMKjkXP2MBEIfLI2W83L93UT1MKZ3mzGZIhrnRzspnIONGhEu2h13Qb6o0zRgKMsjkqdQDUgO9mOXgP5wkTHMSS5gy+119pKEunROH9PBBr2l8xOZqQLUAszA9zf2OSvPBbb0Sd/0choDI8XHRBZ7tGSUlHak5ZfoK16rJqS/p9TN3w0AsP4R6aCAv4A6Gj2kATxmyzw7CctExWiC4j8IN3IDSJTulW54HQqlJV76RFdXkLY3ccHsEo8QofWZFAp0QgV7RdOxELB+Jnu7UCqcwxyOUUfe4LYzMaqd8R6vrG9AUAyq1ZSz6qkvC71iEw5Cx36aKrqnTqarZri6X6fmTa/QiyM5cAqXsBzuj2GD4hoiSJnunaCRo9kM9I6sLKp65uy4d+8quo7+OZsSPM9hlkjVyNnv/fpTJsWFIfoVWXhlNCZwctP5wJiKU8AOMfGmZpQhWIbB6wVDCblmDnBBqtzJjeiKz5Q19wHKMMuJEzIxAkcVD5fliRiz6yvKvVFs2gT4+VGit4bL8zNg/RISXulJQpZ9YLmqOCd7Xd6GT0KAaKrtKWHHwigzFrf7R2u4Yj2ACDaSYtG/RiOlCYFygbNaU5MvYX5PC2sYFgxkD+F0h1tCdTF85/SXsc6sadvtMUL+tJgU6j7VQRUda1FxujRzw4vlx0I5k/icZOcIAbL22s9mkE8YiiZCoLwuCSUMs5dboow2gYE9iGtWMdlmBU/QD/ypZSpo0b1JbM4sspQyWgF0cQjT8xvxypzVwaHI3UIgb7+jRUfkVJf2PssEVs3jdFuSqBzPXDuIBNWxnPc8yeHsj8LgLDNo3KLy4/QWrjkNMtQRKRfmJ2BCx5w9TyNSwXE8W6QfyliGtyjVoISw2luCWx+mepzq8hHEe/GNFdHI60PyEPNUZHAu7J1yp2XBLQ4OdNK1S6v3rCdVLb7dN1SaGmA4OiBjYKvea0HMFDZvUVmY5fqX/QSywFkqlBGjwPPiyHTonEMjFLY185w9wCyfxuesbHbpZFVExS2qIYwqfk5fr8ua0tRGSoHT3EIgsH3eeuJs6sk6A5OHnw1sYlXigDKpxB6cLbr6s47BVFKK5UFbMRkNpMySfuLgXloZxSo6t8HXBokHft1NrjZuisV+vYyZglPvEqRWw2WEzbbV/KLyv+I218JbXIptxFHt6TXG4VvH1fGsBDG/k2T0NNMgbKMLOx8bZ4BYEe86jHGcQXr5OcCvLYKWXpafdSV1rzLoOaLzMYTOMcyeMYARwnn1Z2nrmGMOCRMH7aPKQO8JbVxcGc8jTb9DjBz5a046I4QVj8SG+9AEiPRpbdfa/5j8drqbolgNQUzfdHKXf618tHOnF2Mjrf/vWZA3S0O5eBzHPUsB6Uq6ldic6Y3qznUOE3Quh/u9BVc3R1GLZMYkVIy9DRLcWbqAPtEwVJbiVvofF5un35QaK7Sc6yLRkKSA7Dxoc4opdY6lj/w7Jv3HIWlgxH0/sdbnuzTOIZeWCORiPLO0kWwDn+wizZL/Hk4gJTaSJDsz7Jc/rCbK0t8/O1pcQIRluMKzMKjG9tZAOfVWP5SJni0j1Wk8Q5f6Bpv1dJszS/be+E8cd0plwUtYC+BkZaIVuV474oLsHQA6pfc5tbLwAezlmKP9oXL4sEXaQPAzmQSwU5lTAHSG3YSuy2ogDQdxFUBQCqiE+xT+Oo/vF9kJdRyNLI4MqNTPn8lUa5+kFFaqOcpoBdnwyId0Bn6Jt/WfltbnbKssALpHaSG3kVuZ8laqcpK49m14pB1G084Cw+0wAVweDhksvc8kRJX3Aku0IXA34gfshbeBwGx3S/7Q4oYlTXbUp5FHdaSqvAJ6j5Pn2PBVx5xVAaUPkZlDOiLls4+dVoCXjq6lPnbxFgWWwNaZ+Ds7663RMMopWmOx9eH5OFQUif17UT811/YwbQa7WWss8wJuzQSjZz/98TbqgNL+e2P9xvl1EC44JOziBJUOayT7HNjD0JX6+nhIcrqlV3M4lvWuxH0nYgVTc2HCOzN2Gvy5bS3fsRE60vUFpSeen/ds3IRP0QOlpOMA72WIjhRrLWT/I0OXqa2lkKDBkmW8QInNwGJ4jC3VXnfivIdsgu30bu/uLkdsf1Bof4XzBy8tqoiQH4otSU7yzK3P8o3DLbgM0sbfH0nB8gI327fnCMIAAMyqP8sHQrRyF8TXmI5x9iikGK5K5L/L6keBTJTPMtlBKKIzbBB8lb6CUuMgRSAzWJc5rmH40ag/OWW3TDLljjdOTkXmoUzFdfqVKZH0FfH3ZCIqz/Kj8/aUKTQ23EdxmvJBTPSajgHjthLirqXzrfiXYnLQA2fKbNWW4Ollo0+Rl3iYOnJYTaZVDoYpsMRJgzaSqkomGGu7ppSXUy8IeN+OVtfu+aW+KcXRmfSY1kFu7xx7zBeh8rKM3hDmBgZuN0AoCebmvVQKxl9waj0H9rzUwjKcQofs4jxp45a9GH6YR18/kWq6RStRAPB56XIwGCnv984EMLibagA+J3d9bUSuwHDYpIH9ClsqMoueb/jYHeHhHKyEm8T8zesAB5S0ZNlChrvPKKB4fQC/OV8MXhZn6OQiQR2FlzbmvXSpAS8C12u2l4z8qvqeMqJX3URBp8HbtWd2T76X+UoXiVL1pSLxDxtUEnaQ3zszSpJ0fS8P/a9rJCNoGr9DffKjlht9ZIigjnUnyw5M5ztY0SLb6492wcyBQsCDy38BSE2xsK8Tdf5jWK2XSAeBOYgEvNUv5nJSlHUizlV6PqubL0Ha7HbeSHC/NmOjbor2BbUuFJELrqkgvAwAGJ54AuINTr9jrLk0bGwxI/dkWYHXat0te5tv1TTGhJLCAQRoG0+jy8hNEDzN779c9gLKcj/580ruclwBbcXacuuvSTqi39I0OuKgt5M3qVUPiMF0zjZqCZ0rhKIe/oGbAp9+XWZm9vIX1isRfrm/9tOEYeIpImj+hQh571sKMH1SRQMqzn0E3rwLoC7ANYUM/FfVmtTJ0sUiGC9eAywFL9Buv5NOf3eQ+KdGvuq5vFeXF9LpeoaQJUkUyE6BiWLD9s65itPi0Oc0QUsMnQ3ttGnjPcEttUEs8czB3x9/JsYMso6788Bq7zZhTGBqB2yc4Kpo5ED6jerOSjBCi/Mn8bIexaNSrRaM/q+ogmMxm5zEWjU4IptqblHwWPv80yheFXrDFh9GWKXtAEfpdWP73KlmJN8Amn03Yf27LkJgS03I7ecfakSl9T3Ve9vyoHIO7Mxn5BXNZ+rxYN7H0E6LITxRkS0GiFVfNJ2NoTHK4Y+FLSgmy3pLPT5zcSLx3xexuLQRqapOUXvdL2rX6VMjT9jE+J/rqYD7/PJMXID353qnX4Q3eEphERxR1OqtqEqZNUAfUupfPC2vmiCqnkkU6Nl2A5oOiVzqWbzwNFLSB8Z3AoBHceF5fNOaifDJqfesbP4yE9F/5SykRWIfGil4Xqr0qWs8y0wRmBhGU8m4zFTBUJsUYu9s1ZUQ16K1rF2A3DUjyLRqu8sFZwjVK8DEhAuj9KSuwighyr+hP3x/MzMNJXpEZ1zP6k0e+pAjq/RZaxCqi+wZW0RW1D0FnuPWYquNgLrYRHWAaGoar/Te299foI7gz36+bszNtyl9vPoUsopKhuIRz43D+usrwqTAfAvquk/uX8tnMBKAfs2nkafxrc9ir1ahBnc0k3fQRp9FKRuGJBpIVSKBDUQ786TAZuGaIm7ptMMzAO8OH7p/FceNvIO2rCMOGdjQiEhry0yNnlAcZFJ4sREf2dPChND5BPO1wXij7mnnMZkTmDEwOosUwDKqnBHvJH1i6VtivPfgcuBk9wPrfDKofu1R6iiwasF3UMfBj+27ys1N+kUo0d96cnSaKH4ycZGKdyF7C0F/RReifp5+WYvkdiPK9BKcGdzFe2FajmxNHM4oQeOlGgeVJYty+X8XMTlc2vDTVwlE8r+p+qio36Ee+LWo8+8tB6cg5GAnAndFKI4Ik5uMV6veu86uEK2nDTfLJZMX2D+IcmwhDGZ9cNA9ZUC7STtL+hf8b+8Jtm4QUvWjDRkh0MJJGVUhqYDPSyIIpQ66wIi9IAVWHbt2zqiaBOfxrEp3lFZF7NhrYoPl4hWKcdpU1EZCb+xYlDmV5Zu42x70NKGvH5IulqxjixUjExmLcZPPLkZB5oOm1IH91u21nmLF9LptJfmrWRdvJfiBJ+Xa7f5StAu9OAQikQAWzQOQBLO2M1iXa6kbzS4HR+x1Wd7lGPZIjQCCYtQljYq/xTlH/6dIv7/l3k0q24PGdoUoMEflVx1CDJ4C1SKUQq0odciTYhWoKOeHjR9M0LkUIHGGt5ZFn+9DuLLHxVB3cLxx1TRZD6oJfHVFerGvnJV6Si8MPjMBhMR1IDkU6Ui3fUjahDHsG5OQ8p7WKKSYpFv0K0n19EoxADoi/YfxZFhL1wmJKnE1YsnKv21I6zZ8G9gM/9Om2/WWz+Hq4hla4CXnT8KNqmFzBCKYXNNg6MH4qtKlg9QGQ+Z9UyFXyXlBWNkIajsVi/fPnFth4io+HfCWoBir5uGhEMfRvofsYb8Nf2sUxJMQ3egVk1hcSjhMuzXFKdBENPJm+uPlrfMnBFPGP39D0zLcnOM32VoBaBgkWvF+3a5uWRgEkGf95nkrtvfBpliyhGtYyuXf8WOXk5lcpr6BG75I6m1U9iKIxiDlD4kwDj6K1sHRJlRaK/BA/S7qQhqA25D7FVzumfsxoL9K6t1HLfPiHqLoeggGHFGi05uOn5HavUK0xKYBNGCqVEm7vhr9t00Pur6X6uqVE4sWU/BKRMQdCHpIlyxCPF59SjVXZIQGkfym4PJF5iVyL3ztsrnRkAnilXSFjkvt+nudmB5Y3A66QkC1tsdbqo2/g4HLjIAIiUMLRMbphTpxCE/TOma/mKcgKDrgUXn68OYX1QqaN2dD61zZ0QXU5Q2q+o6cu2RQ93XLftb9jINhca3a/XmYjuiUjzn58UZ6tBIKNOBwrUjpaz5vca1qH9U7mvs1A63OhU8guNvHLMa32nGY/fAQmTLdgxNp5JmWQs0kBPQb3y6zInafZ+Dt45m6zAYRWDYmi5uMmqYvuUyjaIvzWBeihh2iJJJzzFYxeD11xxOXb8/+Heps502b4tAxH6TX5KygBazgJNayy8hMma7U+hY6ITYoZf76jBW24slmtEjZpVY3bVcswpPRMrlwJUjhV122RWMBK4Z8p/g1QjLC2VOI4GJN7CIRbjdBventGUxKySnr6WkDg2nwdl8EJ+SYSbngyJHglUGsQloT99hS5joMCQeKr/K1FU35LwIppWqAnOhubiBJMVZf3xbfhA6tsT9nNJ/iCViknKZjftqSYgr5YIf8c2tk2z4YQDauAp+I9rU87IeaFyN4L9y2xXgEv5z4L4hiFVYAJozo3+0EHu2/EpkjnW5BIANmf8bEuJGXm00N4/qOJbK3NGV3mtLFTOAaev2ax9Go9tp7wqAIi9udY1JkmMpiWUFkV/dHoRGIFPzxwfRVWuarTm7HRXwbIhVWJ5fA9sunm7Sl0s+YrRd1/vXpKFths5K5Sk87r1UXDkebg/u4BaxvuLovM5DmnmejHDD1NiBAbkfbktZRu30n2Er7KekABr1HUYNr5BiQhnUq+RhO7HUCNQE72WOZmkuq0vhqmDeyw2il7LkyY4o4ANIWJ5I3DX5rkprl7yjcDCjCuN0zcGcxA6rJO3uhgQfaQ2WfMOHueFGgOs/bYtbn8en5EcAe/lwbvEXMkf0Qn0HHUqHdaJKcMmLtlcEuV1MNexbamDh2YZp5Nd65LwE4Y3x2mE+dP8exUIrybiUJua6CP9eDzZoPO20I1Ls3tp3wGFzl0Xqt8AdhgNX8f1mEoniUt22S0AsQqnoCEq3btk3WlFQJBFZlgLRSuEasWiwEt8e1IEt87M1ax3etE7sao05ifdtKmC7FzecHZO7R816s1cKwe15a+G5fcoUlmHJFIeb4poK4Px9HSyK6xzHe8Vpq4Wxg9djVjpte+EYQvzXesWeMSzCd+b8oTCzheFHgqwlqtbNC1vsqHIEp8JeZNRydTzOWRf2cb/QWtfJFg0Ks3b71hp74gB0QNwEPGhL/z3jIz94XJ9ylo0uqDGTxvgvMwvHzZvlMmmXd/gPB4fktyNvx67MVZoYCBsBznkxEzALad/ZlAxBc5EE/8rhoH/ZZCpku4HxPm7PEVYf+5r36pmE8kiHTLi4Y3BA5762lHBpy9SrATSklRMuTdt6dO+mFMqmyvJ0p3W6DsTuwn5h3Jut6oVgPXL1TFIAUFKMS0DuP3hEYcjT/2wHIQNNNRE2fupIxNsALt7uanMLM5u2MTf1rxdYMV0oYngR9hqXmEMi2qjhTMeVKqnAEOT/NwovsPJJb1oLKSYOohS8ZOo1htxOMjYsG6p0UaaxipwZR6XQivInMDRmHxsQgsQ6aBsiXfU4zExIausLiDIB0IjBgd8JU/lQRHZCu3T3R/BHnEUeJW6sFoyWkP5CTFTzQDkPoZNw7PPdnXgzvSCPD+t62XxFr7xqyuLivZCtMQlHn/VWVsg4uZcQ3uBSqm8xhlfeiPRuqlIyB1sV2Eb3/g8+HaaJS1LWMRWSBff+hOStN7aFnb//o+E6xJsIHqwsIxiJEFgFjUO2575CYBCI7s5eKbt7A9R3M2S7NbuoZ1dyFUAIJC2u/8NXgyR0JyiF0s5Q4npscadr40QT9SAMvQuto9K/e7OjbGTXFWpo3mv544g61SZda8Qv86aYRd5kx5zwC3Cq5K9HhSZvpEW/FWwc7bU/JPiMopyqMwsPpU/WXVdEGZmtpBFv1wa8cFRrfcJdUUpyvKBMMpUACAu/jSTnp4sqBqx/y7ooIGg11UAn3w8z+8/IqpUM6Yrh4rX5RlbkwPVZQvCktJ+kjt/RF17IhuhwLg5VsMdBPBKTTYYL4xG9ACuoBIcPktkHuJNBfJpyRNyj0Z1Zz7eTlRaB8JjyPfEinfLG6i/dCszHWg38qE4R5l4ge4y2mq0a0S0wGPbmpf9eAroBvLOKZ40p3OPJTlo+tKf2atat3T/zMpye4cvpJHQraynt7YIqvxXXS6VNzgdeG2aErf6H4TzKd2sKXMpK+3nxteglf6cHmLDvv0eV1dcm2dJebQucz4ZAQLfLITjqxzOeVy9zH/w/DGJ6J5aXDvJfYNW1ZfCVN8rM1XnymdXY4I0/+re6rKRI/8iXejcWgMQhkaWLymNzIgfukKeIALz1y53KTxHY9t1SPFlAMWS6X97yqUpYJoSdkujd7I4cNXIQc/saVtf326g9cypXCjR9R8UatmUTTx5A2O6QEROwnP1MDBRxDU5Dp0iQWnnp+RA8hEhzcLCMeVOv2DazYZUZEVlUtoIBSGweKHwo++bFhNZsGGPpzlfeO1zk1IP5i35Ad2sVUbRe0i6URqWVfxZ9ZqXt5lfPnq6jwPoa/lsbtczh8OJmwK/Cm4+28YeuTdy7JdH2g6IR+HnQbBgybTfuT1ZQ5VTRj0iO3nrEOeKPel9XJBWQ28tKXLS8c9kp6qw3xG+Y0PPGuS71FFatWQjXijAIKCvbTvkEVSZtkJF4JF47DMW+BxY7N5INyPf8uI7dENMzsc6JBXuMsqE2u7BW6u1hiZjfgIGMGGv8Ai5hkPs1fsXIKljpC2HtMX2MBF3dRNYbhwEVykvPTO1S2u4bWpgnJP4sz9/VpjcXVcJWlSU0cPZ7/Ot3YvuQ9AotEXmpt0uch4kgMkg+X2Vgy+8OR5KKRHJ69lYoE+13wzVfHitLV0+yeCkYa5fVFIy7sU0ZetdtDCNyVjkgZBZPEOAG8bOu1P5esHjJ42KJIp7z7AC1e2ztKsP03ikMgRFqubkOSL/44tjJMUdBa+F8vVeIGwyoLnoxT/wZt9zQjFc3GwQ15xRehBOTwFMqqjGhYL0pZm72nJHl/ILMNRt+m3KEHovD9DvGTtnJHK27HVU8ZTPaTzKfDSy0U34j4ANJf1haiimyRD2smUfHlBUxP6FtRDurjKoYkWMcxSCB4r2/8kRaRSs5ELjPjIMKDC7T1AnBX4WPgtZMSfEwwQp21axV27pF025qNwJXflZU2jHV4lcjUPWfh9DXhlxw2+cvxBEtksU8GtgvNClCnRKM6enyZW8/VDy15Y3WppUIviQIc/tEVL91/j1geiMYPg/3a4lhM63YPq9NygXEq9D5iIV7e0BDEEmk5NEsfSWfAFxFtGuL56BdHHOIVKBwUwxStfFxIX0Axew7Q/kWnB+Ci9OQKL2HND2wHV2MtVUPS3a4g+C5dQDRZ7Vor172kTohpHJ6H2Pv1FfIWO5jZ7LvvAZ8isOtiigy7vVfyr59lm6VQlsAsyVX7L1R2ImVL/5ItsQweE+xwFBFtvG+ZJtFwWm/Dr0HL9E4urrnrTIR1WTGDGzFCOnXYKoEg1qdNtMk6BrZV/w5fwtWKvDQ+rJlsCqyuu9h4rv3Q8iXOcYPrgf9atWMLPBz0N3XKUbjDfaAa4/h3PqT9+zZDA7BjrL25++cimfauottHzjLq7gfuIQNOCN+TIwuHWRln34RHUFrPYS8I3lfLCxzLMLpOefoHYDnWPS2BtSgwnal/h8eap/28GyEnoj+qM/gnZKrqPa0xisP3ddO0nY7+/3/pYO/k/Mz6/GQn2UPvWAJHdNnKjW5Xyj8NvUlnXdkLvxdjwl7DKFDFCd1JO314BL8+thTsu8wFW14vGh+SNJfLqNLj81qBMyHM/OvJ5aN6ydA9GnJZcGVnLWQE7S/0MiGZR6lk8+h6gctH4cwibemOAdNChZlMY1leZ81wcqJIcacZb5QFYyTGNQBX4eoQIRf7p7Vizki35se9WUoLvHnhzUh2YE2iY6jaaNEKazBuogz8JtNB/kEYw7y1Jk0K1nTftk4CFRc2IYoLTM9Iseb2SI8ADCwAm1Wpnkw6Dd5g/mh5pEmq1bEfg0LpjV24TXflj1DVvbUMoksSviWoxNdTJIx+GiCijw2bCqc6Y9O80FYW/KXiwz2frJguJuzuIOZa87JRGkDzciNPc7WNaG4TzJ1eUoYdFDYJAC8zwvi7Ne08lZ5zV7wF9bEEAFucaJ5we2tzLh9hgWxi9BlwCElOxdjb5VIC+3uvydEfeHV1mOo0TE7L7PCjAEM/h/Ukjq9uIJXP1xO3t1d437YclyKth/P9sEsClvUuCVnNZvdoedtK3Ta7yLl941OvLjjULSrTp65ZoK3mA+tAljeFOReokBYmYa/3J1lFXZRLYs7Utf58feRNb6INkLzSRnl1r5nyypIdwtTYPHpS3qTRIX0sNwZc27E/0iww375o7E/yu6ObOSdrx/oj0UcspOkfvhqLFtnMxIZ+EaICsGAuEQ3PLn4dWhYMOxooHHCmBarCKyfhBDzB0Qyq0eX8lwSxMMDi24/e2UrvZ26YJTe9YD/tyDhmWOf5C0VwFep8rBFbJUKGlxGwMxNC9ZufzeTkpruar9ykigvmgGgbLr32Uj4e4hFfHt1izT1K4dpcFNfr8Gpd9uWI4XjolmyCJqPAIkesiduBl9j1eJk5tHWD/CCtPq3K3PuE5X0a0Cj9eN38fHyYy2p8438ULzBrTTfSSrqAUWEPTFTirfPSPeX0C3l5bLeqVaNerHQSiEwPh50HsIIDlKf34lbnyO6Je8JHgmdHVy3aTN9BL8fM8638XDr27VGpxhQBskzT5/uxXeo28YOchQEWdRMVTb30HrvqMCGoPEGqJqbfll/Wq3BCld/3v1r1BgaprlPvj8lbqGOosDFT0Rt2lakvhTd8V1txNpSJkBfj8E6TX+f8S2nJGetH1605Rn7wKWcnQ582lea77dpkbp7NEFIsAtPXGqaBHDM6+/k59iuSiyhxUXmv8Y0wqPj3kobMoYTOfgQwSDkj+wDU+kECDmv47WESz9PCgJLqouNzD0zpsyyncxYbXghzOHd/XsbVHQxZIGH8Hx1H29koMmkdpe9iVyOt+MGwskwXvIoQvnJCu+F9f8zbagMsIKwp+oNf9FnbKD9FB6Zweq/YP3GW8TpDYJk41Ly/E6Nv6weTCeUmdaFABDvcbIYSIZ4E8hIzZL8Ib+S3KVCaNvr+ovAKu+7Ut+5drJDthGsP3K95+ZJzeMrXsGEmDoooFB5st+S+ziAO7hbkWBzLFX7ICoAtrOq4sF5QhQCfKV799zpSA0+UqNKa18MceSUIyQyR49o8oIQ++R1jGw9czApaVivtVW6V5mDK7k59e+TXAYrOqj2/Cnxw/V9pMdTjEeuAQXhQjinAQGBZbkhccfH1YvsaN9EmDDQH1RWy8js8b7MBfzqQplPZ7gfTCTcH8Bh/wqEKsd1u8cJXSuSOSBRZWMnclKXwUt7FdGpgs7K6TKYI2qBUoqvab20J5FKcqjXnEYy66Qa4Wvd2lt8ax2zJFkxVS0S0/2/YOIscP4B58166UquoDaG97WxtWZtJJsZ6+23h1x6hhwktUiVWiYxxQczbWZyoFAUj/KYnpsNA42fl8Sg/sHYDjPP+5dvZez4LGtYMT0hrPSqFq+rISFegtOpS4hbRLS3zRN4coLO5PRgmpyiIRe1ygFhRW4XxceComN2b3ScCX2jAUXPKcrcqYPbTBfz/akSu72gXJCNdcgZYBZL4jPpBa8MAvathPoCz1Cv44CxAxTjwrVBp46tHV2w60zM1YVsi8KQpcv35clAPrUz4s8FFTLfQUWW4shdQifS3S4Qk9+U+HO8mncVW7Ha3nK4f7jBHVKwaUE69evnlGEtTE1uOiCBY5Rvg4NOpX9ezk9dVtoM6rj8o6MysvzGZcj+PFSOYjf6v7+5QJHArCdW50O+2m9xIiqT36IRUw9UDETqX8x7F9wN75iSDBhDJQJJh4/NPS5kgst0q0IV4TodCYq4A1WJRMU7qB8/NEMwMjY32bSX9EPAjRdkhFBKtx4KvsJnjQyV9rM18aMuKlB6IskY82Ug7cVFojzose9UxIWE/i6nieaRx1LaS124DmviH3UtTQZoI5iQFbqUMOZ5g7gYkilwmyg8cWN/1a6dss5rsMUuuc0lPS1os7RZDxgn+rBDfk+WSARluhG58qMbXuuZhuUzX+PRh8almcwQcA2byB5gZxiSWbY1GbXX2892ULnBxqdXCdlI0dtbUwSMGqO0r1c1XP7RfQBUImxXJxCZDCQ9ousO58BMLsKy8I+6bPVJm6OwSm90Tsh5ecTaOx2p1qg7eLirFYmaeG5fzXExaUlqtbXwiKu5uWMJbZTK8UdOAOabhuTC/ViSVZRFemr+3p5wIEe5Ou1QsaSGxSsGOsBXYoxuOL2wNSJUh1+9uZB/8t1Mg70rQpgm+vw/QYukAl+8CzjkdrogwLQfVvxPlqLoUyfEVTEnkHtvIN4NaQ2FObgYySWeuuf0IPPwEaJyZ2KWl2TrMSGuwR07IxGZwsjfqYSRdVOcF3/HMsLtJAaOXz6Epu7YlbHg7OazHMiPoHW8LWRRmHfyFAkcJbfgpdHlH8gEJtuXrMWBcEVyWdHBDW0PJ6HsJRBm22Cwc5UC11OAYp+BQKeXLd9/uu7sTFGSbKB5+3aKe0VKJAfpWLfKK6+PZQlsBKzOQc7lb2j8D6sfRzWxW0NKbiIWNrIArmTJ1MWRY1qL77cWgiAfLg6kGZvPSTcjZPz9u8v59sYRjHs4Nt17JqYbEjj/9vYyRkTGOWO1ENal+2SAKzdh9tJhyI2DoatQZ93kD7Mxqk9vgQzlsXAz3dd2BFuFHeSt8TcQ+JFV/PR85NymT77ALmlMFXgq7Qr5uDQph9jGv8u9mQq2Zc3E7DF/plOioc86MIc7ETAhGBQ5sfELAbA2X9TMtbhrpE7/nl421bVk/KxqR9OGmlKyCU4cc+B4C6i1ufoWlPh7mDycP+ue9slP3IGDQSseuZ0zs/YxSx2eJmOz2lhPJAEVEdcnilSqWsR8L85X7bqUz2PCOwjUgsbH1YEwXAdbLlgT6fpeAnqkvrDvSNLLtWcTpPLene+uA1WPafY6R98dkqsmB0EWSbyWgHxrSN24tg/v/CLIl2zoQIQpdSgHmeeke8jTNaYlA2GClikB4S3Y1aRLzx8hEanOQxDUWjsHSmJajrQRCZR2Tzn4xT3IH1b2olKxc+qjbHbzEIOGc8DJaDAqfDp9kYj5miQAKKnY9tb7wPMWLPpXFR2Chbj40fS1Blz7uQ2hCwpbuVrzHtrOI4L2q05/8XslvXcge/oMtCfZ65mPD7YZc38Ri0MzdEmbjbyDkFq9/FsgC7x0By4icyDqIu6p8PKnJu4/jOPtHoiSsicCaxlB78JXpb6LXPUC4chdDqnOA0MSjRw99ysFUNNuICKWgHiiX4RtQmHa2vYGjapUTFXzgOUrwWagiHsV3A2gQpAkTnscpPKphxvjV/C38D0sxzuEGSIN6aa233nX9eAGFDCMMFH7H5pshA6AP3gkll/U6l8a4sNHfhObaS2oujV4AxJIpfjYUyZae/fWMA1AlsfyhxpXyAuOYow9XOkVjKKsBIkNNg9giQMVUrR3AKWDy8LNjUum7+uy1NeAklSBvUkHAIlEETJy4MmwxdS1TT+fWLbt3GnvZm7GtX7lr5dLsQKmBaQh7onbA9d0mmszY2eNHz2hyw4aGEiPBFCgTMjurDqhbfYnLwzuHs+IozqwL8Dr8Z9DdVG/KBqAUilBMdC8AtGxMresNl1vJqv3/k8Sp7BmAle4bXhK1rlxCv/DPotKNXOEW5CZmd0fXCOM3SgIkr5Hiazjc8rNgoL5WafYP0AdJx2IgDc/W9SsK6PVDfPNB40xj1iIcEYbnL+Gej2DnKm/TpbNR0a4hLYGg5RQ7qkKUS4Y8PNLde9r0oKrQCN+7K7sgsIYYciO+9sh6lqlG8yL2YY4wpCsrL+OoWOSkhLb3gUFPqSAnvIfaJw9bUOEIsfx/xhZof8dLeyclNJ0s3EisG7kFYn8+DUlXHF35wwNLHyIQrtAgYoymTP2kb/zfeKHqZzGuumwQhm53SCbXZ66Xfj+I2tf5jZwAjK1qAGXcbKIb4jGwThmHuMueFzXwL9E1fVhGhAWh2MgDSYeSjEE4kQfHqv5gMuUO1k3s628sxpkywdGb20TH9UNI63K3la4/PS6HiHSpDnqNwInc8HCXMwHydKXsgKX3oMPmA9JI+9vcb/jU39pY1aYJfLVsL2cz7WBzkHTDASPAtpieCLyKBirsJj56PGMtADU4YU3a47HmL+P0OQPThQ16SKk6sV0aoTzfOO3aSdXVWyhLYyXEuYSzbXS3ArZPfb1jrFDfSb2qCQn52+pFZa2EHVxxGxurcgtVuGlhLc0RxfiSmEcRHgQYDmOyHPIuYc2CMD5pDkUxH9S8F9m5LFc0MDctbCnhBpPu18FJwTmMOzBuMDvss16d3Zw6b752jW3R1DEp8HlT7HCe3Oig25nVRR8eFkxgsCXPe2pOQcQnOnndr7/nwoe/ZNXaEEWdKLDYBR6VVoYnhMmsRKr/c3NZC7yuXSBNpQ67FD2ZQvvOQWckAtu/S+tOMZ/qOqu+WdYwi/u5h252R9yBnCInsy4kfdBxBzPu2TpEW0sazAdsNwBBCfU4rNLzDfZrtGucTpAKpzZ2PxROvclzSvzDetjn4SK9GEi0vvowXE9yC4kzf/q+VSozLTPftYIox9Go2q6cviUUWWp1inkuVcovKETHI253i+ZTViTWpTWpRVlnRWB0+pmg8KB6whd2WSbKLRjQMdLx3tk8L2W+oO2p0qVmjVnWbBRwj52wHMHckmS8IkL5YcEczoSE0I2uztqiSM6mPVp49vDaPRhJSdSJJqL6NeDD5kgfTjZKK1D2Qz75ZK7kf2r8+1HmOElf8EJkYZu57jVUydfnF1GkaUaNTPomBLDJ6h4bZu6tO3BKYGpFiJUfTCtf3uRKRW6BU8Ebs3Dwh6r+BtGqrWzMwwxgqJ+mmVuCb32eUalL69EXIicM57EhLA889kjGj0+423u1OVJ6v63LP+ZgKeAloup4xkknARdfvc5VBu2OivO5h9YpjYrqgRf/xNaPQt7QA/CIQ4JSOdJIvA1lr4yLM3i0Ke9AqjTQIvPoIbx1Q7DQClAnlV35iD4Sw9u5C6FI0bqhpNa8+F3iBGpz97dBn8T33XXmrwVBKi1nNHbyrzgFmXIsEU3VxsuAAhUIqMckUr0a13bRG8thka0x1oo7v2RC7STRUS95jyQKq8fbEiEWEyptwA0Wo5WDviFAY2K2lPx7s+ex9Pz6ZtPksSHZX4p0r8vvz8wh1eYTiCzu00vWSmt3SczkZiCy9ALIsKLOpaTxSeRD1HMBUzSmUE+OVbbC5XJ30gph56b3ODbOGTkWFdwZU3HEaIm+n8f58xrLLjmR7vuP4ho7VjTY6cBg/O3oJcYsAE5nX9mjhFvlpGtS6q7VZWKUTjOGqwy2a+tM7guSzdwvM9gClgOmaUFYSyknxQ5nwbwBBMr8uuUmyUNp3eZ6/ALmy5WHGqebQq1blsewTvNZgR47bAVCk017Nxw8OrtQsY0PdNKgDxkHOHzk7vUTAK0Q1T9XJiPJe8omVzIyqHYpatQzSBnXVO6BLmOxO/IN0Ms5Szs45tMffMHRmmyLsjYfNShLND8c9hLFGry2FOUg0HYhybJpR1IbO/zshlopbQoBVdB5S92yL1LNX0COomCkJkjJ1dBgwA4NDuHHJe8EqEn3qfu92uvCU9E+iSDYaqgr6Vj2awdJtFoXD+fnDDP1aNZwbJob4G20hF8ibmvJCQS/07n+XxNL1ScYxfq6o58JRT1YHYyic0zM2Vfg/xkcyQsHSaWloV7s1wnVpHjQC70FdIocJv7Ck22hUTYcWFy+t6OASRd+YmLwR6t6xQuR0uAqSQHwuJUFaDRNx5PYDLmy9/hThdx40aumZ03+gcVH9MQIL2Lwsn2lvZJInlhTitGfnh2ABBHxgRj8lg0PRE2i7HgnVSB1RnjjyPzX2VIaHz2nbnpgXl68MZa7MlFNSirBsLUvQEqAnuGZub54k+BtBjz6fpCxn1AjTtpxyGZ7Fk9dTH3FqnzkHez5gLwDBwpXt3boeIQIse/31yNlVUMFhBpdZqLrf8edcsIdp6zCobk6VrZq8JizKDgi8UV5BWQnTEgBcFeX3wgMngPnM0OhnpPuPoYhLgrRUVgHP+qZRSG5EbNVdXOPkuNWFwNj2sWmbsqxForB8038AnDWGULFckUHvYS0bTEhHkxtLR/2Rl4XuWgOZRspjRyxtDybNgj4eQ34t3itngWTsgRfvRGTga+tg0+CK7JP/Rw1ZRIfbO50D1A6I5AqW/p8ZVHGpf3LlnzxRR/A5VV7nfXhpJw7Tg2nIG/+zbM5CiPmuZvHtrsJXjgG3o2GzQqGM56Sfx+EhUaKsSggo/yRHbJX8mRbh+lF3hFfJHHlJk9zrCZiilXHqF9P8ZnpWzu6JaA405ILgetbpN/RKtMvmF0p4EnmRvdLgSlEDWD+pHGFvyOzvrRrJK2jzehPTpsx32cwnNvK1phgiLL59cRjmlXMg01JufbacDYnzMLN3AOSVtZqzdW9R21BC1YpDMHdMFi45tDbdBKdNp1EglEIkAZkPIHWnI9SITj9vLuCd+/9nid2CJvsul9iHBVD5ipb39HRUjxvLRiz7Izd5E+qG0BleHYWwU5LatEQ/iH75QaSO5s1fT5Fl+R6KsRwQXRNn/TKwdmfVp12zZHCJNu9Qu8dsK//3S5kRkelFFtkEJ++QBnqDMn984yz4xdfSUXHOg8uUsBBrew+6FNahqgMzDUIfXzhJx1eLdDQtNioRZ2Ti8BvbpYAPLwgF9/FWSAWi6Q9dSeQmxTHHCQKNdFfEHcqCflsl8VPU1GCeHUphO1IhVI5v/dHD6VqFFHZ7SCA1cwDIES6cLvU5eRDdvXB+3KMYWb7yIlWwnzGG+6WPEl2GncRZwwf6TEAttoyNcWI9X5QzGuAVzAhzqazK4JsLyUcXwwWBddq1RhFv7dBBURBRkJeR0JWYUxDGWrc57XFyFFs+kGzpnB02wK5G2yD5HxrYAASR9P5IId1GlWMdV0bTk5+eYAzsEUlvqv5pqM4OiYVZGQPM9CL8Z99eiazMPA80u6sYY8xreUwF6WJ5o2PF7hN208ExXKR6wWY0Zp//glHaCwMpDOHnoURfOOFrre4V+TgdPcyYec16Uwjw5J/SoqJvXRZDTm4fu4W3ZdJv5n0x/9mLlQfOCOMVZbqcrDeNi2q9Dguu+2IVablUMScBUJf7w5uE7vj8huO1zOXIBWqnVnHwyocGelzCqV9cW7VS8McFzsp/PH0PA6O48ZKp3SU8ea21/mnk/iZU/FOCdyEL8h3Lff4BRIDDLFe1NwILQ4JbIJLSXgF5SWWsa9xiRd3jNslxQLa/rS4ywblvIIWDyGjGwqGrpB0E2Ko0yNI5yPgs+XchjqqDBW+arotCvztKFryJ4yS8LvQ3CaS8RZUH1Zr+Rrt67uFdyDcG8u9P5D9NxQr1IqKA0p9PoiNaBSM1fV6PiI3kiRTekLIT4arSjVEANThYPeOnxWpn/viFdWtBAYX3WmC9suTwc7ERGjo1bs8QcA4yQNFkqfdF+WpN7CZcxpEIJYpfOOif2kVr7BVe1KYc6EIZ+MqBvZt616Vhl9Y+zVN6cl2VSmSbGbN+R6hkdrfkNkW0J2TknZXcRP4FZSf9azP7XperYPWF6S8mEG87HOKQe70ccfshcw9hP+74OQlgOSWIXpeG+3ji4uV3fNAoODFpx1KDsz37OTKu8wB2QRM2oSiO6NgL1v8SmUCli68Jo9O14POYl+GVF7eL6XmO5ei+5VtA+MdkY+29+L3e72ZYPR7AmHoxk8V3LV8Tdwzb3CNgoH5jU8jUWtIC5kIaYkMBoyaGKXPNplgQQJpKVY3GIbqPg90U8bVuhp701z8SvLr9zN1bQuWUcUwrDH+T1rxWwgOVOU77rN4G9/qmnFihVO8Vc9plOx7FykT4aNwYsa/RZGDr+pFlZWEqmllABt0FjC9Qcru70hECBjCOfUXayZowctSbwwO+/hzMm4WBxTNwPyocKMWQc4cVREMCchmxVsklHlSzpC7lLJ3q0VLeBl2iqXlx4DrliqXD7h3yZv5X63l5ocaRXqZRyo2dg4fevi6XpiUD6Mt0rtpZq4sj2dseHnui/CicdITFk5NzQUkcVTBI9aJeTurUbhgcwO82cMr1huxlA8kmkNFja90K3MAbAspDCMLbYiAQvQAqYxt8n95eOpBlGx8v3HFFQlaMVmsHu0ta5qeK7VI79McTiQ0d5shqwDSJ3D7TGx2X7V5KtOKj3+AvVabhSNQEza5Ea2haY/YBPmQMhZasajwTkHsMWEmTb3Udlg24wievRmCo14bbjXGnbraUbB7NDVVZOGc+NZcZChgc4Z8dOxJj9DoWGhZUxKGvKiW8otzYUyKYTgXrL9f89e3Ywo5Hz+4KoORpb18XfFVFGFuhrrmroTzm5dO7jEr2NchJCVnDFMQgWX14usH+/pGSJZlpL8LTYiusRTRSfRIIPHgi6cvEquL34YAl5NXBEnahSJqJTu1QhBPvf6Op/Gd5StqVr/6o9SOn93UOjIQTU4PZaDqXO45Tgj7b3Z9eEk07TdMuun15eHV7Vml/nUn1Sss1mxR9/LLLBBtsmvwRhHr7/ChfM3disZhc1MKR7Y/PEbkpQmCtb2/GNY0tuJW+Z+OsOpuPE8V4WjYb4TnXwzeYhiO/RdDku1v1laiTf5Lyk84oNEHA7owF6ltNyUcgSgYHPMLP4zLGchUIIdBB6h9RGVuZLUfU9uDA7c19v35wi7ILi6G5jnkSNvCo7b1ooyt3SixzRfTmoWtgeZZrOpYFa13mEnKhVzw/2MTZnfFw1mmbNXsFSvASZC8zihGUx6VFztPjosD0BsUzBgr8/Z1nRTbbi/WH/yocJoP+d737+51BQ1nmFiARKNjZnyWvZhU4zTefAaAqUATd5aZU6SexWL36MdPaR7KI8MIB7r3dCVuNhRJjTNAUqD/6cPBkJhL9TiS/VIWTcU9UB7+wNjIBVQiBG2TYiqYUdRUCs3X25dcClYQ7zNsZqumqGV11Hz4jRubzvGuoZ0eEc7Izp9NMVgGKarsA4Ww6FMVqKhXPd4j7EDMnL0yMxhmWMFYVObbw2GS/nKzpTbmsWDIZISEFD0iuLm8ORwm0staFbK2RuNlK8iyIYlXjcZbme+kMAmLirwadiKBz2Aqyvba5JtMFFKnjYFEzRoeypWWa/dQm0IGe52+A7d/pF+7fVivcujEZWgwOATQaEn4tAQppxE69Fu0bldskOXYkr75LH8kGnP6to0ioAuKl9OmikqYmepDr5lks/w2zJ8cT+amLVQGr9HwJ5UjAc086L00nwu2Al43/C7HqRWI4DofiY01589GUDGUR2NGVA/dfvEtmkQbjPaeCjcJV1zfxXX6O5XssIkH+4sU5KxuLqW8kT22+nlAzcS/dG9D0JMhw8ESm+QRyE7LKIqbHIN6QnfdVwAqJxueNOxhGYn2ZlQ/oGFPymqeTHCJs2HWa0eda9XOC0JT2q4vyLXQhT4DiroGRdMAr8pTImIJIcUL5yidng6qmjVfiyw/n1XnmpuXI79mGdnA7If5S9eIRhSDbKPBKeXmGis1OMTBG9733eUrCK2AS+KKTDGOQYUtuHrNX40LQRSjAFvbve8Y3rsTYgcq7fh9aHXx1LP6U/Rol8aDuySxFmOlXpACsfiIfton2qaVwTq9ij5p4Qr9mqGvNmu5iWp/hqs7KbUpk1jzWw0zxKtr4pSN0BhUGTgU5wwOmrQLnTtK/ubsC1GTt9hP7gV85Wi31Ua+T6NDvxJkt8GnPARUsOawij9aj+Bu8JNghUfnFMjTqYFm0H7aLe5UEJdYEkEIsFt+aTQqg5oDmtqMI4U+37R5X88GLOTMpfNs5ZdZ5tRx0xAmJzQ+B/7zZBxEj0NlGT5u62mYVNa/1eKKecPxAQ1Vcvoog8thVMCr34cQMfQt4XS45ZG5ZZv5CHsleNccnHFZihGSCZh3anlVu+vQ7wBv95whL5FHusGKyu87dcOZswHqm0HNM6K5sfU4KpgexzB/0mVCdWAvKgpk01hsIPvCs2BAiiN1mlFl7gNzu3l20AvoLrGt7wbHcBlEGyxW3MfXPIPHVwhhKjJ9CoSg20brL/c8KtmHeiJ9ZdOotH4TFgxD799aE3V8DB8F2EwIbQzLWb9YomgXB48QOQrVCZZskL7ZLPmW1aGKa7lWQ0axS/XjtZAcNRY0j4iJ/nTc8GCR+izpAFgdeCq2IqOBNBQd1AqpTVrlDS1mSep5qsh+eGavDuuGmoHL/o51Itmmud4I6d4cV9F2CI0ktlPvwODoB48wPRllXvhsNVOi/A5ye0u86OrPZJsPI9EXXwlmB5z716I0sL9MbIKmewvAqqCxgumr+Qlz0xa7n2pqF4sEwQg8QnP6CtzpvRtNbBohD5bnpD+whfWfbxOPQ07dEgbhvKhqxGB6NlOKXWHZyDl7b/pFe9jiTqWE4UY/pd+Kvg43pTYQe5OAUibliLIk6eFoJVjJ5orlhCCRh5S/Vxq4rkuIgGhflphS3PKMaflF13ICxv/4O6NJerSpWcC0ngFvMxU3r5yKI+q3PwRKbDgm9uMoitXtxBHbltXjTjG5AynDxsxKfOnUiLMdDpVheBeu3lvwfu/O2JOFBXJNCX428sZPBDrpxH/RIWtIIPTaiaUqO6+8zBdPwkSipbSsKFZ8e6bK34Y5IUYfD6IvU6K2KiPKeMx45RHVu1xN6Zu9hF7GAHFr+Bjh0vJmmKZr2H3C7WajJZQi1+9iJL4l5FknVbzYxkKiCZqwSJztNGdMK9jh0mWTTYhQ9zRtowYnAxQ3g0p+eAv2N5IBhqzlioJXSI9oQJMP0ZuJG4cvI0FD2C/yDV2hOwBQKzg3bQGODy0sHT6ViBeFPJTZtaLBSbxtWhyxwemTj4vj6zF1U3USkDKLxsCGCDF4s8VpHw8AFMnJmr/mviWhYG9p/a3SfsU5QOnwJU53+opOPHhdB9P3KmxLXSYsRdr9xL0HFv5zdAmUKEyQll4yjvF3F+aSEojgjW1Kzj0NJ7PWoH8kNreVzid4KqVyoJIFwquI1rlNZGzBmr7FyCZXzxIiQsYpjmNobjVHCsWKHlOkXCyXIpTQpfOVn+URfK6D61ZQW+lDGprtLIJzZQFSZiw47kVQFy87f6mWVWaxtwqZDVMQVeIFBrSQcQGaT1qWkddfQ+KS5mNKMNKdNqWmXSzjgVp7JFjeBr1kXosCTIWAWNSDScZroWW45g6jRzZD3yZ8WDUnlJ/H3B02WdOZZowC/aE2sDVijJyj8henrYSUAPLUZcN0JpTyz+a/CU4zVDNxg2iXKvVVH+1g9Ha3gEURKfuiIwoVmVbX0LuVwwTliNB9x8fbCCmGM966DETPHr9IwBOoqhUwO/65MM62g9iQrHmbTO++y9Qazu7Z6l8Lxvkc5WfbT9vj6q9hZpJrCClx22MRvnOm0ZRuZl2cIWKrwXpirQM/Ac7NbAUWzd81Pq++1/LrA9qrBprwn2iz85FEd2TjK6GBIHAQdzmQg4jvybzzhee8oE5kqk6xsfQggInf2ksBtlrjVjBhnctUSGWBZIYlmC3t8q488/wrPRPKnsIqeKF5JSUkoJBtkScw0NxjCzydSW9XNmXjaf6h+njdFfCyBks96g3zI6rqitygTviImEmInK+L1/lYUFq+Gz1rGzOrc1odk6arGstlCfXXe6CfEqQYJW98IfoDS57zarpRNsoXmHx2VWWx8InXssHEslcGYbGvsR5CllhGVtJrGj1K19NKz8AvuNpmOtmmCY1+oTcKZORgkvcolzV7DvkJ69x9/zHkDWchGXlbRKqG/fSM6R/mRKZAw0Q0AmT0BA1uCBB6/BWiJ1hh6Wxa4qApjBbTMOi+qkcQSCKGpBT6TFv0KS/eouDHVw0haHgO3F5af9G2WZvpMPcap8KjO9175eDTn7A+aQKhhEJ6l7Wn/CeytqPqY0m7VxQ52Fex5D9++HcDtx+xyABNc/JGWvjZu8HfkxxRVjtl/xdwpmEkfFuE0PEDC7TLGpDLVPNRgpgt6leWaQFhjTgpJOxwMtHosEO6QrxBjcCykIseiOAOJ6UXhTekJjHjjL6nKSsT0Uk8kVm9eNEHunfJJgGtqixKgpR1Oh8x/XqzCFG2cHP+Di4lDrTHqaFoX7t67MfHkhmGq2Q0vU/2K73HDdCNGwsQBjy4hbGDIMBxqVkvFqUFvj3W937BsZb3vlSphljXIesmEFgMbamzjW6hCjkdF/pX9md8VGzMteJ1kj/A5DjBC2fCZrKm9hK1dsOLLA1VM+bRY9LQYr6j8FGJBffQ80jfqwDr2rRjeylBbmae2ssv9lfJiQojRojOsSeyo/iszCjXS8N1VUf0TwRDQviPOkRoNBTUWiro8HdoYBmbzUFWyEzI+ZwymdGOcLD0cJT1aKNUmUAtP7k+MLq8t4HKyfnqlm5ZzQUbqV98KF1iIquVICdayySQZmedlgHoTNsZP870ybsJjSCieet8W4lK+azd8sW6gO7MRCsbl9LLz8c5ojYeFVY7XHOsSJCZOn7yiaupbpr+qbe30XxqQxroZ/V2JHv+kW/o3C7Ashw7dtQzVH1ZTGxCz1QxMb/MnUCBMhXTsQUwgqsv0yYoz9+6gZlcQntdao4gu09e6xFhWJIZ++8PTb9q919ns9JfeSgjQqvcd4s85Pp9qhn/nvbl+q/h5B/yTy/fhLJ9JiBeOILpE4uX3px55TOpF+IQt9lWkD2tjMnEETak9iQF3JmXWG1ukpeIRrNWQAt/vp9NxQS5VxNijBEQQstmTOKdvIExtBzxzzBCCoTU/kbk41Q9q127lyh65ia8lE4uXpwzfomWnAvc8r65W2IeqEMgGFxtqVgPeq/FsSUDiQoWeVOP40XJIj8mUbyTkGONl9Ww/xgLA8JIPQsEw5acV7uHrYX+eZxqTGjul4L/fzV9O4itV8E2z7aWh7B5p6/ygFMVI0MUTtLTXXB+BMgHUs2H7CXUPNB1KKTlUy9Pb2T7JIo1k2PGxcrY1obVmvuzIB7VLmi7WzU09rLWaBlAEYqHmXexaNhzh9VtXWoHuU4O1qfUy2lq81HSygGggkzdk7BCtHzCwpEB6RxcO6eSI1AcPhM4gRTv1V1tR7+YtZwPV+3Zzea2eV/7XP8ZPybwAMg74ZqN809McjXTn7jK+b3DQcdw+BT1ELcLQzqKUBo32Ksbo+kyDIQ+szaAaTO7pVwYuJfuYs1vJZEexms6SqEKqkB/VtgOgwmkUxx4BzfzK/G3ni5NqL/UiuEe/mdb+BCidOYn3+7mMmdbOoN2ro1A3XER/KnIo8v5Vq/QpAhXpmtSLY0fKIbfx99g4ti4D4w3fp+UPyLWyP7XKVKOOMke0Jy9vV+ACyO2UI57ZL6YE31rBquqBI7MrMEjfHsX2z6ra/+BpR6VkdekaHs4XlxJy49+TFHVqOYqSYjIr/BwDk7L1gQIFFcVDHAToeoPL2FKe5Fzh9VSSIyI+1sIu03UGMZ1p5EYKXoJ9FE4gT+ytDXTn3fHkJ7VeUfS/wuVkLLph3+fRXcgc5TKpg4qT8u+m+L2pABXPSBDrJsweKWlhbs0Z3zf9cWlcX1qHU5ufpJ/PaOFpfitE9ISuRmZec6fvHAMj6QDZqEtMG4wvlsAyXA3H22/1WYbrNsOPoUU9d/SZW0STxo3xVEAddh7OMohqZyEuIlHo9KHMdTax9sFzePHqyX5g7bMYe4UDklRAJ+sv/45JEK4MHNKCbOQFxaz/TXMM6LQeKhWXMFHunVJBMheEBqfZw5gPHBYXq4rCb5CGb8OKNZGMRTfRNBFhv98Cg3dz2LgMwV9yCobEwgNpX51nGdO91IZXIgEcV3GblAdGMsAzNBmZUrw1ANgzlgO0FWUfS4nlmSU7HX86uYUXKsh90kzG3PQsxMnlbLJtAgXkEjhX1+nEhyYOETaixi+zWn3inrRZx8e8m8lmuuLrq5gU3AKxD9lphRH8BVbIZUQFjOujUBTU6y599xPRuqMZeyfthboNBEvNC3b2ykUK+yNS4MluKJXmlzl04T21VuV4NryKE6Vf5gGK7DPLyNpun7I2PMFdhytHkbqFFqyaSfhXQwZU0rEH5SIxo2DL/LxUMSDN8O5yZj1I6IFwLMDH71B9fgtMNk4nTXUHP1VHe+MIBTPcA0bs5T1c5pHeD8+DlfWYzcdcujxl+xzvXfxggnlaxzXbsrz/pVapqnIzyDlTNKvkoMHPqO/4UqFYy5u7lLbxB9YmbHR34+HB1Z2xXSOK5kkTQVbnyDcNeHZVmw6Rjkyok5Z2/QWrHmtRHOAEtA2vgr9jWh/o/oyDD7+Y0HOVeDL73DsMZg207kuGwe0R/zvq0LGhW53q5jYruIvEp+kZafumLUbbLaBMKbvqkdTacDCPHYVHX6bV4D3zz0zqmVo6MOf3X6gjJP1qKwZ5zqcsj2JcPZk3FIj5IAN7W/TBkSuyIRTePtof60dzk2EvbvEHcVAvvLW38OSKdEV5wlSqUCvvXRdLFSEdw+zpPKORcCGlMblxfj1HmBgaiPmw10HuWdEROSwvdum/cvzxf69ZqLibXrOi6b1bv99FIDi1R5aGiZ8r9emMHkeK9dBZwNCTYTUg+KErvE7O27qY3FHfYSPJoWhi63/ebtMIYZ52ncWG1Oq5CJHnbh1xhsS9vwVsiZG+SuU0LDG4Z2Ce0r1oMidGE2R0u/X9692cLH9CoT02lC4ZA4Bk6LAV7OOugm1Ehqe0N4GKnVeANSEZBR3uAw4HVkbiWK3n4H3tG+/e84UE29ARWH6hUYQqy8HQclFEGtB0g+/XVouQCrplcp9FQ69mGP9qD/YwuLyVwqgPoLxHupa6c7tdIyxo+hd4j/MPMJvHjn2953o6RKNjsA3tt0Nsd4clknuP53pYRFtpAXEM9Jny1nCER60geCSFkWPxTa23jsdskRGZ6/pl2+9FyY8J91QHGqLNfOF+R6dMLji3NJrqNB+zQ1FlW33m38CSoGbyu1ySe1HEWaWgnTV5C8xHxIeoog86O59Y4Jf5n6qfxli4NyTRc25IWQj0oiX/KAFgQgJsQ8kIJ6wo5sS0uNmTaXAWEGyVIiatczh29539TGU0TnySKuvnYRo+L1BYJGmW/lvVWWsrpjbz81suEjJ76OFdY+jIh/pmNFH/p2g8MMLZyfID+2AHszzLdNoXD7Kb9GWWIHYVgRYmFp9kCxiVkN03bcLE0dZPAIFPj2djETJOEETohRizzxzoAll3OHwZ9N9nPoJEBG5nPCkAv8ROJYgMHSjklfTY3yQbrGObzTj2XUnSfCAoefmqvUqrNfnhydRObWLbFCV1WWoBCgAWRD95ZG5g8hVq6c0NUanx110+S3/n3sxEm8TjfZp7fyWrD753qQ90l8UQc4z66Sp9O5wYclXcalQD+1uXs72tI0a3Gt5UHQgKzmBaZl4AoiViIHmXT26f1fZcITJOGXi6x4sli2WCK5otHxobt64uP/lb2Y1EJce7zuA+ykwDpTFK8sujLqjDZAxZFbvuIMxKQ4QxLCauex7umjAGKZVZh936eidZwwQ5ggT9kbBsm0FWpbMf52nMdnsce/Ozjnvr9E2nZFDeciQGubbV9AHVPMBfDD8OmT0AQw/lGQ8CQAUdMMEEYRJE7OjzFS+ven950hrVH+dBIeTcksGKlhFJSyhAw99/sRX556NxsbriOy7KNPLQjKwxnOFfsj5ptq92XUCMsfxzU9Ixna//vPqafc9tVWOBFT4b66V0N2U5HmW8A4XQ+wIwPddo9ix6Ybw21lfOCLuyNEgclY8xiVUGxISnr0dF614sT+u42WusPLMKXU10KL80mp9MU/0FAV0OcMr3ytqGTCyynqz2KrhMLJoFK6IKujeYTjT1/AtIJJRcb8UrypRhJ33vGZZTwiWHmHRIZVCy94uRHrbcds9yokejLkWODidIio6D8pViuZzlv+XWbQtHlwSj6SbjPqkQDW8kHeFuF7+3BHMSMrRT4+o4bK11BND69ptvx9TDUgnNCDeh4vg3Y8W5SZoDsAmx/F3Gdv7kvwBKJQTh5wIQiNFgdoWKjPd4kEKTXk7Xoxr5AUGEbXCVZLLOpJP+oL8ky7jB/oDc9IFshWChHrOhYSlHQYip/wVXkVDyeP8WXoP3VLzwAldeJ+LLeQXUzI2zYlxPBSyD1JSAECVd0REv+BDkPWllaILyJtpAB6rs0ukELvz8LwzuEKhqVbJFv8ldfAPwWOVtPjK2S5VlnUOADxPPR4GtG25JCq5brP8qvUaf4rjvrYBzZICKEW11smqtAlFCZQZA4sipaDmoJzZZ3GgQxL8fXDBcdZ9mnVLYx2EqDhTrWRN0vOqCXE8MFgQtzTwwV2OuYPtI2kIkQqwL+eJMkjXI8eTo8trjkdp7+50CtSpw/kZbdvX8zQaqsfp3rOVk8Vf/Uuqa9SCeYri4AYo3wmzLAXXPVyPzIMig5ZmZXJKN02904f9KTSJaVPgRVO9h+FpWtZ/dXdrWLi/GOEAfpdQFN70HywurxGiNvNr7WFbw2O5R/HmmPcJbcBZ79iUTAYgP8b2QmGcrQLOEbBAYoWlzk9eWCxEigd6ywJDQAJhgZqncYqUB4884UY8B0bfUO5uKIR2oe0qAiTfTg1ezecC/VRDcPis/wfmzJW5cCqaAvW/9P651RqeKDabmAHgMfw0QQs8HHSpaTctPi9QTqKONWiT4QV1rljb8T2ANIFNeO09wd3Q6Pmqf53cS5vQPh3lkLF5PiXayUIJueM+0qlPWrp47LZ3xgvImxu2ov1DPPMzV6/x1SmRBJiB849Zy9+OuZ3zN0UBmlYhiry9TukR0rG+VitFJYCWdf2idtSjFx37sDKA2p7863dKAVKDXbda6LD7caySYxd7k3UZNcNBt8SFraFvWHeWS3v8h2V2qIW+GlPG0plX5SZp5FsdTC+wFnJ41ODjhrEWcUr1U+WXJ7gXI3cN+EPIj947jNvHAq1zLRHBW2nw9fD5dnWBsqyegkuPUG2ydTGMcEPzAGYN674jZ99hoXsK+22NYlf8TTt5CitOgsdmmFwYMByFwNNg/N0A/KENA7BUPKdGi3cvC9qckxwByF0HrEQZVDtS6yrSM+1mBLrUvXsQ/1ok51ctfIYk6RUAGNnPjFy7PNTwCYeh5wySiYfMl2P5eZJZhCHcI7N3iUOcX7+m/hsTUJpsftxvZS71MVvUtZv/6FhPV6NRnXxWZL9j6X9B50BenS9WS16VOd+uoFLuEX9bXoFwl9uoeUzJyxj9Xc/UwvtK0jK6ICVHpjS+687MCR0LyU+vZSw/CERC3VtcaKnysl51JpdwHG96u9cWnlQwrXUBCseYC8O5p43JBCaEJt1zJqCo0ZU02xRwprKL8o/0Ngll0dEUS5qXeDMYklVoSboLjBkkERF91qo6RjsQUx2lts7MyzLvOVEB/TCAXP5TjQCXY7pKukIzVn1czkrg8vXVukpRwHRKwi0QgLl5+PQ9oc2HDOJ/UNvcar/5x41Lv9jlpVUbEoTlzYcM0c30pNwHojT1vSj7LI0nTYIOyW3C4+XPrY0P13O7M1kSWDVI19ge+VqPHP18VYkJ2BW02AAm1Vf4si4m3hWNXiv8q37xozcu8YSyfmZ9k8i8p7uqFs06efNdpqd695irWY8HMPGqIalbcgjyETNUPeonbrEpb2D/nx2tngg/Y0nACy9Vfm+sRB9qBsbFows6eXRBsp0uqAOuBI6r1sctfw+EXRk1l+kTrbKf+a3REWyutQTCksxA9xLlVxvLStgakiTC2SIMXznwxEJw3c+EaVJl2L65nl9NHdc6Xq65OURXTohTZHkKVvmKpjsRnHI62p/WMSmGE9kENsypb5SUVD+0PBaIvV5ZpWkHW8v41loO0Rbk44wxaxzMzVf4DNcyPvefhK1YYOdZvYOzWzp8OOnDpgCrSM+JnJM8JNnRNpXSAKqyzAKFcVR6X/hquZqw4GF7T9+RoKa83MhnhbINiOy+SfApx5aPTpAznoHjG9CK/yqNPTIjRcCGnBmiJND5LqajLhEVW1uTqx5PQ9eP21Yq4RwdEIIjzowPcXRZ0tuVN1W2nr07eKYkXM2F3x2g9a+25hY945f+CjGFfD6OSDzMwYQiGh0ie2Ln1x1myBIChNSr1IJZVoTfU0O1s2dLC2TJT4Lma/wr632UeLZq8v6pv3W4TPq98iXq9rCvPut4P2SWHFoWJS84q282zDwI4CbWtsaQMqldoKYNOd4KLvxCydwJ3j6RVTv8FoR14cC0NZ8eCi+hveLHtI0FTvetg0KHgbHfjkAcMoo8SyVRUs8q1Z2KEVXseHHqoS5UDgy9bVEkI49+AoNobvym7bpezvB9Cpsgpfr1Th6NHhmWbbZ9D/UQIUs6ImojlB5q4eWDO2GADr4dthA6CrFTuwD4Molbnjv8iy4JuwrxCgpd+rVzDlyzwY51wWDhn5JtaiqnbtvoIFUNHtN7u6xq2t0vu1tXgF3Pjb3DXI4NrTuPwzPT7mR72GhsqPC515Pje1Kp9DLcMgRddRrUiRI2pc5IOrMJFVAjryINXRwD8h2ZL+MYauSjIubQSg9D28MYzIRC7tNk7QBy0jRSDaruVpnYq+lPQATo1r9FVGfhaomDrymxDXr8UgyZnSFUlRrKw+X5cTOnAMJ/ZYleNuUCAmPolTm4WS7W2goFpmPFD6nJG2n09oQra5kPBIjk2vzVXi/R1DszwIBp7gVD4U2CLo10l9Jk8hegAIAIh5n5k+SjJUiysNxazH7vcgRYmoXcil0hRagn+3b2LImzIf5FtEJUV6Y3xOAzYCsOttk6adYimSI90E9hI+Q5As6y3mo5RjO9wNIbJRkXvX0TRDenhfce2tDD+i7S47oQG11FNggjKp6vInlP9MVFDDTGYxOLugIo9w2hldlopOHsirWlBj6onhe+aHyrjyMrsVecW4CMYFbewmgf0oGMe/BUxKOgfaF0akll/3fB6nKx2MAEweDb3hJW3oX+hcOFp4m1Gt5cX/kAVKL5NhqyG/++0mQugGxzt1Be6dbgUJB4NDvgJFU9GtyTWkvOYDwlYV4HP++jUD8QT9uoQTWkRwPOaHn8mFF35lIQkT5z8953xiq8OJZJtxAjUkDVG6op7+c0vwQpE7xj6eKeI+FcuN+3KtboPd1/6Jx4FWWKoBexNzeVHUj41EyEWyetGX/nwAXsoXdX2SVQ4UrRb+q/8cYgcl8gmL3YFn2+rLox6ZRfeMG7B82hOz7sYC+8w17VJsH+g9N5mkrrSrk0R8Jrrdrj2csafUZmEotrilfWDGRigiLi7dCXX/RxehLypXClrh/gKUSLp1LgfaVL7D2senV6nKPuM1huh+EwNruyDr/tQmuVXmaPbyhRCsYfqg1AsxDmGfT7y39HkAM5DEXmeXPkabcD0q9+LRYSMxv6M1+gUAzPP/zhlxv0NUf4KkYg1sXn6f8IseumFHrSamO3RP8HRrJlzHB4NSNHPNOo1sBN5e/6Ey3k6PmbTWjRf50TqTsHzGH8MFtk4e5n/+BS9xVS60BIdUl711Ce7UkUotoDZLjCgKojqzhvXUy0C34O4Yf1RQYQ0cFsLgTnQvYZ6HSyqZap6Qe9lzJgwvPyWZU5dli3lNlFsDZEWNs1gG4UV0yKSDhiYb4eJLgeg6MbbKDsRnW7+pFiAOf3EhOF/tPBc04E0Oed7tUqWcJwEzBRFfDp33E87QooYQ51ickyV/mWY/nW/3RpkxFANBxL7nQdQGkmiuRc/wLNOy7Nz8BRunXfaI34JQmWsQHubTuQkmB26RguhWMshVMcum2hQJv8Ynz9c++mmSL9Mfp8LE5vKxZDQ+JlFSNVQKDNc1B/a3smbmIJ71rcJrBEog807Ej2HraTQMkOTwvARlg0wT8hQwlhW4t0VhsKBFiyNa3rnPRURGiU/8GbHIXV67tRM8hh6zGadIhYG4ABp6RrTFN7Wz1HCg/JfeyBROj53ZoNDAMSKWiQmp/puDHv/8YQMkpnVzWCLfUOOhj2jaTy2Ew6DwG/Np4Iko6MQRw1vqQTBQ7npiAdyZ5tFZ7duvbY9YClxJWEYaVzPP26qTzkwQPxmEeP+1JMdurosoj9MI8AAReoa7SF0zOSSgWHrx1Nv6t1RD4kHCEj8ssiLUvJb9m808oM6wYLM5WGYQeFRo5x1nAxpj7v+SXOJTOQiwCbJb2h1Qq634JD4evo7q3Tc/QB/3PU7VqEmhCnFNlPcX4X44F571o77iupVvW2D9RzHSg/E/goHpNS2zE72N6iQfZAhRGjss0QsLQyOh8WopHJCHCrS1xL1uu/xjvszNvoeYYFmpWkOMl8IHkVNynxenKg/dXyOfq1se1RJHT3O9OZPO2eHuYdkaXbNRXe3gmP7l1N5BIrJ5fppK6Z4JJ0B2fwR0PKoqu5ZRL4m6ff8gE44ifAeW2rn/q7yA5ytXgj+73/VZt27aoCPBBgjBtyfF55dHM+QMBpa9PSAOdbNDeXD0Sh5iV+u/0NQJMBx+xV4R+DbBZxiH00ghOLPRy+zcyeeP5NQCuxBKnA4ueqcypqwSwYwiOeVAPMBdu8Vmz2bb5/xwvbGwrEeG6CremXAPTSXNXT+hnWzP532TjnqJhCUm0z90iPn1MnmSAz43EKU4QknaP7G3iXi5xxDAHpIu4msLRV4dIg3QpkFtshE82oiYC5LHMiqIU//JxObzUIYlPwceVT9Kv6ENBeJQspm5c3/0VT54QixQ7Au4H5Wc6wVqxBmDy/f9nnWN/oEoKA19DH/hs6rTdprIj2tJhHFFGXkv2QBmFrjSv7dM3NpN8bU1yMghLQfLjPM36nJ2D0Vg9ULR4cuzd88+wCI0fl4Gdzjjp2hTVxrcDuQK6c+plzLV3GueHCk/4oX7oi7q4aJtKEASr4gD1BT/4Cn36p+d2kXJlKqiyLkKYYD6yhLTMCWXrYb7yYsEZYhNZYdM5Rl/46TjGwR37d26SONimpHfANZLLpdtaZYm/k0AobGWILtJMslJ+Tqmew4rgzKeosS+zzt60igG/BZGtsw8FY0/mBZ0fS3kQrYmvKJRmARf0+50JLnAw6YotNCfzVDRxs9W17r0NhD5FDnsHurkZ4B/OOo+w+FPYd7Bqyfn4x9EyiryaRGotX7leSWGzo/eyvFxQqlnLpDA6F1FgKdcSoN2Ki1LyG25tB73cxKEvki/6o8Xk/cWTE24/EWT/2Igo1IhBxB7RTNt2BaVU0iA0HdpwEy8gYbu4aL+xAfjWxPMClFnubfoP79AgbwiMSH0TGn94s3bnZM5lMoaDgRLFCSFBIPlEL+1P3qfDbH8EcXm/kWewVcjExxRQ+tY5LCL6GzDpMI2aQtscF1FLA/DNSVblOY1RalzEZclHBKGXoIEu42uySazdYXlLi0GZ9MdOR5BnpaeO+B6semiv5tDTMTnEt2+Vo8Fv7EOSuTMbHymaklfExs6d9Mu92v4gCxKaJZb0dKvRTUIDdhMLZR67o8Kd9OYS8rTrDbC2hGof/4mh3UWEPTAu6ski0zrDdAppnmRv0MmeUnCvcGIPAFLGpAfEUW/otHPWXcbACJmkAtbBkxa6FfcOhnuZxW+IsGtc7VEWoCnifTjwq5l7w/i3Mu2Doi/mETkChGjquS6GXxtwJ/dSfnAtEmHHYdXrqHQzxqyeJ1FsN7zGlYmHQMhZi/CAL9SFnH9ntfciDc+YbByDlp06brjWPM/pjY/zhMOa7IjXmxX9y5Mj78qzyRxe5jMBmlffg9np/NQrlSnbbPXUvS/r3vV/Vf7uClhIaZAnaz2BfbppbWZqmoVLbKIgLCtsKJmTRXwf1SoQ70fDCo+Jr5xpYhPkqZMnQ01vldbi2ocgjjREHhzoLDVtR/SMGOTi94Qb8MqLLgVnkjaBbYhA+iqjG6vAj4XmCWA6U2RK1eCVnZaPSGzVuTQFCW1d2bjunemDLzofFhasLaRoep+tKjnrvXgkQRLpfkdx0TWWF84bTiwtIWUFGzG2aZyLlDCq0Ll6E/+72jw1WUOJMvHY5ghMKOYcq9qy3+ukKqjV2uYJLZC7saJpjY46VWPXjPl74rPRaTVvSFZz6vXmXJVS6HPXoLEEs7ae2D07bqo/LChQ7mI6Jn6O084fX7TYK1eNvJeV0/VwKKohUxu7JJgIXIumdsqBiy3PLBeBS4JRSt2GE133KUTyphYjhNAKWYdw+9sIKF8gBts2vFu6mAOeq4SlU56+F5aF2EFJxhOuAZYd22V5OKd6WZV/8wkCLCH2kOf5VCvhbiQMudy3FK/kkWDHBTUz6I8Yj6a1OeG6NwjUpfoPAGHoBdbOgpp0B6MMEMUaceOKAamLiMPjvbhi7I1/HVsHWb8P+8RioQlMgDIYSkewFdn6val78UseTUj6KAyLniBbIhWamHemlL8WOPspHulU/vnMj998FvTn6lSewUqt8CJO6A2FJnbLJ4jpOqko9Q2mZnmrKI+77yLwb6IeuKBkQO7QJTikDQEB9+iq45QEfK0h3V6I2cVQ4Fi/bNVk73T0DHzSPd9wol8ppGB0qcb7Cc94CANpouYiI4S7/SiV2Tyrsk4ZCmC9S8IK8RGMmsVQJG9RbxbuXLNk3zsjzcTWO5dWAjw5MfTNJGu79+gIT3zWGfBDXws2tngN2DS21WqwXhQWMb3MJ6gzTQDTSrMsuegPEVaIkU/IAdtX2buGvM2H4JN273ldNm6oJoRsGmXd5QsXsr4nh7pBPpik6ee9vesG5s=" title="Mekko Graphics Chart">
            <a:extLst>
              <a:ext uri="{FF2B5EF4-FFF2-40B4-BE49-F238E27FC236}">
                <a16:creationId xmlns:a16="http://schemas.microsoft.com/office/drawing/2014/main" id="{8DEB8146-7A9B-428B-95E2-E8A0CA22C12C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 bwMode="gray">
          <a:xfrm>
            <a:off x="6366272" y="2180650"/>
            <a:ext cx="5486001" cy="4385250"/>
          </a:xfrm>
          <a:prstGeom prst="rect">
            <a:avLst/>
          </a:prstGeom>
          <a:blipFill>
            <a:blip r:embed="rId12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btfpNotesBox117783">
            <a:extLst>
              <a:ext uri="{FF2B5EF4-FFF2-40B4-BE49-F238E27FC236}">
                <a16:creationId xmlns:a16="http://schemas.microsoft.com/office/drawing/2014/main" id="{4FF69411-E81D-4C34-901F-32AE05A19778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</a:t>
            </a:r>
          </a:p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A2FDB0A5-4A72-433C-B90D-234BD8752C2B}"/>
              </a:ext>
            </a:extLst>
          </p:cNvPr>
          <p:cNvSpPr/>
          <p:nvPr/>
        </p:nvSpPr>
        <p:spPr bwMode="gray">
          <a:xfrm>
            <a:off x="2328826" y="6057824"/>
            <a:ext cx="176169" cy="161066"/>
          </a:xfrm>
          <a:prstGeom prst="rect">
            <a:avLst/>
          </a:prstGeom>
          <a:solidFill>
            <a:srgbClr val="990000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381D41BA-369C-4824-B192-A7D0B2EA2BEA}"/>
              </a:ext>
            </a:extLst>
          </p:cNvPr>
          <p:cNvSpPr txBox="1"/>
          <p:nvPr/>
        </p:nvSpPr>
        <p:spPr bwMode="gray">
          <a:xfrm>
            <a:off x="2487770" y="6016353"/>
            <a:ext cx="1053952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0%+ decrease</a:t>
            </a: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0576F2F6-82EA-495E-9284-7DD7DE663A54}"/>
              </a:ext>
            </a:extLst>
          </p:cNvPr>
          <p:cNvSpPr/>
          <p:nvPr/>
        </p:nvSpPr>
        <p:spPr bwMode="gray">
          <a:xfrm>
            <a:off x="3507376" y="6057824"/>
            <a:ext cx="176169" cy="161066"/>
          </a:xfrm>
          <a:prstGeom prst="rect">
            <a:avLst/>
          </a:prstGeom>
          <a:solidFill>
            <a:srgbClr val="C1695E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87BA1A00-C3F5-4D85-93CD-491BAD06280C}"/>
              </a:ext>
            </a:extLst>
          </p:cNvPr>
          <p:cNvSpPr txBox="1"/>
          <p:nvPr/>
        </p:nvSpPr>
        <p:spPr bwMode="gray">
          <a:xfrm>
            <a:off x="3683441" y="6016353"/>
            <a:ext cx="1053952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-10% decrease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2727D5B0-17D6-425E-81DA-891543447475}"/>
              </a:ext>
            </a:extLst>
          </p:cNvPr>
          <p:cNvSpPr/>
          <p:nvPr/>
        </p:nvSpPr>
        <p:spPr bwMode="gray">
          <a:xfrm>
            <a:off x="4685926" y="6057824"/>
            <a:ext cx="176169" cy="161066"/>
          </a:xfrm>
          <a:prstGeom prst="rect">
            <a:avLst/>
          </a:prstGeom>
          <a:solidFill>
            <a:srgbClr val="D3958D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53051BA4-1FFA-4C4F-83DB-E1F8DF01ADC4}"/>
              </a:ext>
            </a:extLst>
          </p:cNvPr>
          <p:cNvSpPr txBox="1"/>
          <p:nvPr/>
        </p:nvSpPr>
        <p:spPr bwMode="gray">
          <a:xfrm>
            <a:off x="4871492" y="6016353"/>
            <a:ext cx="1094767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-5% decrease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05C00F66-29D7-45CE-B0A0-1ACDAD18752E}"/>
              </a:ext>
            </a:extLst>
          </p:cNvPr>
          <p:cNvSpPr/>
          <p:nvPr/>
        </p:nvSpPr>
        <p:spPr bwMode="gray">
          <a:xfrm>
            <a:off x="5864476" y="6057824"/>
            <a:ext cx="176169" cy="161066"/>
          </a:xfrm>
          <a:prstGeom prst="rect">
            <a:avLst/>
          </a:prstGeom>
          <a:solidFill>
            <a:srgbClr val="D6D6D6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6C98B0AB-B67F-4525-95E7-2F6A2A13BF67}"/>
              </a:ext>
            </a:extLst>
          </p:cNvPr>
          <p:cNvSpPr txBox="1"/>
          <p:nvPr/>
        </p:nvSpPr>
        <p:spPr bwMode="gray">
          <a:xfrm>
            <a:off x="6029238" y="6016353"/>
            <a:ext cx="886717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</a:t>
            </a: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 change</a:t>
            </a: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13C817DE-0641-43F0-808F-92AF62DDDB93}"/>
              </a:ext>
            </a:extLst>
          </p:cNvPr>
          <p:cNvSpPr/>
          <p:nvPr/>
        </p:nvSpPr>
        <p:spPr bwMode="gray">
          <a:xfrm>
            <a:off x="7043026" y="6057824"/>
            <a:ext cx="176169" cy="161066"/>
          </a:xfrm>
          <a:prstGeom prst="rect">
            <a:avLst/>
          </a:prstGeom>
          <a:solidFill>
            <a:srgbClr val="83AC9A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FD731A15-6D64-41B8-8195-A8DE3D2E6C6D}"/>
              </a:ext>
            </a:extLst>
          </p:cNvPr>
          <p:cNvSpPr txBox="1"/>
          <p:nvPr/>
        </p:nvSpPr>
        <p:spPr bwMode="gray">
          <a:xfrm>
            <a:off x="7204994" y="6016353"/>
            <a:ext cx="1094767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-5% increase</a:t>
            </a: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401CA883-7704-43D5-9A6D-B5F67008915E}"/>
              </a:ext>
            </a:extLst>
          </p:cNvPr>
          <p:cNvSpPr/>
          <p:nvPr/>
        </p:nvSpPr>
        <p:spPr bwMode="gray">
          <a:xfrm>
            <a:off x="8221576" y="6057824"/>
            <a:ext cx="176169" cy="161066"/>
          </a:xfrm>
          <a:prstGeom prst="rect">
            <a:avLst/>
          </a:prstGeom>
          <a:solidFill>
            <a:srgbClr val="507867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B73BBE1F-4475-4591-B2B0-DCABD005B424}"/>
              </a:ext>
            </a:extLst>
          </p:cNvPr>
          <p:cNvSpPr txBox="1"/>
          <p:nvPr/>
        </p:nvSpPr>
        <p:spPr bwMode="gray">
          <a:xfrm>
            <a:off x="8380520" y="6016353"/>
            <a:ext cx="1094767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-10% increase</a:t>
            </a: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F3D7EAE5-A249-4BB3-A26C-F834C876EFFB}"/>
              </a:ext>
            </a:extLst>
          </p:cNvPr>
          <p:cNvSpPr/>
          <p:nvPr/>
        </p:nvSpPr>
        <p:spPr bwMode="gray">
          <a:xfrm>
            <a:off x="2114312" y="5961110"/>
            <a:ext cx="8503920" cy="328909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A01D67EC-3F34-4BBA-8DA9-3018E9B1A879}"/>
              </a:ext>
            </a:extLst>
          </p:cNvPr>
          <p:cNvSpPr txBox="1"/>
          <p:nvPr/>
        </p:nvSpPr>
        <p:spPr bwMode="gray">
          <a:xfrm>
            <a:off x="2416301" y="5811290"/>
            <a:ext cx="610014" cy="226591"/>
          </a:xfrm>
          <a:prstGeom prst="rect">
            <a:avLst/>
          </a:prstGeom>
          <a:solidFill>
            <a:srgbClr val="FFFFFF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gend</a:t>
            </a: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64EB8878-5988-415C-96B2-F6D046631695}"/>
              </a:ext>
            </a:extLst>
          </p:cNvPr>
          <p:cNvSpPr/>
          <p:nvPr/>
        </p:nvSpPr>
        <p:spPr bwMode="gray">
          <a:xfrm>
            <a:off x="9388215" y="6057824"/>
            <a:ext cx="176169" cy="161066"/>
          </a:xfrm>
          <a:prstGeom prst="rect">
            <a:avLst/>
          </a:prstGeom>
          <a:solidFill>
            <a:srgbClr val="104C3E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A279918E-B494-4E9D-9C7A-CBFCF0D885B2}"/>
              </a:ext>
            </a:extLst>
          </p:cNvPr>
          <p:cNvSpPr txBox="1"/>
          <p:nvPr/>
        </p:nvSpPr>
        <p:spPr bwMode="gray">
          <a:xfrm>
            <a:off x="9547159" y="6016353"/>
            <a:ext cx="1053952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0%+ decrease</a:t>
            </a:r>
          </a:p>
        </p:txBody>
      </p:sp>
      <p:grpSp>
        <p:nvGrpSpPr>
          <p:cNvPr id="130" name="btfpStatusSticker467368">
            <a:extLst>
              <a:ext uri="{FF2B5EF4-FFF2-40B4-BE49-F238E27FC236}">
                <a16:creationId xmlns:a16="http://schemas.microsoft.com/office/drawing/2014/main" id="{2D1F042D-CFB3-44B4-A14F-FB3F7F920E2F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10100356" y="955344"/>
            <a:ext cx="1761444" cy="235611"/>
            <a:chOff x="-2280176" y="876300"/>
            <a:chExt cx="1761444" cy="235611"/>
          </a:xfrm>
        </p:grpSpPr>
        <p:sp>
          <p:nvSpPr>
            <p:cNvPr id="131" name="btfpStatusStickerText467368">
              <a:extLst>
                <a:ext uri="{FF2B5EF4-FFF2-40B4-BE49-F238E27FC236}">
                  <a16:creationId xmlns:a16="http://schemas.microsoft.com/office/drawing/2014/main" id="{F53675CB-508C-4DE8-A7B6-358AC9166AB1}"/>
                </a:ext>
              </a:extLst>
            </p:cNvPr>
            <p:cNvSpPr txBox="1"/>
            <p:nvPr/>
          </p:nvSpPr>
          <p:spPr bwMode="gray">
            <a:xfrm>
              <a:off x="-2280176" y="876300"/>
              <a:ext cx="17614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liminary</a:t>
              </a:r>
            </a:p>
          </p:txBody>
        </p:sp>
        <p:cxnSp>
          <p:nvCxnSpPr>
            <p:cNvPr id="132" name="btfpStatusStickerLine467368">
              <a:extLst>
                <a:ext uri="{FF2B5EF4-FFF2-40B4-BE49-F238E27FC236}">
                  <a16:creationId xmlns:a16="http://schemas.microsoft.com/office/drawing/2014/main" id="{7FF62936-E428-4CC0-8A05-8803276CDF59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80176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34321037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btfpColumnIndicatorGroup2">
            <a:extLst>
              <a:ext uri="{FF2B5EF4-FFF2-40B4-BE49-F238E27FC236}">
                <a16:creationId xmlns:a16="http://schemas.microsoft.com/office/drawing/2014/main" id="{34D10E8B-4497-43AD-BC59-6396A1294588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36" name="btfpColumnGapBlocker387728">
              <a:extLst>
                <a:ext uri="{FF2B5EF4-FFF2-40B4-BE49-F238E27FC236}">
                  <a16:creationId xmlns:a16="http://schemas.microsoft.com/office/drawing/2014/main" id="{66C94048-E694-469C-91E2-DAAFE0B60FE0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4" name="btfpColumnGapBlocker804924">
              <a:extLst>
                <a:ext uri="{FF2B5EF4-FFF2-40B4-BE49-F238E27FC236}">
                  <a16:creationId xmlns:a16="http://schemas.microsoft.com/office/drawing/2014/main" id="{0802903E-B171-4C92-A03F-CB1A5DAE674A}"/>
                </a:ext>
              </a:extLst>
            </p:cNvPr>
            <p:cNvSpPr/>
            <p:nvPr/>
          </p:nvSpPr>
          <p:spPr bwMode="gray">
            <a:xfrm>
              <a:off x="5825728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1" name="btfpColumnIndicator254750">
              <a:extLst>
                <a:ext uri="{FF2B5EF4-FFF2-40B4-BE49-F238E27FC236}">
                  <a16:creationId xmlns:a16="http://schemas.microsoft.com/office/drawing/2014/main" id="{8B72FC68-40A6-4EB6-B681-5CC474BDDD8B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btfpColumnIndicator866655">
              <a:extLst>
                <a:ext uri="{FF2B5EF4-FFF2-40B4-BE49-F238E27FC236}">
                  <a16:creationId xmlns:a16="http://schemas.microsoft.com/office/drawing/2014/main" id="{2C88A516-D343-4381-8C08-F46A77F321C5}"/>
                </a:ext>
              </a:extLst>
            </p:cNvPr>
            <p:cNvCxnSpPr/>
            <p:nvPr/>
          </p:nvCxnSpPr>
          <p:spPr bwMode="gray">
            <a:xfrm flipV="1">
              <a:off x="636627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btfpColumnGapBlocker313277">
              <a:extLst>
                <a:ext uri="{FF2B5EF4-FFF2-40B4-BE49-F238E27FC236}">
                  <a16:creationId xmlns:a16="http://schemas.microsoft.com/office/drawing/2014/main" id="{C905FB68-911D-493D-B6A0-AAF6FA61F1E2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1" name="btfpColumnIndicator400074">
              <a:extLst>
                <a:ext uri="{FF2B5EF4-FFF2-40B4-BE49-F238E27FC236}">
                  <a16:creationId xmlns:a16="http://schemas.microsoft.com/office/drawing/2014/main" id="{4EF6E638-A0F1-4AD8-BF78-DE5B1E6422D0}"/>
                </a:ext>
              </a:extLst>
            </p:cNvPr>
            <p:cNvCxnSpPr/>
            <p:nvPr/>
          </p:nvCxnSpPr>
          <p:spPr bwMode="gray">
            <a:xfrm flipV="1">
              <a:off x="582572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916525">
              <a:extLst>
                <a:ext uri="{FF2B5EF4-FFF2-40B4-BE49-F238E27FC236}">
                  <a16:creationId xmlns:a16="http://schemas.microsoft.com/office/drawing/2014/main" id="{108A57C2-8409-41AF-BCC9-905D7CB84E6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btfpColumnIndicatorGroup1">
            <a:extLst>
              <a:ext uri="{FF2B5EF4-FFF2-40B4-BE49-F238E27FC236}">
                <a16:creationId xmlns:a16="http://schemas.microsoft.com/office/drawing/2014/main" id="{542070AA-D65A-4FA1-9792-4DE0DDFC134A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35" name="btfpColumnGapBlocker578682">
              <a:extLst>
                <a:ext uri="{FF2B5EF4-FFF2-40B4-BE49-F238E27FC236}">
                  <a16:creationId xmlns:a16="http://schemas.microsoft.com/office/drawing/2014/main" id="{83154CA8-FDB9-48BD-9579-144A65E17E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3" name="btfpColumnGapBlocker938364">
              <a:extLst>
                <a:ext uri="{FF2B5EF4-FFF2-40B4-BE49-F238E27FC236}">
                  <a16:creationId xmlns:a16="http://schemas.microsoft.com/office/drawing/2014/main" id="{F0B66B70-8194-4CDD-AE69-B4CE2FFA7077}"/>
                </a:ext>
              </a:extLst>
            </p:cNvPr>
            <p:cNvSpPr/>
            <p:nvPr/>
          </p:nvSpPr>
          <p:spPr bwMode="gray">
            <a:xfrm>
              <a:off x="5825728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6" name="btfpColumnIndicator518624">
              <a:extLst>
                <a:ext uri="{FF2B5EF4-FFF2-40B4-BE49-F238E27FC236}">
                  <a16:creationId xmlns:a16="http://schemas.microsoft.com/office/drawing/2014/main" id="{0888CD42-EADC-46E9-806C-CB3F3AF2B309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btfpColumnIndicator681533">
              <a:extLst>
                <a:ext uri="{FF2B5EF4-FFF2-40B4-BE49-F238E27FC236}">
                  <a16:creationId xmlns:a16="http://schemas.microsoft.com/office/drawing/2014/main" id="{F5D1582A-3E57-4A8A-9612-F336EDBBB9B6}"/>
                </a:ext>
              </a:extLst>
            </p:cNvPr>
            <p:cNvCxnSpPr/>
            <p:nvPr/>
          </p:nvCxnSpPr>
          <p:spPr bwMode="gray">
            <a:xfrm flipV="1">
              <a:off x="636627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btfpColumnGapBlocker549122">
              <a:extLst>
                <a:ext uri="{FF2B5EF4-FFF2-40B4-BE49-F238E27FC236}">
                  <a16:creationId xmlns:a16="http://schemas.microsoft.com/office/drawing/2014/main" id="{8281DDE6-A8F1-4B1C-86B9-999AD3524741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" name="btfpColumnIndicator673547">
              <a:extLst>
                <a:ext uri="{FF2B5EF4-FFF2-40B4-BE49-F238E27FC236}">
                  <a16:creationId xmlns:a16="http://schemas.microsoft.com/office/drawing/2014/main" id="{DE771515-C6AD-4A55-A9F6-DFD56FBDF4CE}"/>
                </a:ext>
              </a:extLst>
            </p:cNvPr>
            <p:cNvCxnSpPr/>
            <p:nvPr/>
          </p:nvCxnSpPr>
          <p:spPr bwMode="gray">
            <a:xfrm flipV="1">
              <a:off x="582572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" name="btfpColumnIndicator206096">
              <a:extLst>
                <a:ext uri="{FF2B5EF4-FFF2-40B4-BE49-F238E27FC236}">
                  <a16:creationId xmlns:a16="http://schemas.microsoft.com/office/drawing/2014/main" id="{C400A0C6-E6EC-4BC5-BF8B-4AB7F0987EB9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Rectangle 44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rzgxMGUtEYaqWY6jPtrBzZ3/KcHTciniXfDOpYpdRtU6arCjEc/sjvOAx/lyoXwF7GMgUB/YP04emC39emjDPNHI7ch8MVU3cKbZTjFkgtZoBEyF7KhLP/eqdQ/9P4miG2LBzPiqF859o1+Y0WnImACOwVaHCXMoPVxpgdQfF9/Sw/WnEayu+853mBfgmSHjxvIQismOkUE18+7XPj8v3muXypR364oFSeIg1pQd72eTQOOsRJE0qAwZxdIgtDlUJmvY6Uu8PRsQpg8PgEgSHytzL3A7FXGGfZ89HazpKdnnFDjorRgeCEMhGrPRNADwHPXrranUfRmQTACJe0rOekwK+UX5ERuTobtGPBVU95ZUsAqA22Bvye41jRNTesB4Y7aDgIvqSt5FU1bMSJBmybwQHbxbViMUXA41k1eKV0Ox84lpN1e3z2WrbE2Fh9hgmfFpL9ivGJc+K6Fevj7M8CZzFAqjlgjjkPu7ja0B2ryPb1Nw8doYyZZ8biEZDO3AJdfF7JzEqoNQ5wa26kay7S74g2gfv+X2hoqhLaNodLfwQKdGYmdQxirIxQy324qasqb6wGKIiBkbnR6/YiSnwuvIZnbcT3Wfqwll3Mfau24gQzX+fiLlVQFcV6Po1ngYj3t58JzH971sI2jVcoB9dP11ogtuHRY8GX15EJa8rD5yLgS5cwkhBFzw9dCnoaSxf1D7J9h1hlmpdE+4rX3BI35NwwsMkgkNuHdlR+62EosO9IJ0hQrGe2aTryKNoLRVJSsGSr30JxcEp/p/ZcwM6lgv4HneMNmoV0WBA5IppXP/TyY/T/+Ec/haFmXg5V2GnmupMGms0il7dxfY6se2a1PKX33MxBEgSExnZhca4HGnxgv7ABnlXbJAaxuZdiKhWiLebp8AUTa0s62fpUG8CNp9aC73t9ccGmwCpDGRRj8S+G4nDul5FHf+Rdplk6mUW/vzE4HrvytnDcApSolH7FkR+gYN280jHrqsQLPz2+dlxLVTm0v8T43naGpoFQvuFO2i9vAiNjEui+U+kaMGI1XcrYMC4BCO8/3yYWak9F+6dnqLVy/l7Gm43dMJkTAJxfVmSAT99neQmRTjOfvob7c/B4PWUObCWktjqjM1fBs8wgzsuel+7NvCK66HGLFsY7c7uhQbTqIWMzI7repnrjVUrg7R2vS5ILpptmLZiGNSCV+QKkyJNrOC/5Q3Pty3Z9mTp7CJ1Bzn+iKXURn9+KSxxjyocnBb3KJbpTQjiit2Js9gY4CLGwLwRWiKNeOScxKk+FBRbjCWM0JXkHtN+ylonFy9HX6Wr5itJGEsGDAa8REVCxe5fKhtSMbXfl92+WvwcWhg+y4fhP8mtTc6lDDZ4IB++e8r9j56BCBvymOlpEah82imTe9y3CQnyWkxnFX7yv9d2unS/nLf5T8taFDMG3uWqSDwUmLnQDcY31gLo6DToLUilgw7Yt1+4Y7iS7X9JPwnNQvFDKs1JpQNCEdUaQodBgQ5dqPf3EiSsblllzcYk0zhnw1Xm6aUqqx3YSv7Y/uaNitW5/FIxpQPDDUyhfk40si5MkLV0OGtWwFEwvuNQNn8tDbAH1L45IVTlRNMmSrtxn6Qq90cwp8rjpBics4toJB0M+lMnE5XQ9bf7PZ60d2xMwChPmK6n0bNP31D0f1cbNzeG26JUHKmLbJl4L5FsZ37NarSKyzlxEFwv0PZ9YAyoZSZmg/rH9i/+yg7+wlW2L8eR9vzbE08PQ1fmgOlS7o/N75YGLohppyiUnOF1ZA7eIbhAz5DCuJf8yE7vrEZN056Y/FE8pm3XytNwJ2gKQla0OrX9iXF/o2iUmfJLt2X2RmtST7ek3IFpa2gm1pTtkupDIyQCg4Sc9lw9Tcdjy0v6+fg5tpWucKBzGb4b4fZ9ccElTFYDEhYkCcH032s+BXR8WDNq/0Xb4IJ9Diw5IahgQF/fGvkUtpzJZ6OdcJQM7IMg1ipc3KhxUp7A9N1eBEGWWbul1OPugcib221a0th2r1ODOdfVWMlfxypCZAQJb7SQnE+jvYQXnTmOo5tfRnbZk8cAsCAZpKR/IPhgqaAtVo0+EOjmRPNqUI8z92SkG7l1RGQGkXmMR4E+XAvETaRw7C0etC8X8fT52+gdsDdFw9GYwMFK2kaMVm3jICUEHI1EP7cSkttOSIuLZlkRnt9aIYKqSvDqNJB3FmjqUxAjJTdziKN8GycdzbQFy+MXMPMNjHx0cDz+5jYc688BvC357VNPmTnAl/ihdp0Bw9fiJ34wk84RvWnp31637Q/FIYxWhFSTMCcbxoeB/kRA8Dp/SkoCYK+SKpJ+8oyPurZXFhuyyaghLYBQfDBV52T0/ge1uUCUKC+WurXapGfDQ//O3U3sDHV7jiPz8Q4GZ6uEp28iZJFHrePw3cS4l+isBvuzTpThRHGUV0CPzZsztKDEl4RzKgCLtrRbvThJdViF5Gd5I/gUMgugU46QB/EL1MKfWmga8/Xl2Ys1un11AFTWjI3wtn7gkM8QQq+oXRSasDITifQzpwOUf200CHv7s4NV1VKlrLtHNpCG2gDZMrIH8NnOGpV58tTK2sFmr8eKGIC+R/5TyyL5klAVKAP4LDYoqQNoPaBIwk+FVWbkqn9ERD9P31lKpMvPbVXs5Q9M3lIzE/sJHsZNjtj37uPMRoRhzBvGEI3KZBhLFLifot1qz/5geCoIHy8FKA68PUBVvLYNbE0+2vcZ22lbCgHlW5yWKdRhsw0t6UFsIB6MDlZayx1L+gzwQqIRjxoetlhoofHYBw9u85597AozQ6qB6fzrkiUU7N60bKtDk/qgIN9Sias/hNEuOmWeigP9HRITaeJ8S0RH8G0UDKH2xPBp/KEvty+3h8Cmep9LRyf68+3vvpxSynHgE4rp7KtNmAtqTdga7GEpmE5wCYiF4FGF1kcd1Ztul+2GiNRoWKaSFVv0g+NyxHBv37mKMcZymgJVMw3hzVjcxBEcwqOolHxPK1bMZ5xvoqkIYHvjLN3MoN1qFl/30NAaT4Zn3T6jn0yq7DgDHfQz1t8gyY+oO82OhS7HlmZXJOtVcwGD7AYGMPoc0HLx1yp30SYVC99Qf7NvYX9NHd9tR8Yb5d7PZqnk3YI0lEZQbjU4g6jEFokDMMy+1NnyjwLVfTM8OORXEgeP2H9WvYeOqx02S1NYQ2ng30SFVVCZK+anGb/nMvcKcJkur2JTurYtUxp85jD4p4wLExExDdbb+LOh/ECAEYVji9jm5VH3ScErt8d8HoYZzau/H8d9fqZfsfbkwFOjgfeUFQkuTEr6NKy+qN3IDZKdtzY5nIFruIFEvAOTiUjP+VzycmlrRf+fA3nRNxxRv3CxFVArkcTBoNCBYcklEHNPO7t4a2ZUgtR6E2/w3XmtK357iGyVb5O/bfVeolIAOCRUtkpLxlMobCbcZv7glDoCOC1MqFTsUlRoJTBFfHdmkvIxuGl0cBS9A4VF2nbIugX0wN9y9Q6RCKE57uNoB55OiXmtv+wdQoRZ8jzyGTK1wL098opqztf9SHwI+mqk7aOuYGVQtrIMGW+Kn/W/ODlTNvg2dC73gqNohkZENGd9mkgf1w+btyrjAqNjXK6rwkJkduejq9SWe8d3YuuSZDkntHcDevFwTYcYZkbTDgV/tkyPGdxwRLvurzH/2tpStywfRqM6R2dp3oGCulmDXTbSijfEfOd+SuWeoDgPKkPbjy2aA7jRw6ehhiznB1Zsp2mea44igyP50SPz6x4KjdEY1UbD8yv9pLMo2Jq/I1v8Vy7wSaS3zf5Q69e4rdiVdaj9aS3GdgcllOi7eND7/A7FSBQtf56aBveHgEe0xLT05aNWI99reDRU1liVvtb5xP/LlaHDY3MO9/n/K4d/DyrjbP1RFvzKAnJc/+dHoyJUUNBfk+OzIFPwHpK8tzYpS+EqPIMYWrNcRY/xiwnGYqkCNQ3IIsu+LiCSjMapIKpTteKCiLOQm4T1TkwQV5t6wOWK5qLgiKzy1nhPIC+QShbS7FQqVWL2JHiHKgV+CVZYf7se85RkVIT2IhR8DxB5B1a/4fw5AkSATY5DkRGgOjjv+Ipg/meoHzq/WAJGjDpFDd2KjbMOYARz7xhX6mBJlagecNrIf/ozsWVAr46vmcqjEX9iEWhChTTfLZM5LSki590k60rfLwdrNMMI6FU4NY7jWIeI4hy+82P2wzQyuu94qzDkHJ2s596/p248heL4PvQxRCNcNb2yX0mr1pIT/OvbOLDQyrbj6mHLwQy3N9+HKKHIX/TCgA0rGhhd8P8DU5wqhvyeQL22iSEMhRt15IZDrf19zUuqqBV/BPsPGAFNQBWr0/r6yx58aert+PCW/3Mx9AcgR3pHuUmjoMVPzfEsjm188hgF3A1C9lp5JWQAx5SDVtrz+fGIc1JvMTKrX4wrvt7wqPh004NcbXX8Nmwr0K2RcrIGhAzLJWQ5CZrrmYF7C8ALU2FkSKh/M+ssZljcWDLKTT4MwH6FSfyQd7IM5vYRtCLNVOZz5T121Wc8RncQj48Z4pSXj7jj0/VW78BSFhoK02rziajoI6ryYFhQB2UwoafnDO876g3Qvu6iE1BwX7GKlp24UACH5q2PfXMVAqIMN4BJ28mhynrfonVKzukW/I4auFZJwURZbs94H5zgBTDxqYMwvgHttRDaYQSkooSA7Jxelw9IRPX0pOY3jdjrO3P52tLd2nmYvV1YZpxipY2GXzJS3pLKeStCFZ3BZGSFwBct8RPWdQ84qyzeVDLhkTgLKsB3mn7DyypGCx+NnuTv8hH7ZMhHYuJy8+nBWmwYuMZlumtwS9/Ql0WA6tLXFvwJhxOG/6pq3H2XMny4+WrvzaTvodd5MCqjS1+5F/xtOgk1docQGJa0hyTMl6DcdK3uQImIUQR3S327OfFwZajIfAzVbFoloTV31mYy/UZiohHfZBQMK9Sv5Usmc+0b2qApzaFLNoilpVB+oCKaVW/3N/IVkSJiHygXMr2x6xIkschQVkfiycgLeCSjzeovCZTHDuxmZEDCxN/TumPxFHxmNLEJORLvk1W4A/H0vcII7eC6BxNhUu/0Wl8iZaewSXaBr+F2pvxUFckIR8wI26vfqvzvoPUTNhzA9ANHfEvFp0E4Y/Ec/AmeP37te1vJC3V8kXdgjicJpUehMi08el9LhvtxSLjnjPjmgyh/N1vrUq+7TLzLbvIl6Tcaw8SdPV/CljFtlkvqMRiyiuun+k4ZI5JOswr2lqkL4TAipxF1kHyYKVzjlkbhdLBqE8QaOF9C19K2TfZfKXhkNhQV8kzDfk/+tS56xCzP3moGDueUuzbpJjRXdZmW6P5VWsOO3MBtu1gSB03mqHTIF/a7V2x5+Hr+bGd3zqOAFoBFOid8Y6L4rGqshAsqw7h7tp1OyrFFybdgAUjcub7eWJA7EtGx1i7ZUpq5Pq88RKhBqTgy81zmYzOMvamjYGmrT3kHZX4HOSYzTa+roEpJHf5LIXp0DNFszLgUKmp+VKWazVyQa9lAqkFErO3+K5OHaHL1oEse4NsXsrYKvDzn3LFeAkCULkDhSohO/wPGCbEiYQ2EJdQQ2Y1sjxmjsZnfJ3a2nSYoBqijBNLTkt41FU8eCay5dBfy6EZ2MgwBDKKU+XcLNBW5M8fjIwPwwNZdeogldhwxD5IfHeKOXwkUWqTfE4fLr82wx487UAthQcBghNF4rvMOrOd9uKff+tQvc1EIOaFQNxM4V/moKNnBmP2GG3NpJMs49EEQwdJVl5XCszWr/1SNkV0f8dxfqsjBU8YeYNn3x+07RwqJfpBLQxy/hzSUbxTzPX7sg7nLRvgOuBrjHIdFznEzz1+9RyEmRI5ULk1daWXh+6PGqnCf2VmkXZfi9+lt891XmsdsD7Zwv81wcsl09zg5P9zg6j3FtsuEHcc4kR4+/7B9C5/4WZXHsxZvuzYrRMBoSJg9y/ZWwdhqXgSjHVlg0QBrqGB+XdmAFSfW0oEjBGDHSXdsZ/YLOZLRC1OGsVTNxVKhT/MYnphaUaBWaNxtYrCdNVO7FiMHMbc4YOcrr323vxF5oqX+PFkfzupwnE9Gunj20PyY0B8NDfeV3tiFGLcXIvQAAn5CCFjHAoApB6lGLvq4WHr5cn/AjA01kAMIE9geybyVXLrCmtr1arhZddvBk34JwAEajpJ0iZRk6tPe1bRUblIxftff4FrwZypEl6Q4BlJ5394gbxRQ/8INmrUt1cQc8pVVzU3cfixpp1ojVZ3AesjHiMR7BUNlHf6EnnYxwJUgXmooRarZ/v5VSYeqWwya0L93yfxb2XuiICMA6i2qlBSjC3qlulWGSmJBq8qDIoL2Jwz9/+2wfxuntl8gNqrNmO3WGuJZK3hgyjO0FG3wi4ZJVwy4K7VfitFVErRrfutBKCagOuMM2VqH/PIEhf2jL9xJpR7Lq92iF5HEaRDv7A1RFlDL0/Xp/jsrH8eT+rqA22ltI0CMFkICgGFd42PKARGMSS/aHYGngyvmzRLIXW84TZ8S0G826ue93ZR/4RhU51NhbYs5nLYAyx5ZlHw35a4X6YneYeb9QC8hpKqmImOOi/cEVNA+o9XX+H+94w/68kW7S4lfFSgEYIxHtWLoPA2CYOZbd+zzs8vI+NmUcXw6B7WZ8kulUpcfXFGDAtiOwl9uCPgqustbm5sta0qQxiMv65I6SnaCMs5gTgUVrSyI16auh045WELcIX+SowxeggWENVA+rpBOqdSy0ZWUJ/a+AxSdgY9iTeQsMs5lszeRzrhVtTsH1pIVFcnNltjvsqErHJOUiLMm+UaxclEWpuiIeUZ+mdmsEyvvxBWrIpdu6e6UGPRIonFKw9xb70ln51G22TdjAM7orQLX77owvzmSc0E3lp2Tcx2y3dyDpttP0NhW6jo6G/zY3ibbEtCdw5atZ+jTElQ1svrxKc2R7rzp7gK7TifjDoZ6omJlhAObtPXyX2S6CRPPzaLDtmj24+6Ge2htK41m+3/qVyXOLDLEPTTweSsMZgCdWv13QtbVzD/j2adhFWWytq2uFJuGFMAa7ZUmu5fcdxoNGAxAlGGm8rhSsj94b0LPiEXdr7+QUBA0yJv64mBVlPJss4wtBNQLzTp29TJYtD0xfhJZpdcADnlHY2d8oE/8Q/t8yjg5pMmXWXbTeDBQMphy2iDgOVYHuSbCttwUnIuf03CuK5xPHkn/57e1WP8WkxxUs2FbI/9ftkRJOHFsGSjD2U5XIO3KdQHs6xklSY3mneHRIWlhYMHNCjXPuDbTd6msIwXusMzOU4nRxUPCfkU5QyMheGOE/3YKMD7Bzp7Gerj/3gKNDr0kmg+yA0RTPr4gCcm7YhGV5kaSw1mzNbTohYavWBp1FQrOCj5POmMibtWucL4as9GoaKuLkzPDUHTU8LGz1aQY0g9s43pftkgFderTEVLCAlC9yATDetKtFEkYpEl22W6speidylgl21cdlM1V+JH9ZEe6W9Q7x7aAGjtjkLfGjrwlIqHT0U3RDfjDXbM3GjbwkZo1Jf2HmGQoZeuoGsIVZ/P1MkT0u0RGUvSGuu5OnEVZTnQPyynJXqoOf31YHld0FVsF6pNkfEIqOd8MPpOjcAiTzUPsz0lvDGajGZnzenJTXtSjIap3NdKw2GUUF47WUlgBCeKChJhLs44nI93AqyGUphEyMMBAM+LLuV/DL1pc1n0UYltNBi8Ejt6X4jTKvz2bofjndQEmbxkty2z2Y/17bCxyr76E9EFxrBRpGF0fthockH/nRkz388PZq1odxWAJrAt2SxT7QBQEmEM1IZTHnP5Lu5JOcfpXs/3pFDJ1JG5w5ZC4m4Kj1gT5I/e9mevfNlV1Viz0N31Y2DmGjv+zdNoPWFjuZceujsS4TeLEiYyyeMegALApfRp51xlA3WKMe4578KoVivffeh+nBpGz/RTa6W1SKfRuOqLFwTevvmlGi7XegQMgRBmryDOnIJzlkS8ix2P/JiMALbS3DSeO4536LtodaSZjHW13WOzO+eBAHMdB7QCGe2M6oQvvjR6IZMdkIr7Fy6QFRur+jLBBUr6+Ae1G1gC1bjLmpTTNGHGAIFQGXmjFnCawbs60x7UzT2WCyciI8m8DPnmF80K48haaQTfVs2bySMNH/mjykDC5lbHpR3UgvgM+2Now6752duSR4e4vNFjjEZdvXmO7/K/bdN/FIzWt4Xp4wUy+5UZTHeb8ZsmnoCo9hWwSSttxNJJAiix/Y8dDt2hOaJxnb+BK6YynYffZCEpaG5d7q1eN7eJkmRCZjeztYMfYq9Qc0P6pi/J+TG4TMxAScTi3Mr7bHX9pnfnsLeUaOHH2yEyToaR0MPeFic89GlbMp9OtUOGd8pi5xrVDF9apk/TO580vD8Vy6Y3MI7RVBzOyDV4o/dQ4Pe1EgFTKhEKT74/twnQQuTsfW6ZuyY40YrLZQNPN3uP+v0NM5J5MXYzgbRDMWCy6Q/x/1eMhitjuklJxC8tiuf3Z9Dj6pY5t4to2C8hBtJ2KjuT986bNLoI7mefn8G0lO/vW1MeV4sLQbK8Y8hc7X9VuiUxz+IX0ck9LkVkftNAM5ye7Nj0PXIHEAR5j0kXRIwC3HlGMpFqXSVOI2Aggik3/4SrQwBb42z3804eZB1oJUP+u40kfbmWT4GEdx1t/ILTM3/tn+RfgT25VqtBzRgm9eWEHaHd5C0t1m9fAaoheodthiZCVCoTgEtyQcMwkVfikZ/IKLtd4NJy8WKgSPzONRqMa5yyHyzexuHqWwMEE/V0l+Xy3TyGJe4QjFhlM+nj7ibbDmHVCjHU0AzESq+2gutusQWuQ8pajYqscARDLoitSaCcj5nXN25w0M/7vIs1gqWbWHOdeggThu+kkICPSPY0mO3lEHae9vFQYZiojiuZNx0cONXLjw2JcNa2MnwZAuKJiFRQV0Fh53Pkxw9MnzSV6ESCqcd2VSoVApbqoY3X5TrQvqFDsjoOg5W9dGKdvctazGKzkS9oUymG3CqR1BM2sfdUDq+Lt733rUxGf+8VtrCPTvIT2WduosyWAeOW7zawzx0qwzte0XIFZMwDOBp88BwnMxbmTkhPYFTFelRtFDFM+60XwwhO5xTUMnzdMASAQvp0e0QKITch47KKetNz6JhUfwr9iyhfmAnNiq1QGy42KzXv9sT2Zd1k/Ov1POIsFkB/9mChqWEpRHB6DdU+bBLoDqQrXMMbso4hnY3pxYT6clOaeomEDrfh5WxUU+v8YGSqvAe+yk/OJXMpiEFcBY7oeD6ZPiKJnnkI2fdHyticI5bNNhFP1wwCB/rB4BUC8cJ0Srlz9d5HhL4KlDRoC8LKqxCwgH5OQZWPVvuCk45cC0s9hZyhnbOCkyT/IsvWvWFPEQZu2yLKgStgP6LM21TW2WyAQGhhoHe0jpppcI0aA5EoQvDcJdkQvTxXlpCACmqu1SBuGzo88saW/hBXesDBMlXF3PD4LWEBtZI6I0kath2RIFIAckn8JG5CawiqX5RiUT5++/K88ufVRVZrxzaMVWvL31HqoG4ceippSKQmmJIUpjj5HnlRC47psRUW9lPYCLCGj4tvlL1lpwI3DoPsVrZ2lFIP47jjDn1/hWFGdOuSZe/ODH9EIjlKGteLgJpfjOyCSgyDxQdpS89Dw7aYrQzV8EJXjbtJt2Vg8tSP3umoJX0/rL03mZhlhH0RCSdnQZ27m2sYjTp3k8xu1TSt4RPX0RUwiJ8kcb06Mvkf3xRNp7jhIbpVsufJpXVzr3T6+yY9ABkkxlDDKT2La8dxRnU+cwTmdoYqJEhkPpUfuX4z07tZLoUiHC7w2LgHLSMZ1F+ZbuLKn2mG2zog92ERWPQB8VnTl61Ywf53f4DhRv6Mg95QsK70UETO7vjYTsfnovwLU/sxsuWYuiMCadq70xEPI9sdpOUnZJYUn838rh48QQg6arMnHStzKgOYtfzqsuoCYEZ1ljqnlsBFTQSQkNbGe4z8H5773Feda+r4QWIIoz9FfPx2a/6fBnFRW7zwBjF6aodlUtg00fWFf/JmoR9ssSgtxGP8aukRqizi34xoV30F/AI0XJAz06TTbEi4ByPWM7DywBoQWXN3UMyUjBnD35rokydJf13cEBOWtWIKZ/qNLV3+tsMs2Rj3BhBBY7oHkkmQjpGmOLs8bLhwtcdPR0VwhPQxYQVUsrDxiXnJYrMsvjAx4Jqb9Wk+PPaYrp7S1JG9MteuJ1aS5jUn1M6igF9SIoc814zdeTS7aqy7IGJvUchlYChGx+56lWGBwkPkgTw6nFOTTPVyk4IZlmxNwmcT2l0g2gsnC7uKGcVsCIIBamEzxV1WHobachP4KKzAY32jMVlwLY6yX6rMu1rQI0K1qcwkd36WU738b4on9u3ISi24lJKiX6KdCPLUg7Te0k7mmXPc7n17WXfwKuRg1YirMClxvHhiyzC18nJHoOcS8y7M6H59z7UgglyNqcbQoYIO4hQ2/yTf0Qmlms6vDN7tbsVF+8EnAEaNmrG66DMPSAwYqmyIV8ipQN3IEEV+p3BTKvsljnSMW6YLYyLhDiMgrYV8RjK6TwMUXPEobL3aqJ9z+OT21ECO+rwBcpYVPx8B/q5L9Jtx78923H7TXJZZM0VPx3Pxo3FzchUdbM1O9cARE2+K2JFjQ+IuscY8StkhCHBSCof2R7/DRPJ3YoMJJfFBTiwLirK2pFFzzMuCOWDw4opVZpBFc7THtXb3md5sNlJS+FSGEeArrqpLn6VP7PwqFjt1WF/SC3Pw2pcLYTljR2oIEgywyclNESrMremOZISk3W11FpLZd4mSZUa04BbOU3d47nN4JlSercucD/xC9xUcIxsT03sHexqiEZ+4EE/Qv9/YD6qPVWFXBRTfEPWHV5AZxfP0vwMrNZXpHzO/ZH4iuQSYTcQIKfnvAjEgF9gWCyVNQbQ6p0sMeIHplZDJ56M966vD/Kf9Mp5fwUqMKyf9uwaFDglOcDcAe29g5kmK1vXFC/rudvekBfqdxiBmzPphtTYvX4XRI0W/FMfABIVFSi22aU59qp7YZzQyZXMIYnAjaPLf+Z/RbO74Xfx8GKNuLPxruM7559VJ0BXKeZjNRy6bA27m0V8HlM8jfs2w5r+TVuzlh6VPfFYVsF5IXcFZhGK3dx+dqHfo5TK2qkjObpjlCuBNMj9bUUa/TeGrLfF43zsPrKEkP6Y9Pk1jwfQ9NdZzH7N/0rkqWtKyeTqy7CxzSACFer4/gj/BcyV0Upixn6Zt5JUHa7CSNGF7u/K/WTYl9/kb2bzay79ognSAUX7SQijKNh/xQU5EW6UQH4PilksDJOEdHMk5SoJFLIMbeVWrxgRZVGk7yW4g69HElrYbaUrZl7qLG5lQtJbQnR4ZeH8suGJpsvbb6jRC1ktlGGxVmpxbIpBqhA2Wssn0LUO92kKM93ZsT90gImr2EeDxQofN68UghhvjO2uiX7OEJIoXHvwpH/cSg8mHK1x+L2sQ/h17wgxw/Iz+ZtWsjZuJ1TfkIqbvYZCd58Q08FKmy7WTEVE5Is6rzzBcoQ489B3s0pN+ZNk16h2XRKkeKYRyvelWa5wPNJ7BORjsl3mpuRKTNw9fHV/vfqDZBkqeQP100oIMRW1OMs/QK439LrEshdUmG1XcvC63RNWJfiT8+WCaWVyM3BWjURrpPxTCkyfUH2HSL8TW3JgFhW3D/bZAoWSKJVv0U6AYzfvSFK9NVz+k4eECJMkRMGRTJ7/fUa0lSsfHvO76RvC3i5x1yIHS/KSzOjTb/mtFX743yBnP0NCx3ERElSyc4k43+x+IjZvZ5LtjCUulnO0N6/5PK5b2z3QYqJXkBj84HUoxTn2pW7HQKZGiN0bwYSRqM9vLgxQdQyDzc5q9YzwyF7T5pfFGZf/oNoMNjP7iytXAqTYcpRZtbSJqmShQH28vX0uQMnYS/ZBRe5r0HBpVQ8ZwR0xoQOl64Tvmx4YJq2ek7sK5vm3p1oeF0fm5UfxmpPYms+S5XFVlbJmTnDHdrc0RPLXPhvvUopshQTECkOsfxKPwWMdvYx+1BWDOhDQznQ8XNAmvyJD2i9s5fm5NjAxICG8PaTB4hRihCv7YTeIPlX6tVJ9xo+af/6sgI8Y/qRuoPQnJSSFA3GT6p1vMi3kRkX21bj06AjFPTDeAibEbymvAfJnvk8ZoLjRLn95rOEK9uiu17Q1OE7Wxo3zBQdOBo5pvA7vSDuoNOv2q6znh/SkD5PD887AUCxrFgcckv0+i3BYrIdZ3JK7VHyYv4HBAFhSS1XLCug+Rq8AhFfFeGETpHZIF6nKwiD2kT0VKd8NykQAReJk03LiLuWnJfkBuzmQ+qAApSzBBW/6qA+XV8yQUXIob1bscbHG/TUaBl/WHZzX1B6kYykC8Ex8jRdFBbtNBZq9GrWcqG40PyVFmMyLbZNmHzMaM50oeMFTpSP+KKUPofRgHoY8lb15JbVIpyJwai03pJGx7xH2zrhtwkz1L2zsEqbBGs6Mi47iWqtFuGP/6sjiAMNOgqrM2Y11r4jF6ZadrWhrWYpqCUAxh5XJHNVKRA8844t6CKBKiNuqTj+uQz/wc6/ON09OigchenLpluYlMV59lmrvEgs6VRd/J9iiF6xHeYBDJgdhdNvzuj0ZZTchKm3SsZh0aDKF7ArSBk3EfyBk8ShGeMdmG2OofCLdhIM+WdEyUy3cxTl4qcUhF6KKgO9ovLnOZ/XjkfMdziZwHa9CjVV3+CGEblo9xMLjkEH/PesZRFFzC9fyyrUoLfRpOtFsged9W8esy7oG8A6thLgdB9KvIjSU6RBpAVMk0Q1ILjJ8W+S5KZjq9W972qSlLMvpToNZhGFcL51XWiZpGzGHnPtIUr3bYOUVdXsJyJivU54XTV2fNs0TjylFefEf3jxBeRitXzVjGHW8QwAxEGmmv60bK6gn+zMihEIjRsHoGdTR9+sY5znChQvS2YGg8vUCQuKCgG4EUZDuofOwooPvW0MyqZHXFUA6ijLXdAgDE5g9hGBoUegUKNAwScVZD28iMF7z6cUG8kguh5/tjY2lR2mv2gFcU02/x6LirGEML4wwe6ZPZly5gXlq29vu66zVffUQOhUNOsE+9N6XlM/437CHjiC/y1C5jVDYXZYLc6oR5c4l7AYMvK4HEJ0rrn3+rAkor0Cbsp29hkiF0Etrbwjfr5cRzN5TWMNC+f8KQJGjFHCuktZoiMWdbFnOlhhm1x1MfBcY6mIc3vcmaQp7D8FfbxQKLoQfw8t8jc3ROXF5JVdvy6V61VmMNMkXcRkcsSAPADHVNX4ca/qEIMODvmyZRJ8WldfewoPRFZ8U+Sco/z0Q78iGHj6UScfE+AfVOHlGgg+wN77dGg+RDl+qRzPCPNd58uAkqUAnlpNbWRAF92YEz5OFKhgUK81TZAW0q7HjSIL7P0CTkSEdswD94wXFQU/lrfsoKLCFCKDPxBToqX3PeOl+mGpZQgcoa/f2i8IGBrhGfa6LzFDmQZuIV6KuEhH3MMdSTEkVXYGbTQ1iE1yHHPSwuTOFLR8lzWPMeRRMX3eNzdW7cAHq27n/nf+b559VoJ3YRJlYuk/k4/1Yp9oGEZvhrQu4cp9hc1ZEyIlL0U088eYdIzyHF9QqSjJss4OkES/bv/8MI65MHZruWKZF3+LU7jJw9vOVjREl/o/uhn83imWVnHk0AkNXF/sPMq6u4YzsuA9Ykgg4U7/hV9jXJsZzcFfYU83TmahGz0XxpLRbrU9v4YR2fFPY/I9H78SgMdy54taM2u8yesC/EmkbYXYrWoHwc7gSug+Dx1xgcjz/TVxBoajILKNn1Q7AYuoty1N/iXmqWUoBm9rxLsuZYUKBzO6nZ6mJtVcTm2JolB7Sra1gZx9UvOVjfxPf30QxnES2Gwz/fLEewDNE4Mi/xBWuCUfUassubx/riHvxRpW15K7heWtAMaS5IeiovdSL/4i1AyAVqHQbvyybG2/9+bxNTPfq5tunELw+vKuDcJKVlM57wjZMZWirV6Z8neQxF6JfOSZ79siNzbws2OKKJecmwIUGGR5qM95ock0WPIWavdEiCKFdSr7QpMjSVda/sSCFzNIHMhXCIYjSGhMQm5YOLQGJ7906cg3CG8gL7pOBgFwywrWc5YAdHCwsWMkabeoClnDhZn2t586wKzbYjpKpzn6omUFuU18w5VUeTFjQ9UgI2G95KT9Zn342xqGkxIcf7eRUnZdYJMHYTczzXNTzThHw55MR6V6GeYCtM3yMOvpa9+b9r/lmuJDpLTllCAiXVY++LQPTP3tRSBTx0PrwJfoROoiW+bb1xvYQG3FFGy5tRI//QKS/RKiN6tdn8SlbEc0XOP78lEFxfvhMfA7q/Hktx5l8pNwFlWDOl9UPikDvQAKMFUMgQ02XZod3FdBVuZEifXAjL/b7eIYugalNOa1fXIav2kIoUYEr2vGu8jxMaAHQziWEKlqXC5257MLDOECJ5IbvK5QcVECjSIkWzGASPdKnlleI8ikcQxURWlfp15nA0uhHt4te2S8ZEc37X1kfsJBPnipw9994YyCbP8So04OAnpx98da3tGaFdr8YiBNC2sYGCQ3aEqDPrm9E5UIjYRIbLuAcuTKcg1Pxx4XcnXyp0+T4GnfsB79NHWfGWHif7NqyWVyR7nMrTVjn2ypuxL2Nc91nFdKGiEd6rZME1h8FUt7+KCSX2hC/uDkKuOf9TmZjEO/D2nEpA8mUR0rd+v6dGxMmHwevv/5y5NSTdzOwY6hunmVnV27khtxR1h/QElYzPw1UU8JfK3v2GCpMGgva2W2u/U+mvWdS72VIjtVR5yDoFcsIxNKA4npAa8bz7zpjvbnc2U6D3p8z03OfiLjgpTgb8bmOqZbHDA1QGQZRU/hKKgM/uFqgtXhkrHS46B60V98uw7Opp7AUW/xRIoqiyHLrR5QL9MyoLwyPZYBP8ohR4+OPebUOmMyqXl5ynAIzf0zPzpNVqiQMi5SOmMmBkNHLebbu60nvXVfRPmfKF02fRu+8QtWvJjrJU3z2RP/4/CV/ajhrbNHGZbKR+EcIf3CRbRBq+fzEBvDk8P1zE7lf2ATJvt0b+D4vjUz+iHeKRAGUBZK38gELnlpMRRGsedoIFmBjA/te4kqcZQaxis78B2HG7w2zVwoY+XNrfNAsf9W7yg9OC5TUCUUy7umHsSOikll+AiFZ2Z69lEOAHDrVnkoy+egqsUzP2HYzL+ffjm/5IJhJg+VV6wnkAxadsqbOukRNudZJIpeFSu4cTuL37RKckWAVZokZHArw0r/EXQoL3yD3AtRAplBrbm4GtgaAyRvF04ByMdyblManAoDCb3RA2js/OaadGY1AsLgzmeap5g/rA8CYSlWCSQ75tybOq1RnUhYAQ0NifGN5a9ob5QFKM+0c+PDxpGqww8VH1Huy/NE9pTHxx1yxxG8vK02UM6rdHn7K2rO/e2Tm93ayG81KgsE0Vr9wtYuIWVSCyzYtAdufTaab3XlvJgQPMfyBDl5YrNQ7XMUsyMNd5wtJK84lLOhHlUB/CXwsRRIfU34KOSSApJPyWFY5BUHfFJuVq8FzsMMo6OVrU7JiuZ8VPnVsUg0rDIgfmcYRHNZsm1BlwGhj8jMKZk0BmJiX2MflOn90d4icV9q5s2FiTVF2dh4jkXmqqw0KBJVHIDt+6V7h/HJT99fxOqbr+XNDWZgJVRanG+6zyKzn0dWZf+rP2Wns24YxjCaU27eXzzqqKJawjr01b6dyU2k/2pmVDJekOz8eQuf8GICbYd4A4f5Vu6aBY+Q2eDETzpCfIjr4kkYWssQP8a23hri1qx6ofKuvP8EKsH9jqUzA8PaSM4VyAnePRJ9TEZ4ZgVyEjPyJoLxTshIvsEqOf9ofPMmo1yi2bldvsCBcQnz4f8N6J7fUoMSWcyJkWmqn1IPiqF31jB37HRMZlC1PgfhkvfqUDE56eUKzkGVryqqe0r4alxEFgmvMTezFWYy1WCXJj7PE8ETMXNwOtCsc10Ck4FaQIRMVrcoHCwn+HZehgS1TTUJGm7rkmEplARyBCylxNc/fOh7p0QbLcDjeDWo4BLv86L7ZmPbFcYAMwaAyV/mYza1kG289SruI8AfyTeNUcggCGMbcBMPRrFhHeotaKcnPb2qE97fxs+l8O2AlOlzrfnVwaGe2IHldPzDD2n1Wc0QDIm3Lsqsl8DSqq2aDv08yp7s0iT4hBqlEXzli40QS5iHnDmeAwO2TSSEfEaQ64tetDUdMl6697UG95y6vejj37dsPIYiNlmQK5/vPUoYeMZOnpsDXDnQuize5tFxWfbmc2WFpfVZtf8669T64CKRORZyULdH+VwJmmR2/3zslSOemaTNosKY2AcJIo2CQJ+9e2lKa5he49NwSDDodIvBT0plZ6Wso+ef4dD4DbD11UWGCtPcq7xCP22N7ewWuEVZ8XJFuGdrN5JmIaVg9xcZE5OV94CwLg6KLk6RtL3ytzYvL0z1s2F6htIwToqnLfSKHCeC+YLd/DEiQmdr2Wq4dbJhyd8v0y1C2rAuH+tioPSdJuQD4oChXArqMO+UR8HWSfp+4vO73R61QNcy8GyWBYTv1u5VXtltXgUM5h7wYOTbx+MLiKPhGFTlwu8lmPUDzCy2lRUr65CHTHhic9BYgdjezJp/wKsOcG56erGa9EMNRU9x2FOqrkCmOdV7m6Wr1Hnc6D2WUOim/Wc2YmOLONZNZZrW0oBZ6xiiK9PaBaypylYLOKvFeelRA0In5LpaInzdoFTX0/pqQoE8U5XW0Grx73O9bIQPXcDwIilM/R1kO1nDLeqYWw3p/OxEqb2yYKOmIoS6CaikFMIXdZ6a1LWeywcS47Pxe4RKxJiyCiMn6PGaV8gYYUXLp8wVinfPFuqi6f5RS0RCf9K3IEwGTeXFOiGXA8+UcSUAFnvXt7wUqX9XvQU+B7oZYoNREVfUT5bRTvSRpeWp3wDdK5qVKytkYwk6ugLRoMuztCe5RTG6SM6R9yEmlqMd+z1/r57V8vmRdpYb/dgAFM6vZLn7bgDNJvIoQ51Ct0ff85zWlhNjf88X94/3T0g6uhHksmdkxbbB1vlkvUdkV4Oj4egBgUFa1jaV/AMkxoXJAGJj+z3Z3WcW1bQ4K/AlcPJ6+o/I+TtD5hssxqrSarZtpd4pPcv3+ONNEeVhRu2OGH3NhwAH3GIqqpN+dzNCQlW9CWN5vS4cgXcbYs/YIr2kGaZAzOti1GuOc9PkQXYQY5ffKEcXnafXGLWWP40+JxyT01wNbJnMYUPQL0pRPSjCtUIA0pisn0X6TF+CKUHOmisxAdMHxWx+mrNqde0NyQYtYDsiLAlx2cbBKjowj50kBTGTutLYvNa2cJwdd6x1fu/UdSHSu2joKB07UVfAhbGhNFstN85MIAa260aEwrlRWMDKbPolJyUtZrIRA8XOOvX5mcMA+0yUBBXcMKrZhemC3OemaMVjRy0dIA6wzvP+9e7Se863OM+H3FYcR4Yic/aQmaqlOSoiS4ko3sqBXkBabA/2fTXNBUz1+qLMElicuAZLWCuvO2sLN1Ab1ZyoasS6yT7qPQFYPqO19XwViclUTCNO1fHR60sY5NUndIYmhGQLpq+neZzxm3T5OYp4JWItTrJ8lXc75OmgbOjquS+I2mt86AClhBqngpT/hv8AaaP/35km8eAXvfF+4VETwrEG46MmiHBiVPtXp+zL/o0j8ewkGO6/2iJizn5jjxo5i1OpT/hqnlnR27tgAS5vDK+tFqLsn8aDqD1Qq8IQuou/ErV0b/S4CymKJxglREfW4+CK3eBQhacJUogZdwWkhnvhVlqwrOL8IvBVmDYBcZJv7N+9Xh0kKpOPhsds2cOsPUuyKcg6RLbF8jqwNuFBDIChLLY650bOGTwlo+qao+OKPBGicjhgc4RONbitUwpGvieFJcFxfbTccqXmbqURBkkgTpklW3JBHQHdp1tm/3/Bt9np7gieDFlD63ALZVP5p3Y5gipCU60o4vU4sYhgiOast2OfrEt2KxHATfo2aF5+GyRpspoJsvwih+cOp1ZC9K730UBoYqi+65uPgkjw9RJCqsAsDm79tDyzlr/3tfqXetN0HcPRswCosrHCFAdVUMtTmr2z5OIygq4UpYuA4QnZyt8OeA+8Uv7EDd1uF18/4yjHE4lMS/GcreIuLf5F8d8xlcSJueU4f1v9C5kKP9M1T8wIQ9/4rQ/SyaiUW17NEDhMJFImvNeX5s8aOmn5ApA3cnKOtrKI9stZjz8S9/WYnhEDU/OXeSu7aCZ6IV/MukAa3RLhx8uRmqbv3HUFlZQPJVpxjjuH5zDyfg5Rh/qNNrirjrMpsGIQ8qthmPKdEsPogdCA40SKr8wKc4hZYcSXCQxvqx0nHSHrlyqF0I9Gks0ShnSr2tgZdRSDYusfnUCufvb5eEkukjkicgSOLzBaC8oYT5e/krpis8stvbXbXzYAGTQw+K2q/1a3ZJDdGGrRLkpoMVYgPbGY+IGSpjJkZMx8YxOzddicq1Gb+6cZy2ML9La7H1OVyzkIvWly3ADnA3ooYrhYS/xi+yBA5InejleXFx+uL6aXYiu0Zo1qpkZT7xtCziZn+So6aFeIxY+0OxSKw2p+PlBLGM0tIC3NBY+lVi7MQIUhp8Qbmah4C7JkMHjAfQkCpOIE1iez/p8+l3qEnbOqO09lPp1Yf+ePkM2DY5muUK3cMIkhGWjFexsVIkF9bHZ/bDh+cvqPEfPYug2DEuBwbgIZjxubAjS19gv4G2O8jgcpQMSeZ1UGs3A67BRjRdPbVKgSgwfjHg392E0JCU4Y6zGJgWYmNOEVAslVXgXWMb/WxGwKhgoErR3W3mI3V2gHMKkfLk2pQfxrOW0PUyAQfj0Iq322AeD/wpIXIX4eaCHBvZHnWMK3D6ZrLgphkseN7aEuixkHoAosbfJtocErBtEOhe7m4T8M5tI5IsBF2l5yBMeffLmR7iVO7EABaNhW6qg5y8YnlGXm2dcBv73MmayYbow+YJr7G8oENenTkW6PJzI9AnU8KYXSGik7WBwjim8lxX7S5oL+JSKxCUm8cQYM3nRs09+iUIg+YRySP1wLfvGr242g4SVrlsGNwucXY18vAOAhl2k6qI2nmTk5XrRF5DnyicSPXUJF8NXM/885UPihpk1/zHIWBnXcSjzWmh5lgWGJej8wwp54W1O2BHEtnggb/Owm2K5qBeukN3ewUkkOypN4X3WnG8E4fIpUlT4ruko3SZ/9+lzRsX4STmh14nPNV5yCyRyRf/05OUPodACG+OCGmjQFs4tiZknR7CagpHOlu0BRllaGx68OhTgUfjhmfcBrs4jwypFT5y+yCzQlyHsuq5qPFypExmZcVkrkT5X8yu47qgUt4QrdVnrNyJx4yloIbeK2151NHKfhKgnGV8Tnqh9r+QWv/ADb5dX1Vcg8BTCCT8HkkeIqWmIGNyzNkySBy3GCjqKL+EaapZfHbxIsQxhhuXrvreoa2UH2u3B4kh1FBzpojVi1miG3UelMddGZIpuN1sCVHVPhVe+9tzO7Kcf8IfBe3ZR56o26l1phiF5l3syObjXu69CgiVkEqEoPYpxDwIAdMhgFnwFIIRy409yhLiKLoGsUopBPaZ8icZhrDrUl3EclyCtEXeoNPBs86MXe+lGKbChEWnAqn5EFSPVAtOFZuXaIk03ljO/qVal67SWObWzqVmCscdi8XFIXHKkm0RHJldUT4Jep0YLKh7a3VdCGEBQfFQ/ydRw7YuC3j6uc/Ijj2792LO2QqSjwwZPXUuqYC2JquJHt+TDbUoXaipPSE7ggyJEpUj4kAuGxCqUOb/mpLcBUGYYAR6fNQL1LyoN2vM3vpVsyfveMAafyzkt6dzptalRXd7dZSJy3cj3Fx+yy7O0omDuAZsbjyfmZyFl6uOBRN94jo85qw4KLrO+R1f6Zljcql+A+XsmhHNd8mozU0rGXVpgE0+OeQ77rRTSqcuPD/x20R4nlcV8qwNhxgJyvJc25jwxTpyKVVCjBA2/TCuYdKWvHAAGFspfuTj3OxMo7Xb863VSO0EkUKHYijMKUJ9TOOrs3C4ymnrhkm985IpP1JEPaThGUY2jyvnFb1yI1gO726Xr4t1FCDyIw5KulwlcipNW5kAhl3Fmq6M4x3MSlgOeMZ12jM1q1MkdcH0okjRUngAU1py5vMqISmcMIn/YU4ze0oIL2infc8y8JFhRwBehE80VTrZPsrIdKT0zSJmJJfBXMMINUYmYDUiS5eaJog8uo3T+c8mWnyy7Hm9R68EgmlxliNvEQJ8Lk9moUFz4EUsKCBhNxMYBLGv5fxFGUqkEXX80lPDLSE+kDZsx3iVqQWfkg9IEPZipkcVFoC2lg8Fq8Z1+quOMRjxkA1CwLGg02dMze/w3hSuDLUsjYIHRWj5xkSmhcJlqYD4E7Ba9TPhps/2tX4rCQefPhG9rmETi0S5uamxk1fdsJi/br0ycxTbxvtIFiuj2TFgNr33omwbihMYTUOiRzJuFMxMLrjgpJQOFK6iqrREKV7KRmcE5WWII2ZVKdAyAWnSjP0cnxd9Fu9S3qHZY3i58bxrpClcttvYt8soUVaaFRRR45MxEU+qinZIx81EBYsKP14iZH3pA0nyHPwbYcnkMICML0Ai6SmwGPBvn3OwG0omRiXfi/Izm7KPVnnYR8MnRxo/Qb4HxOCM5yy7FQihkco8biPDpn59Su8sqqzQTVPiDN9Hm4c+X+lQtDjjJXod7vWIrm2tr4fC4Atyxh5fvzUM1T7zZ9Dd35Zqy/xHln3sudDISncUVHJH3vEwAmlnqUgrj0v51OTZBSLS7ZoW3Evd+kyPVqaC9wU493lC6V9WiqqS+XuXmYUX1HtnD4gKhd50GpBmndjU/MmBtj90aqqUHCzYNoDQGMW3RrBcKp5vUhAULZq1XN6iudP7DSYrYdkfnRtYmUHgrbgfpbsrjU65hWyCiph2hl1Nb4Np/QCSKYKQMOYTrsAbTQESSgecCfFXgydGir3Ue9FOi7kM/zZfurjqUOYCnaq9GDbe97ycNDxuUhyOp2Iz46WoBOvYk7sHsdjSMlslv9tjGHMUcsDXom6IYecph5kaaH1rzpEfhJYwzCwR61U+3s9wgu+4JvXzZVaXlJ4Y/rlCRBjSGNzzpUHWL5RSyEjyABtuvFIMOOvECf6SsewITdnMARNEuD/3mhCGHvyA5P3M9nKqMWC5Ey+Fj7oADVHya2bFYxJKeQWY7jX1Gb1R3BJVFNiSQFahhkefLuwHB16uW8PyvGQ1yCOli5iCf/f6WcUHjkLnP2T+IUAN0Qha2Je0g4MtDAwRdyCXzB5idphnHYE3qRbiRUqXf2/wdUxr6eKFUg9HTS20sx2MgsQ6U81kHe5BVqekstBkAiSqTy19WMCYJgAyVwrT5Me4SWtrZrod59ux4htB5Pb770Gn8WKbHH8I1qg/t3/ozud4vnufd4eY8jJyBMxTWr3ElbOP8jBa5LbakGf39wlE50SWv134nmTfQzNuBRNGeBzEK5p3jyGH4iwARlrtvdwk6qiGOjezmcNSNUch3m6s4fvkSSdHz3rXwcwuCUZ8pltbYVoy9vwrkoQYVCnONResKPPcd2tkpA8UOOtj+p5jHjgxJlA3MNE8sjonMUswwwT8IHIEmcKzAQlzpmEiBPwJEQVeEa66UkkmxNSe2MvL8VI16ps2XC7CYUNsR1lypB6cfWVC69DyAujt1wisemeFWugOUge9AkHhUUfrz3jBxXduzcz7UOvWe5NeVZxKJcIUHWCvQG7jT7uAyXh2E8466O9Ie1jYoqNNoCU9YpUvX9CGi0Lgpiqr3dFlVu5SDrtACw8M4QpDuyNi5g2D4vj5YB9B1pE3wdLHH654iU08tvTuQ1iwJLXiEz77BRBdRE1cD7fYpgF4dOkkS9IqI/T2xNBPlObQp6QBJNvAoYlkWNp/CKlgaJgBFdogwfk2hdu0y3wSG0tIgq2UTx5HO+FvTb3LDYMTmhp/lucM40bbK3OF+NMG68sCHgxo3/KDpGDxlj5os+miSgip/TL79BC3qR+UOj/HWtmaNqLJA0Pkx4NbS0M19hSoNAkPCA7q8JfP+wfiSuB6GkYmYrwDQYuBk++xp+az67TZKox29fbWtDqsvI/PRWxLgk02RP8sGmpqnra7LsUyEKfHZ4KVAWE4+OycrjrPYHuCblfXHcdwr5VQefGgDhWnp05wXhzvVBME4tjUe+hd7WoAJM7Cyvh55zULXImCRXVkodQVG/hE/RBm1IdFn6ZYeRohtsVaQicemV/lAMIP831z+Fh/oDGGzMAXwsEPV9M/dFXRwZfyYcB73DfThQF7RLkaJBHLzdeXjzczfeqdOItyFildZOX23+sU+xOZ5aTEb9hJOysRrKUloFGxj9fuVMFdT9AO/+3IdmcHtArRbm8v/gxDF5dU61TqGsrNlmMrEOnby/5Bq3kDqL4ebl2cf6ahMEP5FneXMh/L0V8xH0ilf69XRlQFyj2HENfhrCyRW4T4mmuMGvqMW+pOuB3lrzCZvgl6IQIJGv9cYZ9lxJ3GWG9oWrtdudcb5Alo+h1CIHiaAcL9MbMYp+8wxHvTrUcDrIB3IWzuj85K/en4h9fsh15tOVkN1M4QoblEUtLvUOuPQJJG/oh1eLoZtXua7yibDbDb1hG5cDtu5AaLtvau5pH5QWF42H0ckN2JAtXzRjdaQKmW5BfqE8Q7t5jMU23gN6VRA44177kD2zKjU0o03HA+COBS1SPPqFsxWYI5SLhXnYv8moEAOfDMVOowW5oMy4GZGoimZ5LpX3OwVK6yYo9gFQGa+CCIDKb6HuUeABaustDYNY/HGR3K5ddxj+XFqs92hhqzxhAMPBvfDYRpwzohkHnGD0MxXgHVzpMPBARof1OkkjLmq+Fr9QscG9okHJdqVdyBh9pxUqMXGmT9bAZvptuDvAn/2vRZdKWFyTRDxux2eiSyNVHXxL6ceK1h0YzH34KadvPFlaG9aIG4vghpinmgYGKTH5SsVncCY33zvfUJlVuLQwek/Dg/RhSNhY5MXZwK1TKZAq/MesGFGEChA0n3wjFYoK7wQKi/dHr2l+p2l3qz9AsjeddUWGBIS9QRzmS1hnoK/nI/BDd4NT3+zBWjz2EVkk2cOe2gZ2zZvn5qC8XkZmmzhxpcDgZCjpYeZ6vpDjzEh/36p/lXdepgwi6w9VOtATxQOOFPvqVxyTZL0FjQ4lJQozXXfNV3jwVkH3MYSK1DxFh/OpPndSRwerYzmer5sE9vB2Rty4okwFcVJNtb8zmVvEQGqUCbdNQzL2VI2Ssuiqn/uBooTp3wjBEIbmo4qyqzaq3IOK79cMfA0JQDenkIli5/CdSwtP1RI+qvOiBtj54ckvOR2HB+x+Xl71pIgNJTzUQc5TchIsVnnB5kspcDHq+0lKFikh67rKUNFgH04HjyOB1wPpdVGLDcGktPHHBA0Bo1CzjYUL9tgvaJbxE/Og307+hwPZpXr7XERD8zuyqAMaRQgG/U13CbdLTRtct6GMw3I3KzLNpZtrMr5+wnbW/6pQauL2D/arSmrOr3JQ/+E0SnRsuzM47rMQyJ6OzGQexHHhOLhiAT0/c+pZ0Qm6JxguVkjaPPByd8LQdrKf1F65o1mIC7WCF/8pF9WtHpGBCXfGFYgGYFRV3Rv8FlOm/ViSRKPKwZaQIZm0Qfc86RTgdM+30Tc0Vh89o9P3nJHJn/dBCGc35e15my3CFHYg74dX5NET0z+wH/iz1g+DWihn+/JIth/qGg6RrzD2dbZ3ntAad3W+ULHIXoarlgwMfgPE1ee3zLq4r8QJiRM0ZQPxNrwIlUq76o1DwXY0H6HuS1zmcgD7ORraRkoAKbOWx2TgVPzjn33ipjgGNHj54OF1K18tykQKZJN2CjhmdIBTOJ9YG+JRE8elI9XKGVN3cXdy4Im/kxHlXRkoHjIk07hMi/FYaCQnxp7CVAMwxjG2gUKLigshAvSGif5cT1ZUbOl7z/17WQBRWHUNxgyMTZh4K09lQQ31w/22knPrxNkbOUJwR7Do4K25BGsv7S7r3efDO1BVaTkN2czYiF9bd0dEI5x0/eXy9acUVxZ6/2JaP0JbmGi19xatEm+llRdm6YbU/TtIT8sAOQIPxnN5/tJaKifPj9L4UHtTLEXPEyzXvJpwWLPfh9KPvN9bN4Vk5GL5o6ePVZCufZfOgWal8H19ewe7z5JOl1icd803RkeU7Ze6ohHJ4zxM3zqintBLPXeuEBantuQ2qbIn4Gltcx8BbNhULQjoX836/BJ40GYxTQijkcwgdjnvBtqlGZQcMAZ8+Q2WTd/sQ+y+iQKbDjl0+Am+dZbCFKMe424iGO+kqPIA+AZ10CRKOiXK1/Dh8QG76vAWErgpQfHcC02IJCMRKC/9q/Wkg12IJG1HKtS+h93YMDA+/LVTN4vqjOWs22ZTSUWAxKkUkgQNbvyRheMPGv+CkxsaLSLgKEvge31coXPRkkNAjJ9d6T9Q9bOyZvaIBk9kjbDlMgUzZZN2m7xOO395TOlbeadDRbOTg5tGJJp8Z29WCl8jhtLKBqIvZfDw21CpWl47WH//jMP76JMHjx4srxGTjPq6DsVwkHKNDvoAbbZoplEh5HYklqLl1kIlYtZgAMTzcyQmoG8uerNsZXrtANSsgoSXmcaux1XVQUwRM4NshJW2qlIq+PPj85QcRwEVZrUdg6skeyG4iXGVqYnhphOHiJOubURcWaIzWqYY8ZdUiEsosYXNgm4TIHD8AFWLCwfjgTl9GVHNeR5nIVtw7DnGg72Pj+wFg00F7oNzcwHfS2Ifp4lG3dsBuKFVftQ+VOtQ1oBUZLbCbblArRSKeILpVz64wMcnadOJtBQd+I+jE/zx8sh4VnGYZXp0nA6PXOrvumbAaETBDNXLv30Z7clXqnZ8HlW+OuqY5FTN4YBuXdDBvtPDUpMj1C4JzjWQNXfCL2rnOUNIieR+xxlXtBGl8aMxSctUwpml6cQYesmc+vUrcO3AMTTYNPPFAlmXu+83Z+yYfQdXG9BeIhOME5bDVSEFU9lHVKUAP5ttfO/hmrFk4GNhabHmulhydED3Tig/0QSsbU2HY0Nvt3eQ019qTBiaw7qqvr5ufPT0OuvmxUNW3Bw5zdQd3R+TNce5ZPEJMZPzb5SjWG5uS5bUhf/WPykCVoePSmuxvd22uaRQwElM+FL48FVBXlHWCXvg9lcvsyWx9dWZwUwWM1HzZbIGQcoHIDzcphHp/H8kEs1mh+MJatdWqZuzPZVanTHROVeIwIFpi3PWzNgUfz4+YpHYGUr9L4pMoHeXuY42oYssMAmdKKtT82zJXMof1liByWrMr3oxe3xlO+ex0/lu5d/1DMchtsw5OY+f+xhaj1DkFqtzBy2zH685LkhkV/JouKYx2En0+5ge+rqiJnvwjsVqEnZHYQUDQ5KSUdPjphhB+ERtAIqkRifEgNEwtWpQtfgWah/gAbpl6w+5BlH2NbyofUJL5UMr0tqKVK+bMCo2Y0x+jG11MyZhzbut+wCDSj7ax33OiwtuUdw09E06wu6tuq/+HeN51oG/kHq9b4hVAaNZK8G7xj0f3w60Koyb4u05Jk1r5ckld0e9YxBo1z1x77mFKngW7gR4xJEmA0rYmnx0vo1ZMgAfYbjpCD80Er/fs4/PiROLfn7YqATaVHP530UHS41TjnxhEnyFgwk064JZt5TF0yNs/+z3Wv11h9Nvz0QfDLjY5qyDTEICe577f8NHERQvbu25i5HIuvqokV4rNxfot2ldNlikJ8csmhA0pHvhCVLwTByilPnOztN4eQNsZMYvzIGbKIpRsqiMuPYYLvO10/KNve3Cjgj9cAZfP98O/n78t4OovQnGWvDVjKgljVizI/SEXH0HoaNGQKnyDE4uSfrSXyxHLYIZ4US6BubOp9IDauBxWRv4M7/XxgJ72h/kBV/RLCoq/QYuPjeiLhf8a7fora+zrLConpD1LSWiFIy2poqLFvJ9AMI3a3vJ/nVBQxIEzaMILR041SmQzwlSsYoW368if/Fbb3O/ySLiDtDMsiKySZGRcSDksqhXQoV3UC7WsY8o1oiNoLEI5ae6Pzdb5cqcx0QCRiurDzgCbh0w4QF1wgnO3dfhz2xBPkiEqmAMuLtxgRhbJp9PAO5TZvzNQ3XU8qTf8lbNtYHN7l+zuBs6Ak1tYzB+sn2AkUQ8K9+mJXzLFKoAS/R7wyhF+lh57rJbYDOsu/hlRIjJ/cUVjBZezwHIIxAs8Va5OfGDrjJMkyhf1gSsWouJx/vhdRGVas8I1A7JAZTNoHVbw22Achz9qvIXBTrS6sspapUCD28af7bxXr9d8WxX1T4dcGp7DkjSr9LVNp6FcAUQQ/AoqSB3eLGJ1DI7n79Xvpo4vqs7356EE6qmweegS2SaPUmAqonNwFmcLEFtSNyPRIl9N9pDyBX1TxR2Fl5Y2V3Hym8X06CsOvbhixgfGNFRPlgwglpCjZ+KqXh/0yZqQsFbyb0492jv+Joc0HbRMPaW1yuZpCNV54n5qNufwo/RszmcbTD0JG1V92j6+H9A6tG/uszrehN0fEEJQeKeOt+yBbfl5cIBXuRWHAY4QE7fzPfVR186Bb6O38xD5sndMT73JikbRuumfJBeji1aC5i8njc4tDVx8kPA+cGYS9KItsoVk7r/J2+u6krACSKQhGMMzHJbtHAVsJcPh358cYqwdUskGeBh69MQKaSD8E17d8qLIK4NKwhGWX7HEKEzWvuA2KooDQjmZP6ofchYdWTIeaZyN50pjrkjJJXzzLmFpmwilCKPrAULmb3ijw4LRa8btKnv375F2p0mITJoAzEfCza/Htqd61EaeYHOnathhwIhbqz5KQdd3wKentcI3cGBlK044lVnZsCNNI3pDBwwvBYHKCUCnnq4gLzf5PdNldFJmqZONpZfj8R8V8nanvfEiKfXiQg7irQ6+J4/f3P9whcvjoE9PnUdAFKoGFxRLgVfoTXx04L4ipcj0ju0jjqyzM04DIrYl2UbT/s8KNqWAaT7pft1ldVTmwneCHtB/pRQ7NYsswndsBBdjsb8skQtXL/5k8qoe5YVaf1X0pu8VzSsAo5xnVyichrm1lO9gwIBMro1Rgh0FdULGsp49LR/3cdLEYwTo93mjJbLOVakoDGAgzwT8rk3KRcgp3I5DUzCopczQZAlx4rGkDUvELbQGPQ/Z6aGApRjydX8QgdYU6hP86CDYTOMJexYryTy085s4nK5FopX+uX5QL66vrDOP69+/tkIUM+4S2CHqrJUfYtvT2YBtrPGy9FN9hpKE1H/KGdfG9U3VjUcUWNP9or0dfyaCoHsKCaetvtOdV3rT1xICd5kfqYJaZ8A/e0fyx9wyW6gWBomtZH5c1M+GRDZS7AozLHCD/j1lkJ41ecgI38gNy3QfmFtCoscwtwEee1KOy6evhKjW52g1VEROvRgGE5H4S8hc8h1VkmcK+oEuClDfzzerxjZBb8Ez/rb3YNrKHlngZJurdjm4oc6yEQ9MweLg/dLe37UU8EHCIMZICrrtBdL3orse7Nb/ynOUY1KfV5fEoThZIIqj4iGEL5yjaRw79JP01LnLG6aKHcnscAYzml9b6Z//Ecat4RmywNcVi3DL7QEAvfGYxsskZdGPjmXkJMnBHVLpTxmyymu0qSu+BwQz4F6y7cedesKX/6rh37rE6ZSGR0dUfmR3GYI1vh7HX1JARPV9P9XcdDcHlbXdcNGAOLl9ZbWO/1CZtv6rLMyb2KmAcmqro994WhtNn9Y4FLtbuaxrX5gZfAUNUdpWvX6ozjtwlqtNN6oLWXxkLbIS9yOtO4hWPD4YkRgfmmD0FUWrLaJicaHbgwfzSkPxaQ8D6FOBDMpdRIToBEmvJb+d1w6z8OPy7LZ+YirmKW+o1Y0i9Y02Ek0ns0+FV39XZ8Au3XNi+37sdqB5EQXbDk1t0TTWCvOwcA0EaBssRhWZd0wJPZI7E/bYaw7QC27t/LvhcMW8ktNcaI0VT8vTfe23kObw+mPapl/vTmqJWXUljoo7hmJYUIdgTSWEAHrUwW57Ih4pjlJLtOuWrsZtkMNqrBnmfWtSBAZyRZKACwI7TY+zMaPiM17qTbfrCrwLD4EQZeTYbO3wVo15LJDnUwdzXloRirPDNbQqdZRMNrNvpzwxnITCyDOMrDhX1rKhcbeAUxFcH810iklaxRSfM4bAOXp9xmCbw8ypuCqCS6B9leT6QKdShu3aA5zF5SX7TIdxLZWmoEqt2S0PtUXx3vXWqgm3+stUbT6bipzmrLPTxW910j2jfggJ5iMMD4Mss8rk9TsXv1pfaiBRl7+sWmleuEhpCZLZ31eXeTfdUt6uhNnERji0g1QThfw4jy95oVgwhWpGvoK8htQQlFFCWUMuYOtMx1iQlodKk3MO87GanJlk0JD2W+PzLgFj3FT1Jj++xNANXAjvnPSUuOV4toaVwe7e4KcRrUSGCadzPm5mVLUPGYIAb3UfjxP0KHnc5fmXfg6Q0u8ABzFB64RdP5tDk7HMcQRitljrrwAq3oeBKexn4WjKH+/fcMV7G4P3KKavMClnigWEqzjUnFPlxNJvNIRDbDNhjLqbDre4KPKrpFKCtl3I+5vbYw+ZGTOSeF9Swkl3qDPTeB4TYbaNd3Irr8vDWUG78ly/+U/Vbv6az7SObORLK4cAeqTuN1if186NPzXY/NAUWNK8IpnnS9FPMf4mRSsiBuy5ZnfLmZBC2vQBm73WvIaO5/hYfcjrAx20bCksbxCXv83xy4Bb7nWSnY0Hd0zlLuPdQoxlK+1Ky4YhW/9juxxoJBDOo/RDDUw7z4bl3DLn9mCPk9W44p0qnpMcel73YHgBJ2PNXKZRaXuQwPjxqW54KepbuH1FoN5f4R/oDV4POa5bSKcjwAvHOrNcGTfjuME/TxrdzkFZhqfYEtBnGIMOZW5z8AEAzkpKwsQJDNajvvQV8lBt+t8E8mVOClWjX5A2pvTU147X7bd546Z07W7bmilQ/aSq0WUTBKKkizNZG4uIuOrlQ5KMAQomXRUfRuo7uwCxfUYmYdNIKltpiGZ0JL3OgfNDJKFgGB2FsqJa92eOaj9YOBRSQYUXAZ7j8H9UsSWANktJyIqFg9SejXRnw/c9WpuO1LdXUA0xH7u9OJPBqUaWm72bF2orzpIWOdwO+PVBFY5cRaamiXvcrolP5wD1DXrfotOT92gtgyGpRFK4PSGbCGvSY0ci5plxBPukWzMgbZY8d9PNTbhuGLUWT7XklWkuBZXDe2F3qWIW4ubv6x6yTv2cszJK1N4/ZPaQTpvMbhbnhOO2n1KI24muzkBhTg7A+eRR+vM9deiOZn3/OTc4e94j8fmQ/OP2JUlcljJwf0QWNBH5MW0Hseo9fdvssZEAYz1o/29jS/V2NZLrRG1rBZ27FmyZfC84C+Cedp7HP7pBjcippN1ko2fZIoqpoTKj4/H8vOjLkYkWRkzzbCG+Xa90UkTw464BmiwuksBaWnJ5BLQ+APwCDEoq8pHXJ3v30cEXwuCT3j4GC9iFXDAbIyroV93hYgq6XdgT/EQuerlKoyATkPNwTgXNEXbb0GzkjRFCvuU41pj63UHTtEJWca1q5IrtLOqA6a5hYEVaOvShOgAtGYCYDrmeQamw+r+mwYD7q2xF6G+gFbmiIqkJcCGFNr4VkNi2G3BvnVx9e4Y8BOQQWMkdUH40Lko+DafXUkD7E8YPT0sS9eIixjgCj7XOavpUnSwA8aCIbTim1Bvk8TJzclL+6wkDXrMifp0rtQoT+sowpGkw6BYxlYAZ9i+rSVqv2wrRJHTkZoNtZRQNHxdYsGIdwiTOqxPRiJYusJ0Vbng+oZeMJzl+BC14Dt4L3nqr+si6O+tEVPXvM9zssWZSIOIxM+oEC2o2Xxsow3Cbc3spjoiQmiklgFpRvSTi5F7uLrhzEltVUZmy6Ps/EtfQUcQNWaNTiQCRrowC00xADyJIwdK6Z+qbRz4O8wIhdPy+KTWxHhBeA5bxgHKKGqtbfSgkA4/R6KBa9fwf7tQTL+I3FPnHKJKVGEkoIJVNxBzKAeSAU4aZMacZdJmWLXgDuIXp6GtbPDJQFIRKPrw5Jui2h6Is7krv7e6BqzjhlVKLas1JnkjBoozF0d9K+THUl7FfteD3HrrChrBWT6lDFLLlcNCRSfvp9Mrudsq5S1GnSpoy1OuGoM3RmqXqOA07PdfAgl7suSGvaSEX+hJzVHe2i1VWwA9ZwqoZc8PYEsfM09dPTg10jHdUyHQ4rVXLGqYFIu6iJ2kxlGp9yDnvDK/4U40UkLZE/zd69EHfGVZTuNvU3pOTm5dUzFreNWXxJLM6GIO+jMI6X6c9Z8yuAwbLALW63a7YnqzXlxE+pKk92y2ySBSS8InY8zH+mN/hd+mlNidmM8NOQdeXQxe06x0NFvXfOTXDuT7i2CjQDwMyW7WRc2bp3YcKlai29EhGEAjcYQ8hYfeLhica2loqxoJTKESRMdqeIg1EI0Oxr72+lQw+N3ceD1o3DF4BV4ohZSnqNP5DkaEhqbplhx7GjrPXeGaiFwZyRNcu3JuTFl9YhSZMIjCnyYVjXN0pAgi9pdDksd1P1WEi4oI6fCIosThwq14zLNn5agf7aeqdJrZX27v7qIJ3Bf3GJ+iog1SOA/Pjd3KdnjK52gmjJe2aU1AM3wLEofy5ZVEzlcv79l/b601Do11Yq6AkpCQoLleD78rZECPE2kK6n4gYliaT2u3jRXyGKTWMF/8/nxsO74e5svx/cNQiaGcGUOkIoBQcOpx65N5lK0HkU1UpFgARkO2C/QBWP/HPl6OCKuGjRotFcJ5nz6apavTr0hneA1fhfn1vB0ppKZxpHWIRb3EsDB9FtcBE6kg3bldNCkNWkARPyEGp4aWaNH1q58gBgn0RSlXcw4k3M+1HlFeznIe/NlO1oc1DTpOm9P3+57/hDMRJIQqo1ZSATMGoHnyJe4PMHo+PLSrRnNUEz94GgR42qQRoO1QU12gMv27o/SR1b0I4E1kGe5Km3T8UWluQfP79cmICGAwTi9RFf+an3ZqbYnrK3xJJQnmBFesNWfGFIrZgK5WUYqRR6NOdFLbFeVNeTB33b8iURXr9oDjqL9+4TNB96jgp1aFWEulNMYRMKvktwvj5M/B9wOCI9oymRVuN8eGFfAbyWyIre3G/5uVefnsCGCt07B3ckLcTfU/WWJVIPVlr8iL6eTVHnL5LOLvbxiknYy732ZRssC14czoUlsc8cUyeyx5pXftCo5JWCibtDjFDDsgPZENPXk/wZCmUKfDwm3/WVvmcxQDw/3aPoTnO2YyS7kRyl9XYcU8kjPKPE6f6oMgUIYcPmAfshoGraoy1HAdcYtyojWVlDgaoB0tDtgTb1oaLEWE30/IGdvMYeHlXssKBf33rfQ5jCncZgH7hy6+EN+mmdrIJfMjDC1GZiuqoUX9lsEfOGlXBtkgdRttkK8IhMnhoV37nL5VJYDdzf69ZZ950X4jfXftI2sC0ScJ8DeAGnsO2VcqodHR9RxyLiduERRgwlR3mgVH2K1N7ax7UX77VH9fg++RqCU5FivjkdnvBtaXvijolh+PBdf3mnM1obHrx/r+Q8CwSBIV0FdcFRwZYR/fXhKXaQj0mEJUsMbDR3uL8SRVLaluJ09H96ybsFB+P9EP8h2lxyP3tKgkoRhFvSkFsEZC4iwhsRnN74/MpicwuBmHsEhXx5ZJDq3eB/zsL4aF6G+BKNJvoVv7BdHwfVqCiGoP6tQ1KQeD5Fl4PgPKQQa/eP/aoU5MewO+9SCyqcNIDNhTUeesN4OhLzfMBdSiccrUChr0c7XuiedieXnstf3zgB4XaHuM6pIVeLly9bCP8s5Izp8errKqhBJzILmrNw2aCts+Lz3Lq5KR1mJPhXiaxjYsSk563bk/QBQEkCrfX2+hGvc7DRvjuYufkqCfUXH2pD3EVo89o5Dw2yBu96nkAPMh2DgCtDz5X/EiVLVftqKBVvAgawHVqmudSVCqTgWK6iUrbLa/r5bXDZVfjFO23mv63jm00Ug2gnfDyU5+tx+BLF7cl5NVv98lm5pe5eGsKntGm7Ci65mU/zVIBNxHVTyumT75w4s7FigKk1atEOl4BDXRb79qygcg3a67nONQZgzlMB+K031qrztYE46KOMqp44er+Mw+JCiUkPIg9p8DD43pCgB/12bUwSUnenk8Z1bUbgefz/B+zTiZWsrJ9cy4V4IkJsavLLRvBeYbG1qtTzapie0od0N7tm/UazH5IOhFY6et03fLFmga1n4TBeCRf1UjHnGUL4uP19lfGOWzs2C7SRHoTBdpwELMg+ebghDozWnlly5bwnihR/8QUdvz38UhH9uCFduAubVLR4RtrFi6eDABowJtejMUDP193zCszuA7VV7H8aqx7NqPNgWpr70JoJq67lC1kTdvK8xI8on8LnvNwAenn0IGhJ2sNJU8CKAeO9oOGDk/OBYJgZuhPo14gyA+RAuzmAAUCy2GRYoCap4BKur1pwGC3eUXxhtriwc5LQy9N/t8fEJnTiJn2hkR65JybYzV0zqOWcDCjFNi25fcPb1RI5+UEehPoJ8xsINq4mM+jGIuisX4ascJOgbFbWnN2btimIS5rugrhDVpVn6b6d7YDIUOGOwHi7g23Q/47hs2eOk32xIPr2PU2zY/O5a3KUeOfS11Hev+mbcmMhKo7QAi1rDH2ogawjwoOZJpAGX4YGcthwEIrd1zRJKG+j4sLzx6Pwa85zA2SbtPJACxE/4VLLvNAyuh3E83VVtnPg6lHGi2eNXXCDEDufXVetrhCvarD7IfA1/+LBK3xzgfx8ty6Yhz/B2Lbg+0FeCBZU61xjlda6aTk5sUSZMW+yEFDbBE/5j6y0MzmVXcVCB2sMEYb3D5pYc/6b31eeNPn2JJ5cZ2jjUYhsgjLUFyODJbNwCcZuPVgKtuufZ5FihzQ+SnY9xKrqziP2DxP7329Amx+g+y3U4w0jXC1VdFWdnrmwvZEEnC+sWl8v5TTCwwdQAutTaB0GmG4CuffE9bpzU9eCpqIwr75sR3o6UrIlboKDv5ziZJNCmoSfYKht6smiHEt8weW6senTbgiK35iIK5kkksPpTjsqSehsX4Zt+PR1IulLcn4ObTapuWl8kaMElyki/NINAvZAwN1od+vDzbD3Js+xBIgwnfc2O5aipciMgI2tpPW7YTc9/NV/wCt2ts2jI75Y9CHijrrgTVYg08Qwd1/eATR7mAPWZeau8mXiA8ykJ+XqCiIQ+bX7LevEzM8cTCjqIdcN9Dvinv9fLD2j8HfLOjf7HsvbpEylmaHonN0sW/VU0hEHAyP+5hNvUP0bodASyNkEIFpZXcpCZI34xarmZhW2I+kWZeCfTgCiF8CFN/Jn1DWPHCmY6t8RMBqirt/YdLmPKPkifyK3DxFxUXwpIuRdtqZCgfcbQRs3FPTp7FgX6YCWxQx4hKcoOqmZgmYwtCU7/USRQAQvG3Vg0UeuFgIdd7z5V6Rh8x6c+yhSixMUX/76NO5yC6SLevlci1bpfSpDDLFOOx2x4e/KqouEb/1JYm24HJxVsWoJLISEwJduMqSNVerYXUthLDEFAawDu6E8Xu/sO4qO0+r62PgwcjgmTzarnw9q0FkCdWRbxkbWPdr2ZKiLbugDkXQoifv/8KNR11Jx58zuj1a2xBiOvpdDA1bRNm5TNtCsdfhXNoG1JkASMBMDTM23ikc4IzZn7RB8zM6flEAFTczmbx8ZCIsLQJfwMF3/3VegO829JHtJCmYh4UpQfbmnKlAv6SDRSWQ87whPT7iBOPBTSQu0DgGdqqot/0AJo+0KJ1OYwomGPVdiHIjXsBUXr4osQXw8pC506OfPQ0n3V/pUeWc8ANmUm35w1pUhqpwHphRpCo3xWQCMFJ0vtUDuSauSx0M3DMKKSgk2ZfTKRKgTNBTcjPXsdgg4lSo4yuVMqJvxSNcIeF4I9JAiTalao2mhJmlT4WPgJ7h4pjB11ar+8mG7P9TJnofKESwefViECAXeueqoTl6JXVUoHrzyhObFkUTw+n8P0rxWaPbo85kRESHXEAlmyYLUTfLzPCKjAn8m9amup4So2Nf2gr0X0SULT2EhMA10wh15V3mepiYEJRnR3Mykbs7wmA7VrJUSTITEf4Vf74MKF9cMGqO/oCCTCS7BjqBkNsSSuGwpC8cW5vFrrJBV3ZlV10Jh9EBJ62ufSPwBo84IdQQVses6pk9QhYBz+QFzQCXLKFQMUpJNXy2zih5iCaR2RmBy5H8tV59VwxnlRIwIKXzBKnBspDLbNymGjR23Kseo1CQwSKyXHxFg4TzNvdny74oTgF7DF0cebcfBC82LQ096FELCzL1fIx3SZooCkWzBAMl+TT08iHW75kTNohuqNqaWtwBG2wG5/xkoE1LgpPHAVu2lwjKA9qhkmZBqFxbVOyI2dQuDv1E4svlfstmARTud8aRVM+i1ZNtXR6idt/27Wc0HHJ8h6GmhepPttO6sJda8U1G+QdrFAICVWDPjwWulqpq4ydoJcMzCfDPLdL2734rXZsmYmBaknsSeW98jLMtpetRus+Rf7lfDrZTBQYVSaytnU6p4yZFz+i9gTAalqe79tkLbsi1lYLGFuw28cK3FR8lCY5ie2TqVZgKSdUALNR1bVqBKsB839XLA77oC27x5xin8nHuLwxjdskuDiwY/2l/+DjSU7ziTipCfhK5a1U8u95KhnKdKwlmF8L296X+uWGGcmCpwbDPpFpJVh6ONbDSlHbCCCsDsH9cYzO1ECetXufvi4ENqCQ4gZx2lCYJ9tZKMnrkeyYVENAe3Dq/FG0iiuJ188xjJlK10eouXLGV8yHYn/GyTFN5/LAeRKhTbx7hLWeHmtpJjB0a7/8GHr7JsjSHfXm1Nyci6fwNxNBP+7dIR5MBgTi/V8ZpzzxCtSKNhQoXN9ReBR7v+tbOeATeaBh2bZbxaWX9C1lYHpS3+kRsHgCueUqBlX8OLQxYh+hRi6Cdu8Ir/7V1bpSpkYheBgqIo3Z+ILKrGz0ZDglKw6dXbPLhw+9K62QzR5KqUp2aCajThLAzOPkCO2cz3PRhsRgchqOkXEMXhtRYn5dM1/kAa+lYQeeCzak4Wzo2wzW5lhqTS7eTOxgtyl2MuSJ4fOwxnbJ6YJMXM6WpVRWfCcHePdYG6aB7YwhAT8YKf3/jf55UJNSpw9XGMi1cQV282NqSkzg5ll35dcNoPXI48Vmy+0YPTq2cc+C5KTekoGAy7UrKLrPVe8uvOw8tlPvfSa8ED7YZbcy9sPxYYUPfctFsCVEtGBYjVUDxNOUX1RrrCu2W9zNTyp9Nc+EfiS/s0S1SfMnKEUj5sU83x/CISc1MNUWUut1anTmlku6e9qxB4NgKIvjnmQP/NmFCJwuYt9bA+/q/vZ0bilnYU2RlBT351Eiz3koZFms7hpCaow6Y9Lvh9xLllLTFQWIwZ9Q11qRK56MTrye0eq2k8P436LpQsCy+dAY225WPVwWIWS/9FkqpCyDpOO69kLoDo6hXG33uwlcE3F06qRuLxr3ZZzf7iPiSpAqHj+aKyVYvZd2P1H8wMaSRdkQjOXHQGq1a/xTkitU77airKgPjPvlO+ipKL+8V8IYkBflQQbI9UoUc0XppiTQVWnscZJDO9VV+OwZlRDzmn0vSdRkOAaJXrm7kraHMTrMf9TtT68/h4ucQFnZoAwXEqlHHq4H+6OEe3BL6s7/7mCQRg59gTN2rObcZgm62zU1yanklKi/b2Hb2VSYmZLFNuYLtD7akhwpPXZPHu69Wkdk+X/DGlLD04LEYHq0ZGfGrpLNnn5elLpLVQSlEVzwxlfHj6bbXMBE0lKmhEByihjp2AcZtu+G2eneT9mnR62Y4dUodA521rDgOrlVBELSN0gE8kV2IcQVEv7ZkgvgEPXT/N9Jfm7/n5v1BAhuWD5dS1jMe/+U/J20C5RguUzyX3M46zL5OrQxze9+kvwqCEaIqacQj2KgcUsdzNBvckT473OAXu1rNhAAZEJew0+sLcN95Tyr5WmeZexkj/NgSOXbragzji2LdnudRJMlrPWX2ia9KJw7BUDwvZqOcLGv+CIV2KBK0LWAUywZF7pdIoQv5M48honrOj9Vzsn9fDiLqNyx25cVpjBFNKNjb+p7Yqh0CEBIFsfaZLoguq3DWGUJ8fNX6vWLccHN1IBA1L2ZmS7weABJdC87bhGiHVeSRbe1WfiUPPsmslIf5EXUC4dX3CjT0cMBtUT6iqlWyE18HSht+yaLjFpMAMFrUfPg49i8dUa3S3jWg038vz6xnCH+tANcsGv2yeF8uZHQNEKeTNGqR2nSrWf2Fpw3XLzXDdJTIdG0/M1gLupZ9YhwHXEOfcc8bKPWyX1hY/cwH4pIZU9H0q0HhzlyTPDG8do/wb1QOnL2oZTpujlzPYEGfpF3SLAq/+vN3SA5jsxUih8WbS/K2s4rDZqIBq4uAslaH07x5jkxKReOn3x4UzQLv9ib/omBv+Le3WWz/PnLu2+aOCj4IX8E9ZTlCR9ex9VX36a4Ey4/YI4xINLzBkINsxgUu5DbmiDOg9pSorQR//Xg4+vvpOmhey/quxGNZ6wUC46WzE808UHwVjy71Xiq0ymeUKAX02mR0dcE0SBOIjHkjbb0w1MSGwgwl92RIBTIlbtd8pGrNEFgcc2oIEsBvwA1OppSkNHQtL94FY4bDkPUak3Dc45RjFfjAMI46QY4iigPieu8KidLV07Y9cIvbYqOK6V8vG6QmEop4OHAen52Uf/b04NCnFaeE33dCp4fBu/cMf/1GYLhfNO0BUVK9OGwcvqVRXhqXc1M4VjEdF464mIQIX0KFIEIIfFmvidW5tHwLNM2tiRb512Gmiw6YDt901qXrXgj/7mnTofgx/v5uUZRwvtk1/jm+Fbhyhd4g86Pj9k8Qg2yU6/6o/YfhnD1r59/2rGKyoQ6rJVQyNI+nk8Xv9mM8TyKXLW5FSGC2LXeHBfR76+aPW4pKMjCH/2bbalOp88ZTXL/nuX5zG/W/ve9mBe7K+q0oBx0up4VpT0ZV/OFrtPxew7CTNyK6mlmsHgw11wdL8ufucBZjJknRulXQOMatVbire0qV8LZgkAp6CbcaC/gQFUu/RP5mHD19WBt/JgJ0OWc6RWDoGEmbL5TE7ggclH5aRICe23UyS2WMc3njeZBe4G8zCONJOxDGuYwzGrHjHA4sF+VGhEjsWuIjqTgutxikXP7J/aPLOlJyEju1+EDwNfztfTJSX1VFyovhzx0703pINRq1E12P3teaZGyUf7abgom+lKPVHBdSa6CvBag2zglrJbcKmdg2GJkjiAubW6ultWL0XXKqNd64Kom6j4i5UOfPjC3+y7TzuXZHSmpvE+J5sF8AChAN0FBumC9MJ/+JLEuIH/DT0g8qIJviJ7Gekb/9sH/GxB3ImI7KRE/IIKi/RrGYX+Bt8vnHMiXx9K748u/xOFcMzttgtd2t9bwqxOQeeyF4+/zmv7TKQjjE4L37IyLSZFZIb32pFl2b9V4L9B+AyS4ltnguAkmSDrYNf+iVI7WQlzAcjW+Twrdaj2aib5I3EbWYNWRlLUS9XZg4WfdeuM4q9hgXS+aKxvY4nzrCrBFLdzik47WMWF2rWaf61dw4P3csPzo4F5H1RrjgCvgZ4h0NIejGv69CIQ1nlerr7wp1EPMVONhR3LgOPswn5Q5ssAfrSyOcBKd8c4hFJisMqgzW7hZSURH1qdHN7N6CkPy9Z9M+Yg38CeVNr//pKW0fK71k0Y2pU6HE4xCy5yWOEFSC3SwyydfB0Z4qKoo2IRJZBO354PFaeajWYEdqgplVqLEKxsn5RXrlzATpe7uPn7oAnwYZ19mE6p38P54eEW5soe5Y13YJC0AIdpekX5Yzsx9LGZcTN6I9NzezrSsPosUXy/Y5oM9xsA57nmucMZYA9AY3eG/5QW+tH8Gz1beBtFgjfLXDLPqPHE4eyGN/3bpkOWHeT2M8k0Zui2CrkySJpnG2zWdk5xGdes2msPvt9V8lo4eSrOh/HFtFw5jpX6Lrw3E8ljJST8dKd2oWkBlkkF4qlrQ8jG3VP1FMTDqla4wf4yy1UKmLYj8hnvNA3gp3qn206i/Cz/JrOw4WERD/U+TRa/YKctF422dUt499EPpluWTqN6EvOiQpw+0uBPkvBrOb1HjaV6WnuV0ueRwyteFHi5iRu/Dmbi7xi1WamShV38XW02Q8rTayou2VIhMP5saedV11x34kF+/fJplTNtAoD6beJEdFcA6XI1y4D05wQQf0McHyKaEHhMzSHxa1aZ19pWxpmGeAR61rdM+4hbjtsyCpQyNyNE0r2lwl2N3myi4XSqd8JR97z76ORF4ANm0AnJbdD2HnnBmbnyzLncQmzt7skLtPuYGl9ERXWd6aNwXJjgeiw6w92ic7lz4ZpBoogiDnmcoE9nXszoHiOJqaILUp+gRhMHPKFmBfpYM/iWuTYWKM8Isv8pc5X82blnSOMvllh4idwNmrvWYly6KZJ9yesQbHUOxZ+uX5ivtPqoYFSFYlyBggL/Sm9Bvwaf5jHpZdNZwXjQiMEuvmzQ22e8pWKZpZdPOb3bW/OJAc6/6kOKaSB+pUdWei7PdSXK7DgU3c3w+Qlpg9dwl4haO4AQoWJTXjw1ZZfGZDXoMHdvwjlMuI36rrFMQzolcDVfFUlII4t9tW2cV8QLKDZFFRCsJnwmtWbLKKrPLARJfQcR2Xqsi+vyZgtRTEmQ5U7ERmYY/TmjZHm6riFHAOk37AibJJGpAPsHBdBx9KxBtKwhQaDfOhk/zdXvhRUwOVx99TFvLom2n8bpoleGs6xh6KHHJZXlGwkIOK9nbJvqlhBFGHYayom+aut5l9FQvBWdvqFMgmei84dOph2EHPQ9OxJ3RHyMT33C7y53GO0AR8axAxosS+n8xx8RG243/zB18ELnvGdpftIe5uLogE7gx7ooLeJVkED3Yb2e3Mkn7efoYo040tnwJDMG3MBQ0HPwryd+hbpNeqkKSOGYkeT16ykznSlmTv2z9r5Tf85tC38OreLfmhrhQWAt24zVgDmxoNKmJ1V62ThPRsrCwcz5o1nFw8NMKzXkWZKxpzU2cnKp65viSZSO/009jUQt1tgzLjocf9/gi4z1PezO7wwcJuFLA67KFA8fh7hmUqF3Bzx0tETZQ8MyZpfyFHe4ck5BIcZBHxC7lFqpewhgCQRtiKPUqe67PPHlnF0HHmrCY+N8WOTGrg7XUkWya5N0sO2p72SyYgyQBTvdjaWwCxX6J688kocsEEn6XdilcbBYN/ajcKSVJHNUAH9rgVTlqA5wAhl+yQ++xzPdh1qaYjdQXyd4EcrrnrwUBKk/NfjVG9Eg3NISDRbSqJN9P8UkMtmKyxivMSdOIOI+zeFHmPOnmn4OkgHIisf6DZTXH1JIloaPSCOiFyW/pnumNBcWe2Ix10QoFl0wIlSKKu1y/ITVS7c160VuIW0TySOoahftnj6sQr36psj0m2SrMz+Jdj94eClM5S2iVTedR+2iuHX2UMY6XsBtcAkCCdZnKJqoDTy1SIkrMou6bEKESgBpDUGGZYREXeRQlbhNLd3fRFQXMgbmdowm3NvfxEgwCPjyTEFmW+fIK/k70ceh6P0XCNy6nHz3oe+EU61I+kBet9oWHe9OQne7meeuZUelmVu/WO2EFVMvYiyQ+JKMNc+wXH9pSnB4JxHbkXxPY3ioPCaZnWa+aLNjKuEEawhhArcEZ0+1MVJhKz9YMoa1wHYEb3mC0C4InLIdsslRlndD19Xq3sFbZLjTknc8jAKeWGFiTIhZJnU9M8wd6SN9W/dk7NLj47Jm3BKM7xtRIuTt7tLcVg+luZNjuUt9pHDlemrbRfaXdqnPgMeQJPWHMHDZSq/OhKXQt70sOsiX2JFTHccgnw35iKjYsl32lIspGDCvfMn12Vg1k27LEI/1QYNvfRXVRYX3HRpe3GKRaEvK15r4QLqhNFFx/+7IHMHkNj6SXmp7vc1wYmQ9V/4ZmHZJs0VczUHXvE13vbhk8zb151tzrHE0onmyJRmqpKTQ/4EokSVE6nu8tMRfSl5mlp/MLxpHzIT0EIm50TGRsGjkC7+NhvdtkZ95WcxSFaVIzNdXRRVmdENmxddANKE5hl9fn3n52hrxHzRGBaAjtMduFbA4FsTobN7To+HYhVHFhQiidgej3bBPu1TDBwz8a6AZ81yMHC9aL2BhwhknZcrp89+c10Y2Wb7pPyFDPbbkxGT8voyLZzsyAa00Vc6W5yeE0a7evvrfqN42lbRObKr5cL+PcqQCrnHjCJisGwIFYvp9F7yFwW0i2GmIYR4BsfHr8MZksQ0jJ2pY83OyQLAPeRjrSoHT//BEzupdpbIHgvJipw57q41gQKs8IZJAHWI/0REie9aVpx2hgTNloqqc0dO8z5/+D2U/K3+JSVp94g3lOX9L0v8PJUrGbFqSBAiXVWATW6EMinL1MQWc4w+Op0H3X5HQ91D21+0zWR6IX4sNoArv89i5Pom33BMCBS7vElqutOiIhjPGTIS61RG/0kSfyT6BeIdCWzhnO+gooSgPNc24DYuBBgoH9vSgdio2L9Hd1clU+lS8pvJTWWtQ/eOAd/9J2OaaxRZXHKgpvL9Lw6jfpaReSKRjDnX+gjrHywelijyEAfwPnYLgdvKoDOTabKeSF1ia2FstMuXd0RxsuwzFFxDbzEiQPcQTbpDdbCuc9vQkCa0uK10YymGeJAzv6hICrkod3c49S+YB5Ly3YHTg9pxXa1aGtNgbCXu6/bo+PWrAAhzkup6S5PgGwJFXKPVT6Yw9x9yEsd/FVXdiOesKZtxM8D64KfQYMXy8AFLCGAYsDlsdud7X7Bqh8ZZpPWfht7BE+XVKpcsYaXQrFUSMk/RjbbEXUfes20MPePs9kYtvfjmnEBl2E4Gs8x0xFoisS8CNiQGpGrKuGBuuDmyDyFF2j10o5ZixlrTDeBZmsOqOBdt6bqEQWNVmx7PzUfiwo0VAZ0teJSYjlLZMbmlIfK5TxNj5nTo1ALLDFEbEKlTpGFxzncz0/4H+6oLQwgANG8o/ilr/d5K0l/WCEndqnlsStFebQ7Ww6L+aCakAu8gRFcApKa31mzjaRCVAa1v5nKrPQBKejRD/n9M1Q1gQBMiB/08MoiRG2xRBkWceOvLa9Hb+P6TebsS6kfoZ20j+OVLrTZQ08pV1PrEFnHe/cI7ahxAHCpFC5fOcWoLiYohp0kX9dyT3FkHNJlAozfiVflofqCmVhb2qhXp/rBPFyAQ4e0my4KUkks4j1ipirSUOEJxpkR3g7J/tW4a+A6HemPBA1jTBTmBFkokiDffVtq/flDqn5orvQHQTyou92mBgsEw2rlWiQsjtlfFlmbhaXOuO9mKoSIC+uibsxfgW+XpQiYrssfd+s4Drdey3a1otx0biuhcIpyd/0qiZSpsbKDGYZVbtVtrF5MEZsxBRB6b9XNFfYkF+krPnQrM4OPrfZKndlRcnNyqJgO1TP3uzAEA5L8BJB/hjeIMtQIlPrZBj0BFf//UtDdx3ld1NN9HtACbTt5nMVeysU932o5try0UGHDmVSyTGFFzchMCACSHPbtV9E4IIp+E01dWvaKcptmpBXf09lEIL3cAc0hbq8scyL3YR9wI4/bJNQkIhTMVnWnOH6ccSMHnEKKUxBe6K594Pyp1c/7zQFgL9dU8AQkFhCiOruLoH8RSpCo+K1f07jnxo5KfbO+TyKc1RS2VXGtYpUlFd9AfyCDWz9IrKCr598cvoTPkHCRGFiIOAug+DexvyyqzZwPsP2IsXmPAvsRv7v7/8LyBpWoFX3J+XSQknzvsoKoFa6fBB8IJpdCoSakQDFzb/FIuq2n+tg570BL4MFMioC5jkDYyH2acggt68M6fmmmKXdzkHMplAApFjHGEmPrWqmrjJQIWVI+lZVkDrv0+8S2L+HwWR1t+addI2En8iQg4CWTlQvwi/MbrdXyrGX+EhxmWgPrjatfJWUs9mqSGq0YOHRyeWE6WYcRyBDAeBa7vxhkvKye3WJfK1DG8A9WnfxDtzjjF8xIbUQ7DYt5X4eXFmCHMl0rBsjn3egM3XjyRpHCZDOC2NhLeODKcX8WFS3uGvP4BV20BZXHD6KJFKSWVqZWEpgqi+31dtjpn05Y6QUGFPvPbvP94hmz42i4LmHDkWB9ePkygRBYULJTbvnqY7Q9DvaOGr3yqMba3i5VWE2v/UmmfdWFV1qRuY/9spnLEl6RM+Zy6/g6ZrvhQ6wUydgN+FVI/GND77LB2A5iiOv/roT6sd3PM56evjdQpAWU4/8sAgj5ZvgHJQ0t1cIe+DozyDZ2P+ATo5zsPUr8Ktx/rj3tKWL2j+1bg9+AtWRsfTIwO0rRbtLHWa+vl0ZUahOVxqiFbhPfg2vRH8EWbDdV8MyWKrIswsWlve9yxS7BwsrRr45+gu5F0SyVhw0Q+6YDwgv68j5FNyXcuwj+dHrKmTLYCO0DcZVOKNt+GXclSNSyepvjdq7Csuvgt2b6dhbNikh358w48Mofdf2WB9yNsW0NJW55wxffdWGDW5Yz+1bkr59qQH3VoS6K9mo/v43I0K5jI6wlT/TmzKh1K2NOezzy9uCl/CNaAnF6ZqnFUOiUd32aZP0+pgKoWJ2ELU1t1RPG7lerdEjVUIFgk6eTImOjGZoXJ81eMU3RJdNaoI99rcQjPQD5vaT367HSBzHFHOpstS/eQPfE/JM2HILoDQlvxHc9x4sNdvVOVt6yY9IN85Y5wNioDtcL3clWpclMH/95d7e/SSOdo/JjEAEM73udKg37SyyrWKHrrQnSWEJo2SgAzKydRzREdhOmiRcnim1B76BmVh3ytArF5ryvfPX6CUu3WXGXnXGDBx5wfQB2p5QAi9NilzuD79Yuba/5tzHjySOyfV01tEsKoxknDn8to9ANAjyYw1NBA20qJCXKqVhJae8lebcUuXv5D1rpBKutQTeu2u80AwKkr6M0NW3OS4IT38JA/5RWIlP0iuFZW152AbKHC3DyrXNTy7mG2rXuyYB+l8a5yVg1DYXOjyZklRWrt3Spk4ga+MjrKT5RoxDjOfmKbKhaKHn54wbFgs4lin4JvjI6NSEJgZGV9sGmPLs9s3YfJW/MVAb2iBidWX7AQlpBo7oDC/6cf2JeaAJaav2GM6L5xmQDiCGkzHSVMWOu8qpMaAniId8i2Ok9F8+Bo3jV/98ZZZ40z1Vg4iBAOLZU4XT+n9et9RBc4rUE0XqVbwLwKKdkVNxonn9cQGa00gIflok/rrjV+GSqXDcwH1RqIx1pYRkYNNucaRaxidSisYFc49Z34fQkvH1RMoOGTl1H5VPbql0OXiqwMz/luwKSbzliLgQyPVzgAtCI43eqO8vL/CNp5sSCXdUwgz6vR2eLmm1Qt7sT/B9V6wpP0X3zXP7R1+78I7Rl/ElL8ii30vn6c9agLUN40xBDtXEqL8wK+YsyjRiLrWCSt7eluDIMurCfeUxZ/c45hCsiwmTDRRKmERqGH1KdVixh1J5Gp7jHK0XBUMRi0n6kqyCfTrNIGCDzY8Umtl9ft2DhY5wFm1m3NmzuqqFdhyC7kw/Nes1yEAR/k6XcCjFShLfV11zYHcQ8eisT0HdmI/6DAk1j0699H6VZ821/1cSsgMC3IMj1hBF+qKIZF2tXiFP6EH5Ev/n06jWbKYS6g3nWu0Ekis8l/Rzxkps/+6CN0AeaJhLp6Shs6vnPkUmfgeFVDQPtNhtklpev4ITSNnDYXpbz0dZxlYxngL3uzvjVf2KOzeTeflv3RvoaNiIJGbFWDJozk7q8zK/Z9jt2689uGcHa0SFWCpeCYNglU1L62/5scnCZecoeOLrAlA1/xc1fxpHj7YKMFRwhP6cdvQorqVsEBtqk0Ozum/1DVLGoBd/ffeTO3WhIslkdSDGGN8Xk7DXqKAMt0l9Cyr5XH7pK/ttxNY8XynAIF2Tr+MW57z320DAs6ADVRuH+wSm284/qo21S2UUGrxugOoYGPe4IRGsaJ2GJi8HKNLpmwc46ucQctDhBadbe8IiFhOtjASRKzCnuw0zzTywtf3B1BuVbu4RKk1BzR2KJFiTnRf7uK1KkcV9taMIaPYdQu7VVXxYdOI868yCw2Yx4byRCBrsgkhltaT4vNiHzKJvhtoPVltPa50/D9vxXLe1JO1eua44E++bOtRcIRIzFoQATt6eOP5RiNgQombtBn50cywtEJcLpUK20Pt1GHm2OYW+d+p+Qf832eNcqLIdHgSBS2i0g/BN/IFekqtVV/9jcbcctRBAYJxhzONPjAli/kj7ZHrrh9SrtK6LC0nDZCiAkoTwlSA9XYWRIxx49xO9ZEzTEGUQ9bPOh2hbmTeRZfJHdvhZSaK8t5oIfKrDcGOvjvCEin+Ef/cmAVPCWGze+CsAvm2sQcrvdyck/9ttrnaHYBnMxLgFIaOMCfIOP5aFKgSgYJ8aQWFB08nL2xvA8OyItzhlNNPbokz8ApdC8470It5q7rZ4bGt2QTiVFDxqUau2MIwPkRRPYWcTAcYwnrAkDqSWxPFq0DofvxknkrC2i/mOV5/FZZXYW+5f3e4owCDh3zgd0ONpYj/ODRLCahviWK31VgBw6j3ceubmoJlxGGWslaQpIPaddYnnMRXLFNIOexxd60NdztyAzSg1SohibMPE8wtoE5Wqq1NRQy4tCO5Re57KC/LzgnXESfGOrJgmi62dixgeb8V+OdyAz7T2oFFVh6qOBxOxzlNEJ12fZgiW7j2fzGWnqwvFAqKh/lqht5HCkVC4YSTFNGSLEK/gnoF4NfOljLmER3tqrpjgS0FJsHkWYzCuyWHxBhs+lAyb1gJxKsYWS3LS+BvZxxQdk3GGLc76Okc3IK2s9gICMuBMOiko4tlC27ogVl0TH+nLFGHvw9W2xvm9dVdIr+1oQKDbI/Dfdj2VUXs++mjBr3OoF6BV0s7iUvLEXEpZeDJaENvHDXsB6fEBABuSEnEs0fQMT9X65wWKulotFqFizph5KJ0Z/ZUvcyNe2ccJOnYAzCkRUYFWwHv+11lBGfXZBgoL4WJt9i8FrQjcIBzPoKdfRIv0IA7kBiy84aIp9y7aVeU/WgdlypmchVmK12BX1cdCggZTWGBgJfznPeIuVf9/Xg61umjXXnr3TfMmLPVRZCdlp/MDwZHmZouliAqj4Mvj576Qn6sfrM8Qr7IFDRLQGnKV3nugXa3x4oVphZQFtLDr08iHB7CI1r3JNot3uPMatlylIWbpxRKpQ+GmDX/SGkITNWceAiyMEnuMTvi3tBJ+kF+AiBYWo8kjnlbsJI6dluROlMIiKap0zKTzR+qzhGSyj/5J8a98CA2TxZvW8e0dlVwGozKJbiELW2CuKGkkygAMSlPox+9LqHrVMnEPvFIN3SoWiVKexGXhri5GOpZ8kZ4+fE+iMZs8KQjBd+gUCKYu/0diJdKs9uccna57ZFXaMEosgL1tMRL4XHDkKj99wrCGHfgpGcIQ7KBKR7MnkrrBq61VDQn1vpy+uxKJhucYK/0J4KpFTvd8aYiXJTyX83hhPDyNoQ55UsnA5WfiqNONEWQQfGgHbpUfw+BeuC97m2eVXSxb0wSm3FhFLeicD092UZVwKNMGfh8ejLMKPvN9Nt68C28cnlQ7f81IeK7p7W/9TNmK27t6jBuCH71si5nziY1UqiS71yanuq5ZiRuSO+0SVqgeMzVisd3K5KB/GPgB3/A61wNFTH61IjYQZyILXQrtroT1zTjgiqJ++UVFSU7scjqPLFbQ19A0oW+nDGJ6on14KGOWbMVsDXCV16iKExLqgA7ERDJkWdBTUGHFjbTPDZcbGRfsFfIIbzWahG+ZcDjHRP9MbSsgxlvcUd6QUsVHjw2voO1GYJNZXV8Xg4c4kTyCixOPBd2/bllVT7Ff2VGcEhzT4Xa+KDPcE3YqvID2B9A5j6CuTz50PBo+uhXo1zuZMdn0y71TGTTPA1/cKk8DKrCbtXStMEx1GzqI3hfY1sqhzccaXLQzFrAAANARRNk91rMnzq7351hlKW388y+OyYfy7rUHe5ZqeHdeLMFgRv+TR1DuZIE9AGXOrOtKaQnjEN8rf6OX4PPLQnwrVgXq6k4/RXegj1DRhlzb41PTmVDivEcXwzXKrus2yFbstQuDDxcqyyNlDekH1SE3JpUsa4qmrsGQwM3cvwP9WDm2q9dConTABxb0xhDHcBvQB07FScWDaCTLo0W2kT/L7f2EyEqgMvRjWkRy9Kt2BKKqWIUy76YpcDFvYXN6DDaJo1OTatx/LiBDZoDW3ohiYQKxQzaBT4p1gyMf4XfMJd5SC55YvUfrzntxEy/leBX+CcYafTfwdEVPPaRvMbFXi4heT2bXRxtpOyhalRtqTmNC4CwZOu5MwBnCYm/T5SY4/ZHU3dHrqfkgJF5iP3lkNLF4DmiyTRumiVQpVCoOOl7238Y9ylBa5RqP9LPOWP/kBMiUDqhwC29sos3ktl7Sm6LG2MTUZWCov2tE15OZ9lCwzv1Yvk3hA4Spo6gp65lwsBsm7dN54UCKRpW4sVeUuSHfgc3j1FJQo3SBxPc6JoowMG/p2B6dwGjIFYXh5G/SNWYHXPPPye6tQBh3HjF7fk4lcqjcW3H7+NYmZUKrsPnaXal1Wd/2y+na86kxC0K7Gnyod3dzsIOUlYfR9O+qsWjnluw2GoRUUtIsy66k9DptXPfK5v3dINUQAzNyVtJsn6lAotN0l7VTvwgjCAQ8EKJA24jAo2glDY6S4f7Ta+qo8EvLW36FUYFnEc8Kwns32WYPI99yNyXdpE3Uh4X2nUyVOLkImrInNnXG3wrJCsJMEeAveVcv/DvkfCZeZJrnZ5tXXM6TLXJZOUoVb4KuSKq9A0TSAq0tkzA80hgm85ATsYmDFAhc+uSd8m9dPArue2kKcOIeu8G7MdQlSwJv+nnM3LppRg69YNX4/SFI0e/evJHNhu83H7jAaA/FFh0Vnr2drD3xILHmxOWuNGAqToS5TCEaW6iaVyyCQ9ilRFZw3zCcLKO7+FccYZpWt57G9dnSZLUTxN/9ydJN5zso8wtMCxJqAl50h44tnX4DRdyDXUzamNDwXYKeJ0UEjEibBgSWhUbAneV1vmbVe4tHfg2OpsOSkmupDSFUFXziD2ZTpF5W23gwL/DVU1tgxzxl+acraN9IpepGfoX+iqusLPZkn5AVHproP/Ek9Sx6I8EaF608v8pzVEXgDZX/W+EE2/6or2OES3wwNHGOwxKEJNOj9gE3P+N3mX8b2NmCh+sFuXEcgjRONEGOa5NCp9m+jKYxl02KMcizy4OLchjLLjo0Js6zma28+YHIFbcepvTSzUvjNjPV9z6ibV0xxP4xHKYKDigaVbhr+cOFiR0+/GSFo9xQbKBDhtLyA0jpxgIsU3uZCfp/K5AVmX/v+sXnBoSUIPwbbQck4KAV9c5EDW3wWMfGH1HANJn6Yjw3EZwiEE3t5UOfS0ayFudGCpJVWlBX1DCUE5zhdVpb7dQBMmkz31Cjt+U0yQIPUosN03YUravMsTS7ujQOKOVFD7/ACyvY72NDB17cdC4mN6HaEiyJBrGTlpXAka+NIw2kBfkrc9DxI92SjD9syR3lj7plD6eNio/Oix8HOT0hwnBx4bhWlnNwiqk9WWc6y7ZNgLNculrLqDpqJABl20oSL+whzaRxv5C/qFdl3q2rKgwWMWLqwSDZGk911tuiI0D3oDia52QzwEuBfgT7bV3ixz2Bau2WEiAjbRA+aWC38Xtk5PyYS9cO3MSgWjJ96iW2IBkcqBxCwv+dKmB0/R68GvLuBEfjEzS/WUnIoT6/3nprNoYlgAiFpre8k/drNPwFno1BBEGC9A/Jww0JB7mjPydDWqbqOhiibJ/iVbhL6hhDDeIc64Z7zOhzD+rXVjQoXZXilAKMmsp3JUBgxSK4pq8Zi1cp0m4Xl0eLB1lN6i7/79FDQzXFj7oXw0qJTmzsSznFBDhroCn3JMPGcZwktJ6ViD1V8OHmDit+Fuj+fvmp1VX5JKg7qsVX27+zPgsaR85RFC5m9TIDLYk/v710CM+5jJN9Vh45bJUkf80kAI3Tag6FsTDrUNoTiHY+PfoYadKF34EmKnA61pVaXkfuX3eRQk7WJdAIEcG6GdrQlVJtSDBHp7h3aH1NxKT8A8/ehh+kx3VNKEsJK0nQrjUlnEMRK/LHsdJSRCMUZItLc5dB7G+uH8nQZOyCE+9Nc1yR3SZmq86VlO7fPHsXPkzUA/fgCajw2tu58eskn1+y6GYkQuANMWr9Djg225PngjeoiErvBKEvK6Ko0hof4fKZuzbQXP9JHkrIOmdufLSh+F49n+olsXSPYrI4ESyAjISdX2ryrsT5EyflYAP7Jkz9Y9K6h9RUiwAZmEVWROt9dQNIIBk6YfnCMIFJOxvU6ifRkZrVAv1XuvrQPrIRxNm+SL7A7HYQKeGcTvqKNj4LMRAWemjWihZOjNLXGizyBVV9Zigr1ALHeJJLsPJ72oPrSZwiKZX2HsvhzIfdK79KROiqmhQcOa4O4NTUV2td17sidm43In5pp1MbLj1Rwg6QaishnCUOMz1z8IX1WzITzTmdusK/anGfImKaic6xgQxMjtS7OGKxHMUV72VSAEyLGrN6YZTh0LEogSoWAUD22T8/qAM3gmbQZvebNwxlCOPOb7B37VWED8CYhKvll94YYf3J2BVyeCcv3qBl8zr8Qk+a3+ara4J+Db82ZunSKeg4VnvDv/XEe8yLo7Z/oamAQDWfatDVCNnQUGas6OAIpYF7t7QGf2ytjVlhaY7Rm5FrttlQ+yN4jICeokzXnHMprAHzX9wYv0XC25ex+XXTShHRflxs4OdQH3F15GngEC0y/tixGAoKqJb0K7BcSYZh20xSkbNkjlMHzR0HK6/JNuRjvRjIirHEpMCcNc1ruWW2YU+lzPD9qB7V8wuzJ+qttHI67UVNhpjhLS9rGSgaGlAi1dt31LAzctvtQEXzLnZrHDfVfW9lzD7ekp2GRKeESlKo7kbxMgAxPEK9n7BTwhPpQVhFyI0NJ5voGRmyTbUeLIsI1O9DTAdej7QGvtJit5eHWZfjJ/Z94wYNwM6fIDG5QOH6s+7RizW45uUwEkr4jaijqqMt1KSqMXB2v0hpSGwkzXp3c+c40ThTeow2fbhjK/OUfRAoFSMSSiCqr1sJs5nJbHnbO2H2WhGzg6sFh/Q6coYCOB4TbobiTS0mhzf2y8ZwfOcHdZaIWtWmXSV+zJaUcofiABhL/p9zhTJGrl7cgmG4C6CDGTHxRR3buCV7M4NOM0JdbMVvib/nYcMBXQKnEjABhJkjQraZLJ6nf+HHHtnHFhxTIiG+GxzHZQ3OzkNmZqovsd8m36RNeEOdw6ooEdraCPiU7ZVb5lMH0Sfj68EOe75oo3vZj1CkcMBv5YuKEBWBPQxXGDavhhvMSMEksMXI6fD7CZ4imkWOvlyVdSGqrM4mtOdoeoBTTaWCdoRKSYTt2eE3C1xuhQvtZQY3LY7mTcfWVSb5W70Y5m9pUttDmHtY1hjMWxXGN/LX46zKmLt7ePkTaa/ulpbdo3bpWCUTm18CGuWFCmnIJm2FNIcJb+/RBOiq5h0Bl2b7pfqTnuavSxdTY5/ecPaaq070g7Q/+4ELtAKzh1iwk5rBURCbRMlMQeOz9fEQ8x6BvCMySbE9YlVbtzzGgBc/cWXcyzRAwho3N72aSaElI3/u2OINlBAXaiPFxxEg7jN6f9Rpq5FK+IlIOhluvFwyVBABNt+N+HSnFaPpe8kpnMiewu/+49pdjGJf5LPV1U8DDFTzMNOQDgbmDWY6LlK0BGHGZbPKmmzcifAplbfFt3Donf3t0we+ZwjGRjqGGgvvVzHHQGL+vDSjZu67MyXYnfiKEtcZIWHkxSjmy++dGlYOfr4Yc2KUhwyOl6hnaCnVA9rcW9TEPM6coTiMUKkfR0HJ0v1Xx0PnEJ981Tn6Epjl8Fdwf6C9p5z3MY+oaTOQ11UONaZDNRNYvY9ss8bc1zidO2JdTVAIsBtdQmqYMCB0CjsLMVodpew7cg4oF6BZZZTYaDOQRSqO/Y5LIc7u4WwijWephgdqd4EKb1Zh/LTBy9ONekar/5rXk1JlHY9nvAnlbhN6xcKQgjU10WVG30RM3NAQdiuSVHEhnjXmALT3bHK7AdIV0crHrLESNfBJP7DsfOh60an4VvXV4phQpSgbeihQ1Id6hi0G4+ndl5ZWfAjlg/skwHlxnVt5yMFUCTusBlEZjYap9MWrSNYLWMjsGgcRcdP2SBc7m5a7y6PZFn6G7zyOG+HcoROoqZ3GUzjgW9kLXZ/urytTBO5ltSjfOnhz3OxyrvSYleMA6EXF93hxn5StUzLWZEcN3PYoBSqllXP4N8+6bAIwb3FiC3gOerPznyoudSf0PH/kdwSlSBJMSFUaAe/8ofHr4sCmAjPjp+GzX+IpVyQc+CpMjmqrUg6dtYj3cyYB9h7GC4Q9+X5jEhDsOtKE00n6lORW2NZPiK7BM7YmBDcalPFX8lWKPJ+yBfnQpgWqWRDfM2o5gZCWIszv83BT1cnGwOmiiteO3jPlU4W42ndjm145SOjV1m7837KFFVChivgNcCEoBRbvRbaGsQcdQPxszU84pcGYSOo8jPS0GuF11G9XVhiJN87ofWccy9GrK4mGNU8lF3Owu84YJfk7zJBirAcyAFWJitdqA5WYGl4N4A5MKK1FM6nrxSzzcGtdVl9JHyB/8dMWP2jhzx4YPiG2LbTfQHZxggQgTL8r9+Q+krECBXw3og85w+yq8JhuzJ/WiK5Jv8g5uu1LKLcjxlMscQXkEjnn0yuo+fiAheoyr5ZZkR4VA8pw5KS8wx1vdZR4sM6bLgMKgBDM5JstmzNihKQM4eL6JZfddXa8xM09Gho2/TuPOz3qZmNDAkw+yhqDm3o9+3h+7SafZpx3tLZs1TxEFDQrGBGLcApWRW/eWZnVA+/xkMVLuOCIX3xfpY8y5WCtFCqAKiE2AnV/Q7EeQ04vLmNS0MVEes/msnqk+14rghFsnEmMMx2eECIbk1KlMgxy4FlU861Lna1AJl7L3vfH1IWVAuecTCbUeZxbaTADH4bwupde+VvvB3jvoCq6sp2PPSJT45kPB8U/X+euo3ENJ3h51hCH9vyPaa7jKcuJxzzicqLWP7yxEayL0YozTBJxDsP4Ix1iIl1IJ0wDoy9QYYUYlePtlqDRRVbUXryM96FlKudwFXFpwG1chu4w6Ikdq0kFoNi/BIJUWNevnfEy/4FypjBvZx4KR/9z8l0lwLPmP3TdJbzsdDEdw+kMBoLrCExyaXQx9LiZIYndLSFiGho3YLQSEj+kBUr9A/KdKQtkK/hLlvmQNlLIJANh72pdz1aobQ4LdRs4kBiHm9dPHY5Zji2yLq1ZjIx34aRTwuAvGqsL31qT5vRpiGUUivwxZiBhkazRlPQGxLPHBOvF7hkaubvmi091IIjS9s+Ad3EqrXaP4cyefyjPSIBcDKFQFubU5rpvirdDm3vOF8gfv4+mhA/EktA7/4BzmwDYxmrTIvmmwntH8lBx2jo3UyoYGGYdh1Denk3Q6j4pWuzRw9gjfTOTvPOHIy/pN4GtiyDNV2ej8jtoXejer/PjlBiwScPA//tQUju4y04Oa+77uKfIpd6jjOb6+IxBCjnNYUfJVvCf+TJpx8tjMHFwsF/UBWAhkQLKdXIb43FJrQpidjkZ2HmeB/1ZY170qRGkGdEE3eU0BEUXP0rhRW/m+vuKr5hzjJ86QxGhF8RefgFyPe8VbcKkdkx0KjhDcBe7TIHRqRv3a5e00QASZPtXDNLLv018xtTo6nME6USZ18i92ceqUV/WRF+6iyCyWKo2RHCNBI/O2PGQUmVXkvLVJMZXx8H+hoCwLU4BMUpnU0OYH2Tkyvu5b9v8ooOgFMPLlAuiisQRCZEMQh0dMAM3o9AjSono/fxGRmhcFjP4EgK3QusmblREezxst2hGiQVFyYe1EJqekYszbKt7ueL9QF4OHMjgprRc9QLd5KhUzMddGfZS7vVdTkKSZBEiD7//mChaqSjOKgT7wt3bjhWAMWqpwkoTLaq/O1NwkX++TvpP8Z7ZEglyjYdhE5447MD/Cwnp1rsYedat3zxe3bD76OpyKbyl+HggscBXGEiVkU7ciaH3TFY1JvhHZwBKh6pnb+l02yqg5xL0QZyN27Y6HVbJ2FwEPUXvL341d1aYDgZmq4s+XIFeR4sm8ZPDeEas5UM/n8t9fb3zBK6DLg9QhT86O3G3A8aLWa9P8BEMH3t0Iq69bYB3gndTGtITrIJdkvRxZAHZyMIxKDO384ZZZnf23Or74Qn0RjHCBgGFOCget6B+DQV2555RjiLL3QR5T9JjK/M+qmZYqPRE89+oxl9A6XHquJfBtOq4ymfFM83g0tZsMDZnWNHMlP1N8pLCn4gKwwUN0KiU61nJFdc7OIUXBJelDgCX0xaX0wRrDrY18h/VuhDFla+3C5eohIZyOXaOXJM1qgNbf9M2HO5ltiDfaI87bEElnQ0fHud0c6UyQmSCFIUqK9ySsoNNwIfl6cml6mVX3dlMJBH+FsgstCtI8eGQnOYf6KWTWhrEw1xuCskmI3AKml55KEErggvz5KDfRs66ptOnIFAWbsm2/Tc1bzTLLES4FPk+skLOJNLNfscXibPBU/4lbwyIN93nuDvfSnWTXpKM+Y+Us24+Hk+Zbz3hIcXNv3Jh3XI4gleKziUdIqIK1PwwNE83ykTF3q5r2xNkuICkwNQMGtKG8PK/0JzEYwrQMOhJStgXzSUM3aiU5nQldJPPDV01Ue0QGtuxgUW5K2Ylh6iPbKW+l4kfGi+jEaFpANm1q2TqUNlnROBJeqSnQoSC8ScCqm/Y7vwF90hbcZRxPjORLOOfSdeldhbdH1kTAoYdEkQdRr3RXoj7+/Dhvm1mnXlPrsw83H644Y3VCDWvZN2w7uP0HkFJte+8PeMoCRiMDmD9z32McbSVUVs8D9sUqLJFPbTTfdsGceiH7FsHFJL4j4ZlS7kzi1rwSUcgs2SHXLgFVcEi640Lahg7FSbQBM64RGakl4v23HHKu8k1zn7BVwKt18etKPNXmgIe91wyxdoxIN48S/n7SR8u9SSYVzamDgzJJCRu9KBagGP9sX2Asl2HUfonEPLmxP13F2+N3b8Ttpkjs5xcmsFFCC/pL0i+fFGz1Nc8pJz3ZTyozkGt6QaE2KyHSVS9tvd8emk1PKLHvO1y9t+lWNqoXcTuM5tqdARYjT8/d46I/jvNv1R7TVQi0RlmneGFXVoizuxmieR31/faZ5/LL8QyP+XBs4j9og+vdg6Jx7liB/rWpKy4kpEvlJftgwlO2OWOsNEwILIwNMDhKNUtemi5x+pPlPdIrsGafnDyua8Io1VlULkCSIrF2MkApbbtKoeOvCVjne/tmdFMTHD2XL92tkcumygHBugnFgog74X7iGGYhDzk7KJPIbLi+NYHDwFN6AvYoLUj1emyf3zt0tMcOI9dWkz6FgQ3oGGukhJJaM1hPtzHnMlXMi1SWmFj+IK8NpJ6pr2AFrmmRy7nVkNwaFRzxc1BcXtxkvm8RzagxbXDQnPCHYQAcmrYIFyMFljrLgo6axpD1kGGy05DKwvIGbxsXJQ1h2uY7l6RfZxKV17OCFObzKhOMlrB7KzaxaRi2rwjNGnZk4SlX/zm3KIHv8rj7NqAq61WFOudmxMopVD4hDTG7T9kBflO01n58fGoDM/rO6BZAXXdUqt2Xuc81FFWtvNg4Qeh8F0ThGIdIdHKKWgz8xZSputjv7jWSnaxaxibSSJbMsmauGd8Q0xu2IDPsBEjCpegz3klcYYSt87mDVVFjW3/VgdPmVv2Nqu7qpRgVpXX972xMA7IWlWfv/wo3c1e75xzwTc0X/uDB+Jj27dqWBeQgraY8YbJ8JVP1wTX841CCksqefzkXLh/RG8G10felfvXPe+3X1gBpLEGf26Boa3N0O/e/uuDQeF09rEO/vVGw3cVNVC4mbidP6cUaksEANNQKCTBgObfhFIVdYVpF/2mJ/7W03rh7+aEeASdwjdWsrMJh2Gb+NDw5uUmp5IqpR0zoM9bySHCefZ5W3bjplK+bhmNCWlueL87UM7liRLA1TX10bhWod7nEJG5Qr5L3D+o7yBHROPf7GYtjlv6ex1LHSCtgnBIY2jFd924K4wIAGPlOL4yDvPaxOaj0rV12SeXH0zKmHTDiFvUmItJJWcltnAG/LIE95E3W161wB3leQaTTGDQY5EgfR5xg1VjE6eZy2dxhmse/8fXd4CVCs/sIN8eeHfuNTG+LaqW2efQRdt6T3FnzHOPTQ66fhs9ETzAnJP+TvN11R0V32Qs8hGZ8ZYX8B3NgRFGFTKS7dGPFSHkN4SyJEsiMZL1Iq29UcFz8cXYM5krfqIeAHvRZIgoiL5pR+/3zzpGzt3g/D8AdZsMMfaVFfD0a/BGf5MQyzMefq4mbsnds0ZuSlWrIlaiZX88GUdNZWZ20H9jymwe8s2N5yfI3A/6GS0IlzbgMnRItvU/bFxv/uE2gPo3jGBzPao0grJf4RnNo4/wDny5CvFFqT9dtWUocJ8k70eQPgADwsPAq/a9pihwtYszgRMByrvFBfI5GMXV0X3gC5eW5x3tSctXKCqRxwudiGZyNqInZUNmy17kKeSO3PiC0oCLRGpKH9ASMJDzkItyi2otabHcasHZKEYsrltO9ZcLFJv4JbyUORVt0SeLMAV33OkzPTKA3NNgmVyfcHiR5XqYaS1sH/TYytSqeFOj2GP4ov6gXAiky+d/D3sB5BkTizTGufOs+y3IgxM4FiBwfVau/UoRnd+LAWhkxpRE2cBsf26obY/3HiWWvLlDsVElcDAnU1+soNBBrV3UFWz2rjVS/w0vjOFsIBOhlP/paapzFpWjGJO6q/OXnUPJP2kW3iGY4mpR13d3xlsaBm6CmDGRBeou+qj4qSZMv03smDDd66vR+OX6PI6Ywu6Hpa20/doX0JAO5XgkrbmG2DaOUfF5fp6Qy9i+piPcbDv+WmOin2EtDWsKAcKzXqbyZe28WaL2U9+P0+4/KUb4BjpdSNdRGfFvZn08eV84kJIi5L466lYio5BfiVeazm03HYENv3yMyGBolNTkSkSkVyEcrGFnRFevoeRQ00yJSosGLynHwM6E7XQFhoKCi10PyeueKVaMa+2sJpSs5erbsLOib4InHk1TRXtf9QXC6hXCmdqQVYj3Ff9QOQZoJNFlSSarsWTVqhPL/M717v7bGJihvKlcZ08ZgYAdIbw9/Iz4aYgWwPhR7yzND1lfkJ4h63SAlcwphMdXtvDV/FB4LT7wqAzGp8mkJ21Qpn2DRp1iFKh7jTuOiPdjG6hdz13YjYdhLOpZmtip5105AkrdV4Nrp+4MzVT3RDmFlOVhhI7ryNRCjSKjd0TP/pm/nnxCViHf4MrO+JScgS7ib2Z2ykVhvRX+NE2NsPru04ski83IfoGFkexQlOny4AaWClbrDXoq3m+70Yp7PnJDkbdKPAE/QV1Tfbakki0ceWI3ydfktpWttBfsM9KYiZxGXcPCjbYpqU1Vccegjo+K9HMUVTjCzkYlOGwARlfSmrsx/Rb8yNNePoYeposwWoxGneI3+V8ktTFUa+O0Ncq7C9zm6m/PsI1ae13/kWxUjgpIfNRj5UGw4Tx1zLXbHcl/V2t5TfmDLiRbuarAd5w21Om2xatpLt7ETnrnlX5PrTMTuWZiqn18+uLQPWpc2UvcxXtkai7bfySs875BMedKTutPxod/vqOtK6lXu7xK25FH5kTd3xKSCFQuV8tJ91OpzzTCnMeauw5/wyOUYXLmXe8PZuydyspiLcP3YkurTZ7tiETSGNQKA/ZVV+sMwOLmj+LkauuLpaUrIey9u30/UJzrAnJAkJswRvfDeUTsmJfZnMkFAUBZN3ZPI5Qj/6Mi8L/BVRlVUI4Zta861qLuLCbnSRZPhd/FPOCxvaY/zCSdSo2S50bM2D6/kGQmb5M9f7ZcdTgv5E0FaEMZDSKaT3mvg4WX1jEJSlYP3Rz/95DQPV6GT1a0Zc6wLR047GM2H31WI0QCVjEHXcYgS5fC23bQKla6wILbdjk1uECCEhe4c+lIZByB057gNbsUfzOxX3cdqUuuWnd5TW7VBwvOkXh8HOATft0+CsYobCwa4oTnrpqQkbVGg3J2Z5IGKTwDJG/iGI4pegyFei76t8WepeIurbNxlVulL3qE0zmObZIdPRfGa8DG8FQEXqx4ZBXWIYp5PsOZwxEF1d0N4eUBhgvKA8MUUn7kpPAQhSXiuCXFyc8Fe+TJmhVtREmp4TUmhCkD5y8qyznp8SCZBTY5tIzgLfyFQR5fVOQv41Z+Ugs7BKFTMe0TiZsgY2BVYJ36ZyKJ7KYgAWjZUkuYT6CAUzXMy2Fsf8xtOxrIjdhr+sJ8L1tnKteBNo7Jvmf418QHjtLsdAZQAqftKCJGxPv90LpKCK+BMmGdTAjijmloPZReSO4ZAhNuvTNhgyE8LuWhVPMPBRqHwIKDvNAGR4gvhWvhnLwu7hWUwfZwRapOQTDCmaYVAe2luW5S4Bv80vXjwC25jQ2fzMaTyThdTHu9JWbQwtrE8ItzQlCKgB6jSuIhzRVjvxFXP48lI9R4dwnE0RFVU6h45AH7ki7T84BWH4zXDpHWd0eI2iwJ5rJE5+u14qqz6Gv3pePhTJiYvnLiHi882Lww/y3F6ZuIvRNZAfhtx2XjpKfJ1D4YfclMURjDtuK3RrCmIe1sBoBqaEgifYh1x2RJB7iH4pRpWWw4qstIN5zC/+jNEfA2QUHAjj1ESmtbOwbFgbWA3EQ6ZT08vfAiEldQ7IpZmzyFWt58nardha+yeqqutyaJ8b50hcJ0nQGZfd2aKG+nSpqDtuV20Ko4axAsNWj3F/C9eOxEVAgw9WIZqxEAc8K6Ayx5r2mV9St2aUneEeH38ZAcXELehS3RqQSSqvGa6dotgLY1/GrRkJkDcw097xdDN5ylTZ8RdldYxWkpFiRcpH2G5t/DUJpFRB4SlxYEgkgo+lDqHeFHfD4FyENp9ADyj/pzilhHnVTnnnBKApPhVQeXVzxxLIdOGCTBq29GjL2UBSCborf2xy+Gfsz7Hxzo+eYizn/lXBJY0m6OChyeeE698MKjR4b7+lypi/6i8Yx6/rqCqma10PXbdi6JfA8XY1zneJvKPAiqmRzOdB0qj3oiLzqH3RttSJCADmDVOlJEltBESzU+gbW8Wl5zMn+7Ewc/4W5fphmx63kCuH+3Jf4RJ4SPKHdkeIFpaFpNoPqq2uusfi4ChMzlXTmhMsICNKO98UnDZzytca5/7Z5njOiPkOgFXNmtGH4tWwgDJiHQniXu/EsDeX0HOexXP8qFx6fAhFqd2yaP1C13+hR1l6p5EST1fFCkWDCiIRdGYFw+EXcgkXLHW49FZUvacXfEFv4P98Mui7CsQFNuTFQH291drailGKCHr6/qgPX1LbvnOHm51glQioi3AkxKWJgjLHGklfu52tIEIGr0TTE/pMWnkJ/ifsEHF86FUjwxThhy2MdGV4J+qJm74tl2NtxK0NW/DL9G9Vy5VKMBCU/LFZudXE4MtoYzg6Hsvbqu0x0YPdpIqvNeCX2WNqn70zPEkoSZBA9vrvUYf3BNnuRFRqrh7JHJqmB6QERSKGyc6tu0eSnxQ6c5n8X5EmOS4KBOxJtDhH9Qj9ir+kkhTzJBav7lzen22quRKFQwngwqUm1PWll32nGSS+4dUBanSvJIA422bO5v6gaPt2nuu0a+FhAh46P99LsnQoIy3SQmhHuuhLX/LqSEIBox73+yDf0LBjRbUlctR2TW6wBj5jfQqqvBwvfio1/jqWeemNQ1X7/EmTMHC97FaXiHGtduCwateLC2FXoJDrqsSypiVByNRmv01JV8+mcqmdse6BtVUUd6AqvvljVRLjvhkxgETrckb4zv6istMyxBjEiGi4RLwd+/EHwt58JyHDbe0epMjEzgtixwEUmnS6ZaL/VyZ4t1ZZF8g/4Fyq6E/m9TiBqZfsQVqXHTucTVa5w2l7+hHdyb06y5KIR6q4nhv9ZhgMrNzcBQY8nNWD1HEemYQ9RSUOEvpm+yfNZh4iomivkMLzibmomZ5JYqpAe3aKTMkqQq018eKF0N65F+RqJV9F59+1WsE//P11YZHlDe6Uyiw41KWAjwpxpsNcBhFOYsze+6xwJ2P12P3IVYovo0bM0KMB7I+Qwh60CqSCyEZyGfX9Ckota1oFXqyk+l0hAgSyopUo6Gx5iULTTv8GItiaaMFnTdhi2pBqsJ/k8u/Z5iF6qw4lAcjZPND2P4b0arUjT+4PzsX7wUGl2PzzDzu8G0Plc2/+Uxv4hI3P4FxTZZt+la6FKDIPqdt1sktUPE141NcxBLx6PW2OF41sunhmFcWX0OBZ/ArRl7mMB/QhX8/Q7lb2Wdm0puNa3lEc/idMLY92EoG2OO6O2ew8PWqhVkvxRp7kTfny4oIGovkwfZ2CuwmQKKDNC65dKxUFxNlyu8kcBM1sXaig70LeXiphHUZgs1+UDOuZnP3P3bXMHK591QVWtlsPH7GZT0mrdz97eC9oRfODRB1Q+t5Clx5KoPRn/eJgxAFHDJlDCjXftbhVCWN/4mVFIU9Kl/o5aYoG1/IrI1CMLQe2B2pp326Rn1RRr2AazP4+WS3+JSL6qi+hTQV6Q8VAqZ37M55RDeJbRwDgIjgnKWR61jupHOLBVskaGHU1PzhosISFO6BnNXiTmzjNPFBepnojFWEqPa+h24pFfEuRcyQjqIGJVyh0nnvzziRncmY4AG9lxdJi/mUC9Fqretz4zORHkCnJN6pu4XT1vU2Fm9438hogW2PNYJaUymSK6Z9eWVX6rcotOVfNgY68t7JPPqx+m6FomhruruQbmrYL8lxYfdQcKWD29FuZDHP0srno11YCYULeL0cBLDdZ+TncTVJ37tot2YOr1LZktIugh9yvFsMNl4NeR3smW4LSs81ivpAtmq/ms63npYXz/625OgJzHVqhEAD2zWP7dd6o9iab1oufRRhoGgaYNQGIF4dSYfkl+PontktsEhJb5TCnrcv8pEne0XOmQ0Jm1C4aF+tB8NzgfdZK9Dd6IhOImwQNa3bxJ65tNvf56HFcKovx/96MULjznEHJS+zAziuDEDt1mz8YBYG0pR8cZLG9yil0SuIu95zGtY3dO+h7keWvUdYFK4qXtJ7NR4rKXz825slZSP8+mPZv2CQOWmU64RTu5g+alEEkpMDowcCNGVY2dw67gu5KIJ11O2S3RSkfHhuaaW5LY7xExrU8/rHaFTYHAlzzdSuKt30WF1a9DfNc4i3Mx+7PX44JH2J2uWwk6+69xWZXai5+YtJYXV8mQceu8hXe+hQwYov0/MD2pisP0lLmopHYfFHFsneBTplWFA1BdSNx+0Z+rpzcMK0lLWA9cQiRK9mbvACqSiR/6UwnFNeujKSijfl0uKLz9i+zFARoBAL9jAGYSk4uc9J7y+fwGfKH9FVOHKvTy+JZS8rBNAWxwj95ivkXoeDbI1L1dlI7mvHkim/IIGI+yd6BhEjZn7/jl8nKtzvBrfkH/yoLAzNc0iD1/aG8VCJ/lTwWj+tE+Zx+1XTTXZQAR6gPuUpini4ZmQSJWhguB5ofrngOh2xt7Pa/rWoQzq2hCOwIRADYp27fiKv6GM4kFw9d4hyZ5/kyqif/TH9J9C+XLefEmg/3x5axkmqG7sgZbeAH31IqbYVwAj9e1GTTMh4sqUNdwMUi7nfsTaXDk7/pLlSzHEarztPqaJ4TVeNHveuPbx1P8GhYQWRWJw/J0SIHffberm0wBMarSSgs6j7uidok/DmEOS/bnTc6uN1RWYhyUuGIugAJtoY8uXzjBvSSfTTclolvJSg/ZWd0q5My1Vc4RbTpPI8RIwANs/AVFOg0xYB/+fp/49Qllo7AOZPV4g3uRHlJ2WBwygdB9/Htkn5CTsk0DqWn2OpPkNpfkYms7XdwWCTMQmTAtL7uBM/Qkdk/tyLP9nx+HckwAcIVPTOh3j78D6crfeQOSd9dG3zn8F+osBPFehF9aybNZLbjdE1Nq6xIufuswPHIj2P/MluBTagonJ/ZLsNVDR8lIANApDhAipUiUBXSjvR4apB97rq6wv+ElmS96msnEoZZKq/kU+UGaBu2iMc30+cqozsnt4mMMZ5R6uT+5zwaZZjS8IUDKpBPXMLnVoJJILjX0g98UInG1JM3+u8cHjogRLA3xWLXAZ0D8VV3CIbfRWBr0Owdcf5eMDPKZ7MwF+OzPpoKo2TSTkey41zXJqijVZX48zr8q7QaWXjzvfIO4xU92lPZHHlRb9Pm5h1YeqTMp/rqO93Y3RRE83ZiyUEKIebBrzfBE3q4++purfksM/BVBDBjz9SICEvPzbbCuDsEDdRsxpPunATnYe7t/iK0aW0ambjStEs4098TiTmllxirflT90swQ3WTFaoSMbN1GOug8Q3zwUCvDrZTm+iiTApLyG64e3OW+fWhgyQc6EI9Rcn9ITueZ3IzRPu7IYlZQR/ofzUFnCnYqavW21wo0mRfmFOKvPBvod3Dx3CeHTfHklYbRHRZKm7QlOUOwr/dMZpFqeRHieJb1lDFfHDlXuDy5sU60SyEgP2Dp9z0jj+gWPfFPrUnzinakTcZaC0989cd80WzB2px9BO3z9OGOgr3+BR2HjK5rijhEZiKD7x8/zQQORgMMqZs+1rhxgiv9CO3D3082lnCL7NG3X7xa2EKsS+vbTBymKQ/wdoBr+dLYlEprE+l7V7Y6bXw6efp60ZcH03I4Y6NyFUplMxcurOx9Z9nZ+i1unsN6dFuJwKpcqJjdqQaViXr4HwDKJRXVWCWfXsjy0FC3RhIwfsa6eBz6v7ga1bfuKyYjrZfHc/fx1Pyzq7EuZs2U4nCeRbdpQyNyjlZHmCX3FdxUeHY40gtSnm57JXllLC4Y3I0JLVpS6xr7gwu0oCBou18t59cUUmX54fsGFaeXfUfNaSdvWj0ELmazYgpJw+wIE1w8hbgIBBL7Y0e1y9FKIjSPfNsyJcSMzdNVrsnOgRoP1ctZGwm9EBUDGb5xrfcdeq52JJI1fIFREEkHwbMreGBDkgIgZrntdJ95YQLNkuaniyMR9gZ9D0zEQI3gQSR1N2oW5JuYYcGyTSwNnqLpaVv7W3oO5Lbif5HIh0zJTWGGJATLW+EMmvYhi0wQPEJ927InL9oOSQd/+2lajt2s3k9pc6Qj/Vn124K0eZI6sEpXh8PN69eW49agVgQuDcVE5RzPoY0c3xWgGes/bJjOFIec5kZAX4z8N83g9kCUtEg+x0VfLCrWmbxUW8kyNo8XwhnMBlFvgwxb2YH0fEbn/RuWjPapdoHGemgIQsyaolF+s6TgCpzmD6hYeeytGqkBhIFyG2pwpwrBaDdgx62hSgXnbhOU5nCQAVxKadIHey+UQGEb4C4HVjjjx229W+OJMXXZlta45lQfa7QeZGMYOT5gyrgx+q5+JdSjm2vLyby5+r93HxGVp9h3DuTHgSmM6yUl4yQhpATGOs2xYUMWpUAKGoODRT0Lvt/1Q3JsRd610nD3qddFAz2bSUZY8pQ7jYR2sq+TMeWs4BqgY9/tWjA0wiX86r7SjJ1SizsDKS8yMepg6vluoZr8i+Hy42aQoEtS2ZRpes0E0uhThrBWjfoxix0VxhMO31JW+6d53YB/vNOsv9Yy2Mp3ssTLrIIFYFIqQKPDCmfXXGbNtziQw8JOfEE0t+wGbAGwUySo3NYHri5/ykCyhDrTCwqp4oEXskiZAYglj/0iWzQsmMvViK4/wBQ0J2Ois+EhkUMG/leNsR3m+5eHf9ldPXQgNOBwh/uWMlVuJsd8TiZxMKhPvICiMDGgWFe6GcXXmt0Q45XVIxw7neLCA6THceu10gqySc/ssWDMLPj1FIU/dAltvYTYbWfn4XPI6U/F9Pj1qJkynZl9tqN0XU1i/mcq+twypRDOIIpzsZmUPCcq7LQz/iolv1JGxW/pyfsLjT/RN5BFUu1G31iHBz0ePTMxDge8mpfjquHSfoOrKNc3dTpvwAjKe5ksBl2LCkA15vRY7IPEjXU1eFFYpflAfQQ/CXKMTxwF2/tMqWOpSjuHGimesQGTze0TKHhl/LeUH+EuEU2unam0ZdY48qavvUzCBSRBS+0kv4f6zA4DlxkHJWneMMU2N0ygt88xfGC4ZncOty4Ymy9CVaNS0a51qt+wrmE8j8odTybtDM8Ji4YJexVlDa4mKoIazpHdAcOBX7cQr78WtF7xrS8jqkHY7bYOFCR3M5PY7LYfmFzAIYqi+2PbGEoYjNiNNtfv+dMXvp+1vBIiPAyZMaCe4eAT4vt/YVDBmG/lgv+1gILOOT0d2hwhaUGaL6b8OzUjM63sCXw95SJ3Fscn2jln11Z/eCNpPeazjWwl6/4fK3OwZ+/V9h/JNP46xATq1D2tkRLhts7ZoeBYyEl07xmIErA4LA36MysdnMoqQMqz+rZU6JqPmj1jWvxWx5Ev6w/IZRe2tfjxxdPmkwipSa4mb22Qs/S33cG0u/inYgT5jb8iGwPfm0aBkcRRtnt2RPUP20AYu1qlPVXyS+m8+iTbD76QoSxoVsDXURhfeqh+KgnbvBN+oXXIV84x95ifI1rkgVsQDhxx/rzJDLbCM3STAd4kq24ZXZ54cWR/C5VncZhuEQ8fpc7wWEZdLIdgA53VUqi378bV/eyuRUVFhzIck+8hJg413JC/+E0UTFW+0vOqRSYYfpa7P8WKJgvG3Jh6JqLX5JfBMo1inYJORPtAEIdbDS9ybdHqZGhVbmkecvTESYsb6DzIp2esCiH5EOU83kFO1DBxrzJGlL5Z55nWuRUAfi779HUfqnpIGUrFVUNSwC3Avrxtza0p8MSujJv0GN94EVYQZQvy+qOc44j5cNirggtI2ArCp6CC5Y+myMfBR/jObeYd3ltXhmCouq1IgIUq99aSHTaV8m62AY04VUq5RSXeiZnt5H13Z8YGuwSLrwk3/Ww0wkGK39gelqZwmXyfTCSyrbQci19tMgEHZJlyVH9gW18pPwv8PwOMlE4ouhYnCwm7J8IXV4p1E23X6RfjA21jSM7JsmlRyCbKHNSKRNoKMYvjzVFgxB2/lwyvzRdMgkRb7OmB3ZfUreh7r3b5DZyT8xji3Kv8C/Pj3lsBMJAeNEo/jMrpY5Z+xFSZjkPb9+pnr95MzkqzV/z8jLzd/2OrDRHXf/6fFDNnBxVRPyx5TMPomCLaWRTycpwyH4BVBvccqptFodHtCOUhjyYyAK9lEvCutnRYZWBcU5nNm0IIL8eGRUa//6nbljULZRKZBs2h2DZF24uXDV8B2ZFZhglUbB3wLnKhA/hTST9eFrhzWtazHgcSvsfByPOowMx2aJ7OFiTEcV4UPO1Lq4hRLRJEmJgTAyAbdqT0IvShpV9xz7JgLgUIXBzapSfJsIM+QDfkl4ddF916+QejSgws6ouqDRQvIvLZ3V2aqAf8gjky89BR+gDx2/F4+ev5U3cmqMgsG2LsOe2wwncUOBYH81+h4K06osibYK3ln3ivyRPYkdbZF3grzM2FHoQngqHY3g0tZPnL3MsGbyBC7fMeSfX0+3v7uor5TW0NpRHLDIUgD92JHwBiiF2l2O3EPrhIGYIWoiQVHanBfBldbwACaH06dWsebm1pKjTBfbHSkhP6vrch+PsVd3f6VuYY2kHx19zF8fGWjpikfiqDNYfxdQwoR4O47wtmHMmRQ/nFMQDUfD8ndpO7Nq+qqSJWA6Psf//YYH+zfqLIsz9h71bbDNV4U7uGk9y7Vn/6rJG4Xuw/LnY0rK7CpQYYeKLT+TEfjV2F+bNAsVHUMfVLIJ+lIP/JIsRS7cy3PE4bjcmEJW8qwamuzMOjReR2TDlrB0v+O5Sg6YqQLN9l20g5XOpiX6+bUQoRmjDSCfhQQ9VYgmoXOfoJYs4HsJ479/LmI8b8iJvVFBW4/gl68tH87+HUPofuVsREFeemYDJFSpQKRyUpzZ4FEzhZVmPxLFIY2ZStpwUECnBufaRMDA3s8T9fIg9+Iwugj8xdXz2ogSRzPqOqe93pt8Z90LkyD4qE5kjeBWYcSumeQEq28Wa0DXj97cTSiWZGIpem9+JfwcFF46PQGTUfP7aNzcLF9QuWTC2ZGcPJ/dn2aLVBd+rwT5w6yMAnWQDzHzW5ogthcB6idF0zo8AKw3UnKpHYNS08tPzwXTKAv1j+D8mKi4UQK3VgUnbRK0wLa17QngqFuE2VDT6UmBrol5590loQaK53I7FBYth2OuDj1H9fLNcrcRXS/kYoxB/WlAIre4N5Uvi9FXJ8wc84joV5BAYRFL6Q9C4BXa5dDqh/ETw+INtCd0dsEGCvTh8i70lEkAcbNcFSSE3j2Tf+tcQsrrf2s4Pjx+3xlUX3emp4hYsfyw2eWojR03LS3XPepFdSzh+i9ePj7z5eYnMPonHkWHc6+mCayEGC5SKO8/7RpbvHYg8rmpBzkXLdu7foaXi4KHtkIzkedyzKgKx2V4qbjQEFOovnQpjjIUnoocYuSWRH+Kp1pQNsDgOX3rN9gZV6kTU9R4P4T69IxJ3ac5S1yXnGfUkRe4SREGqVT9bHs9SvpA+KCmnR6q2XNU/kzbpNU3Ux8Eg5dFYvOtd4QYBvz+tA9Qyob7azZ63gQ0kFcj9ZdVMM9opR1fteMJBj3bBEXy7WRUqGJGv1p3YoT4k6iloFTjGAZHToLZcwM/NTUUprwdHgghJLYEeJ+7xf6of04PNFe6jUDF7QXlE3i3ULOerWmysX5DeRyLYLm8UlhD3TimRsPr0w43yYFlUlmtzJ18lekdPLJV39AiVRnxfP0Pe/iaO+TZJ20MXVQFYoBJ44Cr89+4iWSn86uL4PB+K7qkYibuRTwvFjWvtOuPBvDPAzSK1f692bvESmP/Ml/zOcF+SI+4/b6HjowK3ajyr7OKuyjiFT/GYjhJFXq/4QJmK4H6XByJadSfte61PC4i635t7eW6qgeL+u0Zk+pStl91f5zr8KfLUQ2tAmDLsDmg0wsTPzBaoaNo8z1lS7Ui8xvGvRk0kqyM7keVr3O79FO9gFqLlBuq9h+kFakfMv3rlxVNWhtbrW6djNdvY/ZmXN7E7YmpwesEW+Yv2FBWeFtVG8hQHJ0YKc9wwybQHdF43Iepge81bFIfvUmEKl2qTvCf89i6DwCED2e5aB/dfjxOVj2FsDQWSxXON2M7JJ6RplTXS6rUWafVjAladB11FdLrx81XXlzJNOciATkdH9UNwZrWmSSZ5HRROSU45tgmWIZjwWbNVG6fQDPtMD05j65Yc9yuqZCsrnGpWHSm3aQMo+YsTn7Ns8d6tL+kPW46fExW7lxfRoE1SDrdPDMJsfMS9mcukVfg2xi1yw4O5d/PFMEaWNZ/WZiKz6reLnMPxrIekcQ9AtbOnoLBPI7/cNu5mnPm/+Pn1f17JycUhPfD0skcPqWBrA3SSNAZfpaIF/Gy0WRglKsTw3Y7We+2lJFpGDpzEzM8KZPW45+rLn3DbzwcHyRkATJTHKXLehodPDuAQITSRj0aa+NRVZTTaePBMheKRm44+oZ1hhg/5Z4CjgSaXTB0Lo8eVEsMg02X/IhycWWK4Oog1iwFOZ6VqySFSG/m1OP1XdCHEXrFky52uni1ll6Ox9oM1OmUDEgtGrLRoM6pVATWjdHMuxKc8oTHiDbebz7QiDkq87wQGvsOUX2CVl5+0Br3FGKTQ//WwNNtHLJ8wMK5iMDnvKEuSaQ6AJNCo0nfJGg7ycpejxB0ntZNVAbeOAGXDRiM6Io6+m38Dk1j1HEbGj+uOD5PByIvpbsn9t1Rp/69DleKYXs2FEEHIrWmjpUEMHwviNG4qFEqhQvZZ0bo9XJEQ1eWC7tK1KGCau1dBKWXVIlSxua0Z/K8UQr9NLU4R9G93XDS8+QvER5AXXvKWn2hfPbi4qXc2UQW7Vgq+WAZh4LNwoJZxbEzswrQ+M2bGJIXlU2YT3CwF6NtTpM7etmFADdHo+xXUByALelzKmqguS0XDhqxZWiCk1n4fvFfrHBxSj1m4kya92j3mZ2X5vxwh6EJPYQ2eIs0rGlhrXDDrCLef4hmQv+BxVEql0+6sQADYbDABC/hHctwMcjqdmi4uF79GPfbLOeeYlW4fzUbXxm8WR/z0patRJcQe8uNH0w/U/R+VsqHI0RNS04nHxBESEhqIL+SmpzfkofiqJW67e10+2rQdvxUFEwnJVy7FrAPjQ9VV94n3nlGe7CgzXmZiSvpof3qmOgd4Ofi1Yc99a3SHxpqLsbdBhpNPwsJR3r5NvOl1AtuIphzqTCrBeGgnUKr2QsEvyJ0kpE65868cKjUOL1jou+wlGtdDkvyPrTZw7BvqWhE89BrU7m0Tlsh9hFUj3Zm+bhNPO74WGg4AlHvr01stEWBtnaIPdY1zU3RIC1U3sh3yNmT6efYUiOgC9p5587nL69ghqN512kWkXzfBmqZMeVGWA8OUAH6UTRV9SnXgS77e8CGcazFAi9S/bfuJwjWq+Bq6ovTdBUiPPm1w9hDvKTkpzPqzdFpcAQTnLl0uJOwtLOX+eNDARNYqV0Zam9cyGAD603KH2NSY9K5nCH1/xh2r8+eF9sBUHQ4Gl821fMfTwqyzVWMyx/C1iQulqMQjqhb2h5hT3hziO+OgF+ccRXA8z9I8CXZoPp2rjgzJCOy6yWVm5l3ZlUGxSH4/WwBWBJbTVja6aGRySfzFIw07hMgvEcclExBCxyARpJRS0vVyXLn9g6i3Ic2nA9ciqXCXbzrpuWbnpRAfnRSGMuaAstAnqSs/gwlFZH5I4of0R0pqvicMxffWH8V16Yw+lcD2fJAW3q0AO/pp/qSGIqnhcsklCbkxL9D5sth+jaS4V/mNukuaM0M60D8mV6OMEZ/FNgS1yxczm3FDEefQJzu49weKwbpLMu5qsfWx5U5KvngVbD6RRIjQ1jV8ge0uULNKKceqKIRoz1OZceTEUI3WwaXlefpwbw4Zp/y1fxIgFkVjqX8KTurmUPqJEoOnRpybThJdfqQ/pFHnbMwijem++MJto7SBWSwb5J0Sbw/viL0tzUp8yId0Amt8extWh3yVB0+IUfRE3S+qSXJWo4cbdq94hq8DCC70Hs92ykvKmI2aPfCPb+rth6Bvhsa97V3TR0zBOjdE77eGUnaEKcpZn08Gm1sFFzHuj6EVOkVOUfyrOIg/s0bEW9bHL1pSYCWMwBPnsrW8C2h2PUoL4eVZEn34SIOA53RWLVdliHfRnKnxN459v5INVUTCovy7Bv8X4ulsQNx1ngvVmBznN+VAgSpZkAIa6ACSYEXeVVGcHf5IpR3UANJcgda9c627nKQR4+HPV61moC1OxZZ1keTZDFnXe4mSgeebv2pwULUI/Ut6mGvw0UDLIo8O8m1xrxM1jbKnoZ1t/yEwd12YsEKbHhngZVFO2XdilO/qJ49Kh7YDFLHAsxKPGeUKXbWa+VtBImpXCSemCfvEjjm/Fmc5K+tRg9ACkyRDQmceSZsBmzW3pxgN4yWqjPcK12Fg6pOAIpzAItTLI7ocUbWB94uCHRW7fZUs5zrDHlO32sBvMI5GrgxRTBKaxcAUvQjdhnJSjPXp3pJ4UyohsveRla+5qdPOg1OY0ZkV3ANopZHGiGahklk0EPVyt+Lh3C8uGMipm+8uu2nHDaDt2goJxFapjajwUyTqpD1ESjlZUl7PhSNZRAh7cBmcvBE7bdyOTDMSU9Oci/+By6lS9pKMEURbPUcZRGkopcDwuSJi+Cw5aXdx2QjTjJfIWNqkF3guxBomLR4z2PWxPpipkbzUDFz/KrSJrtw7SAxlrQai3BIppq1JedhfAvzyTh6SieV6IOZDqazjiGbkRQ49omq9uf4qyCUZ/ylKoX4cjt1dbqFmOM2b5crJaAPiWJlC/JO2NBz1nUD3NwgzYeJCZ/B1JFH+1tvZav4j3fu2uld8u3G/Kj0dVYcZqfkJwgwfqs2PhrqFJ7S9XdqdDhMtvt3jBuBwBJHckxCQVTmVSXhuNu+EkLLCve6XP5DjiwOLaKvGy15BYmq1+iAPVLUWJ6ElO1a7jQRqJjrm+yIp7bRGr6JInirT1ohY+MLcd1VsbpyO+5V+9ytihhd1dFhiZM3lldQHKwgnQdK8sqqB39+YpR2ZY4xizQCvY/MBQAsj6u5DtP3pzU43F0KukheY2U/COmRGS6+Ci4q6jC8fctOC8sfJieFYE/cuQnE6GeeXMCbgUriBpBofts+DTDiN34RS7V0dsD4xv6LHASQ3gURvKGhoXXcspQW6+mKn6vF62bWeS2k56xm0oTDtC+NNXrmd9ROsWAEk2OVMWUGYhld7mDPh1KoI18MPZA3pZ/HHAnTOC0eLRuI7XF0v6yewg/lIF+R3N3qi4eBhuQK71dT7lSMDFEzcGtpXNsXh6FBnQWj1xzOWk+DQG68/3Hr0wjlr5QKvmlIe2iiAW3Q4edX7/PnOvNDZEuoK4QgbmyH4tnKXIpaUwUSe9dUtyUHrwlnJ8c82fajsQDoGplrOPO/eFz2sJSBqNwAjX0gH28B2b53C5AiSCfPVbxHb9sz+lgEL/BBspbypGmBmtBhJ/Rr2ACqZ5fXBx+/KqIcXeqBbUoS3Q93oQvMmQBnbz6toX4PXHznVVxUKg5gBPVjlWIVmfxu4fVhIVwO1SBC91BNgVMheJzZK8LO+xDoOzQsXnSgKgZTD53OUvzKsbahTqMEJpoVn33jUyg8BYt+kk/K6ZDFQoPiTXm8C2EC9W/fSfm28De/QwQ9AvkcYTzZoGbIxcjtrCgEV18Fo7O88YK3CAKCD9J9mt8zEd0cEbwSzeOCwtE88Ky/d6b6iHMWbufaN5lQxJldysiw9cj2gQ2f7JI5hJbdkY6twFut61T2Lx1JJZjh1ymImaMbT0AirqTQQujYDiF90b4pW1aqvqgXkhMFNBWqZEFw5LO+hV0hMLZVKNxEB2G1A/FC8pVlkAqzDp/gbfDC3JKMAsf1lpOmeQJSbEV8X1sAAg5yteXeUebNUpuXLUa5a+iR+jtHf6RRRxz4JknttS3i6Z+BGOw1l/hz+jaHcNl+AWM8E3BFZ3v6vezuVGCTJOeJ9pmhDbrZ7zkm8zGv+wZ3CbuMdxsJfN/atSdgJGj2T5ScAHLousGqw1AVDYuvZpnq7VPitTVN7oOSdBUbZ/OM+QqRhpc2y5Q2EhxK7YbZheBbVk94kb9H5m8RUjRYYAVXQATjfhw0lF9A0558JzqDn213RezmyVrcgxsPZpGigQVutM3WrPfh53TKFw7AMw/pb4bJriwF1KjJF7eXOh8a3ZBHJgMbBGpX3GBsHHuCW6WdYiRLuRuv5vkq6WucyWOx27ZX2an6ncesCN97apL+sbSsGH4v9QlIITv9Ri+Lg9wLYm22fTi6maylhP8FJV5yx3BWkr3Fss+48SFxJYNKwQmyFkUvUb0ddAnfLZhGeeROFjCI2VI+pjQgq0WZzWrCXu0XlDhfHWkOUISAp24VqVRXv8/OF66yI+Md7Tva5AvJhJBpxbxtCw9AElV1gP6BehfTmLgVXg4ckze0nZI7V0VDqHM6T3ANgQArelRsdplJkeY0tQx8ZPIB6kyb9zZxFgGmZHCwtblyH2VHVyaAsB2C+qJomz842qMsZmeIV6JdkVKuxV1YHM7USwcIjCyUUBAooHICBOsxm9netqp3mk8sGZ5F4JH3UIeXo4vbLLkFDHO2HBQLPfEMPif2pZEC2PvfRaTOd3gusJmh2t76Lad11fmEs7DLV8Kb/3J2y5yVnyKPC7HjzTM8UpBYMJnCZLZ2MnrMk9/rsiTj7CntoTuD9fFqI9moPL5uHaZzdgxeCZgFbXmHob/96ZCxZ/jciQOsJ1zrXReEvihOToHfasXYEdBLLllyODtEkO+KLOPQJVHpWsh1dM1pHmYzw+JMWm4ybGDj4R6RbUAlL040XdhCeNKgqpENXwxl7abj0z1XpctuFXQ/stmUUyTXr2TXrDO8jrTWNFwVT0PjS1Lt7tH++LiYrzN1ckOKIyPNx1QwDdRwJrU6PyKNXmQsYzH/fI3Ad0WDcJgzwsivVJ1U6qe0ZE52JHvGBWPUW0n6b9omufAF88E3J3WPVS+174D9eEfWUWs/tCRKDiXbfmCvLLs9WEDRmc2Dpu8Y+4A+efC1firdOXCWObLvMvYpd3DDLPV4e5NkUh6Dt+1WIfFEUNoDTVBdi4cMVBlq9N17hzVqIrqUg9NBv/EvrrnOKEqqa0U0shG5Ki4LpM6pr/vozCgc72KhLQyDeoNTjWWT7fiouJ5zcMvaOkWVRTw3eClAIfzIfgvDasEbcuQRzdtx2HrEBYE1uwMhjnzR2z8jQC8L1ze4EGxRGY+TzaHYfGIucrdMIz7/SqexfzG79/hH8lY4QGnO7AYbsVYvQnWMUExZmjSn0UepfGzWrwf4waUBTqly8A/3CYY9M6NgZ+gqs90jRi3EMl5Gma9QVGZ0FfZd7MgY7/T4aNH9h343KHazRNgZrnO43cZAoddu1VWp13wXtWuwsU2fea1mWBs1JbT0oZaMUb8gFyai5st7yYFQepp95Gm20enoaB0awkbmDMEmzRlKJ2Fz23yKt7P2G4tH0AI2+MEbNTLB7tWR3nAqsTCJSy0uwKsj/eIy6nEBDYZatJJiud/yzHuBWbBiTbOUXmTkTCMLeFpybRs6STxo55avEhDVFKr3SgzkVByMwYo1oMjZVj13oKpzkOn/V8GMA+YerqvkhhgrDeTzBrTbX5b2KMAAW4EX4Rs/LdxA99ycJsdxaQOZ4zzZ/HREr4WEDE7qELtYnZRpx3m47cxybHUDEGnRtnd4y27IXNClBxdgThnW1j0gleib302a7ztNEShoIL2TdbHUipbSjItGvNghXqYEi5TgCOivhrM4h4M0s7rPFr03EzQCcpVs9UQECHj9WX3GbB2QdlMW88vDa5Zyh1vklWxPhtvpAhxFeR32/nktlHpcJaq7/1WdVDaF2XvGnNbXZeeTON9dwQE/DWZLtltEWjeMvQOi4MyjNP7xoW/xh1//pACyXAUrSUiR0e5rNt0sfzWhF54Lzt0RO85qQn8LheDadUsQKJI52QEXSfCUkpJ1WOUAqKwxC/j36w1snC19XiTLUZB7+9t7X0Hj8tymuTv179vtWexdekCNPLKqV9eIKkKyL02BNTwKgflUEPadjJwrktq2FHsQdloB/L9LOKmqTjqjnEBScqiCj05/Yh09URMmsz3meMYTjwyxQf17MVTZW8Drsr62Dju/E4Wr/Keabzbyu//XAk8iIi4p4BEXHR+MpyYlYphpoJuS7sbo3LoqEoR1RgSSAfQfBcT/jmR4f9pvePAIP6CCHqp5LZNUMgUxKjWqR4BcjWLddm02RHbWIcRIdehQPL9CxpabP6ikM2MjpBwRZ5LzsKl5f3jdeyEQ+PiqnkHbgXeVk3FqpKBBSCQHHtDvsBVzfNMRGH1BWIbUDFTCzc1DLOOZPCBYEgWOZBa2CVoGY6Oy3654mkc2nwCv4oLc1uMqap6BeFdT907RE7kwl0crlyxcfMe42MThM0LRiub5rT9Qbgd+tbs5aYo+WX08gbkSi6VITb5xlcnHC76AXwKVOuKwFhX9r18/3haTHoOdLK5f8Hs3A2a4VYXvE2PJyYphNfemNM4pxrckTs3dydUqK6Qz13FVFkAV+5VwBEe5/zLJ76cUXArr8nzp42kSAXn+He7HlNd0VbN4bdTUAHOrAc8QJ/ZIjj2QwsRmXHs8aQ20Z7JigpI2DSRNNIh1tywsJcwgLjLKdSnGGdo+UFzi4wHTPXxKIAaNQmlbdbqA1m2a/w6lhPeQR2fQ8VXP34+VdNAzgTu3MSes4L3FmHp0vgjYafwjmA2QO8VRFQrQd83U1m05f5P8UuEcAzNgtH+yWK6Zqc3h9HBqg5dABVe8CbUXm7ZH8ptuVmx6U0n7LTP8ccZHdPX14oWrOO/oIiHr+3dZF2OTk6UiNLDhGJFAFg6iCNwAxa+6y1n08j9xKrmIjR78NDhXYu3XQ4aSt3zflD8e1QVc/sIdBZFziX/d4YytAkHCKMJvO7XFu/2jrOALINa8WyJXhkkErEZRWX0wTw+/Kx6JQ/ZXDVl25U5EWS5yvRQwD3vSMRCqo6c93QzjVwDbENdkD2uwL3L2Zjc9p0Q6b7d56uLSfwsi1Nh1y7KuSyENOQibHH6OAKrtUyhtwwEqsBst3NiWOHUMw7RbMXpyY2EZVH2R3a1xz0pdfGVxMxaHQ/8W5HUIdX2pBrFpl5ToPsztaZiJXW+VQZ4MhLgMqdiLaY24H0r8BcAGXO7LZWJyZ6Z2Q0dG9n/EfbSGiwS5bvswzHYVkjPYnB2IgQq3rQkLXkcWnQKA1xvpwUZ4wJsOdKo7yPb7dPZY9TzExImRqBarWnPUlC9pdb0rPD7HaIFSqiZ8BbHRZBlOHHLqyeX2Zl66CXQ+kNvMIAX+Z7ibHeTuyQ+mghLAVFs0jMOuGKjV6IKdp+UuUXBKAvUVRzOWkfH8WgdbSTsW2bkzKNVJRv9T4BoHB+tdCb6vimYHA/BkRiDniZ9n8X/r9Xgv30Ec8/5G/FG90UOI4iTvP4D8T+V0CJnZEPrIE86k87veXoGcuNgOUvlEzEFosTP1jHQ2xnvAVIy8IhQnqzA+0MQlZsvFB0sM26xs/spFgurZWY+BKM5DoJ8o2m1nwUinsMjF8liUYF6mJF7egKEoPQ9BRhraBUe0hGN3IO/5icwAZLzcrfexnQdcmVFThiWyJ4XPVDEBoVYSgxtubr1cVzfs0IM4Ejx8jrwpZRESSYpGFPrusq0ftM9WUR0kPcDmC0O0eLBZvhSSAWcHimyP6DPgDSYLMo3f5adIT1enHqp8Lih4CJnOt5ats/fHaZMe7XZ6S3mfLSulsXgUWZWmCkf9HO5tspG711YVbnnFi6I4aZqFChLRZ51tdUyvWirWqYC27gE8xXdJSp2HXbQVXlvlpXwAesjtnjwMmRSjD+yO/xqWvwhgDEfPSH8Oi2sxtRgJFsTEKDA4pbgnd5PE1AkHCgSMO7GA2ajAUkn4kugS3qiIAqMDELDl0hNSlvUeLaKL/tCuTB82VmP6H6setLfZGtjGky31kB47NnDkzt3z9C9qmmwPhSnuuTBAT5JewD+e5h8LPhMIJ7UjrT+esthAAeo+/KrTMKXScG8fHfOmq+vztyvybQ0dE4xayt2QGmNLAbeMfnSHh1+F9VvEFV1p71SK1u8kMiIsjXQK/6ag/puS/0i35IYcc2D3sS15ReC2XK2kC4IDGR0p65fMkbqkOlL57x+YJ2/nvNyRAnsErtK//qoNET312AN1MD6ge7rFVh424/b7zKcfMu2ABP59dIBi654+gmZeHC2AYhLM0H4o6NCOz6YeENVcYFhWiTatj236iiJhtAIwuecboE4OAthe0L6SJhNgJ/9iO2JDE545sxszGlFekJHWUEdO5RXw/AJEVAk+wkPkpFtuFmO3osBX5B7rWgvGzYW8req2WxMj3UpKt/kYF8HExnDtduOuuFEs9PWDzvUJ3PTjJNOZD2wAoYSAh3BhBNtJbKZ2hbndio/u9DFfLltV4qTmX6NBiihdBsGOgZyDC5qPm1afJyuCsWE1NEAI6HsE8WRggqcWqmkofgapyRCyagpIuUk3ACtrVh3SveKb0ShshDPFy2b+gxRjWh+3SbQdEn9THrEnM+re1ytFr/bJoN1Ybp7E4ogADWnoUUCFMEAgQOYmS/5tUCej1/TugJgNJiUcB/8xbVOsFfpJ6/PvdQZCBjgId8emI/AIBn4OZxD+4e5BR75WqBZrU9a+ZammqO9jg2r8XTUDnGYJFch0QP77sRWkNMLL1v0e5cGbGPTpR05KYFs9oa9U/g+tw4BKzWeL0EHJTxaXUi+snae8SOydKBNWPeK5lY2Kz2D/CztKrjhrXBgX+28H8L+fMUo+sJVj8Vp419LeeG1ETYoJ73d9MsZF3bJcnuhFpku+iJv6vezfUIhRlNwhJ3u3V1WhzFwPNog+4G5Mvl/hO0RFWA5YRXgSrdDYpxAnhsLBPL6MifoOMfHDFCaMRxRLpvT7IcL2FfWLfFUHN3vXCTx5ZU568sRApG9xJ+o9oi2qIOQHqTKrVjmOiI7s65gzEe3KkVFlxJNLWIlHgX9HL0QW9AQFo+l/VKMg6+iz3/MQUgiMYPMdom6mKuUgZICiq9oF8736p9iyU+XQ2IoM50STEuu22vY0j1XkIYQpKEN7OIvbczmeODnV8HlVMPcdstvwmplkwo4w68VJG0ZTYJS9+FKN+h2YUwjLl5xMkKnRC5thBd5JJoE0jPK/8CBNemLvu7CLIGAOes1KyNLuMnrew8scrpo2qtimAFB4aKZolrtOfLYHy5JfW+yYEdF24D74RwT3l74ynHzH4Cq2f8TTUr2UHpduveld5LYDJcOqyv88H6UI+RSJgedV7E3F0iHwMJi+Z9CWAh3LjCHfiuNqdY2+yC1glvUtIOW9+qFNka9M2ngLuiTJbcmp6w3GAgDDJ+IEUI8FdwzJ92/tzo3bbBF/1EJ4lv6vzlANGPfpy5RodB1cUnJjTFuhIamjvxamf3BHhn6EFDRGZRUo8SJokX57kya1dAIoxU54WPnMNa1JnUrIgWbjY+beBYBV7OCe5wU+vKy8oVRiZIcdgkorAtY9S2ygeWW40xQU0Z9ie/wTcSwF7d8paDXIj24VYPwOSDtRoOR5wxsjn1HMDxrWsVZ8ckRJQVAkgAMoTCdXX2NJMhwRHtJSm69iXgaAJehYvMXJ+5Q0HMSVlh5qXun0qsJc28vNVn6/CZ3Up7Eef6A3OaCit/CVPeNHa450u2dpKVBn5RbPGlgMSlSKn+Bo5x1nAExMLCOC4ZpvbyX9d20FjjgpYc5O8ZspYXGMoW4rBy7cxHX4X1GkED4bge/7V+KQxM7bRp2HbHBZUKhvVlPyIGsu8WUMeAEj7vEMOXQUiduUEoAsHDCnmyMbe3JuZ1KNAZsB1P8SiSAIqGajEF+zATiKx+TqCN1CukBEo/1wnnpHgSBFobHp6LRlDvzzywvM512FQBVAiyb/5cfI21Q9F59ZTPnnCYqfKIHBpC7pvRzkETBcbt8hrUbQLg5KvzqQz4Ea9V+ul5i4bZj6PE3vZgj/O9QN+59R73BIrkpYgoJ1RXy9xWi9gURPcYI8b+kfeg/qTAEfKCdcBV3z4Tf9kak0mOviE5kguTEqfZNgocLx8u1JMVKcSr8kdNPutjEO8rknaC95kkFMxsYlhAlj3zcmQouL/UPdul8XeCjUZMKM83zLMQASIf9ZiMBoY63EgwnuQPNgV4xGrkd7o/tx+2ZkJa4qU7DOG0vB0Lxq5ZLeMMk1DsEDe4GZG7Xlhek13aEkrj/qTpbJ/nJFz+8RJLNvg0xugGkP8yTpG4GYmhWw3/GdbhzzkRyet20VtZbCgw2MKTzkcKM1azNlfMqF1x1BTLnAsTYQ57/ERK3fZLLbPURY8YrArZp7XXQMFykHFqmOraBsaPO0DF90QcZQqu6tD2p5sJeIckG68tE/eKf3qgo9lX2zT5w1xWlzIvevA9aUIQc7AJ4c/IA4Fqlu/NqXwIbhQfnqs1nlzjOmxgYUzvziQc//gRO1lX4Kck14vchuq03rFBtozcUTSohoZEqN06uYgDuJfnLd5I3PzOEsg33tRzzq+ROuCNx5QXyAarlnedAVQZRF8D88eCCV02wS86cwffux/rTCt6AmUKW2S3feOjq1j8gkbgLLzqRr0LGvOcqR6vT8F3EAfH7BmL8t4Yg9Od9w6vBVrHtMqAQWEsLnX72Y+IvikDDRl3o6MYjySjJwupgpvmiYdN8GtbiUR1hx5KZ3a0ACWf3xy4bdqxMabuYGSRiWp27KEOwgnjklQ5E+8eSK+JAnFW1g7t+8yuC1p9q7DNMrnsT6yiyKx0H32CCDm2L8FjKaREs1BmIC9TEiviNad7aAZOR38lqzPZGrlluEeQkFVxAPLntMB+hbFTSRF1nPo0k19QMsUVneXpVIjE2RvuDiyy+7+IW3FKqu51OMds3sw0BRyq4Yv+9ry1+Mx14XvlAKLtBRpZN5FV29OP/yR1pXQMi2YJrjIgcRFvdta8h6lAGGk4/TA4xHvdBBDifcAgV98BksJpbxmZ4/gkFmzQW8co7zj0GQg7HHNxil6RvcmE39klPoesQT3ck5WgPzXGj5HQmn4/ye2wsJN3zOvlvoakBME9cxGHlHF2Bo0KCy99DiGAfeSaSvbQ1VMX3lhK2fJtShSvM6p687r2HpYB4ym0cSQyvlJciH99mWVao3MW08exH4hvCRKJYdOij6b2vno+zBUebEc7BQEx2iTIdFlJVoOdMwwEdPPYPVwgCCLnLWnogNRi2yFrhVWPtKZxo8YXmctBqQKdKs1SrYSfh7Pwxo56ygOGWSwHk7S0wFS+ipBMb3g/CWpjk/pAIyNSyeVQkdtP8EHtBjUHkoAQKi/uRzcdf1RN3OqBpsEvJtRMJSdsbE0FJGR75BSFtmdgO8iS9CqQ/RllfekbPhwF1omeKqVwbXx77wyEbyT24D0ot5npy+BolpkUHQmVyCuhxFgAvsshNibM5g4lXxBIGMthUzhPER8Dq98C6fm+QyZtMx0/nO15ZB0dfVOrxro4wED9XsV4TqWfl19z4+S/WkOQ/s+9KqDftIsbLrp76j03Z0jh2oHZz/wRnpvjPGIqgRs0aBMAgCADjaWCGFboAdATuwOzlsva8YwXL6f8sXMMT1MM/6iPDdfFu2Evy/A/GrL/ubrg4yc+DKOopzurP6AxWyn99XTkHXyr9lU4n3vy0e8n6g+VIkZjRjMeBSYKLbXzC6+WxzT6BHRcGIuuJAMu7I7rmmGs6020SfZs9gQf+FdhSm4iHZh5O/jqQIFfpu4l12Wjh2SPrcSQIRR9ZsNqynCowcDuuA99ncFwNJUCWZghhOMKFFzptjrnwLHq6GW0QKRDRw/7Ji3uAVPSk40ol/VKMD6fGEWkcjv95jMEplbp8g8qGxNhTpbs3O07ZGsjSFYXWW5kspC4WiiQkH0O2rutrLt2oEnPg8flM/dUGOEed21LR368/ktqgpllP9sgyQuoP7YKysLYFpr9H5wWpqN/ahoIwQ6mIrJRvZs8Kthefjx6UMwuyDHLAyogrrKQHkuwtIpg9cokMDd+kl5xEIvEcskjwRZfTSoYc88w/GvW8fDkTHZ1gvdwkdkIp/mDwYlx4kzUnGCN8g0byFJ/tyageLrKJ/2b1bHV022AQ+cqfUgUzMNF72tKs/lsG5RZZfVR+VUljKRpRBMlLrkC5IpXi9zIlxo68nPkzfIbpB3NbdQb+LnuiDQ5bEZB+l+ZH7JyhnWHkmfGKPKASDTLKXh6Yh33CXPdU6aCEiJqx1uDvY8Y1NU5T7fZWcMu1ttwFBnVVwRZniGr+MPjHywmSmvAFFKCL0C5g0g7w8uMFRWsGVUx0cfoHcQt9GAR1ACg+/Jhay8dJ3qjj0uK2LsOPvpZDxSsYVj2NSvjJehy0CfQC1v333ZTwFCNp7TmHQQ6f739k9x0tlqEumdKMG/tE1rVRyJthjzjiYaSyJL293qrVvB+9S773+RhtxAhDoWxJStXgRxPVRraG20nwyQxNl2PZaRkjZZPY69hzG+rw282tU2SHaZ9C3tbPgO7nvuNhrJPM7XZUiBfVattCZfBScniGLKgeuwDHN799PNPyiKy3pzxX8rTvNs71oub/FSCFSg0H4YJ2q3AXqQFagTbLmL472NzySt8H5UZtFF4IrHjyrZnVyVvWhkg1MgVal0LmwXwaiZ7fF95ajtsAVMFaasGIU4jQRrODJixcwST/F8CxdKHT/Zh+PWI+VbKWMB3RIu6asYVcwl3nloKu7S2pXMrKIcAQavb6jwbJYMkyuyDM6Z0HXGbhzJBXC/kmFFT821g0Jdh7k7KQhZTQwxc0NfbjMCXylB3vjpYddi816hqZRKNGbBRYDFwS2Jz9ioOuq/pTz2m4Ke+ZrHsKiKkVU2p4Z5z5kn5ae3MlZq9Cwfr6kzOv1ILhYJ5CbZ1hH6xDW+gER+26+fK3oknmWFjgChDan2cOhiwFyEy6tYWD3kFU+9bva/VTQwqtnQVYi+btRzcl/u5Ry1kYZvFs8oGRZcrCu8xKFWLyg/JakIx0zleWGjY2dijPSfnYk0SHK0ErC9yg/noW5tiu2d0+/pHku51K41HwGFNrT1b9ElwRPMD0nQKl+IGNC6HMehw2KtnyqOMr8SL8OQhO4gn1XChCk2+r0f1RLFb/yFpAUfCvOhQJlRpKZH5uyQ+5hFfeLncRoBgitUKg26m0MdJOddQ7JGQdjXPBcUymqkRryQVQAthDO75l82AwJJ8H+f1O3Up02qIAgf0054kKlFPRFJyPEojNDqo7+uay1y3SV0Y/1g52HVWMM5BO2TFCH6dKVCjZP8SlrR5XKPqzqThxKHR94D9OVTliZMHuoMo6UECmbyf9FgPjguHih/DVcYhBZxTpefNlx1IfLffFAdEiRi0xiQwu5jV0jRNp5QM9Pctge48HIJwhV4NoHH1yzCN0XIu/sEBEa9c0GLE6pm3ND7EmHJkPuOq9csnmEp3Z1SxAzzeBiKVGAhyhG2/dZMFN0r/V+sh+RZp+J6phQ63QD45rD4xv7mWEVCP3RFIMllBHCr2mK11E4IZ+i1F/K6NMwy1hxs1+nVXGQHPsu0uShKE1PNU3IlhdKnZj5PRwbl6XrynUR9iR7Y3zWy4WP+bYHoI2kCBPnI4vPLNutLntAvDfW0XZPmrVTSMj8gfxhpllq26weQMLmvrT/Raa8+Mb4cEhUXHRhevIiBRMjNQcsvC4/j8+b1KWlVuZgNBm0Jq4Nc9SZJWAqfKHB276Lb7Z3FwkXxS4jzpA6XFhHpuzZMIUqJsmkBgIjCMzhq0Zba+sv/QgDOBZtsQuokcctLchqy4U6XGSnJhtt0eycgja3VbUhRFS32NoPw7VSabGQQGKHyQR/HYq3sEGAIZ4335DpOAobFXsFZaL5yUROGBINQdNEpmgOWsHuXvOpeDa15vbSKijrWbs225XINZi7/wzUzCs08pJl2oLa/MILbGKbv5202y4Oep4sPFrhEltWrB9UX3Q7UKKIqqx7Czbk9KE9G++sMZcw3aa6un/ZlFHIH+K+eAqh9KZpmw8XFx0+o6RZMek+r5DmR6oeSWWAM+2V3Tq/lxUfTDTXiC96v8zytiW0gVb4ONrMLthc3Hn+XbZsHEk0fmoQzeBUKbFNhecsGgYJIQlbKdDu3Js8SGvD+8ozmeFu6IxAOYmtSblGwLmhJNeJw1BZImUOowUewp9oJqdghqDT/Sj6mB5zjidT/qefMAFP7jf7P2SE9/kgvswVprYOA+LGfOA2KbDFGytqjRRzi5ov906kExV7JFehY/+G6sQjgQGCFoZMEU/b6Sv9dVTNZHw7GEgQkapDCJvN38bDip68oYlsOjFlfWOc1j920ICN7jkhA8uUqBKQmu/YwIaNLQghq2ITJijm45RYajDl27neTmrN9Czbkpp2YBielgzclDQ+oAqopjBpG/pLqALc1ntCFfEe2UEyHVcmIILxgqobgrBwihNBmnY3oTfNoUuWpbSKwmGH0SpnEqJODROBShupq7hZiGsTxCLeVnE5CowB/QjGOkY7aa4cQXxI5qGHAl5ESMXizYKk/E/pfoFCBXkJq+HjiOgysz8uDOZnkkQKAcFQRnA87XuPwrP1zj+S4qv7lDRI6Ynkj5IKLSKVHFJnrRfCmA8UP2KAtk9z0BIALe5X32hlPhVtdoBOf9toeKDW5EgSGV6jy/4oLwxFEPh9ZaW3ZeJSDYcEG/TrUzSN5JW18Yx1XIdOLdyWY7TBJJPgAn6Wz/CP6ectvsMc2WV/G0sHIjKeNavGInOZfxtNeFGmyLI/QS1nmSxNoyV0OFg5245Rp3x6mFThSW4uV0RurpdwntC1yIctV8PuopCUe0FvjYkfP/yT64AtOgivYpgqmEfEqhOWCUJwlaNNtqL/bfNUXGrZ78zSM7ie+npploQ2ivQzlEfihIjw4QsSH/SfLiYvaI5UQZ3osW2E8xqwH90EYV8/XFqmbiE3dngmReNbkH3lN6RPYM+zYTdwRjXdJkY3GkqHHVSv3NwWe1s4jGPC+UmGbwjgDpk7R+qphyZdYdyvIoQRAbn79K5xP++jUU29B50y32/afFKbkuvu1LdIBWhWxLXzQ2v4yS2xYfI2Rb2VOwjAYWtHS9D4nPV70TYu9lc6/gvGplrTOZMK6/t/F2jK7CsO2SufXdnYsb+aERGVhtGqEY3A/GP+phxrMS24JmHhJZy6wy+6CZz9QTiUmsX8LYMK5jMfPeHt1o3+DsMlBPwL6VfxAw0/tdtnllQ6KPoFdE2p3uGhaMim2NU9ChspL+EQOrPItxXlTLAqzrFymM0+EPej3CD5bcwDE4AqZen+nsns04+I7rfY+iEqgH2snCEJYu73O0adTeVT4wTI6UJKA90Q2QGq149YA0stEweWQURPAzjvsBky4JU+aDRu1uwUIIn7/zKkBPDgr3Brf8YeUnpH8hGROni+ruqApwt1ipYQxww6uLM5j3c0nLVsIIW/O7OnE1VQBf401Bq9roeBvtwooM06N6uBFS61K9bz13UsGl9SVlY/PZh0InCkEug6BhV/UeYMigHNgd+NFk+NxeGM95AVEzB5Y0j2qCWMIOODpASABNepmoRI8KzEKqomazc1YtUQCTdfFNgBhcGcFUErjH2m725uPNnUFvBIS014OOS+ktofB4aIc9jd4gKW5kECuKTZ6rPKA5UPAaoxx8aADTg5hjmiR4a8yTGRAidCEEOSKc9C7FJdriq/a6gMA8e5ih37MBs1D3HvzMiHy68QNxKcwmfgnWEXTj1F4cR4Av13cHBcvN7aH1dq+nOpQNOy9XfVjsO/EAbVNFly+iU0ZosPunifKBYTbf3TB1IruZH0VAdd/aMR+b7fa2fqoQDqeUaYa+nkiEbPH9nd0+774LxNQ2H0k4wSvvfEHrnJiEZM9F9B63/0g/PffeY4tuKke/Ieoc0lPQ01TOl1kYd2qGloE3zB9lfWX5AOqXq//Nrge+zaoPJbpdqUBCRjD0uF8eP6qHz87FZ1ZUS8TS40aiQbzK1TlXvNByH1F7nCttF40vAc12FJxXs2Xp6eE1rxRwESUddGX1AYAHZZqC46UvvUhvoDBvk9jXvwytV0j7PlihpMuw84D8ozTqF68rmg5QJhevIiZzeyMfmxEdA7UnhsKRvPsVAByMLfS0i2J1HDP/3lfCVIXHnkmkxxfInSX9IE/y5bOomvwKwoJ/aMPKk39OB3BJXikQExUfM8iHkM4j1dbs91jr7Ypt4ZqRqibDOad0Y4OQpiMyF9eXclpeTEKD4N5Tli8bCGzyOn+6w6vHUrbCmt8qiYV/EkP5OQ0XtufamjoELCw5Q8h7aCTFupIdB0ePjCDXDVnvBWAyrBafGriL7mNPKFSPpZIMe2x+OaaqInff1MATiZJIUBC1JyiCyypFH4WMqR7XUm6jTt4mdty9+RrrNTVYc/KHRxQoNiWNdV2hOpoArQMrEvWorzNqIv7e2xeWoZ+oMrsCLejuINSivXhvdyxcKHrhVvLA09mdIbYAy5nVxstdUPne5FzR4Q7kBUNfQ60ZVIFmP86GUp9k+Gqk16qTEuNwpr3FbVzA5zNVrvcHHkw+MXkdxHNo7bFAycvNMB5sgx2sXs/4mh+c3KWeADLuzCdzzwXOE5JAzuoY4Pzcmu9AoRcRIm4Cc1Q2+LDsnEgnc58wk/J8Kn1GJ3SM1EdWW9xwgVxAm5gUsL+bGlQLxtRXHUHEh62IXwF2QU9SLra/xUeG4JpUwaowo7SCwfUJVxsfFteB2LbG8xxuCYnOvIXGaBCa9tBCL2yAw0LYQDufhN1XY9PPQZzfSrMDTWL5Ip/c/akk0ycgXlMFgchL9otpA/E3lOPLVP+PlGAewTnE8POKcK09cldTcmvCwr2D61McaCZ2ZJoPt7iEkX4cGgN+xlBjNJv7wstJ0kRxSp3/c1+UiD+zTGG6V66mj4XNGXSjCovFo+U4SDXmOnKiRw/CTTFft2CJ7sUpdbUMSeP2w0SamgSJre5HEO1p6CslIf6Q3bN99GGcisXRm/V4NbhhAq1rwspm/Dq8udftd++UBBs5vGq/QUlS5qhqdl0vXUqj/CsEfWPqHm6rzaCZcpEhh4uYxqMT3bwRPwHGkH1fWIRGBkacaz6N1Ynp2IgB4+eqkms/T6W2QcDDo0Q1nNlfcM7BGVbWJqmI/Cl4eBZ7uNt+fpIySelQq/MPyLdneTexTXSf+Y0zRVwnfWszdjKyya+s10vS9tp7F/XH8N6Il7IgFQ8azW06bEm5RXSYLoaXUKYuF6Rjy5TiVNYXRCNeDpmhwd79AxqmILDOsalU+59mrz9o/eGNx1gPpO2UAGbTcPLz47HoSecsvrrV8bIkhHnKONG6E6kEsxllrnGqXQk/80pJ6RHTbm+X2kM7ob34DlKKcllw88mhhEgnbCx1gZ2TNXQIJUXOtCrQJdowSzRVYdxGXCi4ToF3OWNk6AVKH6umgnhtNqfn2B/VDg6ohMz67QFVhV3xEm0zMZ9MqqD+LZwAhWJ5KRI6NlrLogNTCCTZUaP/MnbtmhmxqzPH3fqc/Jhi+UWFG8LxyygGPaAoaetZMjtOI5iUKsxMoJq5GJzCHnopIKsT9/WlvRYjfuceKRB/oFwXKKv/OPdS2yjN9s4UoeLD+MN4NJ2fk2s4i73B2vY6pR2F8WvcTjqP6AupZfIxpcZphN0HVC6nf8B5NQw8pZ1gF55GjNxdiFRQCMSywpnCWB/w3BgeHDp6QujqrDgC6iEe/vmO0NY5Jca855uCz8sy6wn7hF/HhdVaWR7CKJgbPSxJIUuhK3FA+aFLRGJ1cEzFJfYlXniISqguRTqa0vJ3KHyer//UO7ldZ2R1EPPI51NYogAsss3a7O60+RuW8MKCA/OVwdOvBwAweUboEhYaML4PSr0FllL0FHJNWBDb2T6Nx7ZGQmWaBgxWB37JcAkw3VT7CrSJ7xi54+V+TeEAGRHBlVrHiPUFtaSpErdTTeAxkuCuD15HDxac/qRkfUge9dcdnIMhY36Sru0YrOb+rJ+TXrSDtWFtfbDC0FQzLer47Lg4FhsLh6JrthN+04xputx4K0tmCAY27bkwTwEXp5lwIpFCNRYMCOfJ6F6SYP1H0bcbg8rtdZE8vNC217Tbb37/oomnkAMqGvYyrFOuTDF+1hSDhf/uZ0cvJE+EBfYa++Gex0BS2cT/hw6ZAF9wB31VdaII9lMPPX9lHLwdF0W0FfjJwSFMDaD5a/XfuLySDZk6chX6l1N6+XKzqqR+A5Hg8TY1cZkEa0xgDuvJasdSf27PxzaD3xskneARCsYh+SkpSbeVa/KmRMst+3iw5kzxzbgK4oi3jP+DfEv1RULmQsTdaqZrE8iapkTnHNpA40Evwo16/KNcF7yXS0RNqZt6a5TRIZP18pHLhHwJyr2Y7v9hcJGDW6J1f+r3+h29IfcdCxj6wwRmWbgBnLmroBRCH29L7QKQLS+hkV/bsBgGhpSHbdZJpJGqGCW3dzGEpNeIJXURaWLvVSlrotD1s13SzHPwIb4MmqXjJWsENBnyN6R4UyP3lCwGZjL15a6wPtkNutneCiEp0g/etu+T9q0q8ChToWsgU5wUgzF+R6CITuNyJCKzgIFMwPe5ncHF9b7t17DT9GxjaOFpNZ6bfgZS5VxcYmZz6Hy3tiitawwmBoZj5xXE9KV4CshV07GK4++7qf3jqRmMY5ZH9Txb1USMOQVVrkbHoshQLKLfvgJD8aPJA8V/T9bpVxKvy53fJgNHxSHOe2g2sKK/Mei8ccM8n87nqb/vh/jQuTcvRf70pzPVveEuhY4PmBx4uZSnA3dv4DUfFSF6rSvzKGHB9EgG7yb1Z9WZMaA2FlAoCAxQlbKAwgOA1VboYd4s0Ha+u/cvYVwgJvleChUVkDCJB32/+Hj2KjlrH4DjWeObYQ9zfBDx7nuHMMyG9RbAtcqlo5XXmXdGgptgiXgLObF4JpR7z7I2qVnD0yrIdsUIQc9enXaPBDW1DCWmoVBUGWnq2OEJbFO0whEpaukrOqiQJpBLJmCxs95X6Jms0FBGP9Qf9zz1+Dw1ytAL955P/PtcmFC2Us7tmLmo+uTi8kWyKpVstUYn6GpVuXd/ZdXeqUyeHZOuLmnWNEOs9LFWe6UYdugt13ABVSK+9kOa4vEDh8cpXX/Ck5vJtgtFzdcuQAcOKFzMmeLJcgH11wbA26ongB+zTj/7M/HJhhvaIEObvWk5RTg1GFbI+kmG8uQZnFye+PPYWU5CNEiD807GYEEswhrp21dFaGwwnKU9ruEXHdCUoeWnfp24pxF9IngqIhLijW5n6QpLKkR0jHEBPOMv9vyf9Zs94fNkG6glgs4Kr2e4EitWTUwHr7VmEA/9mp1g/ElHSVjub97WonzcsGcCKbNxa0ycjJuc/wyRUnDUENX/SGpwaE4vy6In1TCpnhmfm7uYwpuhbmwLRcIUzJALu3x6Mt+FthVK9D/3FIDPX3KCXrroXvLrZVcWNpqncuPq9aPOrKwg6lrouHpB4TXybtbEs08sVKRleXb3/GR2WPOjg6XQPWhbI/thIgrcIHhUWDxvNZrswyVA8f2whT2EqU1jFOt+iuLnq2nV7bIZbr2tRJ791Xvjx60StYFB3ogWUHFj5zw7Eu9oPKDPPhOFEukw5qh9P4jK+3wejuznnJWhJrqA78a8AnaHIMhB47RNcUTlDE5/ahbe0XsIiuVTbo/kGYfMwmdmoiiKL+zbMg5OAEtpwAwQi/B2YlaWvedox476QOYmL62kBZF6gTON6orrB+QrkZMo4/rVoJo1abzp6G6UatUeZzhuAobTNWz9yPo0qlfrXWPK2hH9fnzc3gZNayrFgQps4CX7jynwNeq/yZxemRcz9u1BL1lu/hunUGGOgmj0ioQQtgyGsSybk5eK3+VUsa9s6DHpdG4tvOJD34mej3jhA1MYgs3JsaLdxG/5tauC5/iFvrcHUXG6tGxbdnx6z0/B0g0egclUam8OQtAwFiYBPZDqQjKBuOy1+7HSmVcdM8CHI/TV2MEInG2dtKyjo5avdYwQ2hg7jscRrHjIbeASRU2gXZ1Ba4uXQGSZPBlgqG8kO7MCUD6ymHz/Y4vojVH4eUicit2VRVAUKebSJU6XlH+BswtsljiF2mkbYKDfUYaH9k5QsattwEHzsgN8RkM0wZOg4bOpTBE+r9XzFy+peZtsgKsk8QT8MBO2u4HVHpT67ii8pCq0hF/Qvfx+fSzNX6/MFtClJMIHYfN4P/Gp4v02LkQ3N1IZnOejcRiDcM4vLpeIeIFoUIVm5gu9wonPnbjf4hHcG58i4GkOFaf1BqeOhEQwfTq+uOfYIx53tR7g4UvDgkpGtJN6U/ivMHC+wPVrVNHMmsCUTfkxwVujmyI7ccTQZoboCivwMNTgAg8AScw/TI3g/8P9hRNGnq1YUmjOfVpf4gStO74JNDp5IYEHhhAewO3NEjOfCpPW+qO4R6AOrd/1M6PgdJdyJZKFLYDYXjkR/GJQJnBHYc9WCdqxG69dXMln96LBCJ419+Ve39jdHPv7ZE31ZIA1i+QLg2FrjG925yXB9Lmp084CmtBEmJmTWQQtpvbtayFZ//VRBO8zvopmh8O95WK480rvDrk0rAocMd47oXh2w7WjUZOh+912ztBbuarxDVfMeNojRkxWQ9uoVLpflHGPfxt2C/jDn+nv+JS28TmDNkIOO1xGnthc+Je5o24fM+x36agPKjZye3D8/qOHfWrIvSibeJK8zU6amj1K3qPCWITAn5SOsx31XpTEIyh2m/pTRDVTKwV69Vk1daIJfPzzazPA9zNZ3uS9e1cX2SF8MvC0gC+fbGBqALFrDgUxQRhwDFiNvLDaY7TDrcS3IG/WtP0qdlNBzPg2vJxymCEx9CO2zX4RsR/QLOWnN1ch+e7gtbTNTlZf+oBRDjDGdXK13hYFDV2DPKS8YIdir0OYZjY6o6XzrCaZnk6qmkZw1+5XRxhqytgYVRbgj/AqbCFUoJbsE+gJlybGw0mQM+pvrK3TB1NuIFMeFuiYh1OPxPIEG8Qzv7d4eOkWyautnIDI9fSZUpNOSBqg7lmlWH9zf4VyFwUZYJ3Xid8blCX/h56WD0IezoTbkMHFWwtHrGdVbKjwg4kLGpEa/9JrjBbWHczWEPvHzSkwIMNZdHuRu/E36tkLvBlBy+wG+UJU7EhLvL1qM9KAJXI70GJ/UqEkb808+5wTJrChR7uYd3e1IlMVGArSH9FKQy6L1OZ8vQBLAvN7LeHb1rNveNpHpJQTzaZ70sVHIGDievCCDHxKmdQpcuic+iZk718cY5TUC/0miDC71/fdIDlnyrsnk+g4EZiXGKgzdj6yKlXp90uarnY5aBvr6p1ub3Y3vOaGbKH44SNEMFIk2anQRecJ78DbUMU6lOAU8XRnJDg6a3MMPMOZxz59hAbS5bGn2WTV0zQH0RxEAq94ZTnCxS+K3GZ6AA7Av5QJmzTe5eW2h7LJdJ8XgagLGNDO/Ja7Cz/sm6HdtVOd8NIZcSGkDPgbjx9VQ2WZ31xLPfc4aGvP8WPKI0plGlVJcPq35DFn+FvRXo372+QDl/8EHe3SLGv1XKR+XMmTgMEHpcHC9SaLWmDf3WgtoTNbRAIlDI9z3gg+EZx9pVTQ7a0S2ltDoa6G/bheDHUQdGe+KHqA815npltjDtJ2zLgjsQlxzJ0XyUUtDYryO6PWMenQTHyF36J1pwpPoa2gSE33jQ+gYR3y8tHIdDngYptPJgnUyXj8xOz2ViL2w04K3FL8+eOXyuwYa99kbs1cn2so2mUNdFe/PVm6q9GHoU1r7iQ+LEjGAGDgx0WzR2+jruxyGn+JPEUXbuBgIXGSIPa18jAIZ7FLETPISopr4BXsVPacDBT9nmfzKETUPxG++gbfpf71Zio7rzZ0ByFafKpwNLPbAjtA0F84/F3sWg1Q/1tNGMTy1kI0HYFx9STmG8qAHgU4zhbBAw8DifhV6fRyxFtRyT9OY/gvmvoBA5CVcg6R7ybcgF9dW1BvsvmNaJjJMVqqcmll+ORZoTHISZcvt22lej+a8f93osx3QpSQ4phzRn2QJ6hTqtWSGy4Ebk4NC3YY5c8i/SkiD8i0wQOOKfWfxs2EQGv6pgjqTieKa49iq91hwsXLxhLBjtjKF23Di3uFmDQiuy0/Z3irdR0mBkdSA12H0c/lFVheADw0nF9Bf+AmO2M9gWhGk50xBiHAc0ceS22RfsAj4/Ny/JyAYHCX/xkFGACd06Aa16xArTJoIcjyBU7rPrvmJRcY6ajd0Y/LB6+Xa9WFk2PHlmnHKNeXGriWWcLDnrvDjNX+eDV4njn6QqxYiLTp4OBrnbXtvt0UPxSic67dCgCsCwLnf0iKnRr81C8QoDP7NBnfA/3L2LT5mAUsRzke8sDLnuW764koardq9K7VTkY6h8KfoMII//nY7uNkB59btOlRDc+Jt+MMy+h4rxTVqZp4QV9bQpBPNCiuM4vDu1C0TxNNRRAXxc7qS8S3ZbAhbiQkRNEtgW773Dz57Ft8SBNx7LaC88n//NXcoZO8X+GYgQAX7X0H6Q0xa3yo0FHHYt1vz5wxxxwxfbNIMTSe1ApRhAcy7cvSQVGmO2aS8UOy2e2rYzbsAEASpJQBNi3WNJcnkgHZ+5X3bGZ22JBbfS3taqD8Rh8pRL8H4mSDmiEZc5RzqZHnAR+cYaG5iO93k8aOkzpC9WQ+e1u4RwXkCHH5v55th29WTSr2e3EmSBRSQIrjcEhjzvFopHLoUJhPxAiBZU6RSqkEMVIpDm+2bhjrGlLqb3v+XqFVAjLLJBqX9tG930/47aL0NH4K74YNn54OrMVwXFJJGd17jDsNkKol6cwC1JGkPMpe6TqVN4HzGoN7hVWVQX8X2U2k9fHwKcvswizKYbxYg1+nHEuvHFr4a5C/Rqfc1A9R6BlhpBf8ZcduilyQg5elOI2EDDtztQ9nwXmT8HqkHyFiEmIfH7hGjJWjUDgTniz9r8dZD9IwSez7QI7ZEJCmAGmDSnHUycKD3buJp34Puh5059Ul+M/s7WnM8Adz2cUlvef5fWeAfkkF0JU5DePJijF3rEc5j86hCMMI7QBkgWkhWp54zaea9zk/vkGeVbt3P3NFtmjiUilltFQ98jGzxLPLt7wRmmMgAFzyEB2al0SeXEmVY+6YFue0umnz0lIwzP9fpEd1IczJehIg/j2yGBXS1cPbKMBRRIUB/ayiGOHZsbNuUv0vFytgEZ69zMhiYAc04QLA2p1lAzc77SP8QWDAhQG6cnsk9nS0ysZ6FLUZwP9GehAbxKhb4zJ/2KG/FIMskWCfHB7nCDXZs2M8QSfCILcxfn0fFpkh9RDb3DNGTw+K6A4rPcedxtOl9qxrVt2t8eABzQ08HhDyq5LUksvFUcvq1xfQPO3ExwlA3cjaHReT6Cv088p0HUjrXEk4bWMf+eoUGMmhR8SsrLQDPKBC8o3gtvxglD01CQSGssT1Ul8o7bV0LV0IqV0E/76h4iVaTT84yw5DwVWCLq2bQb+AG6GCcEBH0Y0LejWgihqjw/HmR7Pxq0T2VBtnqCIdX2tHdTpuNfmu7cIGx+PwQYSTobJD/HzZdtuqaYj3NVkpRyZsxmqEwBzU03RLvii0wuOMvqVQHX3Ki67tACod0lObWRij5/+dTIQPt689kLZwSq/QyM0vv7q17GQfA11zuF6YMQ+yZsqXJwn1GwKBvSSX0I1+z9Nr9r0eXB8dlDFNmMNxzP8iPMYhXTm1bT6pJlcW1wn/pTZXQkJjMBP+SAF5JtzVn+1J5xJIN5XsyuL3I4+z4uE+/g42fCks7/8EeZz7o3msxFJD/XXej2ajiDhvLVcJSzyPYhrJmkt5wmOGrEOGz7owBEUfb6u83hJ/3nP49xCnLIlL10dIJhRITBQ2+tDTuYKv4coDrEi41xjZTrJLMbmSNttcFKguVG38Y/8x/XhpoZxvBEKAgITx7Tf565d7GVsdBpE2WZJFRuBoCnL3/F5aGC56xnaQuyvcYwM0rW05D789ANMLMwLRKF2+G/i6fXHKhADuB3pTIFFnYJTpWtymXFO7mRIelyN/CU2jIAKVde/6BPsDe7Zx56aDbjG77UWEUNwS8cZK4v5CwDSnZCPpgXC4wpIuWBDfnCeM4VLxQAkXi7q2lAHT9S5AT7Jvq0SbOxZzOFPEFW13DsvqgzKXQUAnnd4fjypqWD0MWxvIWubdQLvwxMqIp1d5BDJalCVsw84m8ds0rv0BCjBG4A/z2K0jdxJGBuv5OfPylqIAmyOjvAuov25V/iGG3Vm1lMySjWKcX0i7gYmEnjEzk55LGpkkUStBmdPJckShCg53GXMqlmCveJxuj99agmRpVPjb7tP6ezzOnWINf7E8IFV+1RBphMQjjzmST7sA7V/bkY6om5TN53DYG/iVlFkNshw5R5bobHJuCy+G3/Kd6d7cUg6EFXCa6lqo7SijmVuaIqZEV9fXjlN9QqT+6u8xD8xTXy3njvefmX5sldolY6yYulgBKPU11Wq6lzS+7n44DQ/riUTJXEU/Rz9cNCdD0MtZ6bp2zveQutpnlu4ekyDklqkIKA9OHNxbvt0ftSIDgaMjUX0X7VSYPfMWGDw73OXUv794nob5wByAE1m+IxA+pFuzQEBMZgyg7OC4nzfn1V9EDHkckkOMf0GRl0vkqKnrYGsy8gyDyJOhBUarPq+wuLP23g3RGgmRe+QYR5MhlQTji/Xb/+L1YPzO2ZxZ2AOU6v5TcjFyz89Tuig3bwy/fwzRh4FeH/mmdUfb8HOivwAk8X2592PNInTNkKcw/epDvO6rNa28CyTpFEoxJZAXMYai9uj8RTizBwQbvqPiBw3q3NiaZSuSpFhtfuPP4AuET2wvj2UvTOOfPxhTdZ7A/DtqGv4Nbr4gm+A1ssCEV7cFxvRAyyuJrgQWOlBQ1Lh+fcnCEockHk6USNrrX9nljRIayKXyXaWzsZ6/PcDgTPDmuAjdHj+lo75Rc34O9oj4MpfDZu5LC5y2dY3GInctIe5Aq+Zs3bllKL0wRfjFllVVXEPR4YRMhbtc5/e89Vqww9jEtQOueokhoH2RERKH864evz6doAJsTaazw9lXtuaHDN9Jh8tE2R1dRjOv5Xpz8i5CHwvXKx5BBlO24ueWAgCWP6xUWUBc+c9krGLQEy5xlBpQjZQfRKEbrWo4lxxYtXKnblzQzF9Eh42hdijab2tcPwg5VDvozAHJnII2u2pfTKgnRd/l7UzOGQDhB82P85zn4NdhgPCIgvVWpFMuB5P1+ENfr4c+t8oQ3esJaO839NqzxzR4xdcG6K8xxgYlTzV7gcpJtyljlV1WEgVvr9jQYS7RIdAefP9hfQsg385MDIL6OPZmYGqRX/NjzMwxbjgyVAmvqhetzZkqjpqcX7QvZoNGmLSnyGefakWEBiRNNogY6AYBlSVXCxASyMXwgor6sfWwJYLpJoJtHSDhxGeimmHC4WPiQUlw0hkcpMgyU8QjCHfMV+3XBHbluG9hn0IC+MwXI+khQuJKCI2MieLclo/xISt5fhdc+Gz0R/9+thD0nVKr+1fTL25+sWddP0Okvjbxb1D7k2uQmhdkSadkKvr0mgmzASL4nStHdKqtltmuMzr7yUMmNGH9VBR7/rOXOwjlc0aKjtb1j+bHrZRT0FmdNzQW7vydXer4Q61+TmdQ4DnfxsG73uyJ7Uw897Cas+BHShFpqRLl4h5bWoWAcsC7nNRfs/9kr0MNeKoEmxNY6FlFIz5QKJR8q8pm6jXcaEzQspbxSVCKh2BOEw4wvnExtUKzWC294nPPYU9M26d7dtOWiDid7tMR+Fxt71jsYRci0OJ001ACusaqbQAHHqo8juIvARy6fNpSkQDNbTfaGMPAnT7kP2eYECxQUrjRdLoBIHlCq+J3ibX5Xqiyi7eIp/J6LX3U4P3vm7lDWeIUnnMXgzbzqDz5GYMKkgXDhAFccfZzJTfj0dX5eUzPm83rl8mSUPuCOIInNE4t9SdTJVqzXBYj/XZl9mKJ+guFOJlP327WcnELiR8inZHZMJRjgNIeIVfeurYUSPiH5PmYdjrpDckfE4aqXnSnWq8ojPI703O8xbkRxy66p9NdvZ1a6Yixhpw3pJIrBOdicly7OV4INL1+iv2HxFNjGyxExbnrVD/rjDGXcdm3QJzuUTYHo1kKHDO94oI+D05/g5UHtVuwdQ5QBUVChEMcVbirC4RD1ghDDV7kZUI5SGtId7UcTaYyo5m6Yfelj/23ue1mfTMh/qMyzxNRia9vSC9egahQnoOobUuBw9mVtuyhM9ufHJfJxRDvAUCnkzXyrDcxrhgMOXUVCw7kNI/Abudw2cvkXZEs1lHdSe9g3a8IdgCSRhoFw3yfcDolMRBnlEVhDA3aF7k94ElbivZMiXhv51OyYAYkyWpblK5DFANFZQrOvJ5LIoN8nwDhbYUoHXHd5505GCnpbpaupL9nsUMNBHw8rUtR/krAuJwbFqZlXx13Ea3F0uUae0S+/fa+Txb2KQgatV2a+gq/CSdDeSxagJfC+3bQdAdor+xioORP45GXqCn6mJJk8KZIDMv2fcTvRmek9hsKxvXKiMQ1uqXQtDyWBDmzJ7R8ACDJJLVcv14+G0CO3SbV/5ZeJ7GpUS5E+yxuLAk0iOzCJ/X1FKcSuBrC7Y/5EU9r/Id+pCEUo/+CaIrbfB0f5C6ghKelvp6CFTCtxDZiB3NhocPVDmIAvmNAbDPpyo3E6bhSqLZhJORduKuJSdmwh3h7o2BXJIDt+6Z+D05T3HAOqhNUwlfY7W7Tilc7UdYFdfl5bR4oB0kaACTqZmPTUidvkOw8PDw3+3RMCC78kQWRpLfn2DM2cUNiRSUEsaUqK/sMVfxZHKbGZfthn+R3pnt/obv0Ww9hGdi7CCkXuJEZTy9aBV1XmhQo7HfW+kIWFT7aEwZ3loALRFGn38ZQFDWc7pRaWGKrAk9ot+CVJ1TKfa6jZZvMWNCSAjq9elc+JhTGgZgDsP+bz/8r/oF8gi2CWiGcrc3ZxANi57TTkh39ZHJhY8prHasiMLfwctglUsXmy1UAd/QYW3ko6b4ZEhk7of+8sp5t7IDt1xhQbwzk28KnyTfCkdqb5RDwTwa7YwsPBi/YhCwT6Lin52m4K9ezPhjS9TEDtyVQSiV6vnc+gytURZmCIdlTCxXXjriJ9qpPjm+bRcDE0DpOogKBXcyOdn5o7nbhYGpLhVVUMSDuTQ0B8RjfVv4GtIeAcRFz96qlrNCBGZPxFIigpxsDdU3/StA/OplF9oYniTu6gwEZe+GBNqVrGfJbxv1vP1CxDtF6eML4Fn9RcelBSpR62U9NdeECmF56vV12P6bgFo5igSniUAwHD08HPXsY19xfgjeIgqGdEwu75Sw8snhSzdbvd7QoW2JUNJSPPFvZaIO8Chd3vn7PTayRGvfAiGY7KERK1mqpt9T1374uKQaSoMqh5/YPLSybsxe1kCrusZTXaBVZ8Hx4UQX51xmbAkaXh4VHlLZB55P4/AY2zaXAeAsOQnCJeZfs0Ia7qwvd49R5AeKKQshIVtK9X2gpwz9SyX9H1LrPpuZPXxr+zlE3djEISoEg+bSh32T1EKip54wcZJ8HTQORv4/I90UCkx89CIz54osrIN24NLNGZBIA6mHvOVyEbAFCRhVz8a8pJaVbz5R8NO5pj6TltCh97JTaO1IStGYD7ftsRMwY2TIjv1bQdjSr18fHceY0rMtYH9CcNx/IOx4KD4AzI4LnFXL6XoNtkWplT2/eCo5+VO8PHet1WGK2a08yWF4kLJXItVmG2TBHsnMrGWUa7br2Kv5OwdHGrHL07VACXzSAFzTbbuu/IahCHqhDX5NC5W425HWaJv5+Y5A3FS3/XWHPrtIvUBi4jkoBl+w32qyo220bZqyG5X+883jg3Yv5UgVupDoxDYyzexGWhMfovBoo1vPaHkh7JxLsJZ7H6HGCQte3xrmyPBGSJTlLq4eaHtsOTN8DbJjMjtR0EqxD9ahmi3CpMcBNPzROKjyDtnML69H1JKvTFOmymlbp6GR7X2lzBYkWSWM0sfK0gzF86TLi9l0s1G4DoB3v76ajSTCIe28ELqi7TBPPpTwYWu5UL/ipauQ5Qf/99ZQtl2S4sTHWxJi9ozEQgSdPgcVK5al0pL9+3RFyDraELNo/900pGcuxLh09xVCYxD6y0d6lhz+MeiVQOWdSui24kD9qgl+zUdkW7apfLjeiLkfWNixAIub91YQPnz6e2Ow9D1206cQZmMq+K5hCvOAj60SmaV2Meo16LUW+V+0ssgLutzrDHLen9Eu/y67GMV2hM0Y3IPvPMsX3GI5bOpY/7RlTC7iwBokKSnCfK7ch/74WV7Sji6qqxtZXHo+Ec5WORkm4HpXb3VfhVfJ2RjAe/7k3Ezhvh9h0fFd035F1DPJOVpGFuRe5wpkFL0s4Fz5CTyq9Hp+jLf7o//m/yHbquqVE7vLKZOJcai8WyZGkPwH0mNj4xOudbAPa6LvnubsfO6+JW7XKWoxK9SDCibAI/Z3J3+WN2Ll9PPq1QvS3OsumKABzrNOAxhjYS5/IrKmVlCtAE4AHDKl50jHpDQQalv1jLmFab5ErUMyssXMjMNi8lZyOaIiErjBuKq5NL6LPEsYMVMO171/b3pngr4Grzd8lJpfFJ+EeToArQl6ILAQBwsOC4ZJNHC73hwRW/eGUhiP8wNDxHWceDqbbPTlWSCUmIP5Jk36afMvn8EC1gUqH48q59x7hXP0Oc/8XlzZIjLczbaFnUbcIhYwXRP0dyFWorSL2uHpE/0w218hA+jX+nLdwMZm2WSTv8CTYM30jJ+CRa9bBAZUY8srjEQe46XwhFk4h5yl542a2aOWgCIqMFd4FUcVFIOoRe+inORfZGb4/s0fhado/nAlIcwxeuSkdSqqxnOvDRoMkfDVgb8NCDOqn+tHlO4OJsVFle8/ZnJtJCUEZ2DD1KDtcpL27VNDj5mduXTclevZDGJxhEbvB4slefDNDHSRt9Y8O8ntqqmJ67mUk6dzoHhQyZxW0JR5l9Dc3o0kNlafUp3AzKJHT4F9vwK4QrUKFQmCBxJbvldXIrkrWtXftOifisvs1Xmrv+xy1kLSBjHrKEkIB2Sco5htcQx1taNnwCV/YGtTYYUt/b+M6aM31qStUNwkGHHjiSOX++a+J32ToJ23mnVYc4xou+r4Efwlxwnf9QPVUxLoh5zQ0z1claQFJeXAYSwk7gciKQ66dQuDHJ53brKTK1f7U53pM4QWvI97G3bCG5q4ObAMnM5HbDgt3eqGSdSKCi6lFNNTK6PYaBrzdAdb6uv6b96uDBoHMJEg4q5kelz/exMRHi3skcKlMfezUOVq8Rhh2FBGg2EkGBcFM5/K6lg/HWwc0JjA32XaWpunLmfsj4p92tBx9qcmuv+vAUOaL1suO1eriILXPzewpFAHynlf8MqWgAx1bWmVOygBjb0jwI6i3JMufy8oTVfVm5bgVC6c2rHprva1EBZT5Tnu1B2+dS8VibJKSfMRQwJnfYvi0BDAl/OVm08wbM2bW+nj9ZmpGC3EFOIdpktISkIuZ42MSvI3Uw1PAl3wW14D5gPNxGM8V65G/AUOliVwYBD7BVh/MZFyzXvt84vN43dJDUBQlsJLEWoQurcHC5EIu5TuGnXog4uSzPHqJ6CUkjOHi7bxdVNnCCaH6wP13IbDMt4+dq2qbRJtTTU+0m2Uz9jcvurenzH0/x3XPMIg6kUDJhZzg8BcBQynKWWxh1E1992PT1Ib187say9MmwtokJ0DkV/KLAwD3sLoRffqzJuw9vYARcs5z4YdRiaceBtqCMHmULgHOgW2x7SU5wvuNyNKUUH3JNjxWOPjQ3fBagiLRNK+OqlhfFGwK4b4uWSpD8E9gBNuulyD8WFApKjutMQRQofN3yAtpwGemHAeNMoXwm4bxAj3kSlg7sqCtnxOe3LUOrBhum1iaci1Ez9IFyfEYJV1cFUZDXiBjn37NSN1uDHn3SdWoXzkYnFgnDNRBf7nglYGESuHdlSG0eGV1A5M9pWYQY3TTWULvOvscja1N2wlC+zXHg5q81jtc5FXm5SDRorvlsRQri+IWy5e7Xy3c34alvsdjkis0dwEWtEpcB5nnbUd58dP6N+hQos3hJWnnfNbM2bnmikdXEV3zvQ7E0QC+B+9Sw7w6Qeu9m0jIDTM6ErDRYaKznsXPx8L7C5dlgIa19h3+NQEvG9SSk4BG5/UDHnX6fZExE/o4KFBqOv5thoUbtdWrOfFrrG1qFoUKs/efs19As0bDTQF0Tqch4NNuWCaLmihZYkvAUeVKrAV3CO8g7T+RuktgBZxeMLqKYyoGoK5uVdNPqUjXsHSNThmQDIMWxlXdAx1CQt8tHg2CISrv/DGsSxcw0ISOndeUZMblw/+YKEA3hUAy/Iku7zhqI1noxECGV5XSc2eli6SlHPQtaHNV4+fb0jD8iu6EPTPtwKxzoshANfp2l0l1XjK9GVHx5PsWHEsSzs4QwWlxuylFzkA3DjSoXajResbySICuMERmJ7Lul4g1wrYEmpw2c6JwAjcmzGx/Z66uG0yDlhvB/wu/obAO046Vhdeu2lnAUnwrOlrvP/S6hNUR2H6gOZNeymm4agK0YGNXwjHc2WgahszVsWfXil5RR2H40qCDXPy0mzb9FRoEpsZa2kO9mgX72MmaIYvnAfR5LMwIdr3B0Nea4nXxckfcdS37nAlYBVaOygTgVLRIvpe75A+d3+P3lGh2MjqPfeLdH+JzXor/aIIUHDpm3hpdV/YIMjLIS+HY0Lq8t5PpAznG02wKniFMF4IeXtkTvISaNWmtRQo7Wgcm9eJ104IyZiobpUHxCu9gYsJ63qlLTWghw+3XzKYm8JKCKflySYonBkRu//tvajTw4tZDEAkdxka4JVapUKryiBrn5hr5YVy+oKeP7r/Hcqrf1tsYHs5Lgs7/5/tH0YMv08HSg7FcaoCE8IqC1nzmBdl6Xi18CsMQBQl7T/SYpj+MqFd+T1caAyRvnqTcs4C6vXi0wwECMRFOUzWapkputqmTz7Hwz/ojaNc70XAxM9SpRrsHaCAQ26LGH9tvzY/EHIDbN2JkGGPYAsD33w3TB1iOsis1qrqXWZu20yAr0Qbg83o1VDPH1q0vDtX1ZGY4Gtn0ZR4vil/G3UuGKNlJ8zk7NEocoj8rvhrr3ikQGDLCE7aVWtOrfbverwVhNO/1tVLV3SQnCCxsMVkXkQ/d2YrBk+pSzE0xMki0b1+/9gD81HsMzzeUb3Z6RDMorWOISWhRMlPWGrB+uK1sn8lR1XRbgrh5dhAfaBMgzC4d5Vo0xI2KGrJ0N59D9R7PxEVEKdh6qAUsx9+mUQlXTKq8FCiXx8AFYyYf2Qv+ioUf18Z/t2+0nv57II0hTQOyL+tpaNo7Yw0x7rUlp2rhxBUpSZ7c3g7dKPxCTIVuUVy4uZnO95O5X5F6qwKV2MLpxTfSbHLsBA1S0cYnxFxnrMnUMpnNn4Gd/ixY7+Rzi/A+yYKMpckmvf/qZ4LEKUw4X6ES//Rp5KtU4U41kIJ/Zj38/hgqZog5VBnaGamh9xhgRhREf1FvcQqmtyfWVDM7eRHf2rknlk3LvHFT1SAtiniIG3OzQQ86vivuq5/rTcmrP69v/QaHnjq39bS62kRdDtyWaMvU/xCO1U8VpiKTRZplbKqqTJ/KemkU+kX2T+rLZPwVtcS/H/aRjOeSOxkuDXt8dF6sdWGlRmbHXy02vSMAOG0fVYvgbuo/yR5ysRigzI6nASCtDMfShsrwLUKCLu+GUTm2OTaHLE7foAgrxYyrdua6MdTQwPoKTTOonSfL51pye/T+fg3j0WOSxpRVHceAc2E34eRpL5N3uOTSX2X2kEVUi686R0Q1uke1laOT8B8IPsoX/JpBvMRVxW7zl6ICyHtXaiBg8yVqcsgVyBNigL8ZPA1PfUK/7dUkxar6eEZ/wWg2UKunfaF5xKQjXNrIzHptV8TUdqxtpZw16LYMHVe17CK6ebiPjq3fY6/lL4ael13iEJEOrOnEp2LqwRis9+d8LiTJeva/+VkvRZ3pPfuAasR55txcisgwVJFeCmpW6azDfJvKm+WOhs0gG1MaoHxazu9AXkSJ2LPfrGpVqROBnWkQCG4Y9n46aU8A4tOF05CnkJM3SG5Tfu8Y6tFcUn06wvg/Z5ddVORux0DNQ6CRiJntm2KlggqLm0QHbyYfwRJ91lUd7E6hnA0NEGnCJ1YCcntidagefPq/kugkDSOFOpSfey31BQdQyURpNxvRxSfxVRxMyaf8/UiH6H3bFprVtznOj4siQC5gx7NdiVsFiAfVcKW0/6LaMI20MjYn547A8JX+aFmVLZFydGhoBscfWawuhP1hGNWgUxtyIkwB+x/JHpn8nnGum0qbn+DeXp7FRmGXGp6L2Bt5wuxpIIlgDz1Ntwx/z8iGTNJRf2dFZJkqXxMHm6NVZbNygjCD/FXWQIySUVgmX+dOVHSSznRwMgbrnF0V97Qj8C3+gZi1M+8RS9ANu2fF8cA0X8A0hhk1840YRndNzrOFPOrPnerB7PDzuw869wG+tKhkN+PMz0zTYmdbMUYN9MWjZxySu22FVLSNgD1IBoWpAQy9/qCib5axS6VvrGGa6jmar/YIlpcQm4kit1YX9wP4DJ3rmH1e48t+n1DYctN22zAWFINGbpZJ4WlC9LyMtDJP8FneOQmbVo4INw2pZ02ROua5kCEpgey7LKXNcOdp+gfmz2QjIKaICbUERjw4tEDG6HrUGgU8Tupdu/c5pw6Gy5DNLR9QojzByqmP72IC8U2t4GSFgHTJci71nqZcyURCiSChUd+UVyi9uIaUjoTWA2BpjKw4LvBYi2TcAx3zysWSMyMxp1F6PIedsmVeYu4LYn5XbC1GT0dZKMK8/OFzqcRDIWVIHBeqvTeXv8ulxz/lbfa56ay4VDdz2iO6/5p9DNS4huElfh6b6lNH+4lJI46S22In1nwAm7HHHHDYKJ0OpFmTRjvp7Tr1GfQ0CLk+eZuP4aBGjPzr08TtG96E/+lSPTHvtIZdRJe67WTh73aR4sgvB+2WcXnluX4WbN9SK3n3isF9Yuf0ptla9TuamfPxJRHZtSwGn36BV17Lfh2LocHUtCkCMBtWSBoYV3aiQ8v3rPpnxuluvodaTQzpWF3XfGlIeqInkqajIzgSOov7LLYsWw475AluON0Msj1b2cV9fl2U7YkF7hPvM+Q8lP36k1ycw8ctNp+pZi1ZxceaHdLTBptUpB4B8zPTkgCUDnY8awnZDlXe6xnZj91GonatlV5Te10QZE00NCF5aWfQYgwvAM41iaGiODaPD/TtZ2XRY0ZFc2jjtM5Czg687L/s5vff0p5yw52ybQuA0D6p8xfas5s74P1JI2QPzoQq6+ese7FWj3t4kPcV9tZyWL8n+onoIrxE/raAhv5hGtwQHqXXa4vzgeQpdrsb/E1TVoNc7Hysvk4TU4nX1CQHK4OVSuWnWZ6L91nl3Qg+fyeXdy0s1ZWFg404CwuDO7BQl3dpe7LSBJNtFJ6scuB/Vos19SvuUxOf2U68IrYJGSGwt0Kdq+82bQAkCNTRFjUVcnbYCvfMwD57TlkqVkSpBsDd1Y9GQfApk2Us6n++abKNZhQvDlnqt2e6tMNaY63dQNB5l23GMozEM2dKk5Iuutj33O01Ye9j6bQbBc4TIBF9Q1AGPmNWfyRq7Qb5f/IARMDOUkjX61gqGYZT/o2vsOBJ7oK4xfWZi5DYv52ak9EA2FYdNwoJTM9fKWmg/S7nu8xsMzF8sUYiO88hZosUkxpTmpP4SbKWhaSdlGpev5b63LnRiudeqVYAjmd8GL9Vf2+SLf3lUkcC9ZNG6B7mqx9VylVkdoi7HrB0tZdfBfKeK+P9JpYGOXgTKja2M/mGjEVEblVXWbq6lbP8ioUMJp/pBN5Uo1xEIZ06llrR8fx01NlHDU9FlP+VLaA1e/QyTDllX+k/w9y0eOmNv15ZzzKdqrx4/z1FWVCXp36EZ2d7hZGZ4byQpbfibRU23tLKlzPnZu18eWHvume/cK5785oB6nKXkNpo2fFkZJ+ntJLCWIlJG17+EvoGwjcDIt6igvz+EZWFd44mEDJzEImyS8fQwZR6i7FjYmCeGY/frq9JYUkn+i7N+ZG0DDtl4SIpU85KvFT94Vk+Ig2czkJRI5uUFEY5lqG0i9wrwMGJNfg71KQBc2X2svn9wcZtjAWDIb5jdWijpcyepIBuVv0v+LQMaEJLqWL+Bit4mcUf/4uGI1kOcbnj6cGedSnev7Cm9EDqCgPvn04Ezko0dg4vWelF1Ey9gU/iXHIn+Btr0KaI7i1PnyQYek89DrnTKkuNx23y9yeB7Bi/mXSy45CYqbqR4+3A8E/WdqOWhLRugh0ve5esgsbz3+c2NU6jB+Km46r//fvVJmOc8+CeWeMoL3/q0A1Y3lIp0T0te6rWIo+v3UYoYLtt2BjchstOlVdIonG63gv2Eww32wDhN1eEGYkMr+Mac2szCJsjwJUuU6rYMSwSYWVgjIBnFp2TaacQbuq9+cRrvoJSYQFwgXN5zEWmb813WKskzchDcPi7pDq0LlyMlXgBd/A63WLuXgzjbrZa/qa4+I9F7JTdSo1x5ktyaMplYm5CD8nXZSIHNuV7GhMuOOtTsIvTSANn8No11xSKnRwRzVV/W9to1yhoj6BklLT/cpOPqWpkVJ41SaPz5NW54c+y913I4nAiQj6lLu5AgIQNWSW1+n9xdkLbUnQVWwd1chGFltw0KozMptqSQsaVygRWSDtBT1J4h25XptWZZboQqTa5l1gr4I71q3/EYHVa0XMINqYbI7dFt/9EvKDs5SEonj80aH5oJGFWuVhr0po/Rl5+D78B0k/mpe35K4ooJUaFlzuCx2aTsf264hd+ZWWNNVBiVHU09b73KDxTRPoXW1BIm30O6mPU48Sfouyzw9VnahptFEgyeDnHX3v2+Pw3TYP/JGwVYwhZz7KG7362/VHL1H6KhF2ZccxsKfYE2byuj2sTdtdXJZMH13ndjNLd8rHmmeR897EgZmaaEUIZiRkYsngJ7ZdhT+qCThwOvIJJoMnGJ1JzOlGAe97/hJUG0yBVjF6zHyDS04qALNkXrH8JsEpt7VJDrvfKFXgTBz11/oH5yDkD9zPuMlf7flNe+ccg/72V4cyAAenhyb34LC9DPRxMNPENSoA9N+0JLLyBELETnCwSwcyry6VWAebn6GcqephjDAIuH2XO+c3u+jaVFWyQ6G2SMSCoQKl6tS7JqY+MSuQSMxNCB+6qlNvVEmfr6IjAo5u+e6/j4kXkzfLstQDRNrh2B7Iv1QEQvA9cMf09PD9kf97crOV4mzlrag0KB6JAfoT8AuOyKncwNhqKTDOZAsaVL4n9a+d/MSjLlPcZDc9sIcNjMRYOqD+dfGIHjVzfCRbclceWCw3UcSjN/EUiCmfrkZejdwGxxRRnwrzFi1AtBIbYeqCMfaaw5iXFn2bki7PoVmX7CaLnJAW55kheocoJ8zaZZcDSJBQXsQYwVaAZOFA5q2rLJYoswSiHDnyVKo9FbUAihXu5wVVPPYUgt2+bMIMepUpvz+uYEDyERMB3aJzBt2f0rao0wuACdpl3/i5hToSoL4kxvTG5wXLYQdAZfIarNQ95p3C6nkyMXcwUrcRxpW9vPCr26E0nUaAqS9VuJTccrpr1SXBi/1uk5JNxM1MxK7w1xLZoG2JBcMjbWB5BoPsxYXrNJixNgUkN75eG42g7bwehVbM6O846XWV3qq4fZ5QGC5ssUrCuwIklldA+HrKCcaWq9z0n2gFS9rbnTm/9DtvbhvFdv52XrLYaj4vXb5OadzIpg92NwM+qXOvShguyoCDiDQQBowfTqQ6DkOxjPIWmZQv96QR88k9BWcE72EOBF0rs5Oyl8+jj7iXniOEqAntiKiLcjx8EebSNETDvHu148qUtHnhGT32mc4ixwnTIdE4hgTJABrIF9EA2ZUXIGnSriFE9LRmePAvpwwHp7x8AY8bX3/v8gjXofMLSQLLTdMT/odB5+ajCDPkrLPe47WHh9PVaLQdcaLNMRNzOzOMlkKXaPMWQ3lQRm95jfGXwurW8L87B4yfpHzto8uh3emtcErD0GzycfHyF5WkACJiuy5mFOUYSmeM5LFn1pfxyBLhclzsFGr2OjFanaKibGwzXau96CMY0UuCRipm3bh3FelTPxRAI/R7JLP7T4JYbs6V/GPGB8qwjf48baHAZMvthxmTP0BSbAokxQ+oTtdNuSigeI9q37Aw3ZxllG32vk7rnMW5TgATlm/8OuqIjvyhxNefDpjvSpC37Iup/6PV977R5l4iCbNnUM+hzTMABEbttZR6sFVJu6ZwXtw53Numgdccy1okEDIgdA4gj/EU3gkn2SYNlt/WBTnFNm3grtdeXaipQjMIo4AA3LOkg6t3R5ZVYc1kTrBiboGa9S2A5hNaF3FT8xtwWrRnt4hkJfHwv8PaQsjrY+oq+TtnlXEq+PgN88KCOpjEiAD9TTck0zH7JhTZBAS4QJenznZPWpTeLLdcfjsfTPvsgdmFsAdi6S3tG9OUnaYjGZag3EMfrfRyDHb1EgfXtVXuu9ums+nrBAQPKZA1xC7FJUjgslzampJbOrK0ZGLBNvoQKUoqq9Qp+PYsDXJdokCn7Gu46ISdxBR8bHKwb7bczxsd6Eu01uPzUmDQRREsFAJs0UWlmsIMhi/MV9JXwC9nN5PoXCSArKy6QOLIjHXr1RAvqMzpj+1WUGM+YqcGNvBoVIBkmRy7HGVmFkGC7qcaSTRk+hzDS5YkdJHTV6NX1tMfz6rcsvNC+665q7uVfjKhtxzimcpZEg++sCn9CeJ1cPTI6cmoX6E0bwTkDRGQQyZe+r538EFR6mRN0ZZFSN6dugzXZCldvAEgRDld++xX5rfCFvL1Yb2IrT06VhWp+2IY/20+PzEKOkAWgVI6I++xh4XkaRTRVzkuISAoL7xc3Yd8mSIfCdeG8VMzMreZHvGM1BEwJYYShS8beKmyp4MOj8lc9kpZj0TxWYzCuLcqOqJt7tflDMEdYYp1vyddOIlbHXgN5qgUNW+u5OVRBbtfw/lN7yAEVwchFApUHcUD0lJIQN1gpVFiI/lbokMLQImkhMlVox/aEAwhQNTgooN0WyXUbafPXXddvvVOq3vxEk/aWWC03hMCen/Dcw9S8GQxP7ZzGBz+5Zxwe1YHPdqdL40AgkEcC7kZZHik7Dc8ZE/mU2KytPdnsCcw8av9v4PIXzPXNZ/WtOu0qLXEIDiCWzO01QAIwRQ1WI8Y3bETT3o7Rhdc3GMLTux5ydlbDmb6X2Z0QnL8yw/enUZ1UkIhi01SBrE/vJq53P5MUpq9iMvC3zFrS+B1xZL0nr5Et/IuqAz/juIzACFpnVl1aOLV39P+QpU891Yn3vLBb9iKKWHg9gftVxWw2pl8MirPotNGGDqlMsqj10zQB8FTxB0frQYcabzUxk1vi21Vz/PKxPG6WHzpwVrQ3HfJ9i5M8apnDzudpSvAUKVEsIKYE7f3qAoc00/XyteI7xcYtt9jo4TLSPwAH/AzTqeLHZVqUJVTmBdZ3FoFkJMSOL921JtfVW82F8iI0Ef3CtNVDItcP66GlK3fwWwXcNA4zSCTMWcP3QEAYs+zGADnzp47S6bqepBoXQbuYAsQ5mmVwPmthhjDfKxtJnyMhjOQPuJcHj7g3ZwE0mcROkNIYI4iGV6EO3a08s1Ypnjrh5ZJhvYGbrHV5DdiL0WyDs5/rjkheOLWH6M1x8hjxX75s3aa/5uuNiSRSXI1gkahSL5EciKAtGBfxgNd2xju04r3jx9hVxF3rKK+NYm/t0+/t+p46ifZlhHtgX5wy+b0ws1ARmG78orExYtHWWPC2cv+NvHBniu9jo1FdQBiboFOXsCWbJCpYluUQvuywvQhjq2JGw977H5hz5lnlPbWJ+ooPOfZ1tsKgtapVM3CndFpnCzqdo3TWo39DKR9dM3oRH4ZZ4qBHxFUwMmGBHd48cao+lNqKdjVutIfurM9qeCj5DQHaEaY72Hq6W7JHs9jBzhVlMFTIsxJ/yibdNh7j891DpFqTqBgft1I1DFc/LSPdT/HHJNjkhfj5rXb1wRUXXCPBqbg3xSl92/HGq/Uj73jQGgpfffZnXqwFE93gjDMoHOfxJEyi2/fmBc4CfZz6m5Khgu54zLJ4nHnHdHWoCmv4X1uAp/ZpCLhAUmqrbQI/iRlV6l8emxWol25VNlCAxkJRjulCQA3OclGxDhXZWDT31A1Kh6zBuMu42Pd42asf3k5dB751ViRn5qjITRcouUTuqQoQHeXUEEYxbnnoN48bT4iTMk7YMdcqz1TiTV7C1dbZMFsD5d7/2wBQLCQ+n+73hD1plliY2BYgLx+wdzXHI5RXg8FwDY17lGazpTObPQIaIDkZxcW57GTtTz3rUPD4EFmATHIcxsXhcuERTNMdoRmUz5I6VTj7Oxv5/AMhAbOe1/XYyeOzuT2W8fs7YZeZJNJbrTK3RM3ef+vRJq9B0yvcerPdHfcqYc+PkYja1+w1YQmOElBlVFiuH7iraHFpdrlDEf8DWODMtVFmc8+Bo3S87HViXHXJ3B1UrT4Sb4+qKKLRR49IGlt+zqlkzIwxah9GIEKviqgSSQsR4QFAHGQ+vLP6XBNuKU5IBH5RYnUD88cWF9pbSbRQrkWutniXlsUffZmqIQAPLJJCMwNxZH6ESHKtplGoO0dgu/RAyYJ1LhvV74t0J84bKOHli+wUdX2KF8nGAqbBuY1l1MhOSwZw8fCh30QH/Oh79hX03LwdftHv/LNplHwOk6AR5Ko/8pAJjNA/3DpmT/lRzEzWfx1KWFRIDDlEG2WadYBbMub65nB2uoZvZxAJqZAEmAh4Srz56Fvh2o3hm4r7APhNwtXgNUQIHuik5XVi41nTR2E3Y/b6ZGZEMQoqgWj02iREZjL7/zNtPdOYIGw8ZpvK9yuYcSCrLtZWVn/jHLiTWvmzH6ktVTAN4/q0dNOS/unapKl5sSCxn7nIu1kuZtQ/xD6m2SCwUKI4FrEmiz91UNYPBbhTN6DmtHlNEo9xD09NxrziJfe8zAZlNuASPoc9oEl5JRztZZyXweSUytKLuiwUKU4KK8x3zlrc+/V6f9MAFQLoVlSlvHN1opBo8lYQx4q1B9gXW4iLbTt7U4OEzNy/INDrsA1SyaRq+lT6sy9Cjaef27ISaD31E/kSIDxoNZKgzLJW2Gn5sD46DKdF4MaL/vskZPqh1A9SsAhM2tpnf/2J//rEItY/LJ3gh6l1dBgi2dcQ5a70s8TNV3JRS6yxI3QnDP+vGIqP3E2obH9CKZFeMdQBPyKohe5nfaSnCnhxwohrgb82KkIvsoJ76lHYyZBR9dkv3r/iK69hA/FFBNe6Z7qI3izdH+TGCUJTUMFO3Bug1yuYTHrXZIM8ShOLQl0ycPz9oa9AStqtEZwwIjM3Hy+/jkg0lV4yk1RU4//QH2P+ShFISpqAZtw2OrqjCFX5NngqY9Ou/wrMKfNC17Tj+vriBNJg0urDhJ4FRLNcEZ//wygLHQzpSpVs4FQXe0LU7lRdccB1gqoH2LdnU0Z0NfjN9Z0EjrUTt1/jgpnLC9fYxiBqPKw3gqFptEtJm8joVWgBMhRNzIR/7XywLAa/BnVfCBiJinukFj1dG6VljNe0bK4KIW5xH2uxdZI4i0BupeywaiQT69QnaqkZsGlnbADbnd82Zsxu4ApLxcLRmgCbMS7YL3K0i2d6qqQtdqQIRiKyeUkdSnOndBWJRa8jb5C5X3aFMKZevOQrh4Aszc7kvTRJBXcwAiyEGfc0FEOh3Qgyqy4fRT/AkYAzu5G3Hwgh6NOHdqn29OsvNg0T7V8hKbukJ5z4Sx+oTj8mes8YStJRreBNAfUIhw1Bxa9Y8TkxoqGae2Mjy8gnNFyz4InyiFYx5+KxCdlva/xKY2T6IOJxWJlnjVI9TrxtaHfZSgXoFo5zY+USQsxUDbxmy3jUEHSzKjng/UJnPkjDB1biXQEwVAskOoPH+A/+NZP1N2Q4kR3VQ72FuUBVlfGXgi/6BSXmehdNrKTVeublVwtMrKb6NOCnVau3q8kLpqjfdfcz8t4gPpPfOCw7G7bdyw4Rn2IrV6USnilPs+BOqYzr0K4NSKZ401V3hmSpM06sDH+abf0KoFLffVkDlkPkJia8mPtDnuT5tgPEQ8S1hyVsG0FZLy5r83PxAkHuOieI0tMl+9d2G5KvyroDAhdbx4rTdqlR0RB2sCjDB6HQjnLa3S1XcB69898UdHvZl9u1r+xVNicawDwUYwlVgv3p17GLUONHGkTm3E0SV32iyj1ATBsMNrGdzeUwKE3u6/DEyK7CLIoewtsPfuDLwSffv1jtwBj8AU9h5bxmo0xKwC4u/hkVLPf1g/25ee8DY8diasCWgMWQnakOEdHw0Ed2yu30l8gOHVNLgXc18VBslkPNdAgb3QjpQvLDC6h699AbFU0IlQWMFF3Uo9H2aky2uppd2TMauD46X1O5GgAVpqeYSEDhGCrFuX/yIa3R45w3uILOYbxM2F5CvT0ajR2H57XvQ3Zn+5MLwDSuCGBEi0h9cMBBv1wgND/mWdPIe5x47QsBhaPRUZ2N/XQ667bIU2d55978c4Cu+bg0dnkyMhMqOVMBUBrfDkTw6OifG7WTTepLTz4he3205azaRk+/sBhrT1KaDJritwzfV4Lpky+KaIDYk1rs8NKuRiAWInjci4YgYKK+zzSIYipi9yk+ECnL6nZvt3EzXpJFu++flJ1w/bwglFp7XtACmVif4cqZM9MN9VinkORMbnwOUhqb9PY/5xevls7atM+SwurBKzBkybIUN+DHDg+LKWbpGvmzCe3VsNWysDHQAE0EEqXmXQHHxARJGSFx1QjCUvDYeVPGvBsCZ7dRbKvHI9YJHHLiFuETJEkmPps6q4uVCrBEyme7+ZQFFOP9aE8r8GadJCwwbYZKYyExE6lYvjfNnbczKQ2NPuccJ3MXBTdkzV8gwbXaW+XV7FBt2H5WDJfVkFZF0Rn1/Y5Cv4wTO7Bn+xXJtEJGabzh3y/tJoOGiRnJs7EKzqp9MF50miWOcEfQeq/ED9uGgdnjsLVj09tjrlneTXyMQMgoxsUbBKIXRFXlYd9VARNkHzdY1bVhvr9mEK5DsFkJuB3FRfIxEBKpePcDEYVz7ip941hKPTGltPWJSFPfOCVoXHVpsZpd86qSVXzQgE1hoAIWJ0XL3y6enFoFyHMmOk5IdWi8VxQ5mFH4FDsMAl8d2iU1raE3aYx4ihALkzWywNr982qJ0e7M8cj+whTHemQGmyhDtFOrqJOPJ9zgEXjwLo3xXZ2TMvDaGBR8EkR5PEsRIf/T524pX7D9ex2eBePGADZ+URCS0XcyA4yEp51ycxyOYSPvPRlGMVj+uQJn8w0r/V7DS9S2MP01AYn1wbXDcHONVz+RYpHblaeWGmqcnUemDUSeQSmoFb0+gGsTquK7NKQHxnGQUkPUvqysgzB7zYBEH3zA5+KqxiNeixVus/MsgO0QrxWM8OqxTBGrKN2r9cmCPJPx4F4GXgSsvYUkMHq5oMGcSCklWiPtRPaeJE51mGKtmN+IU4+BW7J81YFtIu6UEYZ2jG+NkEAeFBxcgfyHlfVLG60gFsjxS7p4MciyZFp2csLXS8om+HoE+AFiFp5CgKa9oBAtFzUbMixHbR6IYcSADIZ5ra6mf6J69Y0s/mg8ku02xlW2/Q4v8KC5VZROkUE8zu82Jfqe3B3pjesyog/2dMnEHPhsyUq6IM+JfgPiH8lLuohpCEpL/gf6IMvHhNh8YcsNzQ4MlkrXRL+QxRqGcy1KhDYaVZLjIEObNHBrbNNXZTG8miceZEW3CsHue8f28GVXFoUjrZ+GNN9qUw2NZZQpAldkVlALz/nV7K6fyVXb/9Lnxx9rHT1Pnxiv/POZrjlrCcBb+5k1lpdwde+QXAOv893n3BWD0QikmekPBaxB7vHz6+TMo9GHW8hnWoQzCiwg5KAMIW6FaldBXOt5j//S3eEs3NSFdcBGmyjSA1PMpqIXn8eUO/DtfaHbSTkArAvHl/PJoX45G2XU18BbcojkaHLAygGnReYAsi5IqOQfuLkVT2fNu4294nXtRkeIsjFNxt0sJtWZvUVNcoqzKohEDsF5ffJEilF2rewXSg2MWwz1drjjsjan4ObgmG8lw2q11S2EWrVB76mhig5m2pVDV7F+/oWM4wikyyrSW0PFDz8B6D8eHdbmht2SdpPTMJs+9sY7CXUDIeHATz7DMz+mIXNJMZJaBIMPaIz03+9B61oiCUyrjEgUdGcCb2eAMvD5tjwdUfK+2OJ8UjCGtOgBP+FHH6hjzsRVQiHNldyehvoqGW4efaJ1jp6afZgZAHVrq2ClxnI6K80kDfWdlYZ2PMiXD4EbqKnURNBFr80Cb/2Ne+rw4NzqIfz95yHLV1KsPbKMJXrdSC6fNWzW8FN68/ELmfH9kdiVdCBLvjdrZutXnz8nmbZ0tjMGrMNIjh3lwZgvzTBjIPjH3b6i2aV64vxUMrnzl03Jhjm/ehTvbnc5+AWjEje2iAzWhA6uH328pDbJcDUAgk0AmVVcFfQBSYvnWWqNezQ0Xy6RcoKrf0IXxRL4deUhWP7UNRleM0kQ1RH8B3Fdm05yMjwyPlFgS6c4s/a4YDd25UtdwSLT+AXwTo+YR6HgH75qxu1NrZT7Hr+ZCkq4agenUS0h7W49cWktbAZ70G8PfYwkIqf3EIRWaNE34M+A0p9x54eMwsJCw2JWkPNr2p6sS2ztc363k87Q5xKofO62Amcgas+U9jd8mDRrKGV2kplyWh5cYOy/RnedxUWRb9O0BJSzXiw7qJ7ljOm9Lg8GrWKTPc5hzkMx+a7KDRCB96iMnaTwyBk90kf2kIlzY+1g5Y04WrlHuHrnV/8/TsUX5TLsjGyFX1uQCDKoFUqw9xBNmiGZeN81tfci+UuaoKLfmOlzGmHqIslyh3f24ZplL15ulWAwYUWPutRveEPm3R26hdxHujSAz80TDI6OPu6pIrwSJ820RPOZrrvbVf3FvBr1BquFs7U/GBBHSwoe5fXKsYYNk15xt8D90jP8MBJ3Yv+tbDy7GOZ8VwUpizoSNgcZutH276lW8rXcm8Z1SC9U5Zi0BDYBiRdh8J5iUY5owSh1xJs9ufgzv8EGhszAVYFtfBBbWzbQLPtYzJosQSAb8GpRKK7Pi7zgQ0zESQZZTZncMeeo9x2HMlmOVF0XVxR0nK/vHjsHnI5axRjTQ6kWV41ROMBhGCBpG1B7jStGcd2vzXzwVoArN/GoVkThmw83+gPoxBX+AtIqPu2U3sbYvh7e5GqVkuiHMc2pRGtHjnWFcHphjCghGxgMUQilcjSJbAMYy2r5gwZ/PteomyyX39vbIMdw5BAon8bvVHsEhOMj6WK818+dsJh/5Vzb1m5EhaAf4KKA/sjJVB1PaiL0wE+CgFTQoj+yLr6itC+F69OPkqr5dlncUBf90Qb2/vSieoKTcB8x260k7z2QNXdBVnqQWB06Ibh0xo+42ATjTNowZgIrOgtcM3qFa0m05fLJ6VUfdjHKc1DlismwjY8L6klbUZS3vlP75xVbN/qeZROU7LLxSfOsRG7laPxdNKmsL0ZGbvoOSwt3u3FZ4kUYEecCj/OW/FGYHbX48Hudj1h3Xn+i8kGfzOADHf0VNrQVuHULQtfllTvu2XuV3t25ZihTBTs/Fk31NFPgC7bae3JKhWEouPSqmEJ/OinyMU6y2/OP0fuYgOe78J9F5kP6wHthXucBOGZRYikypH8ecwsNttIvhA/ANGJsxaaH0/7+XJSuvnKkaKN+XDJ8kpxXOtFDIa9Yvq/w6l3h2PXHiDa+MSZfMYRx3qusxIqdiGece2meRgs/RJZ0ouaRl82cAepxiUlDd9UqBZstD+6zNeRZ2hTjI/odLdm6OX/4ILCZoJDcxjtav31kaucjtIYhwNw+tObLOg/GCKpBJ+/5k90n21arxtiaW5kUh4uPp+LLT5tOC6LNZKW/+iuYcq8zf+HeSYq06CGQQDnxXElBLS6uX5y1YEUJ+NRiVRWCHxr98c3ZwpzZ7PNv7J7w9FSh9BfqctMxm2Kzm5yVddRreJh1skTmt+bVtEPLuyu9rkwOvbgioS7eLtokEocWx17T7y3WBZQkY1JmJ8uXOYpHqZGYVLGaK03iDR9s6/+0h5uK0F1trH4ozArQdKCysPKl/Sfq9FZF2i2iPHKHD1KNXojmtwtA/I1EIc/qtqFJ0RpU8Tn8fOaylW1pc23LB/zzZJkmElAJ9AL++Zm9O/60O/GzjO0zuVoL7552qJ6P4GgKqXMcpwBQmjocYHpNvvkugLcPvtCfzEXU/lBaEjVUyr3cTlFPi5dhN63oCK3lkStsCp0bSo5ju7pSKcKwuaQumMwab2pUS+F/noaowZQB6QpwlA+fyffCTYoF4BRuf2klmGhQtLcxncIIC2VbtbydV9XR8ghYz7qxxy1j66w+3VfGkrOdoSJ/gcTmBjf/rmMe6tQD5PKjHK3+2HEUBawjg9o1GaTqd/ypH76uEFwbnVB7s6g+09TObRKWQJyU2BeFvIJGJNrY5CdyH9lSdJUoKMCYbhrEApFGG6LT+pSd8WaY6jN1KH09WmjWpOkNEK++tSdSmdzUYlZGbREKwHMowg5vRffhEkIrMiMuNdJYel/Bg7aW5wrlSuMh5r1MSqqOl9FCyzOSQoFr74Vfo/n4z3TxhHMUrLrlsPkrF2yVfbbO/DoJKidfPNgUlk1pTtRZrQswWdiAQtvW8KUxvIJbcmLSKZAIS7PMkJvPWUK+vUB4XhB4/N3jpHlFVbYNgQHd6/M1Gtl7sW/7JUDbg9ap/GDyZw2GwOHLo1ag2ZV+nEtYk8UhtPGQO7WLiYBbFNjyLwxg48ATubO19ITfIwIFSS5LD2kHgu6hKYIlZLjOpStmpS+74NpkDN8t7X0VxI63QLD9n8bztYGp7jMB9Fk46+eJweBISPrF9/OGUDANbC8+8STtxCfHqeZL3KweAPDpc2+O5+/xxFvnilwLl7B+nxjP9LhugN0NF7IO5d35519jSeFDuanD8WbDrQPVTdOqBtmCl4qGmoSB9mkHVf7XF2SHVHXAhWCPBQG5KLH+r5MvMgKgifwx6UFnU135Za6vyOTc0Ab5UI6Itid86fACPRynIdCsfw/NTRJNia7/ubYZigr0FOnwfRpJQKQdr7kfsG/6h8zSdsRdL1i3kvufnk1iUcx81KthGlM6I2bxC5sEDZBMyO0mPVCyUBba7umEAYvpqEJy9DR+DroD7sXsMo6GRka4mTl+dVOg+cMy/yj5h7IlYfdqCco2FH14Vrca7WYshc7Jxf1JoXwVBoJ7iXCEMK0nULrxF4VHayoiewrOv1i49E5GUhyGpJEppJyzBrx/4lj5VEEQhENFdRuyacnoIgP8eYR0AmYLYcptL4dPGndWX4/77G9l6KE8HPVYqNXS3XS9X0E7RVL6KCMUfQhcFkW0KPFUzfZBaZPG/xz7HZsojqnbXV1+MJay7xoEchm1zBGSpFhHh57yB4qcjIiQZZSlMYg44CjVkxTW69IfjevaTXCMmMV+qmRm5COWKLyMly2RsRrOSa+ZqaMQ8QDvK6u8R5VBUN0J+o7QGpCiiKQdigg3tNNDB0wBXL53C6ROaE9J1zYnp6u50jrmjIGwd4ztFvX3oEioRvvQfkZpOLMwXQSd0sNo1y37MSZxpvaSJsuf0YI7oFTyLWQCDWaCub51TkUQcghy3TFJKmUgiHhsw0XQj/x97EwQnBIY63D3p+IN+x3b8DTT2Rmx4cIbB+uGi5JkABn9MuwbMfT1puXsb0dS6eK3MKjbW2hx38A7p0YGZw0SSEdfX3C7tdw8Cekpr0+HXKcmfEGftptxN1M1abCD6P9gPZOlCQeragZccfmCM6xuywBqWHUvF5rXDg9XowYhkApH+oW9HvZ7sfg0h42jzRDBuzUqe7WPrJP9he8Lurrp8Z1TgPGVRn68i4mz+nyQqPCKokhKSKZ3Qo61eDKNSsagi6+iksmfCNscFOvTLVoCYO+gqCpNWdbpwhhzAxubnlnA6mZHZJxoXCFdoVc44XlY8viTeNhMd6FhDizqq2xmr7BWklycqyNtuxq8jtPf1eXMKp/znRRPqh65KmeEoxlc/JW8cnWf6702d+tjXpLo39pOZnDlNv76wxqoJeX5VcrgApkWKt48TYWlGwl1YU+sg15HHkubBscl+pXn4AREa5mNkxEchEh6pqcVlDhLsYGgcUOXXxF9Rkn+mA3SMCnOrwMonPQ5PKeuFDDbYgNvDBczQ2hMW02V8vAndd551kVECRaCBzG+IcUbF2fIGiKBzz+8DenPcf8i7laDTKm3ubGWRFL8AONYdwFWBOwCCKnOv25xszmV47rdTfNGNNjjIXQ/TGfiYYGsh1lIK2sbhkAiIW01eUErF8J+STyVjTCKOsv9BzThD8AB0SBJmSrXVC5gfHLcGXuQN4Ui881/L3hEjFUuK0WJrwwZzCZEOjl3RTCHes8N8go9wFRcU2hjBk4wklyb7Z5KwVGhmuIpHx4Bw+rnfaa2m4q7i197wpijmNn8PJ6OxZVPAW1fz373pMHTbtxav5+lYEZYkZoHY1ltID7dtGVSaEqDX0SDNOyWlRgtx7HCilDcsU4UzT/VZtvk+Gis+lAnVB2QAut1V6Bahx5dJ0TSPZCrfnBwEJEtWivJ879P2BJcdK4aCZ+7ijgNk5QX9lZMEpTZzE1bmzk1QCG2ENRABPm7sKnRefNx6SztzuIuT0SfE80lc8F5HuVPWe3v2gST+YCE6rK9W6SseDpJnAuZelaeshzhuaVqm5H+GVGnUiJmY7dENJg1/zReg6DaVD6LbAM8gdQXiQ+LqRRw+u1FyXuAyF4CNB8GDGbTxlR1Hxr+WujW31Y6d/bjbU+/pb8GOs9TRvARoSa65Oaobm8mp5MSSbBER0XyICfFA/OjjMpKdkpwnzm9oobxoP7XnFCSmX+Dbvsm9i5hodn+fu42uyA0LX3GdQtjSloUO77qWpmyYaNTwGunOBZliftJvKWfqwBOL4qKZ1FzNjxlV51SfpCYp/HvC1u0gSElseW6U1+cY/9L0asXT0JHdbzWK2QfPq33MyQfddmDH7/QkHB5NrV59QOr2mveNvDBqK/KGQ+e4pf79F2vGRBmqPiKaRnU/+1ZWZqRgZFhqeUd0DbJ1KwTRIaA7/ZGXTu6cVCqXycvLAJcOP9eyPZIBOHh+XbxntBNah009WdA0axzpP/XCjmeupGoZqOgRpY45FayF9kT5zY3OBK+JA2txAuijWcLPwqmfXFVhLkwDg+NDJyqyW4i6GmndjI4wb/0jmAvGBBVmmlYJFGLws44kmAPVxaqb+AcudLjYaxZhV2uYeekIj2VT6Bmiw9HRlO81yo2xc2bvwAlUtFNBHohEOTml7rrgBrVx4n/iV5BmQR6S2OX+k6lT8Jc9fmKMmz9MBmvNy93CywvSE73utDItAwfkogwMa150jBXgQWSK9Qbofa52EQBQno5GFklEpBKeL+eX2gZkFiBvSkhzddxQHz4lNjxIaTOD6cp9tEbF84myFd5p0ilPPjqrXDPOoLVGc439S7GHpx3P3FhfyRYLJVrJZXwyk5MPEX2oXGaYio1V8QnqVMB/CWgpSRPPCHaJ0SRwmwKSSlKkQyEzcIrnyoTDnkpfTplZjVkhfbLKvyinPmrr1qrnoz437QM4XdCzLtGkesJ8DsdT5LDw9XPicfbdsFKyF9xmMTossVQi4HJ3tT4Fh0I53QN5F3J1g2BWw6fzQxz4quVQG7RVZCQcYxg9YjAhuZLF4v/yO5KTU19OpbgInvaI0wcB6BI8mtm82BcxvPwsUbqkGTegM/AiPXg/2B88tInJH9kzcfqVmTXXi40euTj9xC6rKDRGfmFEOX0JgLoW7FxCKTYCleEUA/zYkspF8QdZQj0Y7aBT0amrGLOl9DDJ3tKGancfDoeFNU1RG8HUDPGi33/2tHumpciD9XpGLl2XxmvsUxY08G4Rl1jwo+LJXDekYK477hmi2HLwr//p+xZOo4sHrI8bPKMofm38mlwcUzWkXePcKUvJb5l4faPBu3PK916tFNPV660T6TvM4R3yWrYyCDwP/wrcv0Aa3NLkdVfBlLiiy2MQWnv/oDe9T/jvGEuYvXWmKg3wiT1dYvMN5oKEhkVR3NSTw34RG4DeH8QUUgoBWAuhEKfcrPLn/dGYSnvXfTdEoN1HzDIUWTkW9t5W+oty2PNkGApEH3Fecmdz3rpLCXp+l6Cnr9u6SKQZeo1MDIag+HVkPNmS8HzdosyJlH/YvR0oTRQB9cavOzz6RCTGdps/wKGuM22h+NJeVkr3e3FYB0Jg8Ny2VdEf9JfJPJQ6CphQ2kTETi9gRDdHX+Ca1RrgEHdWv/YaG1gWzS9ILiSWzyRrWjmmYQGpLZ95PR+DZwQkORv8Tf8F3Xxhq6/bY+qpg2AKn4MttopfbYojlW/uasuOVAp/ZpeyX+inXswgHu8X0vceHSFRQ4l3OT+qrsnENnGGbLcnXA1szLEdE/194x8IwvVZPpsTnq7oveJu37u71ib9Wa1Us3Nm8dRU0612HPgUShm/pF1AniZTwwfa/dc+fe56WjawwC1+hy2amk+t1rkpHHozpJbH413frvIO5sP+Ys+CHmDKCQNZuKGJ2IBiD/ZqVUWDLZc731AfkumHrTKNdk3de0u9bYumUeV1UvlFu+GZY3C293QdAU2IQ7Vg70llkWb3d6rAO8WaLu36taj7IGWjRK6HjvDv2xHGuLRzu4DCD4ashJl8smOfL1OWqBgE82vIPnFtDL5QxkuFcDB9Qj/tG/IKS/9cmeGSOIiuOEaQuXThYiSD/kltIkS78E5ODuqDt9wiVaq97a/WVFhco6JMW9Zkky5EJAThOtsQW4mzklJ82PmQtdCd24KaPTItYlfpHE2ogquB2NViKlIFto4hkjevmuwVR9Y3c/Rd8RgpcD15tJ7Fz2exUOXKfABuGo7xP00WCK119NOySdgyoM0MbIPj1X8ZYqQyV/reviYNt7gmbjFceTLjNVMbjxkwb/P5bQ5/1u1HyZY7BOzph0m54QxOhIpSzxuGMV5v98/zfv/aoSiSn76pEb6f6uDc78uttADshRhPG3FB9xASVRON6A2MecOgaB2b9kC4lzc1jIWLdKUXXr2o4dBO+RBwv4ZBVefhHWLjM3KqZB39SI2QSP6fsDqB1rTszBS+mc61Wk85HXd7LsEmraEo2F4gd5R43UJwIcOUwi2sD+lUYwvwUqmo2CpT2dGgnNQOTESZk1DEh9tjz27FX+5Ur9/rvmBr6XBfRsyyv6B0eWOQkcoGvdBXy3TgaqKi9RkXKGjSvhqeH+AdfnIGgue9AkDs0oJtkUN+jMZON1CtaiuEuHE9dHVPDGxAzBOmFtfby5yc79v/F0IvaRomt58dQHHOHfhC4PfquVDVSThcV0aEL4/U0s9YATg8nXtbILl20eE8mIt6bpjXZ30O4ejlhW4uIJU8ItkbY6PvlasCCTvpt8jN6JNsOt8Op4a89fooiYGvlUxUY7QRCUnfMEq6qQPTqMtR/xz73LDeWHyugIAmBkw4UQbS3DYHBhYDOUBJwoONHAORdjlmxTz7+/xoEXzwf/BBWDuYTcDGLGx/rhdDGl0nCzRqPCIdJcbI6t5dves3EO8UErH6DAfXQt7aF+J/bInal5HFq0XI8DojkKO9zQZxTHnIvpgE7zfP59AeeXrTNmJjjNSEqjnNwK60CbkPxooskwuerDdoW0tKXK9qe8/WS5ima7DqKg+Vq6Pi7zYXHyFixw5A/cr0m80bzSwGOFcB88dq4XBJaI1vo6ZviseofuvS0QFYMXH2gBWNabSdE+M11MtBgiRKfBd6kpu9v3njhZ9PGChvMdWD10lmcwBRUl6up1GKwUV1Ki9xoIHsuF0CRRf03+2Yu6S/SbjnNZcjzc3av6XPapzaTx0laPuw+2OQwAO7URaylXnQ+xqJXyuW3T/rg0kzJDurehbZ1MbX3rg+s2Pwul0pZyMLMkw913lsDVvQIhfaM9oayQETasG7P8g1xGAZ0VWcNkgEsnPaFDIv4eqFjEefWxLfxbTnC9GQJHQgcIYAb0020Hi6cv3qUQoE15gWiXSsIdmtGe3plBtcRdOJbx6C+ZULuN7Mte0+zHALrqz4kB7WoaCu3F0genDak45VktROMSE2yhnOTPic9fnHQKRIwdVoAp4rAsNgWtFgQUEc+ZDc4AhdxvUTLITxun80yoTZGYvUE0W+LAcmeeV8U5dMEjaZqzDDD3uga50eyyf2Ejb5FIqoS31x0goQUDkM/yKyJ12jskyfbk/DIvo9KtPuq0ScdCrDF8Fas2Yjt9wAzHCht7A7XqsRV3DeoltGTwpg7kDn5BRcy3EJFZg/6oFpeq1/vl22AvXvP0fWgAXhNnBSxGMdHcvWRDM0m/gtp9kbcdXqeh5wXpx63vWPllxTEyIvYCc/lnvKEIKCk07HQxjxZTEHWEMhFvZZxi85bUL9hnkGTFNWe1c7FcPpcnNEU6TGWZmUk1t2p1WoHvlS8lZQUKDW0HKSu8OWLusU/3ETeDTJG4Wq1mog4l+dxQ6AGpb1bB6pvwg+yiupU8XpCdWkIkq+vnwldR1xSizpThp4QdJq1YwwRH2w0L3+G7pRE30jlLE0tLmQWeo3CMuVoCBR8zXCMJqeXKMRM6s9TVMzW5Q0XX2/5qIQd4MK9r9z92yJtLMki32bc6APxH+REDHkeDC/qXTmGsmYFC4mJp0fpZnm13Be+aJlQbaPoWs5ssi+2c0i9ilgQimB6yMU+O8CUGncabufkXRzQINpdUgnIp8rcp468pKhKc1DHX4e/JkWvExMAyYCduIAtawTJsH+b+S/Nws8BSSADzASuL2tnsvNw32tWosSq8BQGYYsKuOrkVFz+Y7AAFTHHMn0SzvkgJYdwv1EFFAICWdrvsFyppleEJG5kahQU12sOBwJck1UEWMwll1m5PTxoqkXFK0ccd5TIlGJTQ8zAgNk9X0TANcNS2zC52FB/9S3PREMhORt03WC6iA3J7tZTh4rkm6kIL4PtnrIIHTCwKwarfYBQMki2jg7Zi38t3M5dI6p52fG6tjtSn/NL7DlMvKUq66RmIRAwmKzZ4Yvd1pYbyyadjpcnEYl5yX9v3V5wtXR709InqW8WJUqo3HFCwhGCeF5nNvvxCK1vOhdGBkqLhUwQsuo9NkRrtahL1PNgzS+IStW0RyOnGJiCAI/p3+BnJ9UQPtxr9CEvcZzBInjbphx9++lq3MQdA+QR78xxBTAzeMw6zJpcgC4y3NXyKqLOEZDPqduTJoLTpL7STyoN6t0N4h5g3Gid7/9x56EL1tq/uMwtTspGwG9t8PjugmuYn06jpnQdLsi7DpE5D9+wrowBoY6YI0hB1xKYV9ikMtCewPfXHbpvfIm5xd6MjcgXQ+pT1AXmN9Lwv2BOS1cIsXY9Rjqzp32dAHjaAnlXubDbGq7OflR1ErAHac/sXC/hP3jwruvm02egJfRWOIpy9/osG49cIVGdbMvSCNLXfI2X5DD3dq9Epiw627mhu2TdBNU/tXQ3McxmqXWt0B+LtmQczA2tvamBCj2ZX7cfS0WVKFOxvYq6wNQ2UhxxmPLMSO1QjZaarL0LeZ7zG+03JUuUlTQr4XAE+LorVYmZd3shGXAs2r4i/qp8IwOtMrOeZOe3q+g4f1lCUTMA+ZgABh+VIVUvom3CV+7WLbsj6ely1+vMOKSBewWyQdYgRbGZ2AXuNyg8OYLfGCBmpi2+oK3SXiaRzWoxwn2baYddzWr4Y0LITSx3ttCFdzYb3HwOr+XiOHz+4AdiOU9/l+aI+PkAniXKHWaxd2Hk/2QtF7iubChcdQ83MUb8u0ykyRnpGisFV6y1WK8lf0Jcp2vmirdT4zXQl8mJu7Mqf0mqBDexAm8qyle31TYHebxauN5QPzOxHVF3TbyMWC6M3t50mrfErLP1NYGP6osLbD8KKi1Ulfdnj9funrBGcGBl+qW+LoYTxx+DezwfT+YYgw3oNTqK+DLtLsgoLDvfj2uHQjMLZrDqRucC150Iffhp1nQv1fFdEGGiEgHzaalvSktFiJnwQ1bdz2zQP+caGZQiCZnlwTyi5LDLEl/MC5bPQxucWMmlQVVfe6deAy6H37xCtqi95bbVCE6oLapmj7fX0C+g8iFeXlXCdFPl4FYY99Zl4nti21nCOpiJnvAOtdS5+mNGKkfK8VbnNfuOGfMmyGc3HDoiERQwHOvH3B7lAsI3tlBuXoGB1BEanjdqIcQ7J06w+wfPVkQhjall6Z3+D/bpapmtkYWZ+55ckwjV25MIVUylxjqponsSWvFrVQCEnP95b/1d43M8g1Fn8avtUbA04V87xMRB18DMuPv9holSEwvAyqqFxOhZOPOu96lsYusSEmq405boaLPx7E2g4cgVJwj4H10N2adUb0PJIbIZzlnTKXeoImPZl8gDMWHMFT22WtT65VO2Xj30cKDub+GUGL1GRvwVh+PlpvVjn8zbKxEv+Oc1VNXABnVtgz2gkNzw6TTz2/H6i8v2COeFEFDwKYkTVYeVRJxWM+nMiQDI6aFzWama7B2sCqFd7NpuuGapdFDLEI6cZhScDrP1b9nwYtEcAYjRZgMCWDPbefLaCiW5rXfxhhTj5XXpqC5QTNVc6N3RAblYwSaWT7LlHAJuWQLkN1Zc2oTl6/dEs+tUZlBa7vr2EHSJ8eZdjHESjaFW7CW2NTv3SvEt5PGyO/DlXVIHoFKmfruO48mUV5V+nHRdDUwUpWVGGt/nPdnWpTN5QGdD8B54xeWRqicroyw8/jccJKe/Hdf9NKLnMjYTeHwRn3Mz4inSoqu/NYnX1Fkvi8c9jTuDGLvZl26FWLYh5Wm9tU9WygBoPooKiAq38IuqoAp1CTmtlUv7FPR30GkUQYf3GkK99QIaTeWP0Ky8ltszePtM7dlqrNqKKaeuBvb9IgA1eSVrob/MsbdrTrJ/Wae6mjctDr954D5t/SgIYoGSWZ6i1TfWNR2TB9wN0+lVD615coth5rBw4p435vAA6TRTBoF6ZYEK2uFjmG/otZ3injuDCfl5VLv2WCv/InpsWqcc+GUtfbKgk099SMyARZ2SnlrkX9HFfBf+44TzDnu6XfPA5gKkSgQ5iimroeLAPLoiHKd/KnwHeTfkWdyiFCXRrJA4H1E5DvzP2LKoGuuanJyiIh7jw1EDU6CUr0e1aRkDIPTYRBPPYjLP2kAdIkNCsTEOubRQiWI4g5/50yFjP7SB+/l2qrpGsdfDD+tiUl5plZUud3DXYfagz+2sAPtH6NBcjBdwvVsthC9+dGC7sdAYuUGAenahs8eYCcTbZHYj8FbS33KD9y5Z2UGAppjV/7rwTg+Iut/1kGt/+viJzXlrSSc++ViMC8Y4pqAUNbCSxBBuASKHj0EmuUIIj7IF/lTLabB6653BYQ3soYdRVgz70GrvKS3BM45i9gTLyl9q/VrYtP1C8nVUNBfhgRtl97rpIq3ECxXvHhOxuJq4zHXFJS8eA5mKU2H43Eo5iIkz4dhrcXiM9WO3rK1RsN/YrUekEA5wjXkPc38pWgJ5TjQhUwLvJQq4OIQWyDXTnXLX3W60TOTxk1WiZ9UxzDv3w9rw0xTCcgyF9JjCmvAl9ySil74mvOCsWV2MhOhy+fmdQbHeqj0+52/Moj6JlldKuVAzDKYFU2FB1UjhIP0DUcPJ/X1PnNfXb2qPy2E/Gv7my6AdbfdtQ6hXPo/CTmLwg8dC7nm8UD9FXXRnY5b2DReeE5loEiNT0Nx+vTVHyNXDoMqPB5B7YAys8Y2CyCPPr0/+0bxK6vEF9HKTVyJNtAptV95NgelsfFqDa5RnoJxlDHFKkrxjIUukS9GAQrpxqpPnFJSIpYNigJoaDdpJJV2JvG004Qsrbnlu9z0ezYCejhu5lac1PtcIPKO295kNtCbttqfGs+mVX4Z6cexWr8T3oukvP7nTucgirG2k6IM7Pf081edtVTrszt69QIaE6znbIEXC5cF6kl6B8lvMJJeUS0I1Lg5iyckPBrPnKy9EGl0TrovxMUlR/5f961ijSru9XeD1dT3vK7lCPQBtksmHILH7llvt3ZhBbS9x8VCBkl6zofJpRZKfK4vmp9FsIeVcdHby4XzzA8kkyqDUuauRqrdvI06TRFy0DFfrdDSupfI7EtKWQfEBuVMplRMFJGAlQg7ml+uDZT8eRJGe981q3SO6K0eTB2q3cXGJdVB6OYIRTVKJes4Luh8dwAtMsTrWPliHYUus6E4bRTUjFQo+VUIkVjo3EKPEtFyB1zs4SQv8vzdsoJGjR5KZW7gwWinIqnCWx30Q4wbTNzRG6i9xBI7MUEpYc9AS8WCY1h3Xk/CuwA66FQuHkfsg5tYqQ+awTkxP/IrWj3w+cGz1zoIW0H9vrDkm1yJvS2i/736raqxSaTS9sWyP85MKYUl6qObU6gYbRxlLUpmgvhJn0vC9rSoZ5aIPEo85oVd8I9Q5plX0XU4lHLqI8M69+xzh92HeBWtrGiXAxjbB+Ozws+hsb1BpS6yuLgBsXJusgvG2PeN+pug0SyhwOZoWmKyuuEPpXlTpsSfE0kRnMkzKaVhG3vjUVaGr/C7HM3SlzVxaxwhq0HUUzOWISh2eagyl19WJDAUp/PJtPR8+FqCwPhBqyJs5KdMcKSYiqbNaXn13vr+r0SCXkhTWpjxZ0SPIVTNL82ynRVR9ASdUKmgd72L0mGB/RQO0zj/nuL9luwE72BxpIMnEe0VL6jAZruoNzA06OYWj96wdvYwrxcP/4e7Z7aNy3zYMccCrVvcGbNxm+WFnO+cIokepS0m92DVPnUQZMYubcx/SrUVthb4cEtfYgd2B9axCPZcNZ8OAxp+bNIK40HiSsGnENs0o5YsbAXVQtN8vtS6QbRCHpwKTYdjhaPm2U+uVREfPOHEb+V9J2ZpF8oaBBjlDpmaef1Din75fsUQZ+LBVipNli00bIyb9ZzkGjZkLMw+1a3MQZmAE5S5A5GmIPSZ5bCQGPmmfep4vHKkNxulg9ebNic8nN1f2hEHqZJiqN6AhsBd1TYOx6Of/USE1SJfaq6mPC9TmUf5NrvRVYAfTseBJPUVv2g1vnJ2QGaRVNWM7uLjK98XzDsUAIegJN89FWNUywCS4sTItvRf2CyFyrm/apkEzm4t714dKtg7JhlQAy6hnIjc6aP00UfsuJWkLn3mDm/E1VPmfzRxhZK+XCs1DAP9BxowfRFphfHexm+5NfqAodDb5ESOgof5QhvWDQ0+7ozBLs043GDQwnLtS6bXL06HTjLEzw0NIOIgggXE16OQUHmYbkZM20f7LAd5tCgleQi+SmowyTGyrmBsU+bj+dlAPiuTBd8w3UimBQ1nLrL6Gqd1ImyOybrxbKUXj4MhmG5Q0hJI+sv0vQ7Tq0JmeCLlDrcQlMfupunzF4Wg1sBmwfhR4VkQyjWQdZvmjhaEjaZyNZp0lsKXx98AlQwS0/wkC/hYmveYJKldjASOzBrFONk/7KYeUhoGTuv04sMQUaTsw359hpnOojXc5TO5EMuQwQxGhyn+fQGnu1Pmy9N0S5r98R2CYXK1L4QV/eM9JiW7vWXmfS8mPic+ELlnaeyB1lJ1Y3xseggb0Yfc+piQZQ4Z8k2/vMK6uXmiRIDWCzh2attBkWkOnwZpb8m8bUSOzNcNEMKUyuhlyT4gZJnTFtbeCMGKrnnfkHyzcqJ36mmVra4Jf/u1fNi6fya/ODfnwiAvnaP5GBUiGxbhHvhgzR+2iAkhvW4+/gm1rHALDk30VQqDYtN59p2Fd3zZKVbFEWOxZqjJeZpVJBL17v1KiRldsb4RRFrd1fXoYiKAZ/xqfJF+A57juElhTmCsHRBBBoP2FWtPm+2kuhHsUE4C9Zgg+/OhhecYy/7tvxAkrxwbQ9CN3OU7fENbssDpMmUiwu2+NKc4NfR736Rlth9sd0u7IZlgHooF5TJrsVMq+obS+Zfjx3jChtA+uKhzPDBNlQ6JAPn+ezhXSowSORK3Jg1B5cgvCv9Nh8YTc0v68uNSy2wmhQwYSb+ElQ/ZZUnT5CGKxOPmS3A4jevrbPcu7YJPkAAu+qjpenhCNmxcmtvknplJDiuVecVVgw9I00egktQbCK9EavllgsmyopaQ1Aj0Nqo4FxkY0D5c2Ob6YAqR6gMFWfHBx1ZTEbhdT7fP5Vjb8RerYakEHyrs07x3LhmE/i5WIs+00Hhl8Lpk3gCtAqVmUHtZaHzo0Ov2hTtUHfTDj9edYvNhET7BQhbCkwqcvfcdmh+aiqU7iDJyrPzXk1VnRwh13UItxs9P/gD6eB9zU4pEGFKFU02a4/T3zqaHr9mT1u0LkdUe4M/sPkrZ1S5h01VlNqdtFaqGf6HP1dcx6wNjdDKBRFNRH1w27C+p3H3HJ/Wbj4Sk3TlazMprdEowDzQts3O6/XGGDlSB5/8XS5geRVV1E2n8Y/Bddr1jfO2nyYqIJ8l4653Ygwt9IQGP2AWOOBl0DuWIAtYm3z28gk7H6BgBipM8ttW0p6LcydUtwT21t+hefbMmH1vertjXVDAt6LjlwisFzQ5oC8+6vV2uGbDrwKoO562gVlsrOxDJUfr2arKZlOaVTKrb3tTQHBj9917iaOmNQiNwTieHAFmUQTyZtDDd3nuRzS086Ikds+0UUF6fMXg15LGJmwXKTCBR+PP7Y95ObJz49uvqzCIaVY/M6VguAonyOJgZve+EnxbvGX7I7wLChLGY+XbZwAZLipfPYL9hA746Y9KT3VTxNUg/oeJSVE/bTR6e2cwd8f/U/oPDxHakb6RFzjriKRAaHgGAliYn89tp8tx5weBuYTeAqXFCprPAAe5P/Hcww5iFsKpMN0FRid3R9HZFr/hoiP4VOMIF/7NJEuQ0AcxYn8JEdrqqJU2E38k3KI8zHFDbZpyY2cVhDLIOtQndQ+5V4jz/jOIUBdeDQjRFevI4tPAlRZjGDFmxWoAqBHyq3UUVT6RfHOxu61sgsPEdbaaR4eKvI+Ph6YcEsJtZ6sYFWZbHgAMb/Zsl0tOi0zuvpX1FXtucybeGgsLLVdmRwFJKSVyMhKj1cAyxykV6ucEPh9O1OzVArSoUOJ+Jf23ZzykRFdV2MLmeI93jkZ57t9nBc60ckTr8NXwmuce0R9wQJ49osZVcq1GH5gOPVu5ueojUa0ygklGvJp/65KDXgLDZGqfZgf+vUnkDaGVB7NaH8kWuWxUSzy1TFIeJzLuAR10G32jd2pwJuT01ihz6x0V7Wdm+ZEOrF0vYlhCXVpqyHZX1rRwtUvxHMSsA4WgL0OWS7a5xBgBXceiXzUxj8LSJQHzH+BtrQFlTxIOszkuC08gaRdAap8vQ/Rd/vkNfOhphhyavtecoj8w7eCJGfCsgTBpx11KTcAyKLE8VDUQlLMhJKvsQAECY7o8On2RpD8mOCx34Is+OAV0LHndnXg3MJURzqkK892a/8D+vbooF6s/cXx3c17RXDJauKDJuuzj8kLTCkVZs8RKPTXaO3T9656Scuh45pfnwTRPKKzABPDAyhl3nP6LxJkNk4xkF046wTKykQR6pV2rttUM2T1G8vrrmasWmEdscCoXrccpbx5GcgKRA64tvRGtGu514eFYueYJkIliS2zbYG7vjKSeW0HV8RtUv85jrRbTdwXD2vRLpziqxz6p5Ku8sGPuvlVgZ06OTdkT76a3743rUs+UTh7yNb1TQ6FA0DUCQK3hxRonIHhsjJlGCOiLbNwM/tCF/QPUFgyeupCcJ64" title="Mekko Graphics Chart">
            <a:extLst>
              <a:ext uri="{FF2B5EF4-FFF2-40B4-BE49-F238E27FC236}">
                <a16:creationId xmlns:a16="http://schemas.microsoft.com/office/drawing/2014/main" id="{B100C087-CE4B-4ECD-B449-B20F23BC11BF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 bwMode="gray">
          <a:xfrm>
            <a:off x="342864" y="2013488"/>
            <a:ext cx="11517313" cy="4306191"/>
          </a:xfrm>
          <a:prstGeom prst="rect">
            <a:avLst/>
          </a:prstGeom>
          <a:blipFill dpi="0" rotWithShape="1">
            <a:blip r:embed="rId8"/>
            <a:srcRect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Pro</a:t>
            </a:r>
          </a:p>
        </p:txBody>
      </p:sp>
      <p:grpSp>
        <p:nvGrpSpPr>
          <p:cNvPr id="27" name="btfpRunningAgenda1Level432015">
            <a:extLst>
              <a:ext uri="{FF2B5EF4-FFF2-40B4-BE49-F238E27FC236}">
                <a16:creationId xmlns:a16="http://schemas.microsoft.com/office/drawing/2014/main" id="{9FE73D54-395E-4186-8EE5-37A186AB53AF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" y="944429"/>
            <a:ext cx="2747768" cy="257442"/>
            <a:chOff x="0" y="944429"/>
            <a:chExt cx="2747768" cy="257442"/>
          </a:xfrm>
        </p:grpSpPr>
        <p:sp>
          <p:nvSpPr>
            <p:cNvPr id="28" name="btfpRunningAgenda1LevelBarLeft432015">
              <a:extLst>
                <a:ext uri="{FF2B5EF4-FFF2-40B4-BE49-F238E27FC236}">
                  <a16:creationId xmlns:a16="http://schemas.microsoft.com/office/drawing/2014/main" id="{3180C883-106C-4387-81DF-B406C1673B34}"/>
                </a:ext>
              </a:extLst>
            </p:cNvPr>
            <p:cNvSpPr/>
            <p:nvPr/>
          </p:nvSpPr>
          <p:spPr bwMode="gray">
            <a:xfrm>
              <a:off x="0" y="944429"/>
              <a:ext cx="2747768" cy="257442"/>
            </a:xfrm>
            <a:custGeom>
              <a:avLst/>
              <a:gdLst>
                <a:gd name="connsiteX0" fmla="*/ 968434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8434 w 1816204"/>
                <a:gd name="connsiteY0" fmla="*/ 0 h 257442"/>
                <a:gd name="connsiteX1" fmla="*/ 913714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8434 w 968434"/>
                <a:gd name="connsiteY0" fmla="*/ 0 h 257442"/>
                <a:gd name="connsiteX1" fmla="*/ 913714 w 968434"/>
                <a:gd name="connsiteY1" fmla="*/ 257442 h 257442"/>
                <a:gd name="connsiteX2" fmla="*/ 1 w 968434"/>
                <a:gd name="connsiteY2" fmla="*/ 257442 h 257442"/>
                <a:gd name="connsiteX3" fmla="*/ 0 w 968434"/>
                <a:gd name="connsiteY3" fmla="*/ 257442 h 257442"/>
                <a:gd name="connsiteX0" fmla="*/ 968433 w 968433"/>
                <a:gd name="connsiteY0" fmla="*/ 0 h 257442"/>
                <a:gd name="connsiteX1" fmla="*/ 913713 w 968433"/>
                <a:gd name="connsiteY1" fmla="*/ 257442 h 257442"/>
                <a:gd name="connsiteX2" fmla="*/ 0 w 968433"/>
                <a:gd name="connsiteY2" fmla="*/ 257442 h 257442"/>
                <a:gd name="connsiteX3" fmla="*/ 0 w 968433"/>
                <a:gd name="connsiteY3" fmla="*/ 0 h 257442"/>
                <a:gd name="connsiteX0" fmla="*/ 1136749 w 1136749"/>
                <a:gd name="connsiteY0" fmla="*/ 0 h 257442"/>
                <a:gd name="connsiteX1" fmla="*/ 913713 w 1136749"/>
                <a:gd name="connsiteY1" fmla="*/ 257442 h 257442"/>
                <a:gd name="connsiteX2" fmla="*/ 0 w 1136749"/>
                <a:gd name="connsiteY2" fmla="*/ 257442 h 257442"/>
                <a:gd name="connsiteX3" fmla="*/ 0 w 1136749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0 w 1136749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0 w 1136749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0 w 1136749"/>
                <a:gd name="connsiteY3" fmla="*/ 0 h 257442"/>
                <a:gd name="connsiteX0" fmla="*/ 1305064 w 1305064"/>
                <a:gd name="connsiteY0" fmla="*/ 0 h 257442"/>
                <a:gd name="connsiteX1" fmla="*/ 1082028 w 1305064"/>
                <a:gd name="connsiteY1" fmla="*/ 257442 h 257442"/>
                <a:gd name="connsiteX2" fmla="*/ 0 w 1305064"/>
                <a:gd name="connsiteY2" fmla="*/ 257442 h 257442"/>
                <a:gd name="connsiteX3" fmla="*/ 0 w 1305064"/>
                <a:gd name="connsiteY3" fmla="*/ 0 h 257442"/>
                <a:gd name="connsiteX0" fmla="*/ 1305064 w 1305064"/>
                <a:gd name="connsiteY0" fmla="*/ 0 h 257442"/>
                <a:gd name="connsiteX1" fmla="*/ 1250342 w 1305064"/>
                <a:gd name="connsiteY1" fmla="*/ 257442 h 257442"/>
                <a:gd name="connsiteX2" fmla="*/ 0 w 1305064"/>
                <a:gd name="connsiteY2" fmla="*/ 257442 h 257442"/>
                <a:gd name="connsiteX3" fmla="*/ 0 w 1305064"/>
                <a:gd name="connsiteY3" fmla="*/ 0 h 257442"/>
                <a:gd name="connsiteX0" fmla="*/ 1305065 w 1305065"/>
                <a:gd name="connsiteY0" fmla="*/ 0 h 257442"/>
                <a:gd name="connsiteX1" fmla="*/ 1250343 w 1305065"/>
                <a:gd name="connsiteY1" fmla="*/ 257442 h 257442"/>
                <a:gd name="connsiteX2" fmla="*/ 0 w 1305065"/>
                <a:gd name="connsiteY2" fmla="*/ 257442 h 257442"/>
                <a:gd name="connsiteX3" fmla="*/ 1 w 1305065"/>
                <a:gd name="connsiteY3" fmla="*/ 0 h 257442"/>
                <a:gd name="connsiteX0" fmla="*/ 1305065 w 1305065"/>
                <a:gd name="connsiteY0" fmla="*/ 0 h 257442"/>
                <a:gd name="connsiteX1" fmla="*/ 1250343 w 1305065"/>
                <a:gd name="connsiteY1" fmla="*/ 257442 h 257442"/>
                <a:gd name="connsiteX2" fmla="*/ 0 w 1305065"/>
                <a:gd name="connsiteY2" fmla="*/ 257442 h 257442"/>
                <a:gd name="connsiteX3" fmla="*/ 1 w 1305065"/>
                <a:gd name="connsiteY3" fmla="*/ 0 h 257442"/>
                <a:gd name="connsiteX0" fmla="*/ 1558339 w 1558339"/>
                <a:gd name="connsiteY0" fmla="*/ 0 h 257442"/>
                <a:gd name="connsiteX1" fmla="*/ 1250343 w 1558339"/>
                <a:gd name="connsiteY1" fmla="*/ 257442 h 257442"/>
                <a:gd name="connsiteX2" fmla="*/ 0 w 1558339"/>
                <a:gd name="connsiteY2" fmla="*/ 257442 h 257442"/>
                <a:gd name="connsiteX3" fmla="*/ 1 w 1558339"/>
                <a:gd name="connsiteY3" fmla="*/ 0 h 257442"/>
                <a:gd name="connsiteX0" fmla="*/ 1558339 w 1558339"/>
                <a:gd name="connsiteY0" fmla="*/ 0 h 257442"/>
                <a:gd name="connsiteX1" fmla="*/ 1503618 w 1558339"/>
                <a:gd name="connsiteY1" fmla="*/ 257442 h 257442"/>
                <a:gd name="connsiteX2" fmla="*/ 0 w 1558339"/>
                <a:gd name="connsiteY2" fmla="*/ 257442 h 257442"/>
                <a:gd name="connsiteX3" fmla="*/ 1 w 1558339"/>
                <a:gd name="connsiteY3" fmla="*/ 0 h 257442"/>
                <a:gd name="connsiteX0" fmla="*/ 1558339 w 1558339"/>
                <a:gd name="connsiteY0" fmla="*/ 0 h 257442"/>
                <a:gd name="connsiteX1" fmla="*/ 1503618 w 1558339"/>
                <a:gd name="connsiteY1" fmla="*/ 257442 h 257442"/>
                <a:gd name="connsiteX2" fmla="*/ 0 w 1558339"/>
                <a:gd name="connsiteY2" fmla="*/ 257442 h 257442"/>
                <a:gd name="connsiteX3" fmla="*/ 1 w 1558339"/>
                <a:gd name="connsiteY3" fmla="*/ 0 h 257442"/>
                <a:gd name="connsiteX0" fmla="*/ 1558339 w 1558339"/>
                <a:gd name="connsiteY0" fmla="*/ 0 h 257442"/>
                <a:gd name="connsiteX1" fmla="*/ 1503618 w 1558339"/>
                <a:gd name="connsiteY1" fmla="*/ 257442 h 257442"/>
                <a:gd name="connsiteX2" fmla="*/ 0 w 1558339"/>
                <a:gd name="connsiteY2" fmla="*/ 257442 h 257442"/>
                <a:gd name="connsiteX3" fmla="*/ 0 w 1558339"/>
                <a:gd name="connsiteY3" fmla="*/ 0 h 257442"/>
                <a:gd name="connsiteX0" fmla="*/ 1726655 w 1726655"/>
                <a:gd name="connsiteY0" fmla="*/ 0 h 257442"/>
                <a:gd name="connsiteX1" fmla="*/ 1503618 w 1726655"/>
                <a:gd name="connsiteY1" fmla="*/ 257442 h 257442"/>
                <a:gd name="connsiteX2" fmla="*/ 0 w 1726655"/>
                <a:gd name="connsiteY2" fmla="*/ 257442 h 257442"/>
                <a:gd name="connsiteX3" fmla="*/ 0 w 1726655"/>
                <a:gd name="connsiteY3" fmla="*/ 0 h 257442"/>
                <a:gd name="connsiteX0" fmla="*/ 1726655 w 1726655"/>
                <a:gd name="connsiteY0" fmla="*/ 0 h 257442"/>
                <a:gd name="connsiteX1" fmla="*/ 1671934 w 1726655"/>
                <a:gd name="connsiteY1" fmla="*/ 257442 h 257442"/>
                <a:gd name="connsiteX2" fmla="*/ 0 w 1726655"/>
                <a:gd name="connsiteY2" fmla="*/ 257442 h 257442"/>
                <a:gd name="connsiteX3" fmla="*/ 0 w 1726655"/>
                <a:gd name="connsiteY3" fmla="*/ 0 h 257442"/>
                <a:gd name="connsiteX0" fmla="*/ 1726655 w 1726655"/>
                <a:gd name="connsiteY0" fmla="*/ 0 h 257442"/>
                <a:gd name="connsiteX1" fmla="*/ 1671934 w 1726655"/>
                <a:gd name="connsiteY1" fmla="*/ 257442 h 257442"/>
                <a:gd name="connsiteX2" fmla="*/ 0 w 1726655"/>
                <a:gd name="connsiteY2" fmla="*/ 257442 h 257442"/>
                <a:gd name="connsiteX3" fmla="*/ 0 w 1726655"/>
                <a:gd name="connsiteY3" fmla="*/ 0 h 257442"/>
                <a:gd name="connsiteX0" fmla="*/ 1726655 w 1726655"/>
                <a:gd name="connsiteY0" fmla="*/ 0 h 257442"/>
                <a:gd name="connsiteX1" fmla="*/ 1671934 w 1726655"/>
                <a:gd name="connsiteY1" fmla="*/ 257442 h 257442"/>
                <a:gd name="connsiteX2" fmla="*/ 0 w 1726655"/>
                <a:gd name="connsiteY2" fmla="*/ 257442 h 257442"/>
                <a:gd name="connsiteX3" fmla="*/ 0 w 1726655"/>
                <a:gd name="connsiteY3" fmla="*/ 0 h 257442"/>
                <a:gd name="connsiteX0" fmla="*/ 1886955 w 1886955"/>
                <a:gd name="connsiteY0" fmla="*/ 0 h 257442"/>
                <a:gd name="connsiteX1" fmla="*/ 1671934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1726655 w 1832234"/>
                <a:gd name="connsiteY0" fmla="*/ 0 h 257442"/>
                <a:gd name="connsiteX1" fmla="*/ 1832234 w 1832234"/>
                <a:gd name="connsiteY1" fmla="*/ 257442 h 257442"/>
                <a:gd name="connsiteX2" fmla="*/ 0 w 1832234"/>
                <a:gd name="connsiteY2" fmla="*/ 257442 h 257442"/>
                <a:gd name="connsiteX3" fmla="*/ 0 w 1832234"/>
                <a:gd name="connsiteY3" fmla="*/ 0 h 257442"/>
                <a:gd name="connsiteX0" fmla="*/ 1726655 w 1726655"/>
                <a:gd name="connsiteY0" fmla="*/ 0 h 257442"/>
                <a:gd name="connsiteX1" fmla="*/ 1671934 w 1726655"/>
                <a:gd name="connsiteY1" fmla="*/ 257442 h 257442"/>
                <a:gd name="connsiteX2" fmla="*/ 0 w 1726655"/>
                <a:gd name="connsiteY2" fmla="*/ 257442 h 257442"/>
                <a:gd name="connsiteX3" fmla="*/ 0 w 1726655"/>
                <a:gd name="connsiteY3" fmla="*/ 0 h 257442"/>
                <a:gd name="connsiteX0" fmla="*/ 1726655 w 1726655"/>
                <a:gd name="connsiteY0" fmla="*/ 0 h 257442"/>
                <a:gd name="connsiteX1" fmla="*/ 1671934 w 1726655"/>
                <a:gd name="connsiteY1" fmla="*/ 257442 h 257442"/>
                <a:gd name="connsiteX2" fmla="*/ 1 w 1726655"/>
                <a:gd name="connsiteY2" fmla="*/ 257442 h 257442"/>
                <a:gd name="connsiteX3" fmla="*/ 0 w 1726655"/>
                <a:gd name="connsiteY3" fmla="*/ 0 h 257442"/>
                <a:gd name="connsiteX0" fmla="*/ 1726654 w 1726654"/>
                <a:gd name="connsiteY0" fmla="*/ 0 h 257442"/>
                <a:gd name="connsiteX1" fmla="*/ 1671933 w 1726654"/>
                <a:gd name="connsiteY1" fmla="*/ 257442 h 257442"/>
                <a:gd name="connsiteX2" fmla="*/ 0 w 1726654"/>
                <a:gd name="connsiteY2" fmla="*/ 257442 h 257442"/>
                <a:gd name="connsiteX3" fmla="*/ 0 w 1726654"/>
                <a:gd name="connsiteY3" fmla="*/ 0 h 257442"/>
                <a:gd name="connsiteX0" fmla="*/ 1987944 w 1987944"/>
                <a:gd name="connsiteY0" fmla="*/ 0 h 257442"/>
                <a:gd name="connsiteX1" fmla="*/ 1671933 w 1987944"/>
                <a:gd name="connsiteY1" fmla="*/ 257442 h 257442"/>
                <a:gd name="connsiteX2" fmla="*/ 0 w 1987944"/>
                <a:gd name="connsiteY2" fmla="*/ 257442 h 257442"/>
                <a:gd name="connsiteX3" fmla="*/ 0 w 1987944"/>
                <a:gd name="connsiteY3" fmla="*/ 0 h 257442"/>
                <a:gd name="connsiteX0" fmla="*/ 1987944 w 1987944"/>
                <a:gd name="connsiteY0" fmla="*/ 0 h 257442"/>
                <a:gd name="connsiteX1" fmla="*/ 1933223 w 1987944"/>
                <a:gd name="connsiteY1" fmla="*/ 257442 h 257442"/>
                <a:gd name="connsiteX2" fmla="*/ 0 w 1987944"/>
                <a:gd name="connsiteY2" fmla="*/ 257442 h 257442"/>
                <a:gd name="connsiteX3" fmla="*/ 0 w 1987944"/>
                <a:gd name="connsiteY3" fmla="*/ 0 h 257442"/>
                <a:gd name="connsiteX0" fmla="*/ 1987944 w 1987944"/>
                <a:gd name="connsiteY0" fmla="*/ 0 h 257442"/>
                <a:gd name="connsiteX1" fmla="*/ 1933223 w 1987944"/>
                <a:gd name="connsiteY1" fmla="*/ 257442 h 257442"/>
                <a:gd name="connsiteX2" fmla="*/ 0 w 1987944"/>
                <a:gd name="connsiteY2" fmla="*/ 257442 h 257442"/>
                <a:gd name="connsiteX3" fmla="*/ 0 w 1987944"/>
                <a:gd name="connsiteY3" fmla="*/ 0 h 257442"/>
                <a:gd name="connsiteX0" fmla="*/ 1987944 w 1987944"/>
                <a:gd name="connsiteY0" fmla="*/ 0 h 257442"/>
                <a:gd name="connsiteX1" fmla="*/ 1933223 w 1987944"/>
                <a:gd name="connsiteY1" fmla="*/ 257442 h 257442"/>
                <a:gd name="connsiteX2" fmla="*/ 0 w 1987944"/>
                <a:gd name="connsiteY2" fmla="*/ 257442 h 257442"/>
                <a:gd name="connsiteX3" fmla="*/ 0 w 1987944"/>
                <a:gd name="connsiteY3" fmla="*/ 0 h 257442"/>
                <a:gd name="connsiteX0" fmla="*/ 2257248 w 2257248"/>
                <a:gd name="connsiteY0" fmla="*/ 0 h 257442"/>
                <a:gd name="connsiteX1" fmla="*/ 1933223 w 2257248"/>
                <a:gd name="connsiteY1" fmla="*/ 257442 h 257442"/>
                <a:gd name="connsiteX2" fmla="*/ 0 w 2257248"/>
                <a:gd name="connsiteY2" fmla="*/ 257442 h 257442"/>
                <a:gd name="connsiteX3" fmla="*/ 0 w 2257248"/>
                <a:gd name="connsiteY3" fmla="*/ 0 h 257442"/>
                <a:gd name="connsiteX0" fmla="*/ 2257248 w 2257248"/>
                <a:gd name="connsiteY0" fmla="*/ 0 h 257442"/>
                <a:gd name="connsiteX1" fmla="*/ 2202527 w 2257248"/>
                <a:gd name="connsiteY1" fmla="*/ 257442 h 257442"/>
                <a:gd name="connsiteX2" fmla="*/ 0 w 2257248"/>
                <a:gd name="connsiteY2" fmla="*/ 257442 h 257442"/>
                <a:gd name="connsiteX3" fmla="*/ 0 w 2257248"/>
                <a:gd name="connsiteY3" fmla="*/ 0 h 257442"/>
                <a:gd name="connsiteX0" fmla="*/ 2257248 w 2257248"/>
                <a:gd name="connsiteY0" fmla="*/ 0 h 257442"/>
                <a:gd name="connsiteX1" fmla="*/ 2202527 w 2257248"/>
                <a:gd name="connsiteY1" fmla="*/ 257442 h 257442"/>
                <a:gd name="connsiteX2" fmla="*/ 0 w 2257248"/>
                <a:gd name="connsiteY2" fmla="*/ 257442 h 257442"/>
                <a:gd name="connsiteX3" fmla="*/ 0 w 2257248"/>
                <a:gd name="connsiteY3" fmla="*/ 0 h 257442"/>
                <a:gd name="connsiteX0" fmla="*/ 2257248 w 2257248"/>
                <a:gd name="connsiteY0" fmla="*/ 0 h 257442"/>
                <a:gd name="connsiteX1" fmla="*/ 2202527 w 2257248"/>
                <a:gd name="connsiteY1" fmla="*/ 257442 h 257442"/>
                <a:gd name="connsiteX2" fmla="*/ 0 w 2257248"/>
                <a:gd name="connsiteY2" fmla="*/ 257442 h 257442"/>
                <a:gd name="connsiteX3" fmla="*/ 0 w 2257248"/>
                <a:gd name="connsiteY3" fmla="*/ 0 h 257442"/>
                <a:gd name="connsiteX0" fmla="*/ 2435182 w 2435182"/>
                <a:gd name="connsiteY0" fmla="*/ 0 h 257442"/>
                <a:gd name="connsiteX1" fmla="*/ 2202527 w 2435182"/>
                <a:gd name="connsiteY1" fmla="*/ 257442 h 257442"/>
                <a:gd name="connsiteX2" fmla="*/ 0 w 2435182"/>
                <a:gd name="connsiteY2" fmla="*/ 257442 h 257442"/>
                <a:gd name="connsiteX3" fmla="*/ 0 w 2435182"/>
                <a:gd name="connsiteY3" fmla="*/ 0 h 257442"/>
                <a:gd name="connsiteX0" fmla="*/ 2435182 w 2435182"/>
                <a:gd name="connsiteY0" fmla="*/ 0 h 257442"/>
                <a:gd name="connsiteX1" fmla="*/ 2380461 w 2435182"/>
                <a:gd name="connsiteY1" fmla="*/ 257442 h 257442"/>
                <a:gd name="connsiteX2" fmla="*/ 0 w 2435182"/>
                <a:gd name="connsiteY2" fmla="*/ 257442 h 257442"/>
                <a:gd name="connsiteX3" fmla="*/ 0 w 2435182"/>
                <a:gd name="connsiteY3" fmla="*/ 0 h 257442"/>
                <a:gd name="connsiteX0" fmla="*/ 2435182 w 2435182"/>
                <a:gd name="connsiteY0" fmla="*/ 0 h 257442"/>
                <a:gd name="connsiteX1" fmla="*/ 2380461 w 2435182"/>
                <a:gd name="connsiteY1" fmla="*/ 257442 h 257442"/>
                <a:gd name="connsiteX2" fmla="*/ 0 w 2435182"/>
                <a:gd name="connsiteY2" fmla="*/ 257442 h 257442"/>
                <a:gd name="connsiteX3" fmla="*/ 0 w 2435182"/>
                <a:gd name="connsiteY3" fmla="*/ 0 h 257442"/>
                <a:gd name="connsiteX0" fmla="*/ 2435182 w 2435182"/>
                <a:gd name="connsiteY0" fmla="*/ 0 h 257442"/>
                <a:gd name="connsiteX1" fmla="*/ 2380461 w 2435182"/>
                <a:gd name="connsiteY1" fmla="*/ 257442 h 257442"/>
                <a:gd name="connsiteX2" fmla="*/ 0 w 2435182"/>
                <a:gd name="connsiteY2" fmla="*/ 257442 h 257442"/>
                <a:gd name="connsiteX3" fmla="*/ 0 w 2435182"/>
                <a:gd name="connsiteY3" fmla="*/ 0 h 257442"/>
                <a:gd name="connsiteX0" fmla="*/ 2603497 w 2603497"/>
                <a:gd name="connsiteY0" fmla="*/ 0 h 257442"/>
                <a:gd name="connsiteX1" fmla="*/ 2380461 w 2603497"/>
                <a:gd name="connsiteY1" fmla="*/ 257442 h 257442"/>
                <a:gd name="connsiteX2" fmla="*/ 0 w 2603497"/>
                <a:gd name="connsiteY2" fmla="*/ 257442 h 257442"/>
                <a:gd name="connsiteX3" fmla="*/ 0 w 2603497"/>
                <a:gd name="connsiteY3" fmla="*/ 0 h 257442"/>
                <a:gd name="connsiteX0" fmla="*/ 2603497 w 2603497"/>
                <a:gd name="connsiteY0" fmla="*/ 0 h 257442"/>
                <a:gd name="connsiteX1" fmla="*/ 2548776 w 2603497"/>
                <a:gd name="connsiteY1" fmla="*/ 257442 h 257442"/>
                <a:gd name="connsiteX2" fmla="*/ 0 w 2603497"/>
                <a:gd name="connsiteY2" fmla="*/ 257442 h 257442"/>
                <a:gd name="connsiteX3" fmla="*/ 0 w 2603497"/>
                <a:gd name="connsiteY3" fmla="*/ 0 h 257442"/>
                <a:gd name="connsiteX0" fmla="*/ 2603497 w 2603497"/>
                <a:gd name="connsiteY0" fmla="*/ 0 h 257442"/>
                <a:gd name="connsiteX1" fmla="*/ 2548776 w 2603497"/>
                <a:gd name="connsiteY1" fmla="*/ 257442 h 257442"/>
                <a:gd name="connsiteX2" fmla="*/ 0 w 2603497"/>
                <a:gd name="connsiteY2" fmla="*/ 257442 h 257442"/>
                <a:gd name="connsiteX3" fmla="*/ 0 w 2603497"/>
                <a:gd name="connsiteY3" fmla="*/ 0 h 257442"/>
                <a:gd name="connsiteX0" fmla="*/ 2603497 w 2603497"/>
                <a:gd name="connsiteY0" fmla="*/ 0 h 257442"/>
                <a:gd name="connsiteX1" fmla="*/ 2548776 w 2603497"/>
                <a:gd name="connsiteY1" fmla="*/ 257442 h 257442"/>
                <a:gd name="connsiteX2" fmla="*/ 0 w 2603497"/>
                <a:gd name="connsiteY2" fmla="*/ 257442 h 257442"/>
                <a:gd name="connsiteX3" fmla="*/ 0 w 2603497"/>
                <a:gd name="connsiteY3" fmla="*/ 0 h 257442"/>
                <a:gd name="connsiteX0" fmla="*/ 2763797 w 2763797"/>
                <a:gd name="connsiteY0" fmla="*/ 0 h 257442"/>
                <a:gd name="connsiteX1" fmla="*/ 2548776 w 2763797"/>
                <a:gd name="connsiteY1" fmla="*/ 257442 h 257442"/>
                <a:gd name="connsiteX2" fmla="*/ 0 w 2763797"/>
                <a:gd name="connsiteY2" fmla="*/ 257442 h 257442"/>
                <a:gd name="connsiteX3" fmla="*/ 0 w 2763797"/>
                <a:gd name="connsiteY3" fmla="*/ 0 h 257442"/>
                <a:gd name="connsiteX0" fmla="*/ 2763797 w 2763797"/>
                <a:gd name="connsiteY0" fmla="*/ 0 h 257442"/>
                <a:gd name="connsiteX1" fmla="*/ 2709076 w 2763797"/>
                <a:gd name="connsiteY1" fmla="*/ 257442 h 257442"/>
                <a:gd name="connsiteX2" fmla="*/ 0 w 2763797"/>
                <a:gd name="connsiteY2" fmla="*/ 257442 h 257442"/>
                <a:gd name="connsiteX3" fmla="*/ 0 w 2763797"/>
                <a:gd name="connsiteY3" fmla="*/ 0 h 257442"/>
                <a:gd name="connsiteX0" fmla="*/ 2763797 w 2763797"/>
                <a:gd name="connsiteY0" fmla="*/ 0 h 257442"/>
                <a:gd name="connsiteX1" fmla="*/ 2709076 w 2763797"/>
                <a:gd name="connsiteY1" fmla="*/ 257442 h 257442"/>
                <a:gd name="connsiteX2" fmla="*/ 0 w 2763797"/>
                <a:gd name="connsiteY2" fmla="*/ 257442 h 257442"/>
                <a:gd name="connsiteX3" fmla="*/ 0 w 2763797"/>
                <a:gd name="connsiteY3" fmla="*/ 0 h 257442"/>
                <a:gd name="connsiteX0" fmla="*/ 2763797 w 2763797"/>
                <a:gd name="connsiteY0" fmla="*/ 0 h 257442"/>
                <a:gd name="connsiteX1" fmla="*/ 2709076 w 2763797"/>
                <a:gd name="connsiteY1" fmla="*/ 257442 h 257442"/>
                <a:gd name="connsiteX2" fmla="*/ 0 w 2763797"/>
                <a:gd name="connsiteY2" fmla="*/ 257442 h 257442"/>
                <a:gd name="connsiteX3" fmla="*/ 0 w 2763797"/>
                <a:gd name="connsiteY3" fmla="*/ 0 h 257442"/>
                <a:gd name="connsiteX0" fmla="*/ 950801 w 2709076"/>
                <a:gd name="connsiteY0" fmla="*/ 0 h 257442"/>
                <a:gd name="connsiteX1" fmla="*/ 2709076 w 2709076"/>
                <a:gd name="connsiteY1" fmla="*/ 257442 h 257442"/>
                <a:gd name="connsiteX2" fmla="*/ 0 w 2709076"/>
                <a:gd name="connsiteY2" fmla="*/ 257442 h 257442"/>
                <a:gd name="connsiteX3" fmla="*/ 0 w 2709076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128734 w 1128734"/>
                <a:gd name="connsiteY0" fmla="*/ 0 h 257442"/>
                <a:gd name="connsiteX1" fmla="*/ 896079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720947 w 1720947"/>
                <a:gd name="connsiteY0" fmla="*/ 0 h 257442"/>
                <a:gd name="connsiteX1" fmla="*/ 1402629 w 1720947"/>
                <a:gd name="connsiteY1" fmla="*/ 257442 h 257442"/>
                <a:gd name="connsiteX2" fmla="*/ 0 w 1720947"/>
                <a:gd name="connsiteY2" fmla="*/ 257442 h 257442"/>
                <a:gd name="connsiteX3" fmla="*/ 0 w 1720947"/>
                <a:gd name="connsiteY3" fmla="*/ 0 h 257442"/>
                <a:gd name="connsiteX0" fmla="*/ 1720947 w 1720947"/>
                <a:gd name="connsiteY0" fmla="*/ 0 h 257442"/>
                <a:gd name="connsiteX1" fmla="*/ 1666226 w 1720947"/>
                <a:gd name="connsiteY1" fmla="*/ 257442 h 257442"/>
                <a:gd name="connsiteX2" fmla="*/ 0 w 1720947"/>
                <a:gd name="connsiteY2" fmla="*/ 257442 h 257442"/>
                <a:gd name="connsiteX3" fmla="*/ 0 w 1720947"/>
                <a:gd name="connsiteY3" fmla="*/ 0 h 257442"/>
                <a:gd name="connsiteX0" fmla="*/ 1720947 w 1720947"/>
                <a:gd name="connsiteY0" fmla="*/ 0 h 257442"/>
                <a:gd name="connsiteX1" fmla="*/ 1666226 w 1720947"/>
                <a:gd name="connsiteY1" fmla="*/ 257442 h 257442"/>
                <a:gd name="connsiteX2" fmla="*/ 0 w 1720947"/>
                <a:gd name="connsiteY2" fmla="*/ 257442 h 257442"/>
                <a:gd name="connsiteX3" fmla="*/ 0 w 1720947"/>
                <a:gd name="connsiteY3" fmla="*/ 0 h 257442"/>
                <a:gd name="connsiteX0" fmla="*/ 1720947 w 1720947"/>
                <a:gd name="connsiteY0" fmla="*/ 0 h 257442"/>
                <a:gd name="connsiteX1" fmla="*/ 1666226 w 1720947"/>
                <a:gd name="connsiteY1" fmla="*/ 257442 h 257442"/>
                <a:gd name="connsiteX2" fmla="*/ 0 w 1720947"/>
                <a:gd name="connsiteY2" fmla="*/ 257442 h 257442"/>
                <a:gd name="connsiteX3" fmla="*/ 0 w 1720947"/>
                <a:gd name="connsiteY3" fmla="*/ 0 h 257442"/>
                <a:gd name="connsiteX0" fmla="*/ 1881248 w 1881248"/>
                <a:gd name="connsiteY0" fmla="*/ 0 h 257442"/>
                <a:gd name="connsiteX1" fmla="*/ 1666226 w 1881248"/>
                <a:gd name="connsiteY1" fmla="*/ 257442 h 257442"/>
                <a:gd name="connsiteX2" fmla="*/ 0 w 1881248"/>
                <a:gd name="connsiteY2" fmla="*/ 257442 h 257442"/>
                <a:gd name="connsiteX3" fmla="*/ 0 w 1881248"/>
                <a:gd name="connsiteY3" fmla="*/ 0 h 257442"/>
                <a:gd name="connsiteX0" fmla="*/ 1881248 w 1881248"/>
                <a:gd name="connsiteY0" fmla="*/ 0 h 257442"/>
                <a:gd name="connsiteX1" fmla="*/ 1826526 w 1881248"/>
                <a:gd name="connsiteY1" fmla="*/ 257442 h 257442"/>
                <a:gd name="connsiteX2" fmla="*/ 0 w 1881248"/>
                <a:gd name="connsiteY2" fmla="*/ 257442 h 257442"/>
                <a:gd name="connsiteX3" fmla="*/ 0 w 1881248"/>
                <a:gd name="connsiteY3" fmla="*/ 0 h 257442"/>
                <a:gd name="connsiteX0" fmla="*/ 1881249 w 1881249"/>
                <a:gd name="connsiteY0" fmla="*/ 0 h 257442"/>
                <a:gd name="connsiteX1" fmla="*/ 1826527 w 1881249"/>
                <a:gd name="connsiteY1" fmla="*/ 257442 h 257442"/>
                <a:gd name="connsiteX2" fmla="*/ 0 w 1881249"/>
                <a:gd name="connsiteY2" fmla="*/ 257442 h 257442"/>
                <a:gd name="connsiteX3" fmla="*/ 1 w 1881249"/>
                <a:gd name="connsiteY3" fmla="*/ 0 h 257442"/>
                <a:gd name="connsiteX0" fmla="*/ 1881249 w 1881249"/>
                <a:gd name="connsiteY0" fmla="*/ 0 h 257442"/>
                <a:gd name="connsiteX1" fmla="*/ 1826527 w 1881249"/>
                <a:gd name="connsiteY1" fmla="*/ 257442 h 257442"/>
                <a:gd name="connsiteX2" fmla="*/ 0 w 1881249"/>
                <a:gd name="connsiteY2" fmla="*/ 257442 h 257442"/>
                <a:gd name="connsiteX3" fmla="*/ 1 w 1881249"/>
                <a:gd name="connsiteY3" fmla="*/ 0 h 257442"/>
                <a:gd name="connsiteX0" fmla="*/ 2041548 w 2041548"/>
                <a:gd name="connsiteY0" fmla="*/ 0 h 257442"/>
                <a:gd name="connsiteX1" fmla="*/ 1826527 w 2041548"/>
                <a:gd name="connsiteY1" fmla="*/ 257442 h 257442"/>
                <a:gd name="connsiteX2" fmla="*/ 0 w 2041548"/>
                <a:gd name="connsiteY2" fmla="*/ 257442 h 257442"/>
                <a:gd name="connsiteX3" fmla="*/ 1 w 2041548"/>
                <a:gd name="connsiteY3" fmla="*/ 0 h 257442"/>
                <a:gd name="connsiteX0" fmla="*/ 2041548 w 2041548"/>
                <a:gd name="connsiteY0" fmla="*/ 0 h 257442"/>
                <a:gd name="connsiteX1" fmla="*/ 1986826 w 2041548"/>
                <a:gd name="connsiteY1" fmla="*/ 257442 h 257442"/>
                <a:gd name="connsiteX2" fmla="*/ 0 w 2041548"/>
                <a:gd name="connsiteY2" fmla="*/ 257442 h 257442"/>
                <a:gd name="connsiteX3" fmla="*/ 1 w 2041548"/>
                <a:gd name="connsiteY3" fmla="*/ 0 h 257442"/>
                <a:gd name="connsiteX0" fmla="*/ 2041549 w 2041549"/>
                <a:gd name="connsiteY0" fmla="*/ 0 h 257442"/>
                <a:gd name="connsiteX1" fmla="*/ 1986827 w 2041549"/>
                <a:gd name="connsiteY1" fmla="*/ 257442 h 257442"/>
                <a:gd name="connsiteX2" fmla="*/ 0 w 2041549"/>
                <a:gd name="connsiteY2" fmla="*/ 257442 h 257442"/>
                <a:gd name="connsiteX3" fmla="*/ 2 w 2041549"/>
                <a:gd name="connsiteY3" fmla="*/ 0 h 257442"/>
                <a:gd name="connsiteX0" fmla="*/ 2041549 w 2041549"/>
                <a:gd name="connsiteY0" fmla="*/ 0 h 257442"/>
                <a:gd name="connsiteX1" fmla="*/ 1986827 w 2041549"/>
                <a:gd name="connsiteY1" fmla="*/ 257442 h 257442"/>
                <a:gd name="connsiteX2" fmla="*/ 0 w 2041549"/>
                <a:gd name="connsiteY2" fmla="*/ 257442 h 257442"/>
                <a:gd name="connsiteX3" fmla="*/ 1 w 2041549"/>
                <a:gd name="connsiteY3" fmla="*/ 0 h 257442"/>
                <a:gd name="connsiteX0" fmla="*/ 2294822 w 2294822"/>
                <a:gd name="connsiteY0" fmla="*/ 0 h 257442"/>
                <a:gd name="connsiteX1" fmla="*/ 1986827 w 2294822"/>
                <a:gd name="connsiteY1" fmla="*/ 257442 h 257442"/>
                <a:gd name="connsiteX2" fmla="*/ 0 w 2294822"/>
                <a:gd name="connsiteY2" fmla="*/ 257442 h 257442"/>
                <a:gd name="connsiteX3" fmla="*/ 1 w 2294822"/>
                <a:gd name="connsiteY3" fmla="*/ 0 h 257442"/>
                <a:gd name="connsiteX0" fmla="*/ 2294822 w 2294822"/>
                <a:gd name="connsiteY0" fmla="*/ 0 h 257442"/>
                <a:gd name="connsiteX1" fmla="*/ 2240100 w 2294822"/>
                <a:gd name="connsiteY1" fmla="*/ 257442 h 257442"/>
                <a:gd name="connsiteX2" fmla="*/ 0 w 2294822"/>
                <a:gd name="connsiteY2" fmla="*/ 257442 h 257442"/>
                <a:gd name="connsiteX3" fmla="*/ 1 w 2294822"/>
                <a:gd name="connsiteY3" fmla="*/ 0 h 257442"/>
                <a:gd name="connsiteX0" fmla="*/ 2294823 w 2294823"/>
                <a:gd name="connsiteY0" fmla="*/ 0 h 257442"/>
                <a:gd name="connsiteX1" fmla="*/ 2240101 w 2294823"/>
                <a:gd name="connsiteY1" fmla="*/ 257442 h 257442"/>
                <a:gd name="connsiteX2" fmla="*/ 0 w 2294823"/>
                <a:gd name="connsiteY2" fmla="*/ 257442 h 257442"/>
                <a:gd name="connsiteX3" fmla="*/ 2 w 2294823"/>
                <a:gd name="connsiteY3" fmla="*/ 0 h 257442"/>
                <a:gd name="connsiteX0" fmla="*/ 2294823 w 2294823"/>
                <a:gd name="connsiteY0" fmla="*/ 0 h 257442"/>
                <a:gd name="connsiteX1" fmla="*/ 2240101 w 2294823"/>
                <a:gd name="connsiteY1" fmla="*/ 257442 h 257442"/>
                <a:gd name="connsiteX2" fmla="*/ 0 w 2294823"/>
                <a:gd name="connsiteY2" fmla="*/ 257442 h 257442"/>
                <a:gd name="connsiteX3" fmla="*/ 1 w 2294823"/>
                <a:gd name="connsiteY3" fmla="*/ 0 h 257442"/>
                <a:gd name="connsiteX0" fmla="*/ 2463138 w 2463138"/>
                <a:gd name="connsiteY0" fmla="*/ 0 h 257442"/>
                <a:gd name="connsiteX1" fmla="*/ 2240101 w 2463138"/>
                <a:gd name="connsiteY1" fmla="*/ 257442 h 257442"/>
                <a:gd name="connsiteX2" fmla="*/ 0 w 2463138"/>
                <a:gd name="connsiteY2" fmla="*/ 257442 h 257442"/>
                <a:gd name="connsiteX3" fmla="*/ 1 w 2463138"/>
                <a:gd name="connsiteY3" fmla="*/ 0 h 257442"/>
                <a:gd name="connsiteX0" fmla="*/ 2463138 w 2463138"/>
                <a:gd name="connsiteY0" fmla="*/ 0 h 257442"/>
                <a:gd name="connsiteX1" fmla="*/ 2408416 w 2463138"/>
                <a:gd name="connsiteY1" fmla="*/ 257442 h 257442"/>
                <a:gd name="connsiteX2" fmla="*/ 0 w 2463138"/>
                <a:gd name="connsiteY2" fmla="*/ 257442 h 257442"/>
                <a:gd name="connsiteX3" fmla="*/ 1 w 2463138"/>
                <a:gd name="connsiteY3" fmla="*/ 0 h 257442"/>
                <a:gd name="connsiteX0" fmla="*/ 2463139 w 2463139"/>
                <a:gd name="connsiteY0" fmla="*/ 0 h 257442"/>
                <a:gd name="connsiteX1" fmla="*/ 2408417 w 2463139"/>
                <a:gd name="connsiteY1" fmla="*/ 257442 h 257442"/>
                <a:gd name="connsiteX2" fmla="*/ 0 w 2463139"/>
                <a:gd name="connsiteY2" fmla="*/ 257442 h 257442"/>
                <a:gd name="connsiteX3" fmla="*/ 2 w 2463139"/>
                <a:gd name="connsiteY3" fmla="*/ 0 h 257442"/>
                <a:gd name="connsiteX0" fmla="*/ 2463139 w 2463139"/>
                <a:gd name="connsiteY0" fmla="*/ 0 h 257442"/>
                <a:gd name="connsiteX1" fmla="*/ 2408417 w 2463139"/>
                <a:gd name="connsiteY1" fmla="*/ 257442 h 257442"/>
                <a:gd name="connsiteX2" fmla="*/ 0 w 2463139"/>
                <a:gd name="connsiteY2" fmla="*/ 257442 h 257442"/>
                <a:gd name="connsiteX3" fmla="*/ 1 w 2463139"/>
                <a:gd name="connsiteY3" fmla="*/ 0 h 257442"/>
                <a:gd name="connsiteX0" fmla="*/ 2631453 w 2631453"/>
                <a:gd name="connsiteY0" fmla="*/ 0 h 257442"/>
                <a:gd name="connsiteX1" fmla="*/ 2408417 w 2631453"/>
                <a:gd name="connsiteY1" fmla="*/ 257442 h 257442"/>
                <a:gd name="connsiteX2" fmla="*/ 0 w 2631453"/>
                <a:gd name="connsiteY2" fmla="*/ 257442 h 257442"/>
                <a:gd name="connsiteX3" fmla="*/ 1 w 2631453"/>
                <a:gd name="connsiteY3" fmla="*/ 0 h 257442"/>
                <a:gd name="connsiteX0" fmla="*/ 2631453 w 2631453"/>
                <a:gd name="connsiteY0" fmla="*/ 0 h 257442"/>
                <a:gd name="connsiteX1" fmla="*/ 2576732 w 2631453"/>
                <a:gd name="connsiteY1" fmla="*/ 257442 h 257442"/>
                <a:gd name="connsiteX2" fmla="*/ 0 w 2631453"/>
                <a:gd name="connsiteY2" fmla="*/ 257442 h 257442"/>
                <a:gd name="connsiteX3" fmla="*/ 1 w 2631453"/>
                <a:gd name="connsiteY3" fmla="*/ 0 h 257442"/>
                <a:gd name="connsiteX0" fmla="*/ 2631453 w 2631453"/>
                <a:gd name="connsiteY0" fmla="*/ 0 h 257442"/>
                <a:gd name="connsiteX1" fmla="*/ 2576732 w 2631453"/>
                <a:gd name="connsiteY1" fmla="*/ 257442 h 257442"/>
                <a:gd name="connsiteX2" fmla="*/ 0 w 2631453"/>
                <a:gd name="connsiteY2" fmla="*/ 257442 h 257442"/>
                <a:gd name="connsiteX3" fmla="*/ 1 w 2631453"/>
                <a:gd name="connsiteY3" fmla="*/ 0 h 257442"/>
                <a:gd name="connsiteX0" fmla="*/ 2631453 w 2631453"/>
                <a:gd name="connsiteY0" fmla="*/ 0 h 257442"/>
                <a:gd name="connsiteX1" fmla="*/ 2576732 w 2631453"/>
                <a:gd name="connsiteY1" fmla="*/ 257442 h 257442"/>
                <a:gd name="connsiteX2" fmla="*/ 0 w 2631453"/>
                <a:gd name="connsiteY2" fmla="*/ 257442 h 257442"/>
                <a:gd name="connsiteX3" fmla="*/ 0 w 2631453"/>
                <a:gd name="connsiteY3" fmla="*/ 0 h 257442"/>
                <a:gd name="connsiteX0" fmla="*/ 2873314 w 2873314"/>
                <a:gd name="connsiteY0" fmla="*/ 0 h 257442"/>
                <a:gd name="connsiteX1" fmla="*/ 2576732 w 2873314"/>
                <a:gd name="connsiteY1" fmla="*/ 257442 h 257442"/>
                <a:gd name="connsiteX2" fmla="*/ 0 w 2873314"/>
                <a:gd name="connsiteY2" fmla="*/ 257442 h 257442"/>
                <a:gd name="connsiteX3" fmla="*/ 0 w 2873314"/>
                <a:gd name="connsiteY3" fmla="*/ 0 h 257442"/>
                <a:gd name="connsiteX0" fmla="*/ 2873314 w 2873314"/>
                <a:gd name="connsiteY0" fmla="*/ 0 h 257442"/>
                <a:gd name="connsiteX1" fmla="*/ 2818592 w 2873314"/>
                <a:gd name="connsiteY1" fmla="*/ 257442 h 257442"/>
                <a:gd name="connsiteX2" fmla="*/ 0 w 2873314"/>
                <a:gd name="connsiteY2" fmla="*/ 257442 h 257442"/>
                <a:gd name="connsiteX3" fmla="*/ 0 w 2873314"/>
                <a:gd name="connsiteY3" fmla="*/ 0 h 257442"/>
                <a:gd name="connsiteX0" fmla="*/ 2873315 w 2873315"/>
                <a:gd name="connsiteY0" fmla="*/ 0 h 257442"/>
                <a:gd name="connsiteX1" fmla="*/ 2818593 w 2873315"/>
                <a:gd name="connsiteY1" fmla="*/ 257442 h 257442"/>
                <a:gd name="connsiteX2" fmla="*/ 0 w 2873315"/>
                <a:gd name="connsiteY2" fmla="*/ 257442 h 257442"/>
                <a:gd name="connsiteX3" fmla="*/ 1 w 2873315"/>
                <a:gd name="connsiteY3" fmla="*/ 0 h 257442"/>
                <a:gd name="connsiteX0" fmla="*/ 2873315 w 2873315"/>
                <a:gd name="connsiteY0" fmla="*/ 0 h 257442"/>
                <a:gd name="connsiteX1" fmla="*/ 2818593 w 2873315"/>
                <a:gd name="connsiteY1" fmla="*/ 257442 h 257442"/>
                <a:gd name="connsiteX2" fmla="*/ 0 w 2873315"/>
                <a:gd name="connsiteY2" fmla="*/ 257442 h 257442"/>
                <a:gd name="connsiteX3" fmla="*/ 1 w 2873315"/>
                <a:gd name="connsiteY3" fmla="*/ 0 h 257442"/>
                <a:gd name="connsiteX0" fmla="*/ 3051248 w 3051248"/>
                <a:gd name="connsiteY0" fmla="*/ 0 h 257442"/>
                <a:gd name="connsiteX1" fmla="*/ 2818593 w 3051248"/>
                <a:gd name="connsiteY1" fmla="*/ 257442 h 257442"/>
                <a:gd name="connsiteX2" fmla="*/ 0 w 3051248"/>
                <a:gd name="connsiteY2" fmla="*/ 257442 h 257442"/>
                <a:gd name="connsiteX3" fmla="*/ 1 w 3051248"/>
                <a:gd name="connsiteY3" fmla="*/ 0 h 257442"/>
                <a:gd name="connsiteX0" fmla="*/ 3051248 w 3051248"/>
                <a:gd name="connsiteY0" fmla="*/ 0 h 257442"/>
                <a:gd name="connsiteX1" fmla="*/ 2996526 w 3051248"/>
                <a:gd name="connsiteY1" fmla="*/ 257442 h 257442"/>
                <a:gd name="connsiteX2" fmla="*/ 0 w 3051248"/>
                <a:gd name="connsiteY2" fmla="*/ 257442 h 257442"/>
                <a:gd name="connsiteX3" fmla="*/ 1 w 3051248"/>
                <a:gd name="connsiteY3" fmla="*/ 0 h 257442"/>
                <a:gd name="connsiteX0" fmla="*/ 3051249 w 3051249"/>
                <a:gd name="connsiteY0" fmla="*/ 0 h 257442"/>
                <a:gd name="connsiteX1" fmla="*/ 2996527 w 3051249"/>
                <a:gd name="connsiteY1" fmla="*/ 257442 h 257442"/>
                <a:gd name="connsiteX2" fmla="*/ 0 w 3051249"/>
                <a:gd name="connsiteY2" fmla="*/ 257442 h 257442"/>
                <a:gd name="connsiteX3" fmla="*/ 2 w 3051249"/>
                <a:gd name="connsiteY3" fmla="*/ 0 h 257442"/>
                <a:gd name="connsiteX0" fmla="*/ 3051249 w 3051249"/>
                <a:gd name="connsiteY0" fmla="*/ 0 h 257442"/>
                <a:gd name="connsiteX1" fmla="*/ 2996527 w 3051249"/>
                <a:gd name="connsiteY1" fmla="*/ 257442 h 257442"/>
                <a:gd name="connsiteX2" fmla="*/ 0 w 3051249"/>
                <a:gd name="connsiteY2" fmla="*/ 257442 h 257442"/>
                <a:gd name="connsiteX3" fmla="*/ 1 w 3051249"/>
                <a:gd name="connsiteY3" fmla="*/ 0 h 257442"/>
                <a:gd name="connsiteX0" fmla="*/ 3219563 w 3219563"/>
                <a:gd name="connsiteY0" fmla="*/ 0 h 257442"/>
                <a:gd name="connsiteX1" fmla="*/ 2996527 w 3219563"/>
                <a:gd name="connsiteY1" fmla="*/ 257442 h 257442"/>
                <a:gd name="connsiteX2" fmla="*/ 0 w 3219563"/>
                <a:gd name="connsiteY2" fmla="*/ 257442 h 257442"/>
                <a:gd name="connsiteX3" fmla="*/ 1 w 3219563"/>
                <a:gd name="connsiteY3" fmla="*/ 0 h 257442"/>
                <a:gd name="connsiteX0" fmla="*/ 3219563 w 3219563"/>
                <a:gd name="connsiteY0" fmla="*/ 0 h 257442"/>
                <a:gd name="connsiteX1" fmla="*/ 3164842 w 3219563"/>
                <a:gd name="connsiteY1" fmla="*/ 257442 h 257442"/>
                <a:gd name="connsiteX2" fmla="*/ 0 w 3219563"/>
                <a:gd name="connsiteY2" fmla="*/ 257442 h 257442"/>
                <a:gd name="connsiteX3" fmla="*/ 1 w 3219563"/>
                <a:gd name="connsiteY3" fmla="*/ 0 h 257442"/>
                <a:gd name="connsiteX0" fmla="*/ 3219563 w 3219563"/>
                <a:gd name="connsiteY0" fmla="*/ 0 h 257442"/>
                <a:gd name="connsiteX1" fmla="*/ 3164842 w 3219563"/>
                <a:gd name="connsiteY1" fmla="*/ 257442 h 257442"/>
                <a:gd name="connsiteX2" fmla="*/ 0 w 3219563"/>
                <a:gd name="connsiteY2" fmla="*/ 257442 h 257442"/>
                <a:gd name="connsiteX3" fmla="*/ 1 w 3219563"/>
                <a:gd name="connsiteY3" fmla="*/ 0 h 257442"/>
                <a:gd name="connsiteX0" fmla="*/ 3219563 w 3219563"/>
                <a:gd name="connsiteY0" fmla="*/ 0 h 257442"/>
                <a:gd name="connsiteX1" fmla="*/ 3164842 w 3219563"/>
                <a:gd name="connsiteY1" fmla="*/ 257442 h 257442"/>
                <a:gd name="connsiteX2" fmla="*/ 0 w 3219563"/>
                <a:gd name="connsiteY2" fmla="*/ 257442 h 257442"/>
                <a:gd name="connsiteX3" fmla="*/ 0 w 3219563"/>
                <a:gd name="connsiteY3" fmla="*/ 0 h 257442"/>
                <a:gd name="connsiteX0" fmla="*/ 3379863 w 3379863"/>
                <a:gd name="connsiteY0" fmla="*/ 0 h 257442"/>
                <a:gd name="connsiteX1" fmla="*/ 3164842 w 3379863"/>
                <a:gd name="connsiteY1" fmla="*/ 257442 h 257442"/>
                <a:gd name="connsiteX2" fmla="*/ 0 w 3379863"/>
                <a:gd name="connsiteY2" fmla="*/ 257442 h 257442"/>
                <a:gd name="connsiteX3" fmla="*/ 0 w 3379863"/>
                <a:gd name="connsiteY3" fmla="*/ 0 h 257442"/>
                <a:gd name="connsiteX0" fmla="*/ 3379863 w 3379863"/>
                <a:gd name="connsiteY0" fmla="*/ 0 h 257442"/>
                <a:gd name="connsiteX1" fmla="*/ 3325142 w 3379863"/>
                <a:gd name="connsiteY1" fmla="*/ 257442 h 257442"/>
                <a:gd name="connsiteX2" fmla="*/ 0 w 3379863"/>
                <a:gd name="connsiteY2" fmla="*/ 257442 h 257442"/>
                <a:gd name="connsiteX3" fmla="*/ 0 w 3379863"/>
                <a:gd name="connsiteY3" fmla="*/ 0 h 257442"/>
                <a:gd name="connsiteX0" fmla="*/ 3379863 w 3379863"/>
                <a:gd name="connsiteY0" fmla="*/ 0 h 257442"/>
                <a:gd name="connsiteX1" fmla="*/ 3325142 w 3379863"/>
                <a:gd name="connsiteY1" fmla="*/ 257442 h 257442"/>
                <a:gd name="connsiteX2" fmla="*/ 0 w 3379863"/>
                <a:gd name="connsiteY2" fmla="*/ 257442 h 257442"/>
                <a:gd name="connsiteX3" fmla="*/ 0 w 3379863"/>
                <a:gd name="connsiteY3" fmla="*/ 0 h 257442"/>
                <a:gd name="connsiteX0" fmla="*/ 3379863 w 3379863"/>
                <a:gd name="connsiteY0" fmla="*/ 0 h 257442"/>
                <a:gd name="connsiteX1" fmla="*/ 3325142 w 3379863"/>
                <a:gd name="connsiteY1" fmla="*/ 257442 h 257442"/>
                <a:gd name="connsiteX2" fmla="*/ 0 w 3379863"/>
                <a:gd name="connsiteY2" fmla="*/ 257442 h 257442"/>
                <a:gd name="connsiteX3" fmla="*/ 0 w 3379863"/>
                <a:gd name="connsiteY3" fmla="*/ 0 h 257442"/>
                <a:gd name="connsiteX0" fmla="*/ 950801 w 3325142"/>
                <a:gd name="connsiteY0" fmla="*/ 0 h 257442"/>
                <a:gd name="connsiteX1" fmla="*/ 3325142 w 3325142"/>
                <a:gd name="connsiteY1" fmla="*/ 257442 h 257442"/>
                <a:gd name="connsiteX2" fmla="*/ 0 w 3325142"/>
                <a:gd name="connsiteY2" fmla="*/ 257442 h 257442"/>
                <a:gd name="connsiteX3" fmla="*/ 0 w 332514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119116 w 1119116"/>
                <a:gd name="connsiteY0" fmla="*/ 0 h 257442"/>
                <a:gd name="connsiteX1" fmla="*/ 896079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287432 w 1287432"/>
                <a:gd name="connsiteY0" fmla="*/ 0 h 257442"/>
                <a:gd name="connsiteX1" fmla="*/ 1064395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455747 w 1455747"/>
                <a:gd name="connsiteY0" fmla="*/ 0 h 257442"/>
                <a:gd name="connsiteX1" fmla="*/ 1232711 w 1455747"/>
                <a:gd name="connsiteY1" fmla="*/ 257442 h 257442"/>
                <a:gd name="connsiteX2" fmla="*/ 0 w 1455747"/>
                <a:gd name="connsiteY2" fmla="*/ 257442 h 257442"/>
                <a:gd name="connsiteX3" fmla="*/ 0 w 1455747"/>
                <a:gd name="connsiteY3" fmla="*/ 0 h 257442"/>
                <a:gd name="connsiteX0" fmla="*/ 1455747 w 1455747"/>
                <a:gd name="connsiteY0" fmla="*/ 0 h 257442"/>
                <a:gd name="connsiteX1" fmla="*/ 1401026 w 1455747"/>
                <a:gd name="connsiteY1" fmla="*/ 257442 h 257442"/>
                <a:gd name="connsiteX2" fmla="*/ 0 w 1455747"/>
                <a:gd name="connsiteY2" fmla="*/ 257442 h 257442"/>
                <a:gd name="connsiteX3" fmla="*/ 0 w 1455747"/>
                <a:gd name="connsiteY3" fmla="*/ 0 h 257442"/>
                <a:gd name="connsiteX0" fmla="*/ 1455747 w 1455747"/>
                <a:gd name="connsiteY0" fmla="*/ 0 h 257442"/>
                <a:gd name="connsiteX1" fmla="*/ 1401026 w 1455747"/>
                <a:gd name="connsiteY1" fmla="*/ 257442 h 257442"/>
                <a:gd name="connsiteX2" fmla="*/ 0 w 1455747"/>
                <a:gd name="connsiteY2" fmla="*/ 257442 h 257442"/>
                <a:gd name="connsiteX3" fmla="*/ 0 w 1455747"/>
                <a:gd name="connsiteY3" fmla="*/ 0 h 257442"/>
                <a:gd name="connsiteX0" fmla="*/ 1455747 w 1455747"/>
                <a:gd name="connsiteY0" fmla="*/ 0 h 257442"/>
                <a:gd name="connsiteX1" fmla="*/ 1401026 w 1455747"/>
                <a:gd name="connsiteY1" fmla="*/ 257442 h 257442"/>
                <a:gd name="connsiteX2" fmla="*/ 0 w 1455747"/>
                <a:gd name="connsiteY2" fmla="*/ 257442 h 257442"/>
                <a:gd name="connsiteX3" fmla="*/ 0 w 1455747"/>
                <a:gd name="connsiteY3" fmla="*/ 0 h 257442"/>
                <a:gd name="connsiteX0" fmla="*/ 1616047 w 1616047"/>
                <a:gd name="connsiteY0" fmla="*/ 0 h 257442"/>
                <a:gd name="connsiteX1" fmla="*/ 1401026 w 1616047"/>
                <a:gd name="connsiteY1" fmla="*/ 257442 h 257442"/>
                <a:gd name="connsiteX2" fmla="*/ 0 w 1616047"/>
                <a:gd name="connsiteY2" fmla="*/ 257442 h 257442"/>
                <a:gd name="connsiteX3" fmla="*/ 0 w 1616047"/>
                <a:gd name="connsiteY3" fmla="*/ 0 h 257442"/>
                <a:gd name="connsiteX0" fmla="*/ 1616047 w 1616047"/>
                <a:gd name="connsiteY0" fmla="*/ 0 h 257442"/>
                <a:gd name="connsiteX1" fmla="*/ 1561326 w 1616047"/>
                <a:gd name="connsiteY1" fmla="*/ 257442 h 257442"/>
                <a:gd name="connsiteX2" fmla="*/ 0 w 1616047"/>
                <a:gd name="connsiteY2" fmla="*/ 257442 h 257442"/>
                <a:gd name="connsiteX3" fmla="*/ 0 w 1616047"/>
                <a:gd name="connsiteY3" fmla="*/ 0 h 257442"/>
                <a:gd name="connsiteX0" fmla="*/ 1616047 w 1616047"/>
                <a:gd name="connsiteY0" fmla="*/ 0 h 257442"/>
                <a:gd name="connsiteX1" fmla="*/ 1561326 w 1616047"/>
                <a:gd name="connsiteY1" fmla="*/ 257442 h 257442"/>
                <a:gd name="connsiteX2" fmla="*/ 0 w 1616047"/>
                <a:gd name="connsiteY2" fmla="*/ 257442 h 257442"/>
                <a:gd name="connsiteX3" fmla="*/ 0 w 1616047"/>
                <a:gd name="connsiteY3" fmla="*/ 0 h 257442"/>
                <a:gd name="connsiteX0" fmla="*/ 1616047 w 1616047"/>
                <a:gd name="connsiteY0" fmla="*/ 0 h 257442"/>
                <a:gd name="connsiteX1" fmla="*/ 1561326 w 1616047"/>
                <a:gd name="connsiteY1" fmla="*/ 257442 h 257442"/>
                <a:gd name="connsiteX2" fmla="*/ 0 w 1616047"/>
                <a:gd name="connsiteY2" fmla="*/ 257442 h 257442"/>
                <a:gd name="connsiteX3" fmla="*/ 0 w 1616047"/>
                <a:gd name="connsiteY3" fmla="*/ 0 h 257442"/>
                <a:gd name="connsiteX0" fmla="*/ 1784363 w 1784363"/>
                <a:gd name="connsiteY0" fmla="*/ 0 h 257442"/>
                <a:gd name="connsiteX1" fmla="*/ 1561326 w 1784363"/>
                <a:gd name="connsiteY1" fmla="*/ 257442 h 257442"/>
                <a:gd name="connsiteX2" fmla="*/ 0 w 1784363"/>
                <a:gd name="connsiteY2" fmla="*/ 257442 h 257442"/>
                <a:gd name="connsiteX3" fmla="*/ 0 w 1784363"/>
                <a:gd name="connsiteY3" fmla="*/ 0 h 257442"/>
                <a:gd name="connsiteX0" fmla="*/ 1784363 w 1784363"/>
                <a:gd name="connsiteY0" fmla="*/ 0 h 257442"/>
                <a:gd name="connsiteX1" fmla="*/ 1729642 w 1784363"/>
                <a:gd name="connsiteY1" fmla="*/ 257442 h 257442"/>
                <a:gd name="connsiteX2" fmla="*/ 0 w 1784363"/>
                <a:gd name="connsiteY2" fmla="*/ 257442 h 257442"/>
                <a:gd name="connsiteX3" fmla="*/ 0 w 1784363"/>
                <a:gd name="connsiteY3" fmla="*/ 0 h 257442"/>
                <a:gd name="connsiteX0" fmla="*/ 1784363 w 1784363"/>
                <a:gd name="connsiteY0" fmla="*/ 0 h 257442"/>
                <a:gd name="connsiteX1" fmla="*/ 1729642 w 1784363"/>
                <a:gd name="connsiteY1" fmla="*/ 257442 h 257442"/>
                <a:gd name="connsiteX2" fmla="*/ 0 w 1784363"/>
                <a:gd name="connsiteY2" fmla="*/ 257442 h 257442"/>
                <a:gd name="connsiteX3" fmla="*/ 0 w 1784363"/>
                <a:gd name="connsiteY3" fmla="*/ 0 h 257442"/>
                <a:gd name="connsiteX0" fmla="*/ 1784363 w 1784363"/>
                <a:gd name="connsiteY0" fmla="*/ 0 h 257442"/>
                <a:gd name="connsiteX1" fmla="*/ 1729642 w 1784363"/>
                <a:gd name="connsiteY1" fmla="*/ 257442 h 257442"/>
                <a:gd name="connsiteX2" fmla="*/ 0 w 1784363"/>
                <a:gd name="connsiteY2" fmla="*/ 257442 h 257442"/>
                <a:gd name="connsiteX3" fmla="*/ 0 w 1784363"/>
                <a:gd name="connsiteY3" fmla="*/ 0 h 257442"/>
                <a:gd name="connsiteX0" fmla="*/ 2037637 w 2037637"/>
                <a:gd name="connsiteY0" fmla="*/ 0 h 257442"/>
                <a:gd name="connsiteX1" fmla="*/ 1729642 w 2037637"/>
                <a:gd name="connsiteY1" fmla="*/ 257442 h 257442"/>
                <a:gd name="connsiteX2" fmla="*/ 0 w 2037637"/>
                <a:gd name="connsiteY2" fmla="*/ 257442 h 257442"/>
                <a:gd name="connsiteX3" fmla="*/ 0 w 2037637"/>
                <a:gd name="connsiteY3" fmla="*/ 0 h 257442"/>
                <a:gd name="connsiteX0" fmla="*/ 2037637 w 2037637"/>
                <a:gd name="connsiteY0" fmla="*/ 0 h 257442"/>
                <a:gd name="connsiteX1" fmla="*/ 1982916 w 2037637"/>
                <a:gd name="connsiteY1" fmla="*/ 257442 h 257442"/>
                <a:gd name="connsiteX2" fmla="*/ 0 w 2037637"/>
                <a:gd name="connsiteY2" fmla="*/ 257442 h 257442"/>
                <a:gd name="connsiteX3" fmla="*/ 0 w 2037637"/>
                <a:gd name="connsiteY3" fmla="*/ 0 h 257442"/>
                <a:gd name="connsiteX0" fmla="*/ 2037637 w 2037637"/>
                <a:gd name="connsiteY0" fmla="*/ 0 h 257442"/>
                <a:gd name="connsiteX1" fmla="*/ 1982916 w 2037637"/>
                <a:gd name="connsiteY1" fmla="*/ 257442 h 257442"/>
                <a:gd name="connsiteX2" fmla="*/ 0 w 2037637"/>
                <a:gd name="connsiteY2" fmla="*/ 257442 h 257442"/>
                <a:gd name="connsiteX3" fmla="*/ 0 w 2037637"/>
                <a:gd name="connsiteY3" fmla="*/ 0 h 257442"/>
                <a:gd name="connsiteX0" fmla="*/ 2037637 w 2037637"/>
                <a:gd name="connsiteY0" fmla="*/ 0 h 257442"/>
                <a:gd name="connsiteX1" fmla="*/ 1982916 w 2037637"/>
                <a:gd name="connsiteY1" fmla="*/ 257442 h 257442"/>
                <a:gd name="connsiteX2" fmla="*/ 0 w 2037637"/>
                <a:gd name="connsiteY2" fmla="*/ 257442 h 257442"/>
                <a:gd name="connsiteX3" fmla="*/ 0 w 2037637"/>
                <a:gd name="connsiteY3" fmla="*/ 0 h 257442"/>
                <a:gd name="connsiteX0" fmla="*/ 2205952 w 2205952"/>
                <a:gd name="connsiteY0" fmla="*/ 0 h 257442"/>
                <a:gd name="connsiteX1" fmla="*/ 1982916 w 2205952"/>
                <a:gd name="connsiteY1" fmla="*/ 257442 h 257442"/>
                <a:gd name="connsiteX2" fmla="*/ 0 w 2205952"/>
                <a:gd name="connsiteY2" fmla="*/ 257442 h 257442"/>
                <a:gd name="connsiteX3" fmla="*/ 0 w 2205952"/>
                <a:gd name="connsiteY3" fmla="*/ 0 h 257442"/>
                <a:gd name="connsiteX0" fmla="*/ 2205952 w 2205952"/>
                <a:gd name="connsiteY0" fmla="*/ 0 h 257442"/>
                <a:gd name="connsiteX1" fmla="*/ 2151230 w 2205952"/>
                <a:gd name="connsiteY1" fmla="*/ 257442 h 257442"/>
                <a:gd name="connsiteX2" fmla="*/ 0 w 2205952"/>
                <a:gd name="connsiteY2" fmla="*/ 257442 h 257442"/>
                <a:gd name="connsiteX3" fmla="*/ 0 w 2205952"/>
                <a:gd name="connsiteY3" fmla="*/ 0 h 257442"/>
                <a:gd name="connsiteX0" fmla="*/ 2205953 w 2205953"/>
                <a:gd name="connsiteY0" fmla="*/ 0 h 257442"/>
                <a:gd name="connsiteX1" fmla="*/ 2151231 w 2205953"/>
                <a:gd name="connsiteY1" fmla="*/ 257442 h 257442"/>
                <a:gd name="connsiteX2" fmla="*/ 0 w 2205953"/>
                <a:gd name="connsiteY2" fmla="*/ 257442 h 257442"/>
                <a:gd name="connsiteX3" fmla="*/ 1 w 2205953"/>
                <a:gd name="connsiteY3" fmla="*/ 0 h 257442"/>
                <a:gd name="connsiteX0" fmla="*/ 2205953 w 2205953"/>
                <a:gd name="connsiteY0" fmla="*/ 0 h 257442"/>
                <a:gd name="connsiteX1" fmla="*/ 2151231 w 2205953"/>
                <a:gd name="connsiteY1" fmla="*/ 257442 h 257442"/>
                <a:gd name="connsiteX2" fmla="*/ 0 w 2205953"/>
                <a:gd name="connsiteY2" fmla="*/ 257442 h 257442"/>
                <a:gd name="connsiteX3" fmla="*/ 1 w 2205953"/>
                <a:gd name="connsiteY3" fmla="*/ 0 h 257442"/>
                <a:gd name="connsiteX0" fmla="*/ 2374268 w 2374268"/>
                <a:gd name="connsiteY0" fmla="*/ 0 h 257442"/>
                <a:gd name="connsiteX1" fmla="*/ 2151231 w 2374268"/>
                <a:gd name="connsiteY1" fmla="*/ 257442 h 257442"/>
                <a:gd name="connsiteX2" fmla="*/ 0 w 2374268"/>
                <a:gd name="connsiteY2" fmla="*/ 257442 h 257442"/>
                <a:gd name="connsiteX3" fmla="*/ 1 w 2374268"/>
                <a:gd name="connsiteY3" fmla="*/ 0 h 257442"/>
                <a:gd name="connsiteX0" fmla="*/ 2374268 w 2374268"/>
                <a:gd name="connsiteY0" fmla="*/ 0 h 257442"/>
                <a:gd name="connsiteX1" fmla="*/ 2319546 w 2374268"/>
                <a:gd name="connsiteY1" fmla="*/ 257442 h 257442"/>
                <a:gd name="connsiteX2" fmla="*/ 0 w 2374268"/>
                <a:gd name="connsiteY2" fmla="*/ 257442 h 257442"/>
                <a:gd name="connsiteX3" fmla="*/ 1 w 2374268"/>
                <a:gd name="connsiteY3" fmla="*/ 0 h 257442"/>
                <a:gd name="connsiteX0" fmla="*/ 2374269 w 2374269"/>
                <a:gd name="connsiteY0" fmla="*/ 0 h 257442"/>
                <a:gd name="connsiteX1" fmla="*/ 2319547 w 2374269"/>
                <a:gd name="connsiteY1" fmla="*/ 257442 h 257442"/>
                <a:gd name="connsiteX2" fmla="*/ 0 w 2374269"/>
                <a:gd name="connsiteY2" fmla="*/ 257442 h 257442"/>
                <a:gd name="connsiteX3" fmla="*/ 2 w 2374269"/>
                <a:gd name="connsiteY3" fmla="*/ 0 h 257442"/>
                <a:gd name="connsiteX0" fmla="*/ 2374269 w 2374269"/>
                <a:gd name="connsiteY0" fmla="*/ 0 h 257442"/>
                <a:gd name="connsiteX1" fmla="*/ 2319547 w 2374269"/>
                <a:gd name="connsiteY1" fmla="*/ 257442 h 257442"/>
                <a:gd name="connsiteX2" fmla="*/ 0 w 2374269"/>
                <a:gd name="connsiteY2" fmla="*/ 257442 h 257442"/>
                <a:gd name="connsiteX3" fmla="*/ 1 w 2374269"/>
                <a:gd name="connsiteY3" fmla="*/ 0 h 257442"/>
                <a:gd name="connsiteX0" fmla="*/ 2534568 w 2534568"/>
                <a:gd name="connsiteY0" fmla="*/ 0 h 257442"/>
                <a:gd name="connsiteX1" fmla="*/ 2319547 w 2534568"/>
                <a:gd name="connsiteY1" fmla="*/ 257442 h 257442"/>
                <a:gd name="connsiteX2" fmla="*/ 0 w 2534568"/>
                <a:gd name="connsiteY2" fmla="*/ 257442 h 257442"/>
                <a:gd name="connsiteX3" fmla="*/ 1 w 2534568"/>
                <a:gd name="connsiteY3" fmla="*/ 0 h 257442"/>
                <a:gd name="connsiteX0" fmla="*/ 2534568 w 2534568"/>
                <a:gd name="connsiteY0" fmla="*/ 0 h 257442"/>
                <a:gd name="connsiteX1" fmla="*/ 2479846 w 2534568"/>
                <a:gd name="connsiteY1" fmla="*/ 257442 h 257442"/>
                <a:gd name="connsiteX2" fmla="*/ 0 w 2534568"/>
                <a:gd name="connsiteY2" fmla="*/ 257442 h 257442"/>
                <a:gd name="connsiteX3" fmla="*/ 1 w 2534568"/>
                <a:gd name="connsiteY3" fmla="*/ 0 h 257442"/>
                <a:gd name="connsiteX0" fmla="*/ 2534569 w 2534569"/>
                <a:gd name="connsiteY0" fmla="*/ 0 h 257442"/>
                <a:gd name="connsiteX1" fmla="*/ 2479847 w 2534569"/>
                <a:gd name="connsiteY1" fmla="*/ 257442 h 257442"/>
                <a:gd name="connsiteX2" fmla="*/ 0 w 2534569"/>
                <a:gd name="connsiteY2" fmla="*/ 257442 h 257442"/>
                <a:gd name="connsiteX3" fmla="*/ 2 w 2534569"/>
                <a:gd name="connsiteY3" fmla="*/ 0 h 257442"/>
                <a:gd name="connsiteX0" fmla="*/ 2534569 w 2534569"/>
                <a:gd name="connsiteY0" fmla="*/ 0 h 257442"/>
                <a:gd name="connsiteX1" fmla="*/ 2479847 w 2534569"/>
                <a:gd name="connsiteY1" fmla="*/ 257442 h 257442"/>
                <a:gd name="connsiteX2" fmla="*/ 0 w 2534569"/>
                <a:gd name="connsiteY2" fmla="*/ 257442 h 257442"/>
                <a:gd name="connsiteX3" fmla="*/ 1 w 2534569"/>
                <a:gd name="connsiteY3" fmla="*/ 0 h 257442"/>
                <a:gd name="connsiteX0" fmla="*/ 2862029 w 2862029"/>
                <a:gd name="connsiteY0" fmla="*/ 0 h 257442"/>
                <a:gd name="connsiteX1" fmla="*/ 2479847 w 2862029"/>
                <a:gd name="connsiteY1" fmla="*/ 257442 h 257442"/>
                <a:gd name="connsiteX2" fmla="*/ 0 w 2862029"/>
                <a:gd name="connsiteY2" fmla="*/ 257442 h 257442"/>
                <a:gd name="connsiteX3" fmla="*/ 1 w 2862029"/>
                <a:gd name="connsiteY3" fmla="*/ 0 h 257442"/>
                <a:gd name="connsiteX0" fmla="*/ 2862029 w 2862029"/>
                <a:gd name="connsiteY0" fmla="*/ 0 h 257442"/>
                <a:gd name="connsiteX1" fmla="*/ 2807308 w 2862029"/>
                <a:gd name="connsiteY1" fmla="*/ 257442 h 257442"/>
                <a:gd name="connsiteX2" fmla="*/ 0 w 2862029"/>
                <a:gd name="connsiteY2" fmla="*/ 257442 h 257442"/>
                <a:gd name="connsiteX3" fmla="*/ 1 w 2862029"/>
                <a:gd name="connsiteY3" fmla="*/ 0 h 257442"/>
                <a:gd name="connsiteX0" fmla="*/ 2862029 w 2862029"/>
                <a:gd name="connsiteY0" fmla="*/ 0 h 257442"/>
                <a:gd name="connsiteX1" fmla="*/ 2807308 w 2862029"/>
                <a:gd name="connsiteY1" fmla="*/ 257442 h 257442"/>
                <a:gd name="connsiteX2" fmla="*/ 0 w 2862029"/>
                <a:gd name="connsiteY2" fmla="*/ 257442 h 257442"/>
                <a:gd name="connsiteX3" fmla="*/ 1 w 2862029"/>
                <a:gd name="connsiteY3" fmla="*/ 0 h 257442"/>
                <a:gd name="connsiteX0" fmla="*/ 2862029 w 2862029"/>
                <a:gd name="connsiteY0" fmla="*/ 0 h 257442"/>
                <a:gd name="connsiteX1" fmla="*/ 2807308 w 2862029"/>
                <a:gd name="connsiteY1" fmla="*/ 257442 h 257442"/>
                <a:gd name="connsiteX2" fmla="*/ 0 w 2862029"/>
                <a:gd name="connsiteY2" fmla="*/ 257442 h 257442"/>
                <a:gd name="connsiteX3" fmla="*/ 0 w 2862029"/>
                <a:gd name="connsiteY3" fmla="*/ 0 h 257442"/>
                <a:gd name="connsiteX0" fmla="*/ 3047977 w 3047977"/>
                <a:gd name="connsiteY0" fmla="*/ 0 h 257442"/>
                <a:gd name="connsiteX1" fmla="*/ 2807308 w 3047977"/>
                <a:gd name="connsiteY1" fmla="*/ 257442 h 257442"/>
                <a:gd name="connsiteX2" fmla="*/ 0 w 3047977"/>
                <a:gd name="connsiteY2" fmla="*/ 257442 h 257442"/>
                <a:gd name="connsiteX3" fmla="*/ 0 w 3047977"/>
                <a:gd name="connsiteY3" fmla="*/ 0 h 257442"/>
                <a:gd name="connsiteX0" fmla="*/ 3047977 w 3047977"/>
                <a:gd name="connsiteY0" fmla="*/ 0 h 257442"/>
                <a:gd name="connsiteX1" fmla="*/ 2993256 w 3047977"/>
                <a:gd name="connsiteY1" fmla="*/ 257442 h 257442"/>
                <a:gd name="connsiteX2" fmla="*/ 0 w 3047977"/>
                <a:gd name="connsiteY2" fmla="*/ 257442 h 257442"/>
                <a:gd name="connsiteX3" fmla="*/ 0 w 3047977"/>
                <a:gd name="connsiteY3" fmla="*/ 0 h 257442"/>
                <a:gd name="connsiteX0" fmla="*/ 3047977 w 3047977"/>
                <a:gd name="connsiteY0" fmla="*/ 0 h 257442"/>
                <a:gd name="connsiteX1" fmla="*/ 2993256 w 3047977"/>
                <a:gd name="connsiteY1" fmla="*/ 257442 h 257442"/>
                <a:gd name="connsiteX2" fmla="*/ 0 w 3047977"/>
                <a:gd name="connsiteY2" fmla="*/ 257442 h 257442"/>
                <a:gd name="connsiteX3" fmla="*/ 0 w 3047977"/>
                <a:gd name="connsiteY3" fmla="*/ 0 h 257442"/>
                <a:gd name="connsiteX0" fmla="*/ 3047977 w 3047977"/>
                <a:gd name="connsiteY0" fmla="*/ 0 h 257442"/>
                <a:gd name="connsiteX1" fmla="*/ 2993256 w 3047977"/>
                <a:gd name="connsiteY1" fmla="*/ 257442 h 257442"/>
                <a:gd name="connsiteX2" fmla="*/ 0 w 3047977"/>
                <a:gd name="connsiteY2" fmla="*/ 257442 h 257442"/>
                <a:gd name="connsiteX3" fmla="*/ 0 w 3047977"/>
                <a:gd name="connsiteY3" fmla="*/ 0 h 257442"/>
                <a:gd name="connsiteX0" fmla="*/ 3208278 w 3208278"/>
                <a:gd name="connsiteY0" fmla="*/ 0 h 257442"/>
                <a:gd name="connsiteX1" fmla="*/ 2993256 w 3208278"/>
                <a:gd name="connsiteY1" fmla="*/ 257442 h 257442"/>
                <a:gd name="connsiteX2" fmla="*/ 0 w 3208278"/>
                <a:gd name="connsiteY2" fmla="*/ 257442 h 257442"/>
                <a:gd name="connsiteX3" fmla="*/ 0 w 3208278"/>
                <a:gd name="connsiteY3" fmla="*/ 0 h 257442"/>
                <a:gd name="connsiteX0" fmla="*/ 3208278 w 3208278"/>
                <a:gd name="connsiteY0" fmla="*/ 0 h 257442"/>
                <a:gd name="connsiteX1" fmla="*/ 3153556 w 3208278"/>
                <a:gd name="connsiteY1" fmla="*/ 257442 h 257442"/>
                <a:gd name="connsiteX2" fmla="*/ 0 w 3208278"/>
                <a:gd name="connsiteY2" fmla="*/ 257442 h 257442"/>
                <a:gd name="connsiteX3" fmla="*/ 0 w 3208278"/>
                <a:gd name="connsiteY3" fmla="*/ 0 h 257442"/>
                <a:gd name="connsiteX0" fmla="*/ 3208279 w 3208279"/>
                <a:gd name="connsiteY0" fmla="*/ 0 h 257442"/>
                <a:gd name="connsiteX1" fmla="*/ 3153557 w 3208279"/>
                <a:gd name="connsiteY1" fmla="*/ 257442 h 257442"/>
                <a:gd name="connsiteX2" fmla="*/ 0 w 3208279"/>
                <a:gd name="connsiteY2" fmla="*/ 257442 h 257442"/>
                <a:gd name="connsiteX3" fmla="*/ 1 w 3208279"/>
                <a:gd name="connsiteY3" fmla="*/ 0 h 257442"/>
                <a:gd name="connsiteX0" fmla="*/ 3208279 w 3208279"/>
                <a:gd name="connsiteY0" fmla="*/ 0 h 257442"/>
                <a:gd name="connsiteX1" fmla="*/ 3153557 w 3208279"/>
                <a:gd name="connsiteY1" fmla="*/ 257442 h 257442"/>
                <a:gd name="connsiteX2" fmla="*/ 0 w 3208279"/>
                <a:gd name="connsiteY2" fmla="*/ 257442 h 257442"/>
                <a:gd name="connsiteX3" fmla="*/ 1 w 3208279"/>
                <a:gd name="connsiteY3" fmla="*/ 0 h 257442"/>
                <a:gd name="connsiteX0" fmla="*/ 3376593 w 3376593"/>
                <a:gd name="connsiteY0" fmla="*/ 0 h 257442"/>
                <a:gd name="connsiteX1" fmla="*/ 3153557 w 3376593"/>
                <a:gd name="connsiteY1" fmla="*/ 257442 h 257442"/>
                <a:gd name="connsiteX2" fmla="*/ 0 w 3376593"/>
                <a:gd name="connsiteY2" fmla="*/ 257442 h 257442"/>
                <a:gd name="connsiteX3" fmla="*/ 1 w 3376593"/>
                <a:gd name="connsiteY3" fmla="*/ 0 h 257442"/>
                <a:gd name="connsiteX0" fmla="*/ 3376593 w 3376593"/>
                <a:gd name="connsiteY0" fmla="*/ 0 h 257442"/>
                <a:gd name="connsiteX1" fmla="*/ 3321872 w 3376593"/>
                <a:gd name="connsiteY1" fmla="*/ 257442 h 257442"/>
                <a:gd name="connsiteX2" fmla="*/ 0 w 3376593"/>
                <a:gd name="connsiteY2" fmla="*/ 257442 h 257442"/>
                <a:gd name="connsiteX3" fmla="*/ 1 w 3376593"/>
                <a:gd name="connsiteY3" fmla="*/ 0 h 257442"/>
                <a:gd name="connsiteX0" fmla="*/ 3376593 w 3376593"/>
                <a:gd name="connsiteY0" fmla="*/ 0 h 257442"/>
                <a:gd name="connsiteX1" fmla="*/ 3321872 w 3376593"/>
                <a:gd name="connsiteY1" fmla="*/ 257442 h 257442"/>
                <a:gd name="connsiteX2" fmla="*/ 0 w 3376593"/>
                <a:gd name="connsiteY2" fmla="*/ 257442 h 257442"/>
                <a:gd name="connsiteX3" fmla="*/ 1 w 3376593"/>
                <a:gd name="connsiteY3" fmla="*/ 0 h 257442"/>
                <a:gd name="connsiteX0" fmla="*/ 3376593 w 3376593"/>
                <a:gd name="connsiteY0" fmla="*/ 0 h 257442"/>
                <a:gd name="connsiteX1" fmla="*/ 3321872 w 3376593"/>
                <a:gd name="connsiteY1" fmla="*/ 257442 h 257442"/>
                <a:gd name="connsiteX2" fmla="*/ 0 w 3376593"/>
                <a:gd name="connsiteY2" fmla="*/ 257442 h 257442"/>
                <a:gd name="connsiteX3" fmla="*/ 0 w 3376593"/>
                <a:gd name="connsiteY3" fmla="*/ 0 h 257442"/>
                <a:gd name="connsiteX0" fmla="*/ 3536894 w 3536894"/>
                <a:gd name="connsiteY0" fmla="*/ 0 h 257442"/>
                <a:gd name="connsiteX1" fmla="*/ 3321872 w 3536894"/>
                <a:gd name="connsiteY1" fmla="*/ 257442 h 257442"/>
                <a:gd name="connsiteX2" fmla="*/ 0 w 3536894"/>
                <a:gd name="connsiteY2" fmla="*/ 257442 h 257442"/>
                <a:gd name="connsiteX3" fmla="*/ 0 w 3536894"/>
                <a:gd name="connsiteY3" fmla="*/ 0 h 257442"/>
                <a:gd name="connsiteX0" fmla="*/ 3536894 w 3536894"/>
                <a:gd name="connsiteY0" fmla="*/ 0 h 257442"/>
                <a:gd name="connsiteX1" fmla="*/ 3482172 w 3536894"/>
                <a:gd name="connsiteY1" fmla="*/ 257442 h 257442"/>
                <a:gd name="connsiteX2" fmla="*/ 0 w 3536894"/>
                <a:gd name="connsiteY2" fmla="*/ 257442 h 257442"/>
                <a:gd name="connsiteX3" fmla="*/ 0 w 3536894"/>
                <a:gd name="connsiteY3" fmla="*/ 0 h 257442"/>
                <a:gd name="connsiteX0" fmla="*/ 3536895 w 3536895"/>
                <a:gd name="connsiteY0" fmla="*/ 0 h 257442"/>
                <a:gd name="connsiteX1" fmla="*/ 3482173 w 3536895"/>
                <a:gd name="connsiteY1" fmla="*/ 257442 h 257442"/>
                <a:gd name="connsiteX2" fmla="*/ 0 w 3536895"/>
                <a:gd name="connsiteY2" fmla="*/ 257442 h 257442"/>
                <a:gd name="connsiteX3" fmla="*/ 1 w 3536895"/>
                <a:gd name="connsiteY3" fmla="*/ 0 h 257442"/>
                <a:gd name="connsiteX0" fmla="*/ 3536895 w 3536895"/>
                <a:gd name="connsiteY0" fmla="*/ 0 h 257442"/>
                <a:gd name="connsiteX1" fmla="*/ 3482173 w 3536895"/>
                <a:gd name="connsiteY1" fmla="*/ 257442 h 257442"/>
                <a:gd name="connsiteX2" fmla="*/ 0 w 3536895"/>
                <a:gd name="connsiteY2" fmla="*/ 257442 h 257442"/>
                <a:gd name="connsiteX3" fmla="*/ 1 w 3536895"/>
                <a:gd name="connsiteY3" fmla="*/ 0 h 257442"/>
                <a:gd name="connsiteX0" fmla="*/ 950801 w 3482173"/>
                <a:gd name="connsiteY0" fmla="*/ 0 h 257442"/>
                <a:gd name="connsiteX1" fmla="*/ 3482173 w 3482173"/>
                <a:gd name="connsiteY1" fmla="*/ 257442 h 257442"/>
                <a:gd name="connsiteX2" fmla="*/ 0 w 3482173"/>
                <a:gd name="connsiteY2" fmla="*/ 257442 h 257442"/>
                <a:gd name="connsiteX3" fmla="*/ 1 w 3482173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1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1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1119116 w 1119116"/>
                <a:gd name="connsiteY0" fmla="*/ 0 h 257442"/>
                <a:gd name="connsiteX1" fmla="*/ 896080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6 w 1119116"/>
                <a:gd name="connsiteY0" fmla="*/ 0 h 257442"/>
                <a:gd name="connsiteX1" fmla="*/ 1064394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7 w 1119117"/>
                <a:gd name="connsiteY0" fmla="*/ 0 h 257442"/>
                <a:gd name="connsiteX1" fmla="*/ 1064395 w 1119117"/>
                <a:gd name="connsiteY1" fmla="*/ 257442 h 257442"/>
                <a:gd name="connsiteX2" fmla="*/ 0 w 1119117"/>
                <a:gd name="connsiteY2" fmla="*/ 257442 h 257442"/>
                <a:gd name="connsiteX3" fmla="*/ 1 w 1119117"/>
                <a:gd name="connsiteY3" fmla="*/ 0 h 257442"/>
                <a:gd name="connsiteX0" fmla="*/ 1119117 w 1119117"/>
                <a:gd name="connsiteY0" fmla="*/ 0 h 257442"/>
                <a:gd name="connsiteX1" fmla="*/ 1064395 w 1119117"/>
                <a:gd name="connsiteY1" fmla="*/ 257442 h 257442"/>
                <a:gd name="connsiteX2" fmla="*/ 0 w 1119117"/>
                <a:gd name="connsiteY2" fmla="*/ 257442 h 257442"/>
                <a:gd name="connsiteX3" fmla="*/ 1 w 1119117"/>
                <a:gd name="connsiteY3" fmla="*/ 0 h 257442"/>
                <a:gd name="connsiteX0" fmla="*/ 1279416 w 1279416"/>
                <a:gd name="connsiteY0" fmla="*/ 0 h 257442"/>
                <a:gd name="connsiteX1" fmla="*/ 1064395 w 1279416"/>
                <a:gd name="connsiteY1" fmla="*/ 257442 h 257442"/>
                <a:gd name="connsiteX2" fmla="*/ 0 w 1279416"/>
                <a:gd name="connsiteY2" fmla="*/ 257442 h 257442"/>
                <a:gd name="connsiteX3" fmla="*/ 1 w 1279416"/>
                <a:gd name="connsiteY3" fmla="*/ 0 h 257442"/>
                <a:gd name="connsiteX0" fmla="*/ 1279416 w 1279416"/>
                <a:gd name="connsiteY0" fmla="*/ 0 h 257442"/>
                <a:gd name="connsiteX1" fmla="*/ 1224694 w 1279416"/>
                <a:gd name="connsiteY1" fmla="*/ 257442 h 257442"/>
                <a:gd name="connsiteX2" fmla="*/ 0 w 1279416"/>
                <a:gd name="connsiteY2" fmla="*/ 257442 h 257442"/>
                <a:gd name="connsiteX3" fmla="*/ 1 w 1279416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2 w 1279417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606878 w 1606878"/>
                <a:gd name="connsiteY0" fmla="*/ 0 h 257442"/>
                <a:gd name="connsiteX1" fmla="*/ 1224695 w 1606878"/>
                <a:gd name="connsiteY1" fmla="*/ 257442 h 257442"/>
                <a:gd name="connsiteX2" fmla="*/ 0 w 1606878"/>
                <a:gd name="connsiteY2" fmla="*/ 257442 h 257442"/>
                <a:gd name="connsiteX3" fmla="*/ 1 w 1606878"/>
                <a:gd name="connsiteY3" fmla="*/ 0 h 257442"/>
                <a:gd name="connsiteX0" fmla="*/ 1606878 w 1606878"/>
                <a:gd name="connsiteY0" fmla="*/ 0 h 257442"/>
                <a:gd name="connsiteX1" fmla="*/ 1552156 w 1606878"/>
                <a:gd name="connsiteY1" fmla="*/ 257442 h 257442"/>
                <a:gd name="connsiteX2" fmla="*/ 0 w 1606878"/>
                <a:gd name="connsiteY2" fmla="*/ 257442 h 257442"/>
                <a:gd name="connsiteX3" fmla="*/ 1 w 1606878"/>
                <a:gd name="connsiteY3" fmla="*/ 0 h 257442"/>
                <a:gd name="connsiteX0" fmla="*/ 1606879 w 1606879"/>
                <a:gd name="connsiteY0" fmla="*/ 0 h 257442"/>
                <a:gd name="connsiteX1" fmla="*/ 1552157 w 1606879"/>
                <a:gd name="connsiteY1" fmla="*/ 257442 h 257442"/>
                <a:gd name="connsiteX2" fmla="*/ 0 w 1606879"/>
                <a:gd name="connsiteY2" fmla="*/ 257442 h 257442"/>
                <a:gd name="connsiteX3" fmla="*/ 2 w 1606879"/>
                <a:gd name="connsiteY3" fmla="*/ 0 h 257442"/>
                <a:gd name="connsiteX0" fmla="*/ 1606879 w 1606879"/>
                <a:gd name="connsiteY0" fmla="*/ 0 h 257442"/>
                <a:gd name="connsiteX1" fmla="*/ 1552157 w 1606879"/>
                <a:gd name="connsiteY1" fmla="*/ 257442 h 257442"/>
                <a:gd name="connsiteX2" fmla="*/ 0 w 1606879"/>
                <a:gd name="connsiteY2" fmla="*/ 257442 h 257442"/>
                <a:gd name="connsiteX3" fmla="*/ 1 w 1606879"/>
                <a:gd name="connsiteY3" fmla="*/ 0 h 257442"/>
                <a:gd name="connsiteX0" fmla="*/ 1792827 w 1792827"/>
                <a:gd name="connsiteY0" fmla="*/ 0 h 257442"/>
                <a:gd name="connsiteX1" fmla="*/ 1552157 w 1792827"/>
                <a:gd name="connsiteY1" fmla="*/ 257442 h 257442"/>
                <a:gd name="connsiteX2" fmla="*/ 0 w 1792827"/>
                <a:gd name="connsiteY2" fmla="*/ 257442 h 257442"/>
                <a:gd name="connsiteX3" fmla="*/ 1 w 1792827"/>
                <a:gd name="connsiteY3" fmla="*/ 0 h 257442"/>
                <a:gd name="connsiteX0" fmla="*/ 1792827 w 1792827"/>
                <a:gd name="connsiteY0" fmla="*/ 0 h 257442"/>
                <a:gd name="connsiteX1" fmla="*/ 1738106 w 1792827"/>
                <a:gd name="connsiteY1" fmla="*/ 257442 h 257442"/>
                <a:gd name="connsiteX2" fmla="*/ 0 w 1792827"/>
                <a:gd name="connsiteY2" fmla="*/ 257442 h 257442"/>
                <a:gd name="connsiteX3" fmla="*/ 1 w 1792827"/>
                <a:gd name="connsiteY3" fmla="*/ 0 h 257442"/>
                <a:gd name="connsiteX0" fmla="*/ 1792827 w 1792827"/>
                <a:gd name="connsiteY0" fmla="*/ 0 h 257442"/>
                <a:gd name="connsiteX1" fmla="*/ 1738106 w 1792827"/>
                <a:gd name="connsiteY1" fmla="*/ 257442 h 257442"/>
                <a:gd name="connsiteX2" fmla="*/ 0 w 1792827"/>
                <a:gd name="connsiteY2" fmla="*/ 257442 h 257442"/>
                <a:gd name="connsiteX3" fmla="*/ 1 w 1792827"/>
                <a:gd name="connsiteY3" fmla="*/ 0 h 257442"/>
                <a:gd name="connsiteX0" fmla="*/ 1792827 w 1792827"/>
                <a:gd name="connsiteY0" fmla="*/ 0 h 257442"/>
                <a:gd name="connsiteX1" fmla="*/ 1738106 w 1792827"/>
                <a:gd name="connsiteY1" fmla="*/ 257442 h 257442"/>
                <a:gd name="connsiteX2" fmla="*/ 0 w 1792827"/>
                <a:gd name="connsiteY2" fmla="*/ 257442 h 257442"/>
                <a:gd name="connsiteX3" fmla="*/ 0 w 1792827"/>
                <a:gd name="connsiteY3" fmla="*/ 0 h 257442"/>
                <a:gd name="connsiteX0" fmla="*/ 1953127 w 1953127"/>
                <a:gd name="connsiteY0" fmla="*/ 0 h 257442"/>
                <a:gd name="connsiteX1" fmla="*/ 1738106 w 1953127"/>
                <a:gd name="connsiteY1" fmla="*/ 257442 h 257442"/>
                <a:gd name="connsiteX2" fmla="*/ 0 w 1953127"/>
                <a:gd name="connsiteY2" fmla="*/ 257442 h 257442"/>
                <a:gd name="connsiteX3" fmla="*/ 0 w 1953127"/>
                <a:gd name="connsiteY3" fmla="*/ 0 h 257442"/>
                <a:gd name="connsiteX0" fmla="*/ 1953127 w 1953127"/>
                <a:gd name="connsiteY0" fmla="*/ 0 h 257442"/>
                <a:gd name="connsiteX1" fmla="*/ 1898406 w 1953127"/>
                <a:gd name="connsiteY1" fmla="*/ 257442 h 257442"/>
                <a:gd name="connsiteX2" fmla="*/ 0 w 1953127"/>
                <a:gd name="connsiteY2" fmla="*/ 257442 h 257442"/>
                <a:gd name="connsiteX3" fmla="*/ 0 w 1953127"/>
                <a:gd name="connsiteY3" fmla="*/ 0 h 257442"/>
                <a:gd name="connsiteX0" fmla="*/ 1953127 w 1953127"/>
                <a:gd name="connsiteY0" fmla="*/ 0 h 257442"/>
                <a:gd name="connsiteX1" fmla="*/ 1898406 w 1953127"/>
                <a:gd name="connsiteY1" fmla="*/ 257442 h 257442"/>
                <a:gd name="connsiteX2" fmla="*/ 0 w 1953127"/>
                <a:gd name="connsiteY2" fmla="*/ 257442 h 257442"/>
                <a:gd name="connsiteX3" fmla="*/ 0 w 1953127"/>
                <a:gd name="connsiteY3" fmla="*/ 0 h 257442"/>
                <a:gd name="connsiteX0" fmla="*/ 1953127 w 1953127"/>
                <a:gd name="connsiteY0" fmla="*/ 0 h 257442"/>
                <a:gd name="connsiteX1" fmla="*/ 1898406 w 1953127"/>
                <a:gd name="connsiteY1" fmla="*/ 257442 h 257442"/>
                <a:gd name="connsiteX2" fmla="*/ 0 w 1953127"/>
                <a:gd name="connsiteY2" fmla="*/ 257442 h 257442"/>
                <a:gd name="connsiteX3" fmla="*/ 0 w 1953127"/>
                <a:gd name="connsiteY3" fmla="*/ 0 h 257442"/>
                <a:gd name="connsiteX0" fmla="*/ 2121442 w 2121442"/>
                <a:gd name="connsiteY0" fmla="*/ 0 h 257442"/>
                <a:gd name="connsiteX1" fmla="*/ 1898406 w 2121442"/>
                <a:gd name="connsiteY1" fmla="*/ 257442 h 257442"/>
                <a:gd name="connsiteX2" fmla="*/ 0 w 2121442"/>
                <a:gd name="connsiteY2" fmla="*/ 257442 h 257442"/>
                <a:gd name="connsiteX3" fmla="*/ 0 w 2121442"/>
                <a:gd name="connsiteY3" fmla="*/ 0 h 257442"/>
                <a:gd name="connsiteX0" fmla="*/ 2121442 w 2121442"/>
                <a:gd name="connsiteY0" fmla="*/ 0 h 257442"/>
                <a:gd name="connsiteX1" fmla="*/ 2066720 w 2121442"/>
                <a:gd name="connsiteY1" fmla="*/ 257442 h 257442"/>
                <a:gd name="connsiteX2" fmla="*/ 0 w 2121442"/>
                <a:gd name="connsiteY2" fmla="*/ 257442 h 257442"/>
                <a:gd name="connsiteX3" fmla="*/ 0 w 2121442"/>
                <a:gd name="connsiteY3" fmla="*/ 0 h 257442"/>
                <a:gd name="connsiteX0" fmla="*/ 2121443 w 2121443"/>
                <a:gd name="connsiteY0" fmla="*/ 0 h 257442"/>
                <a:gd name="connsiteX1" fmla="*/ 2066721 w 2121443"/>
                <a:gd name="connsiteY1" fmla="*/ 257442 h 257442"/>
                <a:gd name="connsiteX2" fmla="*/ 0 w 2121443"/>
                <a:gd name="connsiteY2" fmla="*/ 257442 h 257442"/>
                <a:gd name="connsiteX3" fmla="*/ 1 w 2121443"/>
                <a:gd name="connsiteY3" fmla="*/ 0 h 257442"/>
                <a:gd name="connsiteX0" fmla="*/ 2121443 w 2121443"/>
                <a:gd name="connsiteY0" fmla="*/ 0 h 257442"/>
                <a:gd name="connsiteX1" fmla="*/ 2066721 w 2121443"/>
                <a:gd name="connsiteY1" fmla="*/ 257442 h 257442"/>
                <a:gd name="connsiteX2" fmla="*/ 0 w 2121443"/>
                <a:gd name="connsiteY2" fmla="*/ 257442 h 257442"/>
                <a:gd name="connsiteX3" fmla="*/ 1 w 2121443"/>
                <a:gd name="connsiteY3" fmla="*/ 0 h 257442"/>
                <a:gd name="connsiteX0" fmla="*/ 2385040 w 2385040"/>
                <a:gd name="connsiteY0" fmla="*/ 0 h 257442"/>
                <a:gd name="connsiteX1" fmla="*/ 2066721 w 2385040"/>
                <a:gd name="connsiteY1" fmla="*/ 257442 h 257442"/>
                <a:gd name="connsiteX2" fmla="*/ 0 w 2385040"/>
                <a:gd name="connsiteY2" fmla="*/ 257442 h 257442"/>
                <a:gd name="connsiteX3" fmla="*/ 1 w 2385040"/>
                <a:gd name="connsiteY3" fmla="*/ 0 h 257442"/>
                <a:gd name="connsiteX0" fmla="*/ 2385040 w 2385040"/>
                <a:gd name="connsiteY0" fmla="*/ 0 h 257442"/>
                <a:gd name="connsiteX1" fmla="*/ 2330318 w 2385040"/>
                <a:gd name="connsiteY1" fmla="*/ 257442 h 257442"/>
                <a:gd name="connsiteX2" fmla="*/ 0 w 2385040"/>
                <a:gd name="connsiteY2" fmla="*/ 257442 h 257442"/>
                <a:gd name="connsiteX3" fmla="*/ 1 w 2385040"/>
                <a:gd name="connsiteY3" fmla="*/ 0 h 257442"/>
                <a:gd name="connsiteX0" fmla="*/ 2385041 w 2385041"/>
                <a:gd name="connsiteY0" fmla="*/ 0 h 257442"/>
                <a:gd name="connsiteX1" fmla="*/ 2330319 w 2385041"/>
                <a:gd name="connsiteY1" fmla="*/ 257442 h 257442"/>
                <a:gd name="connsiteX2" fmla="*/ 0 w 2385041"/>
                <a:gd name="connsiteY2" fmla="*/ 257442 h 257442"/>
                <a:gd name="connsiteX3" fmla="*/ 2 w 2385041"/>
                <a:gd name="connsiteY3" fmla="*/ 0 h 257442"/>
                <a:gd name="connsiteX0" fmla="*/ 2385041 w 2385041"/>
                <a:gd name="connsiteY0" fmla="*/ 0 h 257442"/>
                <a:gd name="connsiteX1" fmla="*/ 2330319 w 2385041"/>
                <a:gd name="connsiteY1" fmla="*/ 257442 h 257442"/>
                <a:gd name="connsiteX2" fmla="*/ 0 w 2385041"/>
                <a:gd name="connsiteY2" fmla="*/ 257442 h 257442"/>
                <a:gd name="connsiteX3" fmla="*/ 1 w 2385041"/>
                <a:gd name="connsiteY3" fmla="*/ 0 h 257442"/>
                <a:gd name="connsiteX0" fmla="*/ 2678197 w 2678197"/>
                <a:gd name="connsiteY0" fmla="*/ 0 h 257442"/>
                <a:gd name="connsiteX1" fmla="*/ 2330319 w 2678197"/>
                <a:gd name="connsiteY1" fmla="*/ 257442 h 257442"/>
                <a:gd name="connsiteX2" fmla="*/ 0 w 2678197"/>
                <a:gd name="connsiteY2" fmla="*/ 257442 h 257442"/>
                <a:gd name="connsiteX3" fmla="*/ 1 w 2678197"/>
                <a:gd name="connsiteY3" fmla="*/ 0 h 257442"/>
                <a:gd name="connsiteX0" fmla="*/ 2678197 w 2678197"/>
                <a:gd name="connsiteY0" fmla="*/ 0 h 257442"/>
                <a:gd name="connsiteX1" fmla="*/ 2623476 w 2678197"/>
                <a:gd name="connsiteY1" fmla="*/ 257442 h 257442"/>
                <a:gd name="connsiteX2" fmla="*/ 0 w 2678197"/>
                <a:gd name="connsiteY2" fmla="*/ 257442 h 257442"/>
                <a:gd name="connsiteX3" fmla="*/ 1 w 2678197"/>
                <a:gd name="connsiteY3" fmla="*/ 0 h 257442"/>
                <a:gd name="connsiteX0" fmla="*/ 2678197 w 2678197"/>
                <a:gd name="connsiteY0" fmla="*/ 0 h 257442"/>
                <a:gd name="connsiteX1" fmla="*/ 2623476 w 2678197"/>
                <a:gd name="connsiteY1" fmla="*/ 257442 h 257442"/>
                <a:gd name="connsiteX2" fmla="*/ 0 w 2678197"/>
                <a:gd name="connsiteY2" fmla="*/ 257442 h 257442"/>
                <a:gd name="connsiteX3" fmla="*/ 1 w 2678197"/>
                <a:gd name="connsiteY3" fmla="*/ 0 h 257442"/>
                <a:gd name="connsiteX0" fmla="*/ 2678197 w 2678197"/>
                <a:gd name="connsiteY0" fmla="*/ 0 h 257442"/>
                <a:gd name="connsiteX1" fmla="*/ 2623476 w 2678197"/>
                <a:gd name="connsiteY1" fmla="*/ 257442 h 257442"/>
                <a:gd name="connsiteX2" fmla="*/ 0 w 2678197"/>
                <a:gd name="connsiteY2" fmla="*/ 257442 h 257442"/>
                <a:gd name="connsiteX3" fmla="*/ 0 w 2678197"/>
                <a:gd name="connsiteY3" fmla="*/ 0 h 257442"/>
                <a:gd name="connsiteX0" fmla="*/ 2846512 w 2846512"/>
                <a:gd name="connsiteY0" fmla="*/ 0 h 257442"/>
                <a:gd name="connsiteX1" fmla="*/ 2623476 w 2846512"/>
                <a:gd name="connsiteY1" fmla="*/ 257442 h 257442"/>
                <a:gd name="connsiteX2" fmla="*/ 0 w 2846512"/>
                <a:gd name="connsiteY2" fmla="*/ 257442 h 257442"/>
                <a:gd name="connsiteX3" fmla="*/ 0 w 2846512"/>
                <a:gd name="connsiteY3" fmla="*/ 0 h 257442"/>
                <a:gd name="connsiteX0" fmla="*/ 2846512 w 2846512"/>
                <a:gd name="connsiteY0" fmla="*/ 0 h 257442"/>
                <a:gd name="connsiteX1" fmla="*/ 2791790 w 2846512"/>
                <a:gd name="connsiteY1" fmla="*/ 257442 h 257442"/>
                <a:gd name="connsiteX2" fmla="*/ 0 w 2846512"/>
                <a:gd name="connsiteY2" fmla="*/ 257442 h 257442"/>
                <a:gd name="connsiteX3" fmla="*/ 0 w 2846512"/>
                <a:gd name="connsiteY3" fmla="*/ 0 h 257442"/>
                <a:gd name="connsiteX0" fmla="*/ 2846513 w 2846513"/>
                <a:gd name="connsiteY0" fmla="*/ 0 h 257442"/>
                <a:gd name="connsiteX1" fmla="*/ 2791791 w 2846513"/>
                <a:gd name="connsiteY1" fmla="*/ 257442 h 257442"/>
                <a:gd name="connsiteX2" fmla="*/ 0 w 2846513"/>
                <a:gd name="connsiteY2" fmla="*/ 257442 h 257442"/>
                <a:gd name="connsiteX3" fmla="*/ 1 w 2846513"/>
                <a:gd name="connsiteY3" fmla="*/ 0 h 257442"/>
                <a:gd name="connsiteX0" fmla="*/ 2846513 w 2846513"/>
                <a:gd name="connsiteY0" fmla="*/ 0 h 257442"/>
                <a:gd name="connsiteX1" fmla="*/ 2791791 w 2846513"/>
                <a:gd name="connsiteY1" fmla="*/ 257442 h 257442"/>
                <a:gd name="connsiteX2" fmla="*/ 0 w 2846513"/>
                <a:gd name="connsiteY2" fmla="*/ 257442 h 257442"/>
                <a:gd name="connsiteX3" fmla="*/ 1 w 2846513"/>
                <a:gd name="connsiteY3" fmla="*/ 0 h 257442"/>
                <a:gd name="connsiteX0" fmla="*/ 3099786 w 3099786"/>
                <a:gd name="connsiteY0" fmla="*/ 0 h 257442"/>
                <a:gd name="connsiteX1" fmla="*/ 2791791 w 3099786"/>
                <a:gd name="connsiteY1" fmla="*/ 257442 h 257442"/>
                <a:gd name="connsiteX2" fmla="*/ 0 w 3099786"/>
                <a:gd name="connsiteY2" fmla="*/ 257442 h 257442"/>
                <a:gd name="connsiteX3" fmla="*/ 1 w 3099786"/>
                <a:gd name="connsiteY3" fmla="*/ 0 h 257442"/>
                <a:gd name="connsiteX0" fmla="*/ 3099786 w 3099786"/>
                <a:gd name="connsiteY0" fmla="*/ 0 h 257442"/>
                <a:gd name="connsiteX1" fmla="*/ 3045064 w 3099786"/>
                <a:gd name="connsiteY1" fmla="*/ 257442 h 257442"/>
                <a:gd name="connsiteX2" fmla="*/ 0 w 3099786"/>
                <a:gd name="connsiteY2" fmla="*/ 257442 h 257442"/>
                <a:gd name="connsiteX3" fmla="*/ 1 w 3099786"/>
                <a:gd name="connsiteY3" fmla="*/ 0 h 257442"/>
                <a:gd name="connsiteX0" fmla="*/ 3099787 w 3099787"/>
                <a:gd name="connsiteY0" fmla="*/ 0 h 257442"/>
                <a:gd name="connsiteX1" fmla="*/ 3045065 w 3099787"/>
                <a:gd name="connsiteY1" fmla="*/ 257442 h 257442"/>
                <a:gd name="connsiteX2" fmla="*/ 0 w 3099787"/>
                <a:gd name="connsiteY2" fmla="*/ 257442 h 257442"/>
                <a:gd name="connsiteX3" fmla="*/ 2 w 3099787"/>
                <a:gd name="connsiteY3" fmla="*/ 0 h 257442"/>
                <a:gd name="connsiteX0" fmla="*/ 3099787 w 3099787"/>
                <a:gd name="connsiteY0" fmla="*/ 0 h 257442"/>
                <a:gd name="connsiteX1" fmla="*/ 3045065 w 3099787"/>
                <a:gd name="connsiteY1" fmla="*/ 257442 h 257442"/>
                <a:gd name="connsiteX2" fmla="*/ 0 w 3099787"/>
                <a:gd name="connsiteY2" fmla="*/ 257442 h 257442"/>
                <a:gd name="connsiteX3" fmla="*/ 1 w 3099787"/>
                <a:gd name="connsiteY3" fmla="*/ 0 h 257442"/>
                <a:gd name="connsiteX0" fmla="*/ 3378709 w 3378709"/>
                <a:gd name="connsiteY0" fmla="*/ 0 h 257442"/>
                <a:gd name="connsiteX1" fmla="*/ 3045065 w 3378709"/>
                <a:gd name="connsiteY1" fmla="*/ 257442 h 257442"/>
                <a:gd name="connsiteX2" fmla="*/ 0 w 3378709"/>
                <a:gd name="connsiteY2" fmla="*/ 257442 h 257442"/>
                <a:gd name="connsiteX3" fmla="*/ 1 w 3378709"/>
                <a:gd name="connsiteY3" fmla="*/ 0 h 257442"/>
                <a:gd name="connsiteX0" fmla="*/ 3378709 w 3378709"/>
                <a:gd name="connsiteY0" fmla="*/ 0 h 257442"/>
                <a:gd name="connsiteX1" fmla="*/ 3323988 w 3378709"/>
                <a:gd name="connsiteY1" fmla="*/ 257442 h 257442"/>
                <a:gd name="connsiteX2" fmla="*/ 0 w 3378709"/>
                <a:gd name="connsiteY2" fmla="*/ 257442 h 257442"/>
                <a:gd name="connsiteX3" fmla="*/ 1 w 3378709"/>
                <a:gd name="connsiteY3" fmla="*/ 0 h 257442"/>
                <a:gd name="connsiteX0" fmla="*/ 3378709 w 3378709"/>
                <a:gd name="connsiteY0" fmla="*/ 0 h 257442"/>
                <a:gd name="connsiteX1" fmla="*/ 3323988 w 3378709"/>
                <a:gd name="connsiteY1" fmla="*/ 257442 h 257442"/>
                <a:gd name="connsiteX2" fmla="*/ 0 w 3378709"/>
                <a:gd name="connsiteY2" fmla="*/ 257442 h 257442"/>
                <a:gd name="connsiteX3" fmla="*/ 1 w 3378709"/>
                <a:gd name="connsiteY3" fmla="*/ 0 h 257442"/>
                <a:gd name="connsiteX0" fmla="*/ 3378709 w 3378709"/>
                <a:gd name="connsiteY0" fmla="*/ 0 h 257442"/>
                <a:gd name="connsiteX1" fmla="*/ 3323988 w 3378709"/>
                <a:gd name="connsiteY1" fmla="*/ 257442 h 257442"/>
                <a:gd name="connsiteX2" fmla="*/ 0 w 3378709"/>
                <a:gd name="connsiteY2" fmla="*/ 257442 h 257442"/>
                <a:gd name="connsiteX3" fmla="*/ 0 w 3378709"/>
                <a:gd name="connsiteY3" fmla="*/ 0 h 257442"/>
                <a:gd name="connsiteX0" fmla="*/ 3547025 w 3547025"/>
                <a:gd name="connsiteY0" fmla="*/ 0 h 257442"/>
                <a:gd name="connsiteX1" fmla="*/ 3323988 w 3547025"/>
                <a:gd name="connsiteY1" fmla="*/ 257442 h 257442"/>
                <a:gd name="connsiteX2" fmla="*/ 0 w 3547025"/>
                <a:gd name="connsiteY2" fmla="*/ 257442 h 257442"/>
                <a:gd name="connsiteX3" fmla="*/ 0 w 3547025"/>
                <a:gd name="connsiteY3" fmla="*/ 0 h 257442"/>
                <a:gd name="connsiteX0" fmla="*/ 3547025 w 3547025"/>
                <a:gd name="connsiteY0" fmla="*/ 0 h 257442"/>
                <a:gd name="connsiteX1" fmla="*/ 3492304 w 3547025"/>
                <a:gd name="connsiteY1" fmla="*/ 257442 h 257442"/>
                <a:gd name="connsiteX2" fmla="*/ 0 w 3547025"/>
                <a:gd name="connsiteY2" fmla="*/ 257442 h 257442"/>
                <a:gd name="connsiteX3" fmla="*/ 0 w 3547025"/>
                <a:gd name="connsiteY3" fmla="*/ 0 h 257442"/>
                <a:gd name="connsiteX0" fmla="*/ 3547025 w 3547025"/>
                <a:gd name="connsiteY0" fmla="*/ 0 h 257442"/>
                <a:gd name="connsiteX1" fmla="*/ 3492304 w 3547025"/>
                <a:gd name="connsiteY1" fmla="*/ 257442 h 257442"/>
                <a:gd name="connsiteX2" fmla="*/ 0 w 3547025"/>
                <a:gd name="connsiteY2" fmla="*/ 257442 h 257442"/>
                <a:gd name="connsiteX3" fmla="*/ 0 w 3547025"/>
                <a:gd name="connsiteY3" fmla="*/ 0 h 257442"/>
                <a:gd name="connsiteX0" fmla="*/ 3547025 w 3547025"/>
                <a:gd name="connsiteY0" fmla="*/ 0 h 257442"/>
                <a:gd name="connsiteX1" fmla="*/ 3492304 w 3547025"/>
                <a:gd name="connsiteY1" fmla="*/ 257442 h 257442"/>
                <a:gd name="connsiteX2" fmla="*/ 0 w 3547025"/>
                <a:gd name="connsiteY2" fmla="*/ 257442 h 257442"/>
                <a:gd name="connsiteX3" fmla="*/ 0 w 3547025"/>
                <a:gd name="connsiteY3" fmla="*/ 0 h 257442"/>
                <a:gd name="connsiteX0" fmla="*/ 950801 w 3492304"/>
                <a:gd name="connsiteY0" fmla="*/ 0 h 257442"/>
                <a:gd name="connsiteX1" fmla="*/ 3492304 w 3492304"/>
                <a:gd name="connsiteY1" fmla="*/ 257442 h 257442"/>
                <a:gd name="connsiteX2" fmla="*/ 0 w 3492304"/>
                <a:gd name="connsiteY2" fmla="*/ 257442 h 257442"/>
                <a:gd name="connsiteX3" fmla="*/ 0 w 3492304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119116 w 1119116"/>
                <a:gd name="connsiteY0" fmla="*/ 0 h 257442"/>
                <a:gd name="connsiteX1" fmla="*/ 896079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279416 w 1279416"/>
                <a:gd name="connsiteY0" fmla="*/ 0 h 257442"/>
                <a:gd name="connsiteX1" fmla="*/ 10643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457350 w 1457350"/>
                <a:gd name="connsiteY0" fmla="*/ 0 h 257442"/>
                <a:gd name="connsiteX1" fmla="*/ 1224695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793981 w 1793981"/>
                <a:gd name="connsiteY0" fmla="*/ 0 h 257442"/>
                <a:gd name="connsiteX1" fmla="*/ 1570944 w 1793981"/>
                <a:gd name="connsiteY1" fmla="*/ 257442 h 257442"/>
                <a:gd name="connsiteX2" fmla="*/ 0 w 1793981"/>
                <a:gd name="connsiteY2" fmla="*/ 257442 h 257442"/>
                <a:gd name="connsiteX3" fmla="*/ 0 w 1793981"/>
                <a:gd name="connsiteY3" fmla="*/ 0 h 257442"/>
                <a:gd name="connsiteX0" fmla="*/ 1793981 w 1793981"/>
                <a:gd name="connsiteY0" fmla="*/ 0 h 257442"/>
                <a:gd name="connsiteX1" fmla="*/ 1739260 w 1793981"/>
                <a:gd name="connsiteY1" fmla="*/ 257442 h 257442"/>
                <a:gd name="connsiteX2" fmla="*/ 0 w 1793981"/>
                <a:gd name="connsiteY2" fmla="*/ 257442 h 257442"/>
                <a:gd name="connsiteX3" fmla="*/ 0 w 1793981"/>
                <a:gd name="connsiteY3" fmla="*/ 0 h 257442"/>
                <a:gd name="connsiteX0" fmla="*/ 1793981 w 1793981"/>
                <a:gd name="connsiteY0" fmla="*/ 0 h 257442"/>
                <a:gd name="connsiteX1" fmla="*/ 1739260 w 1793981"/>
                <a:gd name="connsiteY1" fmla="*/ 257442 h 257442"/>
                <a:gd name="connsiteX2" fmla="*/ 0 w 1793981"/>
                <a:gd name="connsiteY2" fmla="*/ 257442 h 257442"/>
                <a:gd name="connsiteX3" fmla="*/ 0 w 1793981"/>
                <a:gd name="connsiteY3" fmla="*/ 0 h 257442"/>
                <a:gd name="connsiteX0" fmla="*/ 1793981 w 1793981"/>
                <a:gd name="connsiteY0" fmla="*/ 0 h 257442"/>
                <a:gd name="connsiteX1" fmla="*/ 1739260 w 1793981"/>
                <a:gd name="connsiteY1" fmla="*/ 257442 h 257442"/>
                <a:gd name="connsiteX2" fmla="*/ 0 w 1793981"/>
                <a:gd name="connsiteY2" fmla="*/ 257442 h 257442"/>
                <a:gd name="connsiteX3" fmla="*/ 0 w 1793981"/>
                <a:gd name="connsiteY3" fmla="*/ 0 h 257442"/>
                <a:gd name="connsiteX0" fmla="*/ 1962295 w 1962295"/>
                <a:gd name="connsiteY0" fmla="*/ 0 h 257442"/>
                <a:gd name="connsiteX1" fmla="*/ 1739260 w 1962295"/>
                <a:gd name="connsiteY1" fmla="*/ 257442 h 257442"/>
                <a:gd name="connsiteX2" fmla="*/ 0 w 1962295"/>
                <a:gd name="connsiteY2" fmla="*/ 257442 h 257442"/>
                <a:gd name="connsiteX3" fmla="*/ 0 w 1962295"/>
                <a:gd name="connsiteY3" fmla="*/ 0 h 257442"/>
                <a:gd name="connsiteX0" fmla="*/ 1962295 w 1962295"/>
                <a:gd name="connsiteY0" fmla="*/ 0 h 257442"/>
                <a:gd name="connsiteX1" fmla="*/ 1907574 w 1962295"/>
                <a:gd name="connsiteY1" fmla="*/ 257442 h 257442"/>
                <a:gd name="connsiteX2" fmla="*/ 0 w 1962295"/>
                <a:gd name="connsiteY2" fmla="*/ 257442 h 257442"/>
                <a:gd name="connsiteX3" fmla="*/ 0 w 1962295"/>
                <a:gd name="connsiteY3" fmla="*/ 0 h 257442"/>
                <a:gd name="connsiteX0" fmla="*/ 1962295 w 1962295"/>
                <a:gd name="connsiteY0" fmla="*/ 0 h 257442"/>
                <a:gd name="connsiteX1" fmla="*/ 1907574 w 1962295"/>
                <a:gd name="connsiteY1" fmla="*/ 257442 h 257442"/>
                <a:gd name="connsiteX2" fmla="*/ 0 w 1962295"/>
                <a:gd name="connsiteY2" fmla="*/ 257442 h 257442"/>
                <a:gd name="connsiteX3" fmla="*/ 0 w 1962295"/>
                <a:gd name="connsiteY3" fmla="*/ 0 h 257442"/>
                <a:gd name="connsiteX0" fmla="*/ 1962295 w 1962295"/>
                <a:gd name="connsiteY0" fmla="*/ 0 h 257442"/>
                <a:gd name="connsiteX1" fmla="*/ 1907574 w 1962295"/>
                <a:gd name="connsiteY1" fmla="*/ 257442 h 257442"/>
                <a:gd name="connsiteX2" fmla="*/ 0 w 1962295"/>
                <a:gd name="connsiteY2" fmla="*/ 257442 h 257442"/>
                <a:gd name="connsiteX3" fmla="*/ 0 w 1962295"/>
                <a:gd name="connsiteY3" fmla="*/ 0 h 257442"/>
                <a:gd name="connsiteX0" fmla="*/ 2122596 w 2122596"/>
                <a:gd name="connsiteY0" fmla="*/ 0 h 257442"/>
                <a:gd name="connsiteX1" fmla="*/ 1907574 w 2122596"/>
                <a:gd name="connsiteY1" fmla="*/ 257442 h 257442"/>
                <a:gd name="connsiteX2" fmla="*/ 0 w 2122596"/>
                <a:gd name="connsiteY2" fmla="*/ 257442 h 257442"/>
                <a:gd name="connsiteX3" fmla="*/ 0 w 2122596"/>
                <a:gd name="connsiteY3" fmla="*/ 0 h 257442"/>
                <a:gd name="connsiteX0" fmla="*/ 2122596 w 2122596"/>
                <a:gd name="connsiteY0" fmla="*/ 0 h 257442"/>
                <a:gd name="connsiteX1" fmla="*/ 2067874 w 2122596"/>
                <a:gd name="connsiteY1" fmla="*/ 257442 h 257442"/>
                <a:gd name="connsiteX2" fmla="*/ 0 w 2122596"/>
                <a:gd name="connsiteY2" fmla="*/ 257442 h 257442"/>
                <a:gd name="connsiteX3" fmla="*/ 0 w 2122596"/>
                <a:gd name="connsiteY3" fmla="*/ 0 h 257442"/>
                <a:gd name="connsiteX0" fmla="*/ 2122597 w 2122597"/>
                <a:gd name="connsiteY0" fmla="*/ 0 h 257442"/>
                <a:gd name="connsiteX1" fmla="*/ 2067875 w 2122597"/>
                <a:gd name="connsiteY1" fmla="*/ 257442 h 257442"/>
                <a:gd name="connsiteX2" fmla="*/ 0 w 2122597"/>
                <a:gd name="connsiteY2" fmla="*/ 257442 h 257442"/>
                <a:gd name="connsiteX3" fmla="*/ 1 w 2122597"/>
                <a:gd name="connsiteY3" fmla="*/ 0 h 257442"/>
                <a:gd name="connsiteX0" fmla="*/ 2122597 w 2122597"/>
                <a:gd name="connsiteY0" fmla="*/ 0 h 257442"/>
                <a:gd name="connsiteX1" fmla="*/ 2067875 w 2122597"/>
                <a:gd name="connsiteY1" fmla="*/ 257442 h 257442"/>
                <a:gd name="connsiteX2" fmla="*/ 0 w 2122597"/>
                <a:gd name="connsiteY2" fmla="*/ 257442 h 257442"/>
                <a:gd name="connsiteX3" fmla="*/ 1 w 2122597"/>
                <a:gd name="connsiteY3" fmla="*/ 0 h 257442"/>
                <a:gd name="connsiteX0" fmla="*/ 950801 w 2067875"/>
                <a:gd name="connsiteY0" fmla="*/ 0 h 257442"/>
                <a:gd name="connsiteX1" fmla="*/ 2067875 w 2067875"/>
                <a:gd name="connsiteY1" fmla="*/ 257442 h 257442"/>
                <a:gd name="connsiteX2" fmla="*/ 0 w 2067875"/>
                <a:gd name="connsiteY2" fmla="*/ 257442 h 257442"/>
                <a:gd name="connsiteX3" fmla="*/ 1 w 2067875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1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1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97050 w 1297050"/>
                <a:gd name="connsiteY0" fmla="*/ 0 h 257442"/>
                <a:gd name="connsiteX1" fmla="*/ 1056380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8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1 w 1297051"/>
                <a:gd name="connsiteY0" fmla="*/ 0 h 257442"/>
                <a:gd name="connsiteX1" fmla="*/ 1242329 w 1297051"/>
                <a:gd name="connsiteY1" fmla="*/ 257442 h 257442"/>
                <a:gd name="connsiteX2" fmla="*/ 0 w 1297051"/>
                <a:gd name="connsiteY2" fmla="*/ 257442 h 257442"/>
                <a:gd name="connsiteX3" fmla="*/ 1 w 1297051"/>
                <a:gd name="connsiteY3" fmla="*/ 0 h 257442"/>
                <a:gd name="connsiteX0" fmla="*/ 1297051 w 1297051"/>
                <a:gd name="connsiteY0" fmla="*/ 0 h 257442"/>
                <a:gd name="connsiteX1" fmla="*/ 1242329 w 1297051"/>
                <a:gd name="connsiteY1" fmla="*/ 257442 h 257442"/>
                <a:gd name="connsiteX2" fmla="*/ 0 w 1297051"/>
                <a:gd name="connsiteY2" fmla="*/ 257442 h 257442"/>
                <a:gd name="connsiteX3" fmla="*/ 1 w 1297051"/>
                <a:gd name="connsiteY3" fmla="*/ 0 h 257442"/>
                <a:gd name="connsiteX0" fmla="*/ 1474984 w 1474984"/>
                <a:gd name="connsiteY0" fmla="*/ 0 h 257442"/>
                <a:gd name="connsiteX1" fmla="*/ 1242329 w 1474984"/>
                <a:gd name="connsiteY1" fmla="*/ 257442 h 257442"/>
                <a:gd name="connsiteX2" fmla="*/ 0 w 1474984"/>
                <a:gd name="connsiteY2" fmla="*/ 257442 h 257442"/>
                <a:gd name="connsiteX3" fmla="*/ 1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1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1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652916 w 1652916"/>
                <a:gd name="connsiteY0" fmla="*/ 0 h 257442"/>
                <a:gd name="connsiteX1" fmla="*/ 1420262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821231 w 1821231"/>
                <a:gd name="connsiteY0" fmla="*/ 0 h 257442"/>
                <a:gd name="connsiteX1" fmla="*/ 1598195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989547 w 1989547"/>
                <a:gd name="connsiteY0" fmla="*/ 0 h 257442"/>
                <a:gd name="connsiteX1" fmla="*/ 1766510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1989547 w 1989547"/>
                <a:gd name="connsiteY0" fmla="*/ 0 h 257442"/>
                <a:gd name="connsiteX1" fmla="*/ 1934826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1989547 w 1989547"/>
                <a:gd name="connsiteY0" fmla="*/ 0 h 257442"/>
                <a:gd name="connsiteX1" fmla="*/ 1934826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1989547 w 1989547"/>
                <a:gd name="connsiteY0" fmla="*/ 0 h 257442"/>
                <a:gd name="connsiteX1" fmla="*/ 1934826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2149847 w 2149847"/>
                <a:gd name="connsiteY0" fmla="*/ 0 h 257442"/>
                <a:gd name="connsiteX1" fmla="*/ 1934826 w 2149847"/>
                <a:gd name="connsiteY1" fmla="*/ 257442 h 257442"/>
                <a:gd name="connsiteX2" fmla="*/ 0 w 2149847"/>
                <a:gd name="connsiteY2" fmla="*/ 257442 h 257442"/>
                <a:gd name="connsiteX3" fmla="*/ 0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0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0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0 w 2149847"/>
                <a:gd name="connsiteY3" fmla="*/ 0 h 257442"/>
                <a:gd name="connsiteX0" fmla="*/ 2318162 w 2318162"/>
                <a:gd name="connsiteY0" fmla="*/ 0 h 257442"/>
                <a:gd name="connsiteX1" fmla="*/ 2095126 w 2318162"/>
                <a:gd name="connsiteY1" fmla="*/ 257442 h 257442"/>
                <a:gd name="connsiteX2" fmla="*/ 0 w 2318162"/>
                <a:gd name="connsiteY2" fmla="*/ 257442 h 257442"/>
                <a:gd name="connsiteX3" fmla="*/ 0 w 2318162"/>
                <a:gd name="connsiteY3" fmla="*/ 0 h 257442"/>
                <a:gd name="connsiteX0" fmla="*/ 2318162 w 2318162"/>
                <a:gd name="connsiteY0" fmla="*/ 0 h 257442"/>
                <a:gd name="connsiteX1" fmla="*/ 2263440 w 2318162"/>
                <a:gd name="connsiteY1" fmla="*/ 257442 h 257442"/>
                <a:gd name="connsiteX2" fmla="*/ 0 w 2318162"/>
                <a:gd name="connsiteY2" fmla="*/ 257442 h 257442"/>
                <a:gd name="connsiteX3" fmla="*/ 0 w 2318162"/>
                <a:gd name="connsiteY3" fmla="*/ 0 h 257442"/>
                <a:gd name="connsiteX0" fmla="*/ 2318163 w 2318163"/>
                <a:gd name="connsiteY0" fmla="*/ 0 h 257442"/>
                <a:gd name="connsiteX1" fmla="*/ 2263441 w 2318163"/>
                <a:gd name="connsiteY1" fmla="*/ 257442 h 257442"/>
                <a:gd name="connsiteX2" fmla="*/ 0 w 2318163"/>
                <a:gd name="connsiteY2" fmla="*/ 257442 h 257442"/>
                <a:gd name="connsiteX3" fmla="*/ 1 w 2318163"/>
                <a:gd name="connsiteY3" fmla="*/ 0 h 257442"/>
                <a:gd name="connsiteX0" fmla="*/ 2318163 w 2318163"/>
                <a:gd name="connsiteY0" fmla="*/ 0 h 257442"/>
                <a:gd name="connsiteX1" fmla="*/ 2263441 w 2318163"/>
                <a:gd name="connsiteY1" fmla="*/ 257442 h 257442"/>
                <a:gd name="connsiteX2" fmla="*/ 0 w 2318163"/>
                <a:gd name="connsiteY2" fmla="*/ 257442 h 257442"/>
                <a:gd name="connsiteX3" fmla="*/ 1 w 2318163"/>
                <a:gd name="connsiteY3" fmla="*/ 0 h 257442"/>
                <a:gd name="connsiteX0" fmla="*/ 2579453 w 2579453"/>
                <a:gd name="connsiteY0" fmla="*/ 0 h 257442"/>
                <a:gd name="connsiteX1" fmla="*/ 2263441 w 2579453"/>
                <a:gd name="connsiteY1" fmla="*/ 257442 h 257442"/>
                <a:gd name="connsiteX2" fmla="*/ 0 w 2579453"/>
                <a:gd name="connsiteY2" fmla="*/ 257442 h 257442"/>
                <a:gd name="connsiteX3" fmla="*/ 1 w 2579453"/>
                <a:gd name="connsiteY3" fmla="*/ 0 h 257442"/>
                <a:gd name="connsiteX0" fmla="*/ 2579453 w 2579453"/>
                <a:gd name="connsiteY0" fmla="*/ 0 h 257442"/>
                <a:gd name="connsiteX1" fmla="*/ 2524732 w 2579453"/>
                <a:gd name="connsiteY1" fmla="*/ 257442 h 257442"/>
                <a:gd name="connsiteX2" fmla="*/ 0 w 2579453"/>
                <a:gd name="connsiteY2" fmla="*/ 257442 h 257442"/>
                <a:gd name="connsiteX3" fmla="*/ 1 w 2579453"/>
                <a:gd name="connsiteY3" fmla="*/ 0 h 257442"/>
                <a:gd name="connsiteX0" fmla="*/ 2579452 w 2579452"/>
                <a:gd name="connsiteY0" fmla="*/ 0 h 257442"/>
                <a:gd name="connsiteX1" fmla="*/ 2524731 w 2579452"/>
                <a:gd name="connsiteY1" fmla="*/ 257442 h 257442"/>
                <a:gd name="connsiteX2" fmla="*/ 0 w 2579452"/>
                <a:gd name="connsiteY2" fmla="*/ 257442 h 257442"/>
                <a:gd name="connsiteX3" fmla="*/ 0 w 2579452"/>
                <a:gd name="connsiteY3" fmla="*/ 0 h 257442"/>
                <a:gd name="connsiteX0" fmla="*/ 2579453 w 2579453"/>
                <a:gd name="connsiteY0" fmla="*/ 0 h 257442"/>
                <a:gd name="connsiteX1" fmla="*/ 2524732 w 2579453"/>
                <a:gd name="connsiteY1" fmla="*/ 257442 h 257442"/>
                <a:gd name="connsiteX2" fmla="*/ 1 w 2579453"/>
                <a:gd name="connsiteY2" fmla="*/ 257442 h 257442"/>
                <a:gd name="connsiteX3" fmla="*/ 0 w 2579453"/>
                <a:gd name="connsiteY3" fmla="*/ 0 h 257442"/>
                <a:gd name="connsiteX0" fmla="*/ 2747768 w 2747768"/>
                <a:gd name="connsiteY0" fmla="*/ 0 h 257442"/>
                <a:gd name="connsiteX1" fmla="*/ 2524732 w 2747768"/>
                <a:gd name="connsiteY1" fmla="*/ 257442 h 257442"/>
                <a:gd name="connsiteX2" fmla="*/ 1 w 2747768"/>
                <a:gd name="connsiteY2" fmla="*/ 257442 h 257442"/>
                <a:gd name="connsiteX3" fmla="*/ 0 w 2747768"/>
                <a:gd name="connsiteY3" fmla="*/ 0 h 257442"/>
                <a:gd name="connsiteX0" fmla="*/ 2747768 w 2747768"/>
                <a:gd name="connsiteY0" fmla="*/ 0 h 257442"/>
                <a:gd name="connsiteX1" fmla="*/ 2693046 w 2747768"/>
                <a:gd name="connsiteY1" fmla="*/ 257442 h 257442"/>
                <a:gd name="connsiteX2" fmla="*/ 1 w 2747768"/>
                <a:gd name="connsiteY2" fmla="*/ 257442 h 257442"/>
                <a:gd name="connsiteX3" fmla="*/ 0 w 2747768"/>
                <a:gd name="connsiteY3" fmla="*/ 0 h 257442"/>
                <a:gd name="connsiteX0" fmla="*/ 2747768 w 2747768"/>
                <a:gd name="connsiteY0" fmla="*/ 0 h 257442"/>
                <a:gd name="connsiteX1" fmla="*/ 2693046 w 2747768"/>
                <a:gd name="connsiteY1" fmla="*/ 257442 h 257442"/>
                <a:gd name="connsiteX2" fmla="*/ 0 w 2747768"/>
                <a:gd name="connsiteY2" fmla="*/ 257442 h 257442"/>
                <a:gd name="connsiteX3" fmla="*/ 0 w 2747768"/>
                <a:gd name="connsiteY3" fmla="*/ 0 h 257442"/>
                <a:gd name="connsiteX0" fmla="*/ 2747768 w 2747768"/>
                <a:gd name="connsiteY0" fmla="*/ 0 h 257442"/>
                <a:gd name="connsiteX1" fmla="*/ 2693046 w 2747768"/>
                <a:gd name="connsiteY1" fmla="*/ 257442 h 257442"/>
                <a:gd name="connsiteX2" fmla="*/ 0 w 2747768"/>
                <a:gd name="connsiteY2" fmla="*/ 257442 h 257442"/>
                <a:gd name="connsiteX3" fmla="*/ 0 w 2747768"/>
                <a:gd name="connsiteY3" fmla="*/ 0 h 257442"/>
                <a:gd name="connsiteX0" fmla="*/ 2908067 w 2908067"/>
                <a:gd name="connsiteY0" fmla="*/ 0 h 257442"/>
                <a:gd name="connsiteX1" fmla="*/ 2693046 w 2908067"/>
                <a:gd name="connsiteY1" fmla="*/ 257442 h 257442"/>
                <a:gd name="connsiteX2" fmla="*/ 0 w 2908067"/>
                <a:gd name="connsiteY2" fmla="*/ 257442 h 257442"/>
                <a:gd name="connsiteX3" fmla="*/ 0 w 2908067"/>
                <a:gd name="connsiteY3" fmla="*/ 0 h 257442"/>
                <a:gd name="connsiteX0" fmla="*/ 2908067 w 2908067"/>
                <a:gd name="connsiteY0" fmla="*/ 0 h 257442"/>
                <a:gd name="connsiteX1" fmla="*/ 2853346 w 2908067"/>
                <a:gd name="connsiteY1" fmla="*/ 257442 h 257442"/>
                <a:gd name="connsiteX2" fmla="*/ 0 w 2908067"/>
                <a:gd name="connsiteY2" fmla="*/ 257442 h 257442"/>
                <a:gd name="connsiteX3" fmla="*/ 0 w 2908067"/>
                <a:gd name="connsiteY3" fmla="*/ 0 h 257442"/>
                <a:gd name="connsiteX0" fmla="*/ 2908067 w 2908067"/>
                <a:gd name="connsiteY0" fmla="*/ 0 h 257442"/>
                <a:gd name="connsiteX1" fmla="*/ 2853346 w 2908067"/>
                <a:gd name="connsiteY1" fmla="*/ 257442 h 257442"/>
                <a:gd name="connsiteX2" fmla="*/ 0 w 2908067"/>
                <a:gd name="connsiteY2" fmla="*/ 257442 h 257442"/>
                <a:gd name="connsiteX3" fmla="*/ 0 w 2908067"/>
                <a:gd name="connsiteY3" fmla="*/ 0 h 257442"/>
                <a:gd name="connsiteX0" fmla="*/ 2908067 w 2908067"/>
                <a:gd name="connsiteY0" fmla="*/ 0 h 257442"/>
                <a:gd name="connsiteX1" fmla="*/ 2853346 w 2908067"/>
                <a:gd name="connsiteY1" fmla="*/ 257442 h 257442"/>
                <a:gd name="connsiteX2" fmla="*/ 0 w 2908067"/>
                <a:gd name="connsiteY2" fmla="*/ 257442 h 257442"/>
                <a:gd name="connsiteX3" fmla="*/ 0 w 2908067"/>
                <a:gd name="connsiteY3" fmla="*/ 0 h 257442"/>
                <a:gd name="connsiteX0" fmla="*/ 2747767 w 2853346"/>
                <a:gd name="connsiteY0" fmla="*/ 0 h 257442"/>
                <a:gd name="connsiteX1" fmla="*/ 2853346 w 2853346"/>
                <a:gd name="connsiteY1" fmla="*/ 257442 h 257442"/>
                <a:gd name="connsiteX2" fmla="*/ 0 w 2853346"/>
                <a:gd name="connsiteY2" fmla="*/ 257442 h 257442"/>
                <a:gd name="connsiteX3" fmla="*/ 0 w 2853346"/>
                <a:gd name="connsiteY3" fmla="*/ 0 h 257442"/>
                <a:gd name="connsiteX0" fmla="*/ 2747767 w 2747767"/>
                <a:gd name="connsiteY0" fmla="*/ 0 h 257442"/>
                <a:gd name="connsiteX1" fmla="*/ 2693046 w 2747767"/>
                <a:gd name="connsiteY1" fmla="*/ 257442 h 257442"/>
                <a:gd name="connsiteX2" fmla="*/ 0 w 2747767"/>
                <a:gd name="connsiteY2" fmla="*/ 257442 h 257442"/>
                <a:gd name="connsiteX3" fmla="*/ 0 w 2747767"/>
                <a:gd name="connsiteY3" fmla="*/ 0 h 257442"/>
                <a:gd name="connsiteX0" fmla="*/ 2747767 w 2747767"/>
                <a:gd name="connsiteY0" fmla="*/ 0 h 257442"/>
                <a:gd name="connsiteX1" fmla="*/ 2693046 w 2747767"/>
                <a:gd name="connsiteY1" fmla="*/ 257442 h 257442"/>
                <a:gd name="connsiteX2" fmla="*/ 1 w 2747767"/>
                <a:gd name="connsiteY2" fmla="*/ 257442 h 257442"/>
                <a:gd name="connsiteX3" fmla="*/ 0 w 2747767"/>
                <a:gd name="connsiteY3" fmla="*/ 0 h 257442"/>
                <a:gd name="connsiteX0" fmla="*/ 2747766 w 2747766"/>
                <a:gd name="connsiteY0" fmla="*/ 0 h 257442"/>
                <a:gd name="connsiteX1" fmla="*/ 2693045 w 2747766"/>
                <a:gd name="connsiteY1" fmla="*/ 257442 h 257442"/>
                <a:gd name="connsiteX2" fmla="*/ 0 w 2747766"/>
                <a:gd name="connsiteY2" fmla="*/ 257442 h 257442"/>
                <a:gd name="connsiteX3" fmla="*/ 0 w 2747766"/>
                <a:gd name="connsiteY3" fmla="*/ 0 h 257442"/>
                <a:gd name="connsiteX0" fmla="*/ 2579451 w 2693045"/>
                <a:gd name="connsiteY0" fmla="*/ 0 h 257442"/>
                <a:gd name="connsiteX1" fmla="*/ 2693045 w 2693045"/>
                <a:gd name="connsiteY1" fmla="*/ 257442 h 257442"/>
                <a:gd name="connsiteX2" fmla="*/ 0 w 2693045"/>
                <a:gd name="connsiteY2" fmla="*/ 257442 h 257442"/>
                <a:gd name="connsiteX3" fmla="*/ 0 w 2693045"/>
                <a:gd name="connsiteY3" fmla="*/ 0 h 257442"/>
                <a:gd name="connsiteX0" fmla="*/ 2579451 w 2579451"/>
                <a:gd name="connsiteY0" fmla="*/ 0 h 257442"/>
                <a:gd name="connsiteX1" fmla="*/ 2524731 w 2579451"/>
                <a:gd name="connsiteY1" fmla="*/ 257442 h 257442"/>
                <a:gd name="connsiteX2" fmla="*/ 0 w 2579451"/>
                <a:gd name="connsiteY2" fmla="*/ 257442 h 257442"/>
                <a:gd name="connsiteX3" fmla="*/ 0 w 2579451"/>
                <a:gd name="connsiteY3" fmla="*/ 0 h 257442"/>
                <a:gd name="connsiteX0" fmla="*/ 2579451 w 2579451"/>
                <a:gd name="connsiteY0" fmla="*/ 0 h 257442"/>
                <a:gd name="connsiteX1" fmla="*/ 2524731 w 2579451"/>
                <a:gd name="connsiteY1" fmla="*/ 257442 h 257442"/>
                <a:gd name="connsiteX2" fmla="*/ 0 w 2579451"/>
                <a:gd name="connsiteY2" fmla="*/ 257442 h 257442"/>
                <a:gd name="connsiteX3" fmla="*/ 0 w 2579451"/>
                <a:gd name="connsiteY3" fmla="*/ 0 h 257442"/>
                <a:gd name="connsiteX0" fmla="*/ 2579451 w 2579451"/>
                <a:gd name="connsiteY0" fmla="*/ 0 h 257442"/>
                <a:gd name="connsiteX1" fmla="*/ 2524731 w 2579451"/>
                <a:gd name="connsiteY1" fmla="*/ 257442 h 257442"/>
                <a:gd name="connsiteX2" fmla="*/ 0 w 2579451"/>
                <a:gd name="connsiteY2" fmla="*/ 257442 h 257442"/>
                <a:gd name="connsiteX3" fmla="*/ 0 w 2579451"/>
                <a:gd name="connsiteY3" fmla="*/ 0 h 257442"/>
                <a:gd name="connsiteX0" fmla="*/ 2419152 w 2524731"/>
                <a:gd name="connsiteY0" fmla="*/ 0 h 257442"/>
                <a:gd name="connsiteX1" fmla="*/ 2524731 w 2524731"/>
                <a:gd name="connsiteY1" fmla="*/ 257442 h 257442"/>
                <a:gd name="connsiteX2" fmla="*/ 0 w 2524731"/>
                <a:gd name="connsiteY2" fmla="*/ 257442 h 257442"/>
                <a:gd name="connsiteX3" fmla="*/ 0 w 2524731"/>
                <a:gd name="connsiteY3" fmla="*/ 0 h 257442"/>
                <a:gd name="connsiteX0" fmla="*/ 2419152 w 2419152"/>
                <a:gd name="connsiteY0" fmla="*/ 0 h 257442"/>
                <a:gd name="connsiteX1" fmla="*/ 2364431 w 2419152"/>
                <a:gd name="connsiteY1" fmla="*/ 257442 h 257442"/>
                <a:gd name="connsiteX2" fmla="*/ 0 w 2419152"/>
                <a:gd name="connsiteY2" fmla="*/ 257442 h 257442"/>
                <a:gd name="connsiteX3" fmla="*/ 0 w 2419152"/>
                <a:gd name="connsiteY3" fmla="*/ 0 h 257442"/>
                <a:gd name="connsiteX0" fmla="*/ 2419152 w 2419152"/>
                <a:gd name="connsiteY0" fmla="*/ 0 h 257442"/>
                <a:gd name="connsiteX1" fmla="*/ 2364431 w 2419152"/>
                <a:gd name="connsiteY1" fmla="*/ 257442 h 257442"/>
                <a:gd name="connsiteX2" fmla="*/ 0 w 2419152"/>
                <a:gd name="connsiteY2" fmla="*/ 257442 h 257442"/>
                <a:gd name="connsiteX3" fmla="*/ 0 w 2419152"/>
                <a:gd name="connsiteY3" fmla="*/ 0 h 257442"/>
                <a:gd name="connsiteX0" fmla="*/ 2419152 w 2419152"/>
                <a:gd name="connsiteY0" fmla="*/ 0 h 257442"/>
                <a:gd name="connsiteX1" fmla="*/ 2364431 w 2419152"/>
                <a:gd name="connsiteY1" fmla="*/ 257442 h 257442"/>
                <a:gd name="connsiteX2" fmla="*/ 0 w 2419152"/>
                <a:gd name="connsiteY2" fmla="*/ 257442 h 257442"/>
                <a:gd name="connsiteX3" fmla="*/ 0 w 2419152"/>
                <a:gd name="connsiteY3" fmla="*/ 0 h 257442"/>
                <a:gd name="connsiteX0" fmla="*/ 2680441 w 2680441"/>
                <a:gd name="connsiteY0" fmla="*/ 0 h 257442"/>
                <a:gd name="connsiteX1" fmla="*/ 2364431 w 2680441"/>
                <a:gd name="connsiteY1" fmla="*/ 257442 h 257442"/>
                <a:gd name="connsiteX2" fmla="*/ 0 w 2680441"/>
                <a:gd name="connsiteY2" fmla="*/ 257442 h 257442"/>
                <a:gd name="connsiteX3" fmla="*/ 0 w 2680441"/>
                <a:gd name="connsiteY3" fmla="*/ 0 h 257442"/>
                <a:gd name="connsiteX0" fmla="*/ 2680441 w 2680441"/>
                <a:gd name="connsiteY0" fmla="*/ 0 h 257442"/>
                <a:gd name="connsiteX1" fmla="*/ 2625720 w 2680441"/>
                <a:gd name="connsiteY1" fmla="*/ 257442 h 257442"/>
                <a:gd name="connsiteX2" fmla="*/ 0 w 2680441"/>
                <a:gd name="connsiteY2" fmla="*/ 257442 h 257442"/>
                <a:gd name="connsiteX3" fmla="*/ 0 w 2680441"/>
                <a:gd name="connsiteY3" fmla="*/ 0 h 257442"/>
                <a:gd name="connsiteX0" fmla="*/ 2680441 w 2680441"/>
                <a:gd name="connsiteY0" fmla="*/ 0 h 257442"/>
                <a:gd name="connsiteX1" fmla="*/ 2625720 w 2680441"/>
                <a:gd name="connsiteY1" fmla="*/ 257442 h 257442"/>
                <a:gd name="connsiteX2" fmla="*/ 0 w 2680441"/>
                <a:gd name="connsiteY2" fmla="*/ 257442 h 257442"/>
                <a:gd name="connsiteX3" fmla="*/ 0 w 2680441"/>
                <a:gd name="connsiteY3" fmla="*/ 0 h 257442"/>
                <a:gd name="connsiteX0" fmla="*/ 2680441 w 2680441"/>
                <a:gd name="connsiteY0" fmla="*/ 0 h 257442"/>
                <a:gd name="connsiteX1" fmla="*/ 2625720 w 2680441"/>
                <a:gd name="connsiteY1" fmla="*/ 257442 h 257442"/>
                <a:gd name="connsiteX2" fmla="*/ 0 w 2680441"/>
                <a:gd name="connsiteY2" fmla="*/ 257442 h 257442"/>
                <a:gd name="connsiteX3" fmla="*/ 0 w 2680441"/>
                <a:gd name="connsiteY3" fmla="*/ 0 h 257442"/>
                <a:gd name="connsiteX0" fmla="*/ 2520141 w 2625720"/>
                <a:gd name="connsiteY0" fmla="*/ 0 h 257442"/>
                <a:gd name="connsiteX1" fmla="*/ 2625720 w 2625720"/>
                <a:gd name="connsiteY1" fmla="*/ 257442 h 257442"/>
                <a:gd name="connsiteX2" fmla="*/ 0 w 2625720"/>
                <a:gd name="connsiteY2" fmla="*/ 257442 h 257442"/>
                <a:gd name="connsiteX3" fmla="*/ 0 w 2625720"/>
                <a:gd name="connsiteY3" fmla="*/ 0 h 257442"/>
                <a:gd name="connsiteX0" fmla="*/ 2520141 w 2520141"/>
                <a:gd name="connsiteY0" fmla="*/ 0 h 257442"/>
                <a:gd name="connsiteX1" fmla="*/ 2465420 w 2520141"/>
                <a:gd name="connsiteY1" fmla="*/ 257442 h 257442"/>
                <a:gd name="connsiteX2" fmla="*/ 0 w 2520141"/>
                <a:gd name="connsiteY2" fmla="*/ 257442 h 257442"/>
                <a:gd name="connsiteX3" fmla="*/ 0 w 2520141"/>
                <a:gd name="connsiteY3" fmla="*/ 0 h 257442"/>
                <a:gd name="connsiteX0" fmla="*/ 2520141 w 2520141"/>
                <a:gd name="connsiteY0" fmla="*/ 0 h 257442"/>
                <a:gd name="connsiteX1" fmla="*/ 2465420 w 2520141"/>
                <a:gd name="connsiteY1" fmla="*/ 257442 h 257442"/>
                <a:gd name="connsiteX2" fmla="*/ 1 w 2520141"/>
                <a:gd name="connsiteY2" fmla="*/ 257442 h 257442"/>
                <a:gd name="connsiteX3" fmla="*/ 0 w 2520141"/>
                <a:gd name="connsiteY3" fmla="*/ 0 h 257442"/>
                <a:gd name="connsiteX0" fmla="*/ 2520140 w 2520140"/>
                <a:gd name="connsiteY0" fmla="*/ 0 h 257442"/>
                <a:gd name="connsiteX1" fmla="*/ 2465419 w 2520140"/>
                <a:gd name="connsiteY1" fmla="*/ 257442 h 257442"/>
                <a:gd name="connsiteX2" fmla="*/ 0 w 2520140"/>
                <a:gd name="connsiteY2" fmla="*/ 257442 h 257442"/>
                <a:gd name="connsiteX3" fmla="*/ 0 w 2520140"/>
                <a:gd name="connsiteY3" fmla="*/ 0 h 257442"/>
                <a:gd name="connsiteX0" fmla="*/ 2419151 w 2465419"/>
                <a:gd name="connsiteY0" fmla="*/ 0 h 257442"/>
                <a:gd name="connsiteX1" fmla="*/ 2465419 w 2465419"/>
                <a:gd name="connsiteY1" fmla="*/ 257442 h 257442"/>
                <a:gd name="connsiteX2" fmla="*/ 0 w 2465419"/>
                <a:gd name="connsiteY2" fmla="*/ 257442 h 257442"/>
                <a:gd name="connsiteX3" fmla="*/ 0 w 2465419"/>
                <a:gd name="connsiteY3" fmla="*/ 0 h 257442"/>
                <a:gd name="connsiteX0" fmla="*/ 2419151 w 2419151"/>
                <a:gd name="connsiteY0" fmla="*/ 0 h 257442"/>
                <a:gd name="connsiteX1" fmla="*/ 2364431 w 2419151"/>
                <a:gd name="connsiteY1" fmla="*/ 257442 h 257442"/>
                <a:gd name="connsiteX2" fmla="*/ 0 w 2419151"/>
                <a:gd name="connsiteY2" fmla="*/ 257442 h 257442"/>
                <a:gd name="connsiteX3" fmla="*/ 0 w 2419151"/>
                <a:gd name="connsiteY3" fmla="*/ 0 h 257442"/>
                <a:gd name="connsiteX0" fmla="*/ 2419151 w 2419151"/>
                <a:gd name="connsiteY0" fmla="*/ 0 h 257442"/>
                <a:gd name="connsiteX1" fmla="*/ 2364431 w 2419151"/>
                <a:gd name="connsiteY1" fmla="*/ 257442 h 257442"/>
                <a:gd name="connsiteX2" fmla="*/ 0 w 2419151"/>
                <a:gd name="connsiteY2" fmla="*/ 257442 h 257442"/>
                <a:gd name="connsiteX3" fmla="*/ 0 w 2419151"/>
                <a:gd name="connsiteY3" fmla="*/ 0 h 257442"/>
                <a:gd name="connsiteX0" fmla="*/ 2419151 w 2419151"/>
                <a:gd name="connsiteY0" fmla="*/ 0 h 257442"/>
                <a:gd name="connsiteX1" fmla="*/ 2364431 w 2419151"/>
                <a:gd name="connsiteY1" fmla="*/ 257442 h 257442"/>
                <a:gd name="connsiteX2" fmla="*/ 0 w 2419151"/>
                <a:gd name="connsiteY2" fmla="*/ 257442 h 257442"/>
                <a:gd name="connsiteX3" fmla="*/ 0 w 2419151"/>
                <a:gd name="connsiteY3" fmla="*/ 0 h 257442"/>
                <a:gd name="connsiteX0" fmla="*/ 2587467 w 2587467"/>
                <a:gd name="connsiteY0" fmla="*/ 0 h 257442"/>
                <a:gd name="connsiteX1" fmla="*/ 2364431 w 2587467"/>
                <a:gd name="connsiteY1" fmla="*/ 257442 h 257442"/>
                <a:gd name="connsiteX2" fmla="*/ 0 w 2587467"/>
                <a:gd name="connsiteY2" fmla="*/ 257442 h 257442"/>
                <a:gd name="connsiteX3" fmla="*/ 0 w 2587467"/>
                <a:gd name="connsiteY3" fmla="*/ 0 h 257442"/>
                <a:gd name="connsiteX0" fmla="*/ 2587467 w 2587467"/>
                <a:gd name="connsiteY0" fmla="*/ 0 h 257442"/>
                <a:gd name="connsiteX1" fmla="*/ 2532746 w 2587467"/>
                <a:gd name="connsiteY1" fmla="*/ 257442 h 257442"/>
                <a:gd name="connsiteX2" fmla="*/ 0 w 2587467"/>
                <a:gd name="connsiteY2" fmla="*/ 257442 h 257442"/>
                <a:gd name="connsiteX3" fmla="*/ 0 w 2587467"/>
                <a:gd name="connsiteY3" fmla="*/ 0 h 257442"/>
                <a:gd name="connsiteX0" fmla="*/ 2587467 w 2587467"/>
                <a:gd name="connsiteY0" fmla="*/ 0 h 257442"/>
                <a:gd name="connsiteX1" fmla="*/ 2532746 w 2587467"/>
                <a:gd name="connsiteY1" fmla="*/ 257442 h 257442"/>
                <a:gd name="connsiteX2" fmla="*/ 0 w 2587467"/>
                <a:gd name="connsiteY2" fmla="*/ 257442 h 257442"/>
                <a:gd name="connsiteX3" fmla="*/ 0 w 2587467"/>
                <a:gd name="connsiteY3" fmla="*/ 0 h 257442"/>
                <a:gd name="connsiteX0" fmla="*/ 2587467 w 2587467"/>
                <a:gd name="connsiteY0" fmla="*/ 0 h 257442"/>
                <a:gd name="connsiteX1" fmla="*/ 2532746 w 2587467"/>
                <a:gd name="connsiteY1" fmla="*/ 257442 h 257442"/>
                <a:gd name="connsiteX2" fmla="*/ 0 w 2587467"/>
                <a:gd name="connsiteY2" fmla="*/ 257442 h 257442"/>
                <a:gd name="connsiteX3" fmla="*/ 0 w 2587467"/>
                <a:gd name="connsiteY3" fmla="*/ 0 h 257442"/>
                <a:gd name="connsiteX0" fmla="*/ 2747767 w 2747767"/>
                <a:gd name="connsiteY0" fmla="*/ 0 h 257442"/>
                <a:gd name="connsiteX1" fmla="*/ 2532746 w 2747767"/>
                <a:gd name="connsiteY1" fmla="*/ 257442 h 257442"/>
                <a:gd name="connsiteX2" fmla="*/ 0 w 2747767"/>
                <a:gd name="connsiteY2" fmla="*/ 257442 h 257442"/>
                <a:gd name="connsiteX3" fmla="*/ 0 w 2747767"/>
                <a:gd name="connsiteY3" fmla="*/ 0 h 257442"/>
                <a:gd name="connsiteX0" fmla="*/ 2747767 w 2747767"/>
                <a:gd name="connsiteY0" fmla="*/ 0 h 257442"/>
                <a:gd name="connsiteX1" fmla="*/ 2693046 w 2747767"/>
                <a:gd name="connsiteY1" fmla="*/ 257442 h 257442"/>
                <a:gd name="connsiteX2" fmla="*/ 0 w 2747767"/>
                <a:gd name="connsiteY2" fmla="*/ 257442 h 257442"/>
                <a:gd name="connsiteX3" fmla="*/ 0 w 2747767"/>
                <a:gd name="connsiteY3" fmla="*/ 0 h 257442"/>
                <a:gd name="connsiteX0" fmla="*/ 2747767 w 2747767"/>
                <a:gd name="connsiteY0" fmla="*/ 0 h 257442"/>
                <a:gd name="connsiteX1" fmla="*/ 2693046 w 2747767"/>
                <a:gd name="connsiteY1" fmla="*/ 257442 h 257442"/>
                <a:gd name="connsiteX2" fmla="*/ 0 w 2747767"/>
                <a:gd name="connsiteY2" fmla="*/ 257442 h 257442"/>
                <a:gd name="connsiteX3" fmla="*/ 0 w 2747767"/>
                <a:gd name="connsiteY3" fmla="*/ 0 h 257442"/>
                <a:gd name="connsiteX0" fmla="*/ 2747767 w 2747767"/>
                <a:gd name="connsiteY0" fmla="*/ 0 h 257442"/>
                <a:gd name="connsiteX1" fmla="*/ 2693046 w 2747767"/>
                <a:gd name="connsiteY1" fmla="*/ 257442 h 257442"/>
                <a:gd name="connsiteX2" fmla="*/ 0 w 2747767"/>
                <a:gd name="connsiteY2" fmla="*/ 257442 h 257442"/>
                <a:gd name="connsiteX3" fmla="*/ 0 w 2747767"/>
                <a:gd name="connsiteY3" fmla="*/ 0 h 257442"/>
                <a:gd name="connsiteX0" fmla="*/ 942786 w 2693046"/>
                <a:gd name="connsiteY0" fmla="*/ 0 h 257442"/>
                <a:gd name="connsiteX1" fmla="*/ 2693046 w 2693046"/>
                <a:gd name="connsiteY1" fmla="*/ 257442 h 257442"/>
                <a:gd name="connsiteX2" fmla="*/ 0 w 2693046"/>
                <a:gd name="connsiteY2" fmla="*/ 257442 h 257442"/>
                <a:gd name="connsiteX3" fmla="*/ 0 w 269304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1111101 w 1111101"/>
                <a:gd name="connsiteY0" fmla="*/ 0 h 257442"/>
                <a:gd name="connsiteX1" fmla="*/ 888065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79416 w 1279416"/>
                <a:gd name="connsiteY0" fmla="*/ 0 h 257442"/>
                <a:gd name="connsiteX1" fmla="*/ 1056380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4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597261 w 1597261"/>
                <a:gd name="connsiteY0" fmla="*/ 0 h 257442"/>
                <a:gd name="connsiteX1" fmla="*/ 1224695 w 1597261"/>
                <a:gd name="connsiteY1" fmla="*/ 257442 h 257442"/>
                <a:gd name="connsiteX2" fmla="*/ 0 w 1597261"/>
                <a:gd name="connsiteY2" fmla="*/ 257442 h 257442"/>
                <a:gd name="connsiteX3" fmla="*/ 1 w 1597261"/>
                <a:gd name="connsiteY3" fmla="*/ 0 h 257442"/>
                <a:gd name="connsiteX0" fmla="*/ 1597261 w 1597261"/>
                <a:gd name="connsiteY0" fmla="*/ 0 h 257442"/>
                <a:gd name="connsiteX1" fmla="*/ 1542540 w 1597261"/>
                <a:gd name="connsiteY1" fmla="*/ 257442 h 257442"/>
                <a:gd name="connsiteX2" fmla="*/ 0 w 1597261"/>
                <a:gd name="connsiteY2" fmla="*/ 257442 h 257442"/>
                <a:gd name="connsiteX3" fmla="*/ 1 w 1597261"/>
                <a:gd name="connsiteY3" fmla="*/ 0 h 257442"/>
                <a:gd name="connsiteX0" fmla="*/ 1597260 w 1597260"/>
                <a:gd name="connsiteY0" fmla="*/ 0 h 257442"/>
                <a:gd name="connsiteX1" fmla="*/ 1542539 w 1597260"/>
                <a:gd name="connsiteY1" fmla="*/ 257442 h 257442"/>
                <a:gd name="connsiteX2" fmla="*/ 0 w 1597260"/>
                <a:gd name="connsiteY2" fmla="*/ 257442 h 257442"/>
                <a:gd name="connsiteX3" fmla="*/ 0 w 1597260"/>
                <a:gd name="connsiteY3" fmla="*/ 0 h 257442"/>
                <a:gd name="connsiteX0" fmla="*/ 1597261 w 1597261"/>
                <a:gd name="connsiteY0" fmla="*/ 0 h 257442"/>
                <a:gd name="connsiteX1" fmla="*/ 1542540 w 1597261"/>
                <a:gd name="connsiteY1" fmla="*/ 257442 h 257442"/>
                <a:gd name="connsiteX2" fmla="*/ 1 w 1597261"/>
                <a:gd name="connsiteY2" fmla="*/ 257442 h 257442"/>
                <a:gd name="connsiteX3" fmla="*/ 0 w 1597261"/>
                <a:gd name="connsiteY3" fmla="*/ 0 h 257442"/>
                <a:gd name="connsiteX0" fmla="*/ 1757561 w 1757561"/>
                <a:gd name="connsiteY0" fmla="*/ 0 h 257442"/>
                <a:gd name="connsiteX1" fmla="*/ 1542540 w 1757561"/>
                <a:gd name="connsiteY1" fmla="*/ 257442 h 257442"/>
                <a:gd name="connsiteX2" fmla="*/ 1 w 1757561"/>
                <a:gd name="connsiteY2" fmla="*/ 257442 h 257442"/>
                <a:gd name="connsiteX3" fmla="*/ 0 w 1757561"/>
                <a:gd name="connsiteY3" fmla="*/ 0 h 257442"/>
                <a:gd name="connsiteX0" fmla="*/ 1757561 w 1757561"/>
                <a:gd name="connsiteY0" fmla="*/ 0 h 257442"/>
                <a:gd name="connsiteX1" fmla="*/ 1702840 w 1757561"/>
                <a:gd name="connsiteY1" fmla="*/ 257442 h 257442"/>
                <a:gd name="connsiteX2" fmla="*/ 1 w 1757561"/>
                <a:gd name="connsiteY2" fmla="*/ 257442 h 257442"/>
                <a:gd name="connsiteX3" fmla="*/ 0 w 1757561"/>
                <a:gd name="connsiteY3" fmla="*/ 0 h 257442"/>
                <a:gd name="connsiteX0" fmla="*/ 1757561 w 1757561"/>
                <a:gd name="connsiteY0" fmla="*/ 0 h 257442"/>
                <a:gd name="connsiteX1" fmla="*/ 1702840 w 1757561"/>
                <a:gd name="connsiteY1" fmla="*/ 257442 h 257442"/>
                <a:gd name="connsiteX2" fmla="*/ 1 w 1757561"/>
                <a:gd name="connsiteY2" fmla="*/ 257442 h 257442"/>
                <a:gd name="connsiteX3" fmla="*/ 0 w 1757561"/>
                <a:gd name="connsiteY3" fmla="*/ 0 h 257442"/>
                <a:gd name="connsiteX0" fmla="*/ 1757560 w 1757560"/>
                <a:gd name="connsiteY0" fmla="*/ 0 h 257442"/>
                <a:gd name="connsiteX1" fmla="*/ 1702839 w 1757560"/>
                <a:gd name="connsiteY1" fmla="*/ 257442 h 257442"/>
                <a:gd name="connsiteX2" fmla="*/ 0 w 1757560"/>
                <a:gd name="connsiteY2" fmla="*/ 257442 h 257442"/>
                <a:gd name="connsiteX3" fmla="*/ 0 w 1757560"/>
                <a:gd name="connsiteY3" fmla="*/ 0 h 257442"/>
                <a:gd name="connsiteX0" fmla="*/ 2018400 w 2018400"/>
                <a:gd name="connsiteY0" fmla="*/ 0 h 257442"/>
                <a:gd name="connsiteX1" fmla="*/ 1702839 w 2018400"/>
                <a:gd name="connsiteY1" fmla="*/ 257442 h 257442"/>
                <a:gd name="connsiteX2" fmla="*/ 0 w 2018400"/>
                <a:gd name="connsiteY2" fmla="*/ 257442 h 257442"/>
                <a:gd name="connsiteX3" fmla="*/ 0 w 2018400"/>
                <a:gd name="connsiteY3" fmla="*/ 0 h 257442"/>
                <a:gd name="connsiteX0" fmla="*/ 2018400 w 2018400"/>
                <a:gd name="connsiteY0" fmla="*/ 0 h 257442"/>
                <a:gd name="connsiteX1" fmla="*/ 1963679 w 2018400"/>
                <a:gd name="connsiteY1" fmla="*/ 257442 h 257442"/>
                <a:gd name="connsiteX2" fmla="*/ 0 w 2018400"/>
                <a:gd name="connsiteY2" fmla="*/ 257442 h 257442"/>
                <a:gd name="connsiteX3" fmla="*/ 0 w 2018400"/>
                <a:gd name="connsiteY3" fmla="*/ 0 h 257442"/>
                <a:gd name="connsiteX0" fmla="*/ 2018401 w 2018401"/>
                <a:gd name="connsiteY0" fmla="*/ 0 h 257442"/>
                <a:gd name="connsiteX1" fmla="*/ 1963680 w 2018401"/>
                <a:gd name="connsiteY1" fmla="*/ 257442 h 257442"/>
                <a:gd name="connsiteX2" fmla="*/ 0 w 2018401"/>
                <a:gd name="connsiteY2" fmla="*/ 257442 h 257442"/>
                <a:gd name="connsiteX3" fmla="*/ 1 w 2018401"/>
                <a:gd name="connsiteY3" fmla="*/ 0 h 257442"/>
                <a:gd name="connsiteX0" fmla="*/ 2018401 w 2018401"/>
                <a:gd name="connsiteY0" fmla="*/ 0 h 257442"/>
                <a:gd name="connsiteX1" fmla="*/ 1963680 w 2018401"/>
                <a:gd name="connsiteY1" fmla="*/ 257442 h 257442"/>
                <a:gd name="connsiteX2" fmla="*/ 0 w 2018401"/>
                <a:gd name="connsiteY2" fmla="*/ 257442 h 257442"/>
                <a:gd name="connsiteX3" fmla="*/ 1 w 2018401"/>
                <a:gd name="connsiteY3" fmla="*/ 0 h 257442"/>
                <a:gd name="connsiteX0" fmla="*/ 2186717 w 2186717"/>
                <a:gd name="connsiteY0" fmla="*/ 0 h 257442"/>
                <a:gd name="connsiteX1" fmla="*/ 1963680 w 2186717"/>
                <a:gd name="connsiteY1" fmla="*/ 257442 h 257442"/>
                <a:gd name="connsiteX2" fmla="*/ 0 w 2186717"/>
                <a:gd name="connsiteY2" fmla="*/ 257442 h 257442"/>
                <a:gd name="connsiteX3" fmla="*/ 1 w 2186717"/>
                <a:gd name="connsiteY3" fmla="*/ 0 h 257442"/>
                <a:gd name="connsiteX0" fmla="*/ 2186717 w 2186717"/>
                <a:gd name="connsiteY0" fmla="*/ 0 h 257442"/>
                <a:gd name="connsiteX1" fmla="*/ 2131996 w 2186717"/>
                <a:gd name="connsiteY1" fmla="*/ 257442 h 257442"/>
                <a:gd name="connsiteX2" fmla="*/ 0 w 2186717"/>
                <a:gd name="connsiteY2" fmla="*/ 257442 h 257442"/>
                <a:gd name="connsiteX3" fmla="*/ 1 w 2186717"/>
                <a:gd name="connsiteY3" fmla="*/ 0 h 257442"/>
                <a:gd name="connsiteX0" fmla="*/ 2186716 w 2186716"/>
                <a:gd name="connsiteY0" fmla="*/ 0 h 257442"/>
                <a:gd name="connsiteX1" fmla="*/ 2131995 w 2186716"/>
                <a:gd name="connsiteY1" fmla="*/ 257442 h 257442"/>
                <a:gd name="connsiteX2" fmla="*/ 0 w 2186716"/>
                <a:gd name="connsiteY2" fmla="*/ 257442 h 257442"/>
                <a:gd name="connsiteX3" fmla="*/ 0 w 2186716"/>
                <a:gd name="connsiteY3" fmla="*/ 0 h 257442"/>
                <a:gd name="connsiteX0" fmla="*/ 2186717 w 2186717"/>
                <a:gd name="connsiteY0" fmla="*/ 0 h 257442"/>
                <a:gd name="connsiteX1" fmla="*/ 2131996 w 2186717"/>
                <a:gd name="connsiteY1" fmla="*/ 257442 h 257442"/>
                <a:gd name="connsiteX2" fmla="*/ 1 w 2186717"/>
                <a:gd name="connsiteY2" fmla="*/ 257442 h 257442"/>
                <a:gd name="connsiteX3" fmla="*/ 0 w 2186717"/>
                <a:gd name="connsiteY3" fmla="*/ 0 h 257442"/>
                <a:gd name="connsiteX0" fmla="*/ 2355033 w 2355033"/>
                <a:gd name="connsiteY0" fmla="*/ 0 h 257442"/>
                <a:gd name="connsiteX1" fmla="*/ 2131996 w 2355033"/>
                <a:gd name="connsiteY1" fmla="*/ 257442 h 257442"/>
                <a:gd name="connsiteX2" fmla="*/ 1 w 2355033"/>
                <a:gd name="connsiteY2" fmla="*/ 257442 h 257442"/>
                <a:gd name="connsiteX3" fmla="*/ 0 w 2355033"/>
                <a:gd name="connsiteY3" fmla="*/ 0 h 257442"/>
                <a:gd name="connsiteX0" fmla="*/ 2355033 w 2355033"/>
                <a:gd name="connsiteY0" fmla="*/ 0 h 257442"/>
                <a:gd name="connsiteX1" fmla="*/ 2300312 w 2355033"/>
                <a:gd name="connsiteY1" fmla="*/ 257442 h 257442"/>
                <a:gd name="connsiteX2" fmla="*/ 1 w 2355033"/>
                <a:gd name="connsiteY2" fmla="*/ 257442 h 257442"/>
                <a:gd name="connsiteX3" fmla="*/ 0 w 2355033"/>
                <a:gd name="connsiteY3" fmla="*/ 0 h 257442"/>
                <a:gd name="connsiteX0" fmla="*/ 2355033 w 2355033"/>
                <a:gd name="connsiteY0" fmla="*/ 0 h 257442"/>
                <a:gd name="connsiteX1" fmla="*/ 2300312 w 2355033"/>
                <a:gd name="connsiteY1" fmla="*/ 257442 h 257442"/>
                <a:gd name="connsiteX2" fmla="*/ 1 w 2355033"/>
                <a:gd name="connsiteY2" fmla="*/ 257442 h 257442"/>
                <a:gd name="connsiteX3" fmla="*/ 0 w 2355033"/>
                <a:gd name="connsiteY3" fmla="*/ 0 h 257442"/>
                <a:gd name="connsiteX0" fmla="*/ 2355032 w 2355032"/>
                <a:gd name="connsiteY0" fmla="*/ 0 h 257442"/>
                <a:gd name="connsiteX1" fmla="*/ 2300311 w 2355032"/>
                <a:gd name="connsiteY1" fmla="*/ 257442 h 257442"/>
                <a:gd name="connsiteX2" fmla="*/ 0 w 2355032"/>
                <a:gd name="connsiteY2" fmla="*/ 257442 h 257442"/>
                <a:gd name="connsiteX3" fmla="*/ 0 w 2355032"/>
                <a:gd name="connsiteY3" fmla="*/ 0 h 257442"/>
                <a:gd name="connsiteX0" fmla="*/ 2186715 w 2300311"/>
                <a:gd name="connsiteY0" fmla="*/ 0 h 257442"/>
                <a:gd name="connsiteX1" fmla="*/ 2300311 w 2300311"/>
                <a:gd name="connsiteY1" fmla="*/ 257442 h 257442"/>
                <a:gd name="connsiteX2" fmla="*/ 0 w 2300311"/>
                <a:gd name="connsiteY2" fmla="*/ 257442 h 257442"/>
                <a:gd name="connsiteX3" fmla="*/ 0 w 2300311"/>
                <a:gd name="connsiteY3" fmla="*/ 0 h 257442"/>
                <a:gd name="connsiteX0" fmla="*/ 2186715 w 2186715"/>
                <a:gd name="connsiteY0" fmla="*/ 0 h 257442"/>
                <a:gd name="connsiteX1" fmla="*/ 2131995 w 2186715"/>
                <a:gd name="connsiteY1" fmla="*/ 257442 h 257442"/>
                <a:gd name="connsiteX2" fmla="*/ 0 w 2186715"/>
                <a:gd name="connsiteY2" fmla="*/ 257442 h 257442"/>
                <a:gd name="connsiteX3" fmla="*/ 0 w 2186715"/>
                <a:gd name="connsiteY3" fmla="*/ 0 h 257442"/>
                <a:gd name="connsiteX0" fmla="*/ 2186715 w 2186715"/>
                <a:gd name="connsiteY0" fmla="*/ 0 h 257442"/>
                <a:gd name="connsiteX1" fmla="*/ 2131995 w 2186715"/>
                <a:gd name="connsiteY1" fmla="*/ 257442 h 257442"/>
                <a:gd name="connsiteX2" fmla="*/ 0 w 2186715"/>
                <a:gd name="connsiteY2" fmla="*/ 257442 h 257442"/>
                <a:gd name="connsiteX3" fmla="*/ 0 w 2186715"/>
                <a:gd name="connsiteY3" fmla="*/ 0 h 257442"/>
                <a:gd name="connsiteX0" fmla="*/ 2186715 w 2186715"/>
                <a:gd name="connsiteY0" fmla="*/ 0 h 257442"/>
                <a:gd name="connsiteX1" fmla="*/ 2131995 w 2186715"/>
                <a:gd name="connsiteY1" fmla="*/ 257442 h 257442"/>
                <a:gd name="connsiteX2" fmla="*/ 0 w 2186715"/>
                <a:gd name="connsiteY2" fmla="*/ 257442 h 257442"/>
                <a:gd name="connsiteX3" fmla="*/ 0 w 2186715"/>
                <a:gd name="connsiteY3" fmla="*/ 0 h 257442"/>
                <a:gd name="connsiteX0" fmla="*/ 2018401 w 2131995"/>
                <a:gd name="connsiteY0" fmla="*/ 0 h 257442"/>
                <a:gd name="connsiteX1" fmla="*/ 2131995 w 2131995"/>
                <a:gd name="connsiteY1" fmla="*/ 257442 h 257442"/>
                <a:gd name="connsiteX2" fmla="*/ 0 w 2131995"/>
                <a:gd name="connsiteY2" fmla="*/ 257442 h 257442"/>
                <a:gd name="connsiteX3" fmla="*/ 0 w 2131995"/>
                <a:gd name="connsiteY3" fmla="*/ 0 h 257442"/>
                <a:gd name="connsiteX0" fmla="*/ 2018401 w 2018401"/>
                <a:gd name="connsiteY0" fmla="*/ 0 h 257442"/>
                <a:gd name="connsiteX1" fmla="*/ 1963680 w 2018401"/>
                <a:gd name="connsiteY1" fmla="*/ 257442 h 257442"/>
                <a:gd name="connsiteX2" fmla="*/ 0 w 2018401"/>
                <a:gd name="connsiteY2" fmla="*/ 257442 h 257442"/>
                <a:gd name="connsiteX3" fmla="*/ 0 w 2018401"/>
                <a:gd name="connsiteY3" fmla="*/ 0 h 257442"/>
                <a:gd name="connsiteX0" fmla="*/ 2018401 w 2018401"/>
                <a:gd name="connsiteY0" fmla="*/ 0 h 257442"/>
                <a:gd name="connsiteX1" fmla="*/ 1963680 w 2018401"/>
                <a:gd name="connsiteY1" fmla="*/ 257442 h 257442"/>
                <a:gd name="connsiteX2" fmla="*/ 0 w 2018401"/>
                <a:gd name="connsiteY2" fmla="*/ 257442 h 257442"/>
                <a:gd name="connsiteX3" fmla="*/ 0 w 2018401"/>
                <a:gd name="connsiteY3" fmla="*/ 0 h 257442"/>
                <a:gd name="connsiteX0" fmla="*/ 2018401 w 2018401"/>
                <a:gd name="connsiteY0" fmla="*/ 0 h 257442"/>
                <a:gd name="connsiteX1" fmla="*/ 1963680 w 2018401"/>
                <a:gd name="connsiteY1" fmla="*/ 257442 h 257442"/>
                <a:gd name="connsiteX2" fmla="*/ 0 w 2018401"/>
                <a:gd name="connsiteY2" fmla="*/ 257442 h 257442"/>
                <a:gd name="connsiteX3" fmla="*/ 0 w 2018401"/>
                <a:gd name="connsiteY3" fmla="*/ 0 h 257442"/>
                <a:gd name="connsiteX0" fmla="*/ 1855792 w 1963680"/>
                <a:gd name="connsiteY0" fmla="*/ 0 h 257442"/>
                <a:gd name="connsiteX1" fmla="*/ 1963680 w 1963680"/>
                <a:gd name="connsiteY1" fmla="*/ 257442 h 257442"/>
                <a:gd name="connsiteX2" fmla="*/ 0 w 1963680"/>
                <a:gd name="connsiteY2" fmla="*/ 257442 h 257442"/>
                <a:gd name="connsiteX3" fmla="*/ 0 w 1963680"/>
                <a:gd name="connsiteY3" fmla="*/ 0 h 257442"/>
                <a:gd name="connsiteX0" fmla="*/ 1855792 w 1855792"/>
                <a:gd name="connsiteY0" fmla="*/ 0 h 257442"/>
                <a:gd name="connsiteX1" fmla="*/ 1801071 w 1855792"/>
                <a:gd name="connsiteY1" fmla="*/ 257442 h 257442"/>
                <a:gd name="connsiteX2" fmla="*/ 0 w 1855792"/>
                <a:gd name="connsiteY2" fmla="*/ 257442 h 257442"/>
                <a:gd name="connsiteX3" fmla="*/ 0 w 1855792"/>
                <a:gd name="connsiteY3" fmla="*/ 0 h 257442"/>
                <a:gd name="connsiteX0" fmla="*/ 1855792 w 1855792"/>
                <a:gd name="connsiteY0" fmla="*/ 0 h 257442"/>
                <a:gd name="connsiteX1" fmla="*/ 1801071 w 1855792"/>
                <a:gd name="connsiteY1" fmla="*/ 257442 h 257442"/>
                <a:gd name="connsiteX2" fmla="*/ 0 w 1855792"/>
                <a:gd name="connsiteY2" fmla="*/ 257442 h 257442"/>
                <a:gd name="connsiteX3" fmla="*/ 0 w 1855792"/>
                <a:gd name="connsiteY3" fmla="*/ 0 h 257442"/>
                <a:gd name="connsiteX0" fmla="*/ 1855792 w 1855792"/>
                <a:gd name="connsiteY0" fmla="*/ 0 h 257442"/>
                <a:gd name="connsiteX1" fmla="*/ 1801071 w 1855792"/>
                <a:gd name="connsiteY1" fmla="*/ 257442 h 257442"/>
                <a:gd name="connsiteX2" fmla="*/ 0 w 1855792"/>
                <a:gd name="connsiteY2" fmla="*/ 257442 h 257442"/>
                <a:gd name="connsiteX3" fmla="*/ 0 w 1855792"/>
                <a:gd name="connsiteY3" fmla="*/ 0 h 257442"/>
                <a:gd name="connsiteX0" fmla="*/ 1757560 w 1801071"/>
                <a:gd name="connsiteY0" fmla="*/ 0 h 257442"/>
                <a:gd name="connsiteX1" fmla="*/ 1801071 w 1801071"/>
                <a:gd name="connsiteY1" fmla="*/ 257442 h 257442"/>
                <a:gd name="connsiteX2" fmla="*/ 0 w 1801071"/>
                <a:gd name="connsiteY2" fmla="*/ 257442 h 257442"/>
                <a:gd name="connsiteX3" fmla="*/ 0 w 1801071"/>
                <a:gd name="connsiteY3" fmla="*/ 0 h 257442"/>
                <a:gd name="connsiteX0" fmla="*/ 1757560 w 1757560"/>
                <a:gd name="connsiteY0" fmla="*/ 0 h 257442"/>
                <a:gd name="connsiteX1" fmla="*/ 1702840 w 1757560"/>
                <a:gd name="connsiteY1" fmla="*/ 257442 h 257442"/>
                <a:gd name="connsiteX2" fmla="*/ 0 w 1757560"/>
                <a:gd name="connsiteY2" fmla="*/ 257442 h 257442"/>
                <a:gd name="connsiteX3" fmla="*/ 0 w 1757560"/>
                <a:gd name="connsiteY3" fmla="*/ 0 h 257442"/>
                <a:gd name="connsiteX0" fmla="*/ 1757560 w 1757560"/>
                <a:gd name="connsiteY0" fmla="*/ 0 h 257442"/>
                <a:gd name="connsiteX1" fmla="*/ 1702840 w 1757560"/>
                <a:gd name="connsiteY1" fmla="*/ 257442 h 257442"/>
                <a:gd name="connsiteX2" fmla="*/ 1 w 1757560"/>
                <a:gd name="connsiteY2" fmla="*/ 257442 h 257442"/>
                <a:gd name="connsiteX3" fmla="*/ 0 w 1757560"/>
                <a:gd name="connsiteY3" fmla="*/ 0 h 257442"/>
                <a:gd name="connsiteX0" fmla="*/ 1757559 w 1757559"/>
                <a:gd name="connsiteY0" fmla="*/ 0 h 257442"/>
                <a:gd name="connsiteX1" fmla="*/ 1702839 w 1757559"/>
                <a:gd name="connsiteY1" fmla="*/ 257442 h 257442"/>
                <a:gd name="connsiteX2" fmla="*/ 0 w 1757559"/>
                <a:gd name="connsiteY2" fmla="*/ 257442 h 257442"/>
                <a:gd name="connsiteX3" fmla="*/ 0 w 1757559"/>
                <a:gd name="connsiteY3" fmla="*/ 0 h 257442"/>
                <a:gd name="connsiteX0" fmla="*/ 2024107 w 2024107"/>
                <a:gd name="connsiteY0" fmla="*/ 0 h 257442"/>
                <a:gd name="connsiteX1" fmla="*/ 1702839 w 2024107"/>
                <a:gd name="connsiteY1" fmla="*/ 257442 h 257442"/>
                <a:gd name="connsiteX2" fmla="*/ 0 w 2024107"/>
                <a:gd name="connsiteY2" fmla="*/ 257442 h 257442"/>
                <a:gd name="connsiteX3" fmla="*/ 0 w 2024107"/>
                <a:gd name="connsiteY3" fmla="*/ 0 h 257442"/>
                <a:gd name="connsiteX0" fmla="*/ 2024107 w 2024107"/>
                <a:gd name="connsiteY0" fmla="*/ 0 h 257442"/>
                <a:gd name="connsiteX1" fmla="*/ 1969386 w 2024107"/>
                <a:gd name="connsiteY1" fmla="*/ 257442 h 257442"/>
                <a:gd name="connsiteX2" fmla="*/ 0 w 2024107"/>
                <a:gd name="connsiteY2" fmla="*/ 257442 h 257442"/>
                <a:gd name="connsiteX3" fmla="*/ 0 w 2024107"/>
                <a:gd name="connsiteY3" fmla="*/ 0 h 257442"/>
                <a:gd name="connsiteX0" fmla="*/ 2024107 w 2024107"/>
                <a:gd name="connsiteY0" fmla="*/ 0 h 257442"/>
                <a:gd name="connsiteX1" fmla="*/ 1969386 w 2024107"/>
                <a:gd name="connsiteY1" fmla="*/ 257442 h 257442"/>
                <a:gd name="connsiteX2" fmla="*/ 0 w 2024107"/>
                <a:gd name="connsiteY2" fmla="*/ 257442 h 257442"/>
                <a:gd name="connsiteX3" fmla="*/ 0 w 2024107"/>
                <a:gd name="connsiteY3" fmla="*/ 0 h 257442"/>
                <a:gd name="connsiteX0" fmla="*/ 2024107 w 2024107"/>
                <a:gd name="connsiteY0" fmla="*/ 0 h 257442"/>
                <a:gd name="connsiteX1" fmla="*/ 1969386 w 2024107"/>
                <a:gd name="connsiteY1" fmla="*/ 257442 h 257442"/>
                <a:gd name="connsiteX2" fmla="*/ 0 w 2024107"/>
                <a:gd name="connsiteY2" fmla="*/ 257442 h 257442"/>
                <a:gd name="connsiteX3" fmla="*/ 0 w 2024107"/>
                <a:gd name="connsiteY3" fmla="*/ 0 h 257442"/>
                <a:gd name="connsiteX0" fmla="*/ 2184408 w 2184408"/>
                <a:gd name="connsiteY0" fmla="*/ 0 h 257442"/>
                <a:gd name="connsiteX1" fmla="*/ 1969386 w 2184408"/>
                <a:gd name="connsiteY1" fmla="*/ 257442 h 257442"/>
                <a:gd name="connsiteX2" fmla="*/ 0 w 2184408"/>
                <a:gd name="connsiteY2" fmla="*/ 257442 h 257442"/>
                <a:gd name="connsiteX3" fmla="*/ 0 w 2184408"/>
                <a:gd name="connsiteY3" fmla="*/ 0 h 257442"/>
                <a:gd name="connsiteX0" fmla="*/ 2184408 w 2184408"/>
                <a:gd name="connsiteY0" fmla="*/ 0 h 257442"/>
                <a:gd name="connsiteX1" fmla="*/ 2129686 w 2184408"/>
                <a:gd name="connsiteY1" fmla="*/ 257442 h 257442"/>
                <a:gd name="connsiteX2" fmla="*/ 0 w 2184408"/>
                <a:gd name="connsiteY2" fmla="*/ 257442 h 257442"/>
                <a:gd name="connsiteX3" fmla="*/ 0 w 2184408"/>
                <a:gd name="connsiteY3" fmla="*/ 0 h 257442"/>
                <a:gd name="connsiteX0" fmla="*/ 2184409 w 2184409"/>
                <a:gd name="connsiteY0" fmla="*/ 0 h 257442"/>
                <a:gd name="connsiteX1" fmla="*/ 2129687 w 2184409"/>
                <a:gd name="connsiteY1" fmla="*/ 257442 h 257442"/>
                <a:gd name="connsiteX2" fmla="*/ 0 w 2184409"/>
                <a:gd name="connsiteY2" fmla="*/ 257442 h 257442"/>
                <a:gd name="connsiteX3" fmla="*/ 1 w 2184409"/>
                <a:gd name="connsiteY3" fmla="*/ 0 h 257442"/>
                <a:gd name="connsiteX0" fmla="*/ 2184409 w 2184409"/>
                <a:gd name="connsiteY0" fmla="*/ 0 h 257442"/>
                <a:gd name="connsiteX1" fmla="*/ 2129687 w 2184409"/>
                <a:gd name="connsiteY1" fmla="*/ 257442 h 257442"/>
                <a:gd name="connsiteX2" fmla="*/ 0 w 2184409"/>
                <a:gd name="connsiteY2" fmla="*/ 257442 h 257442"/>
                <a:gd name="connsiteX3" fmla="*/ 1 w 2184409"/>
                <a:gd name="connsiteY3" fmla="*/ 0 h 257442"/>
                <a:gd name="connsiteX0" fmla="*/ 2370357 w 2370357"/>
                <a:gd name="connsiteY0" fmla="*/ 0 h 257442"/>
                <a:gd name="connsiteX1" fmla="*/ 2129687 w 2370357"/>
                <a:gd name="connsiteY1" fmla="*/ 257442 h 257442"/>
                <a:gd name="connsiteX2" fmla="*/ 0 w 2370357"/>
                <a:gd name="connsiteY2" fmla="*/ 257442 h 257442"/>
                <a:gd name="connsiteX3" fmla="*/ 1 w 2370357"/>
                <a:gd name="connsiteY3" fmla="*/ 0 h 257442"/>
                <a:gd name="connsiteX0" fmla="*/ 2370357 w 2370357"/>
                <a:gd name="connsiteY0" fmla="*/ 0 h 257442"/>
                <a:gd name="connsiteX1" fmla="*/ 2315636 w 2370357"/>
                <a:gd name="connsiteY1" fmla="*/ 257442 h 257442"/>
                <a:gd name="connsiteX2" fmla="*/ 0 w 2370357"/>
                <a:gd name="connsiteY2" fmla="*/ 257442 h 257442"/>
                <a:gd name="connsiteX3" fmla="*/ 1 w 2370357"/>
                <a:gd name="connsiteY3" fmla="*/ 0 h 257442"/>
                <a:gd name="connsiteX0" fmla="*/ 2370356 w 2370356"/>
                <a:gd name="connsiteY0" fmla="*/ 0 h 257442"/>
                <a:gd name="connsiteX1" fmla="*/ 2315635 w 2370356"/>
                <a:gd name="connsiteY1" fmla="*/ 257442 h 257442"/>
                <a:gd name="connsiteX2" fmla="*/ 0 w 2370356"/>
                <a:gd name="connsiteY2" fmla="*/ 257442 h 257442"/>
                <a:gd name="connsiteX3" fmla="*/ 0 w 2370356"/>
                <a:gd name="connsiteY3" fmla="*/ 0 h 257442"/>
                <a:gd name="connsiteX0" fmla="*/ 2370357 w 2370357"/>
                <a:gd name="connsiteY0" fmla="*/ 0 h 257442"/>
                <a:gd name="connsiteX1" fmla="*/ 2315636 w 2370357"/>
                <a:gd name="connsiteY1" fmla="*/ 257442 h 257442"/>
                <a:gd name="connsiteX2" fmla="*/ 1 w 2370357"/>
                <a:gd name="connsiteY2" fmla="*/ 257442 h 257442"/>
                <a:gd name="connsiteX3" fmla="*/ 0 w 2370357"/>
                <a:gd name="connsiteY3" fmla="*/ 0 h 257442"/>
                <a:gd name="connsiteX0" fmla="*/ 2548291 w 2548291"/>
                <a:gd name="connsiteY0" fmla="*/ 0 h 257442"/>
                <a:gd name="connsiteX1" fmla="*/ 2315636 w 2548291"/>
                <a:gd name="connsiteY1" fmla="*/ 257442 h 257442"/>
                <a:gd name="connsiteX2" fmla="*/ 1 w 2548291"/>
                <a:gd name="connsiteY2" fmla="*/ 257442 h 257442"/>
                <a:gd name="connsiteX3" fmla="*/ 0 w 2548291"/>
                <a:gd name="connsiteY3" fmla="*/ 0 h 257442"/>
                <a:gd name="connsiteX0" fmla="*/ 2548291 w 2548291"/>
                <a:gd name="connsiteY0" fmla="*/ 0 h 257442"/>
                <a:gd name="connsiteX1" fmla="*/ 2493570 w 2548291"/>
                <a:gd name="connsiteY1" fmla="*/ 257442 h 257442"/>
                <a:gd name="connsiteX2" fmla="*/ 1 w 2548291"/>
                <a:gd name="connsiteY2" fmla="*/ 257442 h 257442"/>
                <a:gd name="connsiteX3" fmla="*/ 0 w 2548291"/>
                <a:gd name="connsiteY3" fmla="*/ 0 h 257442"/>
                <a:gd name="connsiteX0" fmla="*/ 2548291 w 2548291"/>
                <a:gd name="connsiteY0" fmla="*/ 0 h 257442"/>
                <a:gd name="connsiteX1" fmla="*/ 2493570 w 2548291"/>
                <a:gd name="connsiteY1" fmla="*/ 257442 h 257442"/>
                <a:gd name="connsiteX2" fmla="*/ 1 w 2548291"/>
                <a:gd name="connsiteY2" fmla="*/ 257442 h 257442"/>
                <a:gd name="connsiteX3" fmla="*/ 0 w 2548291"/>
                <a:gd name="connsiteY3" fmla="*/ 0 h 257442"/>
                <a:gd name="connsiteX0" fmla="*/ 2548290 w 2548290"/>
                <a:gd name="connsiteY0" fmla="*/ 0 h 257442"/>
                <a:gd name="connsiteX1" fmla="*/ 2493569 w 2548290"/>
                <a:gd name="connsiteY1" fmla="*/ 257442 h 257442"/>
                <a:gd name="connsiteX2" fmla="*/ 0 w 2548290"/>
                <a:gd name="connsiteY2" fmla="*/ 257442 h 257442"/>
                <a:gd name="connsiteX3" fmla="*/ 0 w 2548290"/>
                <a:gd name="connsiteY3" fmla="*/ 0 h 257442"/>
                <a:gd name="connsiteX0" fmla="*/ 2726222 w 2726222"/>
                <a:gd name="connsiteY0" fmla="*/ 0 h 257442"/>
                <a:gd name="connsiteX1" fmla="*/ 2493569 w 2726222"/>
                <a:gd name="connsiteY1" fmla="*/ 257442 h 257442"/>
                <a:gd name="connsiteX2" fmla="*/ 0 w 2726222"/>
                <a:gd name="connsiteY2" fmla="*/ 257442 h 257442"/>
                <a:gd name="connsiteX3" fmla="*/ 0 w 2726222"/>
                <a:gd name="connsiteY3" fmla="*/ 0 h 257442"/>
                <a:gd name="connsiteX0" fmla="*/ 2726222 w 2726222"/>
                <a:gd name="connsiteY0" fmla="*/ 0 h 257442"/>
                <a:gd name="connsiteX1" fmla="*/ 2671501 w 2726222"/>
                <a:gd name="connsiteY1" fmla="*/ 257442 h 257442"/>
                <a:gd name="connsiteX2" fmla="*/ 0 w 2726222"/>
                <a:gd name="connsiteY2" fmla="*/ 257442 h 257442"/>
                <a:gd name="connsiteX3" fmla="*/ 0 w 2726222"/>
                <a:gd name="connsiteY3" fmla="*/ 0 h 257442"/>
                <a:gd name="connsiteX0" fmla="*/ 2726223 w 2726223"/>
                <a:gd name="connsiteY0" fmla="*/ 0 h 257442"/>
                <a:gd name="connsiteX1" fmla="*/ 2671502 w 2726223"/>
                <a:gd name="connsiteY1" fmla="*/ 257442 h 257442"/>
                <a:gd name="connsiteX2" fmla="*/ 0 w 2726223"/>
                <a:gd name="connsiteY2" fmla="*/ 257442 h 257442"/>
                <a:gd name="connsiteX3" fmla="*/ 1 w 2726223"/>
                <a:gd name="connsiteY3" fmla="*/ 0 h 257442"/>
                <a:gd name="connsiteX0" fmla="*/ 2726223 w 2726223"/>
                <a:gd name="connsiteY0" fmla="*/ 0 h 257442"/>
                <a:gd name="connsiteX1" fmla="*/ 2671502 w 2726223"/>
                <a:gd name="connsiteY1" fmla="*/ 257442 h 257442"/>
                <a:gd name="connsiteX2" fmla="*/ 0 w 2726223"/>
                <a:gd name="connsiteY2" fmla="*/ 257442 h 257442"/>
                <a:gd name="connsiteX3" fmla="*/ 1 w 2726223"/>
                <a:gd name="connsiteY3" fmla="*/ 0 h 257442"/>
                <a:gd name="connsiteX0" fmla="*/ 2894539 w 2894539"/>
                <a:gd name="connsiteY0" fmla="*/ 0 h 257442"/>
                <a:gd name="connsiteX1" fmla="*/ 2671502 w 2894539"/>
                <a:gd name="connsiteY1" fmla="*/ 257442 h 257442"/>
                <a:gd name="connsiteX2" fmla="*/ 0 w 2894539"/>
                <a:gd name="connsiteY2" fmla="*/ 257442 h 257442"/>
                <a:gd name="connsiteX3" fmla="*/ 1 w 2894539"/>
                <a:gd name="connsiteY3" fmla="*/ 0 h 257442"/>
                <a:gd name="connsiteX0" fmla="*/ 2894539 w 2894539"/>
                <a:gd name="connsiteY0" fmla="*/ 0 h 257442"/>
                <a:gd name="connsiteX1" fmla="*/ 2839818 w 2894539"/>
                <a:gd name="connsiteY1" fmla="*/ 257442 h 257442"/>
                <a:gd name="connsiteX2" fmla="*/ 0 w 2894539"/>
                <a:gd name="connsiteY2" fmla="*/ 257442 h 257442"/>
                <a:gd name="connsiteX3" fmla="*/ 1 w 2894539"/>
                <a:gd name="connsiteY3" fmla="*/ 0 h 257442"/>
                <a:gd name="connsiteX0" fmla="*/ 2894538 w 2894538"/>
                <a:gd name="connsiteY0" fmla="*/ 0 h 257442"/>
                <a:gd name="connsiteX1" fmla="*/ 2839817 w 2894538"/>
                <a:gd name="connsiteY1" fmla="*/ 257442 h 257442"/>
                <a:gd name="connsiteX2" fmla="*/ 0 w 2894538"/>
                <a:gd name="connsiteY2" fmla="*/ 257442 h 257442"/>
                <a:gd name="connsiteX3" fmla="*/ 0 w 2894538"/>
                <a:gd name="connsiteY3" fmla="*/ 0 h 257442"/>
                <a:gd name="connsiteX0" fmla="*/ 2894539 w 2894539"/>
                <a:gd name="connsiteY0" fmla="*/ 0 h 257442"/>
                <a:gd name="connsiteX1" fmla="*/ 2839818 w 2894539"/>
                <a:gd name="connsiteY1" fmla="*/ 257442 h 257442"/>
                <a:gd name="connsiteX2" fmla="*/ 1 w 2894539"/>
                <a:gd name="connsiteY2" fmla="*/ 257442 h 257442"/>
                <a:gd name="connsiteX3" fmla="*/ 0 w 2894539"/>
                <a:gd name="connsiteY3" fmla="*/ 0 h 257442"/>
                <a:gd name="connsiteX0" fmla="*/ 3062854 w 3062854"/>
                <a:gd name="connsiteY0" fmla="*/ 0 h 257442"/>
                <a:gd name="connsiteX1" fmla="*/ 2839818 w 3062854"/>
                <a:gd name="connsiteY1" fmla="*/ 257442 h 257442"/>
                <a:gd name="connsiteX2" fmla="*/ 1 w 3062854"/>
                <a:gd name="connsiteY2" fmla="*/ 257442 h 257442"/>
                <a:gd name="connsiteX3" fmla="*/ 0 w 3062854"/>
                <a:gd name="connsiteY3" fmla="*/ 0 h 257442"/>
                <a:gd name="connsiteX0" fmla="*/ 3062854 w 3062854"/>
                <a:gd name="connsiteY0" fmla="*/ 0 h 257442"/>
                <a:gd name="connsiteX1" fmla="*/ 3008132 w 3062854"/>
                <a:gd name="connsiteY1" fmla="*/ 257442 h 257442"/>
                <a:gd name="connsiteX2" fmla="*/ 1 w 3062854"/>
                <a:gd name="connsiteY2" fmla="*/ 257442 h 257442"/>
                <a:gd name="connsiteX3" fmla="*/ 0 w 3062854"/>
                <a:gd name="connsiteY3" fmla="*/ 0 h 257442"/>
                <a:gd name="connsiteX0" fmla="*/ 3062854 w 3062854"/>
                <a:gd name="connsiteY0" fmla="*/ 0 h 257442"/>
                <a:gd name="connsiteX1" fmla="*/ 3008132 w 3062854"/>
                <a:gd name="connsiteY1" fmla="*/ 257442 h 257442"/>
                <a:gd name="connsiteX2" fmla="*/ 0 w 3062854"/>
                <a:gd name="connsiteY2" fmla="*/ 257442 h 257442"/>
                <a:gd name="connsiteX3" fmla="*/ 0 w 3062854"/>
                <a:gd name="connsiteY3" fmla="*/ 0 h 257442"/>
                <a:gd name="connsiteX0" fmla="*/ 3062854 w 3062854"/>
                <a:gd name="connsiteY0" fmla="*/ 0 h 257442"/>
                <a:gd name="connsiteX1" fmla="*/ 3008132 w 3062854"/>
                <a:gd name="connsiteY1" fmla="*/ 257442 h 257442"/>
                <a:gd name="connsiteX2" fmla="*/ 0 w 3062854"/>
                <a:gd name="connsiteY2" fmla="*/ 257442 h 257442"/>
                <a:gd name="connsiteX3" fmla="*/ 0 w 3062854"/>
                <a:gd name="connsiteY3" fmla="*/ 0 h 257442"/>
                <a:gd name="connsiteX0" fmla="*/ 3223153 w 3223153"/>
                <a:gd name="connsiteY0" fmla="*/ 0 h 257442"/>
                <a:gd name="connsiteX1" fmla="*/ 3008132 w 3223153"/>
                <a:gd name="connsiteY1" fmla="*/ 257442 h 257442"/>
                <a:gd name="connsiteX2" fmla="*/ 0 w 3223153"/>
                <a:gd name="connsiteY2" fmla="*/ 257442 h 257442"/>
                <a:gd name="connsiteX3" fmla="*/ 0 w 3223153"/>
                <a:gd name="connsiteY3" fmla="*/ 0 h 257442"/>
                <a:gd name="connsiteX0" fmla="*/ 3223153 w 3223153"/>
                <a:gd name="connsiteY0" fmla="*/ 0 h 257442"/>
                <a:gd name="connsiteX1" fmla="*/ 3168432 w 3223153"/>
                <a:gd name="connsiteY1" fmla="*/ 257442 h 257442"/>
                <a:gd name="connsiteX2" fmla="*/ 0 w 3223153"/>
                <a:gd name="connsiteY2" fmla="*/ 257442 h 257442"/>
                <a:gd name="connsiteX3" fmla="*/ 0 w 3223153"/>
                <a:gd name="connsiteY3" fmla="*/ 0 h 257442"/>
                <a:gd name="connsiteX0" fmla="*/ 3223153 w 3223153"/>
                <a:gd name="connsiteY0" fmla="*/ 0 h 257442"/>
                <a:gd name="connsiteX1" fmla="*/ 3168432 w 3223153"/>
                <a:gd name="connsiteY1" fmla="*/ 257442 h 257442"/>
                <a:gd name="connsiteX2" fmla="*/ 0 w 3223153"/>
                <a:gd name="connsiteY2" fmla="*/ 257442 h 257442"/>
                <a:gd name="connsiteX3" fmla="*/ 0 w 3223153"/>
                <a:gd name="connsiteY3" fmla="*/ 0 h 257442"/>
                <a:gd name="connsiteX0" fmla="*/ 3223153 w 3223153"/>
                <a:gd name="connsiteY0" fmla="*/ 0 h 257442"/>
                <a:gd name="connsiteX1" fmla="*/ 3168432 w 3223153"/>
                <a:gd name="connsiteY1" fmla="*/ 257442 h 257442"/>
                <a:gd name="connsiteX2" fmla="*/ 0 w 3223153"/>
                <a:gd name="connsiteY2" fmla="*/ 257442 h 257442"/>
                <a:gd name="connsiteX3" fmla="*/ 0 w 3223153"/>
                <a:gd name="connsiteY3" fmla="*/ 0 h 257442"/>
                <a:gd name="connsiteX0" fmla="*/ 3391469 w 3391469"/>
                <a:gd name="connsiteY0" fmla="*/ 0 h 257442"/>
                <a:gd name="connsiteX1" fmla="*/ 3168432 w 3391469"/>
                <a:gd name="connsiteY1" fmla="*/ 257442 h 257442"/>
                <a:gd name="connsiteX2" fmla="*/ 0 w 3391469"/>
                <a:gd name="connsiteY2" fmla="*/ 257442 h 257442"/>
                <a:gd name="connsiteX3" fmla="*/ 0 w 3391469"/>
                <a:gd name="connsiteY3" fmla="*/ 0 h 257442"/>
                <a:gd name="connsiteX0" fmla="*/ 3391469 w 3391469"/>
                <a:gd name="connsiteY0" fmla="*/ 0 h 257442"/>
                <a:gd name="connsiteX1" fmla="*/ 3336748 w 3391469"/>
                <a:gd name="connsiteY1" fmla="*/ 257442 h 257442"/>
                <a:gd name="connsiteX2" fmla="*/ 0 w 3391469"/>
                <a:gd name="connsiteY2" fmla="*/ 257442 h 257442"/>
                <a:gd name="connsiteX3" fmla="*/ 0 w 3391469"/>
                <a:gd name="connsiteY3" fmla="*/ 0 h 257442"/>
                <a:gd name="connsiteX0" fmla="*/ 3391469 w 3391469"/>
                <a:gd name="connsiteY0" fmla="*/ 0 h 257442"/>
                <a:gd name="connsiteX1" fmla="*/ 3336748 w 3391469"/>
                <a:gd name="connsiteY1" fmla="*/ 257442 h 257442"/>
                <a:gd name="connsiteX2" fmla="*/ 0 w 3391469"/>
                <a:gd name="connsiteY2" fmla="*/ 257442 h 257442"/>
                <a:gd name="connsiteX3" fmla="*/ 0 w 3391469"/>
                <a:gd name="connsiteY3" fmla="*/ 0 h 257442"/>
                <a:gd name="connsiteX0" fmla="*/ 3391469 w 3391469"/>
                <a:gd name="connsiteY0" fmla="*/ 0 h 257442"/>
                <a:gd name="connsiteX1" fmla="*/ 3336748 w 3391469"/>
                <a:gd name="connsiteY1" fmla="*/ 257442 h 257442"/>
                <a:gd name="connsiteX2" fmla="*/ 0 w 3391469"/>
                <a:gd name="connsiteY2" fmla="*/ 257442 h 257442"/>
                <a:gd name="connsiteX3" fmla="*/ 0 w 3391469"/>
                <a:gd name="connsiteY3" fmla="*/ 0 h 257442"/>
                <a:gd name="connsiteX0" fmla="*/ 3660774 w 3660774"/>
                <a:gd name="connsiteY0" fmla="*/ 0 h 257442"/>
                <a:gd name="connsiteX1" fmla="*/ 3336748 w 3660774"/>
                <a:gd name="connsiteY1" fmla="*/ 257442 h 257442"/>
                <a:gd name="connsiteX2" fmla="*/ 0 w 3660774"/>
                <a:gd name="connsiteY2" fmla="*/ 257442 h 257442"/>
                <a:gd name="connsiteX3" fmla="*/ 0 w 3660774"/>
                <a:gd name="connsiteY3" fmla="*/ 0 h 257442"/>
                <a:gd name="connsiteX0" fmla="*/ 3660774 w 3660774"/>
                <a:gd name="connsiteY0" fmla="*/ 0 h 257442"/>
                <a:gd name="connsiteX1" fmla="*/ 3606052 w 3660774"/>
                <a:gd name="connsiteY1" fmla="*/ 257442 h 257442"/>
                <a:gd name="connsiteX2" fmla="*/ 0 w 3660774"/>
                <a:gd name="connsiteY2" fmla="*/ 257442 h 257442"/>
                <a:gd name="connsiteX3" fmla="*/ 0 w 3660774"/>
                <a:gd name="connsiteY3" fmla="*/ 0 h 257442"/>
                <a:gd name="connsiteX0" fmla="*/ 3660775 w 3660775"/>
                <a:gd name="connsiteY0" fmla="*/ 0 h 257442"/>
                <a:gd name="connsiteX1" fmla="*/ 3606053 w 3660775"/>
                <a:gd name="connsiteY1" fmla="*/ 257442 h 257442"/>
                <a:gd name="connsiteX2" fmla="*/ 0 w 3660775"/>
                <a:gd name="connsiteY2" fmla="*/ 257442 h 257442"/>
                <a:gd name="connsiteX3" fmla="*/ 1 w 3660775"/>
                <a:gd name="connsiteY3" fmla="*/ 0 h 257442"/>
                <a:gd name="connsiteX0" fmla="*/ 3660775 w 3660775"/>
                <a:gd name="connsiteY0" fmla="*/ 0 h 257442"/>
                <a:gd name="connsiteX1" fmla="*/ 3606053 w 3660775"/>
                <a:gd name="connsiteY1" fmla="*/ 257442 h 257442"/>
                <a:gd name="connsiteX2" fmla="*/ 0 w 3660775"/>
                <a:gd name="connsiteY2" fmla="*/ 257442 h 257442"/>
                <a:gd name="connsiteX3" fmla="*/ 1 w 3660775"/>
                <a:gd name="connsiteY3" fmla="*/ 0 h 257442"/>
                <a:gd name="connsiteX0" fmla="*/ 3821075 w 3821075"/>
                <a:gd name="connsiteY0" fmla="*/ 0 h 257442"/>
                <a:gd name="connsiteX1" fmla="*/ 3606053 w 3821075"/>
                <a:gd name="connsiteY1" fmla="*/ 257442 h 257442"/>
                <a:gd name="connsiteX2" fmla="*/ 0 w 3821075"/>
                <a:gd name="connsiteY2" fmla="*/ 257442 h 257442"/>
                <a:gd name="connsiteX3" fmla="*/ 1 w 3821075"/>
                <a:gd name="connsiteY3" fmla="*/ 0 h 257442"/>
                <a:gd name="connsiteX0" fmla="*/ 3821075 w 3821075"/>
                <a:gd name="connsiteY0" fmla="*/ 0 h 257442"/>
                <a:gd name="connsiteX1" fmla="*/ 3766354 w 3821075"/>
                <a:gd name="connsiteY1" fmla="*/ 257442 h 257442"/>
                <a:gd name="connsiteX2" fmla="*/ 0 w 3821075"/>
                <a:gd name="connsiteY2" fmla="*/ 257442 h 257442"/>
                <a:gd name="connsiteX3" fmla="*/ 1 w 3821075"/>
                <a:gd name="connsiteY3" fmla="*/ 0 h 257442"/>
                <a:gd name="connsiteX0" fmla="*/ 3821074 w 3821074"/>
                <a:gd name="connsiteY0" fmla="*/ 0 h 257442"/>
                <a:gd name="connsiteX1" fmla="*/ 3766353 w 3821074"/>
                <a:gd name="connsiteY1" fmla="*/ 257442 h 257442"/>
                <a:gd name="connsiteX2" fmla="*/ 0 w 3821074"/>
                <a:gd name="connsiteY2" fmla="*/ 257442 h 257442"/>
                <a:gd name="connsiteX3" fmla="*/ 0 w 3821074"/>
                <a:gd name="connsiteY3" fmla="*/ 0 h 257442"/>
                <a:gd name="connsiteX0" fmla="*/ 3821075 w 3821075"/>
                <a:gd name="connsiteY0" fmla="*/ 0 h 257442"/>
                <a:gd name="connsiteX1" fmla="*/ 3766354 w 3821075"/>
                <a:gd name="connsiteY1" fmla="*/ 257442 h 257442"/>
                <a:gd name="connsiteX2" fmla="*/ 1 w 3821075"/>
                <a:gd name="connsiteY2" fmla="*/ 257442 h 257442"/>
                <a:gd name="connsiteX3" fmla="*/ 0 w 3821075"/>
                <a:gd name="connsiteY3" fmla="*/ 0 h 257442"/>
                <a:gd name="connsiteX0" fmla="*/ 3562543 w 3766354"/>
                <a:gd name="connsiteY0" fmla="*/ 0 h 257442"/>
                <a:gd name="connsiteX1" fmla="*/ 3766354 w 3766354"/>
                <a:gd name="connsiteY1" fmla="*/ 257442 h 257442"/>
                <a:gd name="connsiteX2" fmla="*/ 1 w 3766354"/>
                <a:gd name="connsiteY2" fmla="*/ 257442 h 257442"/>
                <a:gd name="connsiteX3" fmla="*/ 0 w 3766354"/>
                <a:gd name="connsiteY3" fmla="*/ 0 h 257442"/>
                <a:gd name="connsiteX0" fmla="*/ 3562543 w 3562543"/>
                <a:gd name="connsiteY0" fmla="*/ 0 h 257442"/>
                <a:gd name="connsiteX1" fmla="*/ 3507822 w 3562543"/>
                <a:gd name="connsiteY1" fmla="*/ 257442 h 257442"/>
                <a:gd name="connsiteX2" fmla="*/ 1 w 3562543"/>
                <a:gd name="connsiteY2" fmla="*/ 257442 h 257442"/>
                <a:gd name="connsiteX3" fmla="*/ 0 w 3562543"/>
                <a:gd name="connsiteY3" fmla="*/ 0 h 257442"/>
                <a:gd name="connsiteX0" fmla="*/ 3562543 w 3562543"/>
                <a:gd name="connsiteY0" fmla="*/ 0 h 257442"/>
                <a:gd name="connsiteX1" fmla="*/ 3507822 w 3562543"/>
                <a:gd name="connsiteY1" fmla="*/ 257442 h 257442"/>
                <a:gd name="connsiteX2" fmla="*/ 2 w 3562543"/>
                <a:gd name="connsiteY2" fmla="*/ 257442 h 257442"/>
                <a:gd name="connsiteX3" fmla="*/ 0 w 3562543"/>
                <a:gd name="connsiteY3" fmla="*/ 0 h 257442"/>
                <a:gd name="connsiteX0" fmla="*/ 3562541 w 3562541"/>
                <a:gd name="connsiteY0" fmla="*/ 0 h 257442"/>
                <a:gd name="connsiteX1" fmla="*/ 3507820 w 3562541"/>
                <a:gd name="connsiteY1" fmla="*/ 257442 h 257442"/>
                <a:gd name="connsiteX2" fmla="*/ 0 w 3562541"/>
                <a:gd name="connsiteY2" fmla="*/ 257442 h 257442"/>
                <a:gd name="connsiteX3" fmla="*/ 0 w 3562541"/>
                <a:gd name="connsiteY3" fmla="*/ 0 h 257442"/>
                <a:gd name="connsiteX0" fmla="*/ 3402241 w 3507820"/>
                <a:gd name="connsiteY0" fmla="*/ 0 h 257442"/>
                <a:gd name="connsiteX1" fmla="*/ 3507820 w 3507820"/>
                <a:gd name="connsiteY1" fmla="*/ 257442 h 257442"/>
                <a:gd name="connsiteX2" fmla="*/ 0 w 3507820"/>
                <a:gd name="connsiteY2" fmla="*/ 257442 h 257442"/>
                <a:gd name="connsiteX3" fmla="*/ 0 w 3507820"/>
                <a:gd name="connsiteY3" fmla="*/ 0 h 257442"/>
                <a:gd name="connsiteX0" fmla="*/ 3402241 w 3402241"/>
                <a:gd name="connsiteY0" fmla="*/ 0 h 257442"/>
                <a:gd name="connsiteX1" fmla="*/ 3347520 w 3402241"/>
                <a:gd name="connsiteY1" fmla="*/ 257442 h 257442"/>
                <a:gd name="connsiteX2" fmla="*/ 0 w 3402241"/>
                <a:gd name="connsiteY2" fmla="*/ 257442 h 257442"/>
                <a:gd name="connsiteX3" fmla="*/ 0 w 3402241"/>
                <a:gd name="connsiteY3" fmla="*/ 0 h 257442"/>
                <a:gd name="connsiteX0" fmla="*/ 3402241 w 3402241"/>
                <a:gd name="connsiteY0" fmla="*/ 0 h 257442"/>
                <a:gd name="connsiteX1" fmla="*/ 3347520 w 3402241"/>
                <a:gd name="connsiteY1" fmla="*/ 257442 h 257442"/>
                <a:gd name="connsiteX2" fmla="*/ 1 w 3402241"/>
                <a:gd name="connsiteY2" fmla="*/ 257442 h 257442"/>
                <a:gd name="connsiteX3" fmla="*/ 0 w 3402241"/>
                <a:gd name="connsiteY3" fmla="*/ 0 h 257442"/>
                <a:gd name="connsiteX0" fmla="*/ 3402240 w 3402240"/>
                <a:gd name="connsiteY0" fmla="*/ 0 h 257442"/>
                <a:gd name="connsiteX1" fmla="*/ 3347519 w 3402240"/>
                <a:gd name="connsiteY1" fmla="*/ 257442 h 257442"/>
                <a:gd name="connsiteX2" fmla="*/ 0 w 3402240"/>
                <a:gd name="connsiteY2" fmla="*/ 257442 h 257442"/>
                <a:gd name="connsiteX3" fmla="*/ 0 w 3402240"/>
                <a:gd name="connsiteY3" fmla="*/ 0 h 257442"/>
                <a:gd name="connsiteX0" fmla="*/ 3244697 w 3347519"/>
                <a:gd name="connsiteY0" fmla="*/ 0 h 257442"/>
                <a:gd name="connsiteX1" fmla="*/ 3347519 w 3347519"/>
                <a:gd name="connsiteY1" fmla="*/ 257442 h 257442"/>
                <a:gd name="connsiteX2" fmla="*/ 0 w 3347519"/>
                <a:gd name="connsiteY2" fmla="*/ 257442 h 257442"/>
                <a:gd name="connsiteX3" fmla="*/ 0 w 3347519"/>
                <a:gd name="connsiteY3" fmla="*/ 0 h 257442"/>
                <a:gd name="connsiteX0" fmla="*/ 3244697 w 3244697"/>
                <a:gd name="connsiteY0" fmla="*/ 0 h 257442"/>
                <a:gd name="connsiteX1" fmla="*/ 3189977 w 3244697"/>
                <a:gd name="connsiteY1" fmla="*/ 257442 h 257442"/>
                <a:gd name="connsiteX2" fmla="*/ 0 w 3244697"/>
                <a:gd name="connsiteY2" fmla="*/ 257442 h 257442"/>
                <a:gd name="connsiteX3" fmla="*/ 0 w 3244697"/>
                <a:gd name="connsiteY3" fmla="*/ 0 h 257442"/>
                <a:gd name="connsiteX0" fmla="*/ 3244697 w 3244697"/>
                <a:gd name="connsiteY0" fmla="*/ 0 h 257442"/>
                <a:gd name="connsiteX1" fmla="*/ 3189977 w 3244697"/>
                <a:gd name="connsiteY1" fmla="*/ 257442 h 257442"/>
                <a:gd name="connsiteX2" fmla="*/ 0 w 3244697"/>
                <a:gd name="connsiteY2" fmla="*/ 257442 h 257442"/>
                <a:gd name="connsiteX3" fmla="*/ 0 w 3244697"/>
                <a:gd name="connsiteY3" fmla="*/ 0 h 257442"/>
                <a:gd name="connsiteX0" fmla="*/ 3244697 w 3244697"/>
                <a:gd name="connsiteY0" fmla="*/ 0 h 257442"/>
                <a:gd name="connsiteX1" fmla="*/ 3189977 w 3244697"/>
                <a:gd name="connsiteY1" fmla="*/ 257442 h 257442"/>
                <a:gd name="connsiteX2" fmla="*/ 0 w 3244697"/>
                <a:gd name="connsiteY2" fmla="*/ 257442 h 257442"/>
                <a:gd name="connsiteX3" fmla="*/ 0 w 3244697"/>
                <a:gd name="connsiteY3" fmla="*/ 0 h 257442"/>
                <a:gd name="connsiteX0" fmla="*/ 3076383 w 3189977"/>
                <a:gd name="connsiteY0" fmla="*/ 0 h 257442"/>
                <a:gd name="connsiteX1" fmla="*/ 3189977 w 3189977"/>
                <a:gd name="connsiteY1" fmla="*/ 257442 h 257442"/>
                <a:gd name="connsiteX2" fmla="*/ 0 w 3189977"/>
                <a:gd name="connsiteY2" fmla="*/ 257442 h 257442"/>
                <a:gd name="connsiteX3" fmla="*/ 0 w 3189977"/>
                <a:gd name="connsiteY3" fmla="*/ 0 h 257442"/>
                <a:gd name="connsiteX0" fmla="*/ 3076383 w 3076383"/>
                <a:gd name="connsiteY0" fmla="*/ 0 h 257442"/>
                <a:gd name="connsiteX1" fmla="*/ 302166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076383 w 3076383"/>
                <a:gd name="connsiteY0" fmla="*/ 0 h 257442"/>
                <a:gd name="connsiteX1" fmla="*/ 302166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076383 w 3076383"/>
                <a:gd name="connsiteY0" fmla="*/ 0 h 257442"/>
                <a:gd name="connsiteX1" fmla="*/ 302166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2908067 w 3021662"/>
                <a:gd name="connsiteY0" fmla="*/ 0 h 257442"/>
                <a:gd name="connsiteX1" fmla="*/ 3021662 w 3021662"/>
                <a:gd name="connsiteY1" fmla="*/ 257442 h 257442"/>
                <a:gd name="connsiteX2" fmla="*/ 0 w 3021662"/>
                <a:gd name="connsiteY2" fmla="*/ 257442 h 257442"/>
                <a:gd name="connsiteX3" fmla="*/ 0 w 3021662"/>
                <a:gd name="connsiteY3" fmla="*/ 0 h 257442"/>
                <a:gd name="connsiteX0" fmla="*/ 2908067 w 2908067"/>
                <a:gd name="connsiteY0" fmla="*/ 0 h 257442"/>
                <a:gd name="connsiteX1" fmla="*/ 2853346 w 2908067"/>
                <a:gd name="connsiteY1" fmla="*/ 257442 h 257442"/>
                <a:gd name="connsiteX2" fmla="*/ 0 w 2908067"/>
                <a:gd name="connsiteY2" fmla="*/ 257442 h 257442"/>
                <a:gd name="connsiteX3" fmla="*/ 0 w 2908067"/>
                <a:gd name="connsiteY3" fmla="*/ 0 h 257442"/>
                <a:gd name="connsiteX0" fmla="*/ 2908067 w 2908067"/>
                <a:gd name="connsiteY0" fmla="*/ 0 h 257442"/>
                <a:gd name="connsiteX1" fmla="*/ 2853346 w 2908067"/>
                <a:gd name="connsiteY1" fmla="*/ 257442 h 257442"/>
                <a:gd name="connsiteX2" fmla="*/ 1 w 2908067"/>
                <a:gd name="connsiteY2" fmla="*/ 257442 h 257442"/>
                <a:gd name="connsiteX3" fmla="*/ 0 w 2908067"/>
                <a:gd name="connsiteY3" fmla="*/ 0 h 257442"/>
                <a:gd name="connsiteX0" fmla="*/ 2908066 w 2908066"/>
                <a:gd name="connsiteY0" fmla="*/ 0 h 257442"/>
                <a:gd name="connsiteX1" fmla="*/ 2853345 w 2908066"/>
                <a:gd name="connsiteY1" fmla="*/ 257442 h 257442"/>
                <a:gd name="connsiteX2" fmla="*/ 0 w 2908066"/>
                <a:gd name="connsiteY2" fmla="*/ 257442 h 257442"/>
                <a:gd name="connsiteX3" fmla="*/ 0 w 2908066"/>
                <a:gd name="connsiteY3" fmla="*/ 0 h 257442"/>
                <a:gd name="connsiteX0" fmla="*/ 2747766 w 2853345"/>
                <a:gd name="connsiteY0" fmla="*/ 0 h 257442"/>
                <a:gd name="connsiteX1" fmla="*/ 2853345 w 2853345"/>
                <a:gd name="connsiteY1" fmla="*/ 257442 h 257442"/>
                <a:gd name="connsiteX2" fmla="*/ 0 w 2853345"/>
                <a:gd name="connsiteY2" fmla="*/ 257442 h 257442"/>
                <a:gd name="connsiteX3" fmla="*/ 0 w 2853345"/>
                <a:gd name="connsiteY3" fmla="*/ 0 h 257442"/>
                <a:gd name="connsiteX0" fmla="*/ 2747766 w 2747766"/>
                <a:gd name="connsiteY0" fmla="*/ 0 h 257442"/>
                <a:gd name="connsiteX1" fmla="*/ 2693046 w 2747766"/>
                <a:gd name="connsiteY1" fmla="*/ 257442 h 257442"/>
                <a:gd name="connsiteX2" fmla="*/ 0 w 2747766"/>
                <a:gd name="connsiteY2" fmla="*/ 257442 h 257442"/>
                <a:gd name="connsiteX3" fmla="*/ 0 w 2747766"/>
                <a:gd name="connsiteY3" fmla="*/ 0 h 257442"/>
                <a:gd name="connsiteX0" fmla="*/ 2747766 w 2747766"/>
                <a:gd name="connsiteY0" fmla="*/ 0 h 257442"/>
                <a:gd name="connsiteX1" fmla="*/ 2693046 w 2747766"/>
                <a:gd name="connsiteY1" fmla="*/ 257442 h 257442"/>
                <a:gd name="connsiteX2" fmla="*/ 0 w 2747766"/>
                <a:gd name="connsiteY2" fmla="*/ 257442 h 257442"/>
                <a:gd name="connsiteX3" fmla="*/ 0 w 2747766"/>
                <a:gd name="connsiteY3" fmla="*/ 0 h 257442"/>
                <a:gd name="connsiteX0" fmla="*/ 2747766 w 2747766"/>
                <a:gd name="connsiteY0" fmla="*/ 0 h 257442"/>
                <a:gd name="connsiteX1" fmla="*/ 2693046 w 2747766"/>
                <a:gd name="connsiteY1" fmla="*/ 257442 h 257442"/>
                <a:gd name="connsiteX2" fmla="*/ 0 w 2747766"/>
                <a:gd name="connsiteY2" fmla="*/ 257442 h 257442"/>
                <a:gd name="connsiteX3" fmla="*/ 0 w 2747766"/>
                <a:gd name="connsiteY3" fmla="*/ 0 h 257442"/>
                <a:gd name="connsiteX0" fmla="*/ 3001041 w 3001041"/>
                <a:gd name="connsiteY0" fmla="*/ 0 h 257442"/>
                <a:gd name="connsiteX1" fmla="*/ 2693046 w 3001041"/>
                <a:gd name="connsiteY1" fmla="*/ 257442 h 257442"/>
                <a:gd name="connsiteX2" fmla="*/ 0 w 3001041"/>
                <a:gd name="connsiteY2" fmla="*/ 257442 h 257442"/>
                <a:gd name="connsiteX3" fmla="*/ 0 w 3001041"/>
                <a:gd name="connsiteY3" fmla="*/ 0 h 257442"/>
                <a:gd name="connsiteX0" fmla="*/ 3001041 w 3001041"/>
                <a:gd name="connsiteY0" fmla="*/ 0 h 257442"/>
                <a:gd name="connsiteX1" fmla="*/ 2946320 w 3001041"/>
                <a:gd name="connsiteY1" fmla="*/ 257442 h 257442"/>
                <a:gd name="connsiteX2" fmla="*/ 0 w 3001041"/>
                <a:gd name="connsiteY2" fmla="*/ 257442 h 257442"/>
                <a:gd name="connsiteX3" fmla="*/ 0 w 3001041"/>
                <a:gd name="connsiteY3" fmla="*/ 0 h 257442"/>
                <a:gd name="connsiteX0" fmla="*/ 3001041 w 3001041"/>
                <a:gd name="connsiteY0" fmla="*/ 0 h 257442"/>
                <a:gd name="connsiteX1" fmla="*/ 2946320 w 3001041"/>
                <a:gd name="connsiteY1" fmla="*/ 257442 h 257442"/>
                <a:gd name="connsiteX2" fmla="*/ 0 w 3001041"/>
                <a:gd name="connsiteY2" fmla="*/ 257442 h 257442"/>
                <a:gd name="connsiteX3" fmla="*/ 0 w 3001041"/>
                <a:gd name="connsiteY3" fmla="*/ 0 h 257442"/>
                <a:gd name="connsiteX0" fmla="*/ 3001041 w 3001041"/>
                <a:gd name="connsiteY0" fmla="*/ 0 h 257442"/>
                <a:gd name="connsiteX1" fmla="*/ 2946320 w 3001041"/>
                <a:gd name="connsiteY1" fmla="*/ 257442 h 257442"/>
                <a:gd name="connsiteX2" fmla="*/ 0 w 3001041"/>
                <a:gd name="connsiteY2" fmla="*/ 257442 h 257442"/>
                <a:gd name="connsiteX3" fmla="*/ 0 w 3001041"/>
                <a:gd name="connsiteY3" fmla="*/ 0 h 257442"/>
                <a:gd name="connsiteX0" fmla="*/ 3169357 w 3169357"/>
                <a:gd name="connsiteY0" fmla="*/ 0 h 257442"/>
                <a:gd name="connsiteX1" fmla="*/ 2946320 w 3169357"/>
                <a:gd name="connsiteY1" fmla="*/ 257442 h 257442"/>
                <a:gd name="connsiteX2" fmla="*/ 0 w 3169357"/>
                <a:gd name="connsiteY2" fmla="*/ 257442 h 257442"/>
                <a:gd name="connsiteX3" fmla="*/ 0 w 3169357"/>
                <a:gd name="connsiteY3" fmla="*/ 0 h 257442"/>
                <a:gd name="connsiteX0" fmla="*/ 3169357 w 3169357"/>
                <a:gd name="connsiteY0" fmla="*/ 0 h 257442"/>
                <a:gd name="connsiteX1" fmla="*/ 3114636 w 3169357"/>
                <a:gd name="connsiteY1" fmla="*/ 257442 h 257442"/>
                <a:gd name="connsiteX2" fmla="*/ 0 w 3169357"/>
                <a:gd name="connsiteY2" fmla="*/ 257442 h 257442"/>
                <a:gd name="connsiteX3" fmla="*/ 0 w 3169357"/>
                <a:gd name="connsiteY3" fmla="*/ 0 h 257442"/>
                <a:gd name="connsiteX0" fmla="*/ 3169357 w 3169357"/>
                <a:gd name="connsiteY0" fmla="*/ 0 h 257442"/>
                <a:gd name="connsiteX1" fmla="*/ 3114636 w 3169357"/>
                <a:gd name="connsiteY1" fmla="*/ 257442 h 257442"/>
                <a:gd name="connsiteX2" fmla="*/ 0 w 3169357"/>
                <a:gd name="connsiteY2" fmla="*/ 257442 h 257442"/>
                <a:gd name="connsiteX3" fmla="*/ 0 w 3169357"/>
                <a:gd name="connsiteY3" fmla="*/ 0 h 257442"/>
                <a:gd name="connsiteX0" fmla="*/ 3169357 w 3169357"/>
                <a:gd name="connsiteY0" fmla="*/ 0 h 257442"/>
                <a:gd name="connsiteX1" fmla="*/ 3114636 w 3169357"/>
                <a:gd name="connsiteY1" fmla="*/ 257442 h 257442"/>
                <a:gd name="connsiteX2" fmla="*/ 0 w 3169357"/>
                <a:gd name="connsiteY2" fmla="*/ 257442 h 257442"/>
                <a:gd name="connsiteX3" fmla="*/ 0 w 3169357"/>
                <a:gd name="connsiteY3" fmla="*/ 0 h 257442"/>
                <a:gd name="connsiteX0" fmla="*/ 3355306 w 3355306"/>
                <a:gd name="connsiteY0" fmla="*/ 0 h 257442"/>
                <a:gd name="connsiteX1" fmla="*/ 3114636 w 3355306"/>
                <a:gd name="connsiteY1" fmla="*/ 257442 h 257442"/>
                <a:gd name="connsiteX2" fmla="*/ 0 w 3355306"/>
                <a:gd name="connsiteY2" fmla="*/ 257442 h 257442"/>
                <a:gd name="connsiteX3" fmla="*/ 0 w 3355306"/>
                <a:gd name="connsiteY3" fmla="*/ 0 h 257442"/>
                <a:gd name="connsiteX0" fmla="*/ 3355306 w 3355306"/>
                <a:gd name="connsiteY0" fmla="*/ 0 h 257442"/>
                <a:gd name="connsiteX1" fmla="*/ 3300584 w 3355306"/>
                <a:gd name="connsiteY1" fmla="*/ 257442 h 257442"/>
                <a:gd name="connsiteX2" fmla="*/ 0 w 3355306"/>
                <a:gd name="connsiteY2" fmla="*/ 257442 h 257442"/>
                <a:gd name="connsiteX3" fmla="*/ 0 w 3355306"/>
                <a:gd name="connsiteY3" fmla="*/ 0 h 257442"/>
                <a:gd name="connsiteX0" fmla="*/ 3355307 w 3355307"/>
                <a:gd name="connsiteY0" fmla="*/ 0 h 257442"/>
                <a:gd name="connsiteX1" fmla="*/ 3300585 w 3355307"/>
                <a:gd name="connsiteY1" fmla="*/ 257442 h 257442"/>
                <a:gd name="connsiteX2" fmla="*/ 0 w 3355307"/>
                <a:gd name="connsiteY2" fmla="*/ 257442 h 257442"/>
                <a:gd name="connsiteX3" fmla="*/ 1 w 3355307"/>
                <a:gd name="connsiteY3" fmla="*/ 0 h 257442"/>
                <a:gd name="connsiteX0" fmla="*/ 3355307 w 3355307"/>
                <a:gd name="connsiteY0" fmla="*/ 0 h 257442"/>
                <a:gd name="connsiteX1" fmla="*/ 3300585 w 3355307"/>
                <a:gd name="connsiteY1" fmla="*/ 257442 h 257442"/>
                <a:gd name="connsiteX2" fmla="*/ 0 w 3355307"/>
                <a:gd name="connsiteY2" fmla="*/ 257442 h 257442"/>
                <a:gd name="connsiteX3" fmla="*/ 1 w 3355307"/>
                <a:gd name="connsiteY3" fmla="*/ 0 h 257442"/>
                <a:gd name="connsiteX0" fmla="*/ 3533239 w 3533239"/>
                <a:gd name="connsiteY0" fmla="*/ 0 h 257442"/>
                <a:gd name="connsiteX1" fmla="*/ 3300585 w 3533239"/>
                <a:gd name="connsiteY1" fmla="*/ 257442 h 257442"/>
                <a:gd name="connsiteX2" fmla="*/ 0 w 3533239"/>
                <a:gd name="connsiteY2" fmla="*/ 257442 h 257442"/>
                <a:gd name="connsiteX3" fmla="*/ 1 w 3533239"/>
                <a:gd name="connsiteY3" fmla="*/ 0 h 257442"/>
                <a:gd name="connsiteX0" fmla="*/ 3533239 w 3533239"/>
                <a:gd name="connsiteY0" fmla="*/ 0 h 257442"/>
                <a:gd name="connsiteX1" fmla="*/ 3478518 w 3533239"/>
                <a:gd name="connsiteY1" fmla="*/ 257442 h 257442"/>
                <a:gd name="connsiteX2" fmla="*/ 0 w 3533239"/>
                <a:gd name="connsiteY2" fmla="*/ 257442 h 257442"/>
                <a:gd name="connsiteX3" fmla="*/ 1 w 3533239"/>
                <a:gd name="connsiteY3" fmla="*/ 0 h 257442"/>
                <a:gd name="connsiteX0" fmla="*/ 3533238 w 3533238"/>
                <a:gd name="connsiteY0" fmla="*/ 0 h 257442"/>
                <a:gd name="connsiteX1" fmla="*/ 3478517 w 3533238"/>
                <a:gd name="connsiteY1" fmla="*/ 257442 h 257442"/>
                <a:gd name="connsiteX2" fmla="*/ 0 w 3533238"/>
                <a:gd name="connsiteY2" fmla="*/ 257442 h 257442"/>
                <a:gd name="connsiteX3" fmla="*/ 0 w 3533238"/>
                <a:gd name="connsiteY3" fmla="*/ 0 h 257442"/>
                <a:gd name="connsiteX0" fmla="*/ 3533239 w 3533239"/>
                <a:gd name="connsiteY0" fmla="*/ 0 h 257442"/>
                <a:gd name="connsiteX1" fmla="*/ 3478518 w 3533239"/>
                <a:gd name="connsiteY1" fmla="*/ 257442 h 257442"/>
                <a:gd name="connsiteX2" fmla="*/ 1 w 3533239"/>
                <a:gd name="connsiteY2" fmla="*/ 257442 h 257442"/>
                <a:gd name="connsiteX3" fmla="*/ 0 w 3533239"/>
                <a:gd name="connsiteY3" fmla="*/ 0 h 257442"/>
                <a:gd name="connsiteX0" fmla="*/ 934772 w 3478518"/>
                <a:gd name="connsiteY0" fmla="*/ 0 h 257442"/>
                <a:gd name="connsiteX1" fmla="*/ 3478518 w 3478518"/>
                <a:gd name="connsiteY1" fmla="*/ 257442 h 257442"/>
                <a:gd name="connsiteX2" fmla="*/ 1 w 3478518"/>
                <a:gd name="connsiteY2" fmla="*/ 257442 h 257442"/>
                <a:gd name="connsiteX3" fmla="*/ 0 w 3478518"/>
                <a:gd name="connsiteY3" fmla="*/ 0 h 257442"/>
                <a:gd name="connsiteX0" fmla="*/ 934772 w 934772"/>
                <a:gd name="connsiteY0" fmla="*/ 0 h 257442"/>
                <a:gd name="connsiteX1" fmla="*/ 880051 w 934772"/>
                <a:gd name="connsiteY1" fmla="*/ 257442 h 257442"/>
                <a:gd name="connsiteX2" fmla="*/ 1 w 934772"/>
                <a:gd name="connsiteY2" fmla="*/ 257442 h 257442"/>
                <a:gd name="connsiteX3" fmla="*/ 0 w 934772"/>
                <a:gd name="connsiteY3" fmla="*/ 0 h 257442"/>
                <a:gd name="connsiteX0" fmla="*/ 934772 w 934772"/>
                <a:gd name="connsiteY0" fmla="*/ 0 h 257442"/>
                <a:gd name="connsiteX1" fmla="*/ 880051 w 934772"/>
                <a:gd name="connsiteY1" fmla="*/ 257442 h 257442"/>
                <a:gd name="connsiteX2" fmla="*/ 1 w 934772"/>
                <a:gd name="connsiteY2" fmla="*/ 257442 h 257442"/>
                <a:gd name="connsiteX3" fmla="*/ 0 w 934772"/>
                <a:gd name="connsiteY3" fmla="*/ 0 h 257442"/>
                <a:gd name="connsiteX0" fmla="*/ 934771 w 934771"/>
                <a:gd name="connsiteY0" fmla="*/ 0 h 257442"/>
                <a:gd name="connsiteX1" fmla="*/ 880050 w 934771"/>
                <a:gd name="connsiteY1" fmla="*/ 257442 h 257442"/>
                <a:gd name="connsiteX2" fmla="*/ 0 w 934771"/>
                <a:gd name="connsiteY2" fmla="*/ 257442 h 257442"/>
                <a:gd name="connsiteX3" fmla="*/ 0 w 934771"/>
                <a:gd name="connsiteY3" fmla="*/ 0 h 257442"/>
                <a:gd name="connsiteX0" fmla="*/ 1204076 w 1204076"/>
                <a:gd name="connsiteY0" fmla="*/ 0 h 257442"/>
                <a:gd name="connsiteX1" fmla="*/ 880050 w 1204076"/>
                <a:gd name="connsiteY1" fmla="*/ 257442 h 257442"/>
                <a:gd name="connsiteX2" fmla="*/ 0 w 1204076"/>
                <a:gd name="connsiteY2" fmla="*/ 257442 h 257442"/>
                <a:gd name="connsiteX3" fmla="*/ 0 w 1204076"/>
                <a:gd name="connsiteY3" fmla="*/ 0 h 257442"/>
                <a:gd name="connsiteX0" fmla="*/ 1204076 w 1204076"/>
                <a:gd name="connsiteY0" fmla="*/ 0 h 257442"/>
                <a:gd name="connsiteX1" fmla="*/ 1149354 w 1204076"/>
                <a:gd name="connsiteY1" fmla="*/ 257442 h 257442"/>
                <a:gd name="connsiteX2" fmla="*/ 0 w 1204076"/>
                <a:gd name="connsiteY2" fmla="*/ 257442 h 257442"/>
                <a:gd name="connsiteX3" fmla="*/ 0 w 1204076"/>
                <a:gd name="connsiteY3" fmla="*/ 0 h 257442"/>
                <a:gd name="connsiteX0" fmla="*/ 1204077 w 1204077"/>
                <a:gd name="connsiteY0" fmla="*/ 0 h 257442"/>
                <a:gd name="connsiteX1" fmla="*/ 1149355 w 1204077"/>
                <a:gd name="connsiteY1" fmla="*/ 257442 h 257442"/>
                <a:gd name="connsiteX2" fmla="*/ 0 w 1204077"/>
                <a:gd name="connsiteY2" fmla="*/ 257442 h 257442"/>
                <a:gd name="connsiteX3" fmla="*/ 1 w 1204077"/>
                <a:gd name="connsiteY3" fmla="*/ 0 h 257442"/>
                <a:gd name="connsiteX0" fmla="*/ 1204077 w 1204077"/>
                <a:gd name="connsiteY0" fmla="*/ 0 h 257442"/>
                <a:gd name="connsiteX1" fmla="*/ 1149355 w 1204077"/>
                <a:gd name="connsiteY1" fmla="*/ 257442 h 257442"/>
                <a:gd name="connsiteX2" fmla="*/ 0 w 1204077"/>
                <a:gd name="connsiteY2" fmla="*/ 257442 h 257442"/>
                <a:gd name="connsiteX3" fmla="*/ 1 w 1204077"/>
                <a:gd name="connsiteY3" fmla="*/ 0 h 257442"/>
                <a:gd name="connsiteX0" fmla="*/ 1390025 w 1390025"/>
                <a:gd name="connsiteY0" fmla="*/ 0 h 257442"/>
                <a:gd name="connsiteX1" fmla="*/ 1149355 w 1390025"/>
                <a:gd name="connsiteY1" fmla="*/ 257442 h 257442"/>
                <a:gd name="connsiteX2" fmla="*/ 0 w 1390025"/>
                <a:gd name="connsiteY2" fmla="*/ 257442 h 257442"/>
                <a:gd name="connsiteX3" fmla="*/ 1 w 1390025"/>
                <a:gd name="connsiteY3" fmla="*/ 0 h 257442"/>
                <a:gd name="connsiteX0" fmla="*/ 1390025 w 1390025"/>
                <a:gd name="connsiteY0" fmla="*/ 0 h 257442"/>
                <a:gd name="connsiteX1" fmla="*/ 1335304 w 1390025"/>
                <a:gd name="connsiteY1" fmla="*/ 257442 h 257442"/>
                <a:gd name="connsiteX2" fmla="*/ 0 w 1390025"/>
                <a:gd name="connsiteY2" fmla="*/ 257442 h 257442"/>
                <a:gd name="connsiteX3" fmla="*/ 1 w 1390025"/>
                <a:gd name="connsiteY3" fmla="*/ 0 h 257442"/>
                <a:gd name="connsiteX0" fmla="*/ 1390024 w 1390024"/>
                <a:gd name="connsiteY0" fmla="*/ 0 h 257442"/>
                <a:gd name="connsiteX1" fmla="*/ 1335303 w 1390024"/>
                <a:gd name="connsiteY1" fmla="*/ 257442 h 257442"/>
                <a:gd name="connsiteX2" fmla="*/ 0 w 1390024"/>
                <a:gd name="connsiteY2" fmla="*/ 257442 h 257442"/>
                <a:gd name="connsiteX3" fmla="*/ 0 w 1390024"/>
                <a:gd name="connsiteY3" fmla="*/ 0 h 257442"/>
                <a:gd name="connsiteX0" fmla="*/ 1390025 w 1390025"/>
                <a:gd name="connsiteY0" fmla="*/ 0 h 257442"/>
                <a:gd name="connsiteX1" fmla="*/ 1335304 w 1390025"/>
                <a:gd name="connsiteY1" fmla="*/ 257442 h 257442"/>
                <a:gd name="connsiteX2" fmla="*/ 1 w 1390025"/>
                <a:gd name="connsiteY2" fmla="*/ 257442 h 257442"/>
                <a:gd name="connsiteX3" fmla="*/ 0 w 1390025"/>
                <a:gd name="connsiteY3" fmla="*/ 0 h 257442"/>
                <a:gd name="connsiteX0" fmla="*/ 1567958 w 1567958"/>
                <a:gd name="connsiteY0" fmla="*/ 0 h 257442"/>
                <a:gd name="connsiteX1" fmla="*/ 1335304 w 1567958"/>
                <a:gd name="connsiteY1" fmla="*/ 257442 h 257442"/>
                <a:gd name="connsiteX2" fmla="*/ 1 w 1567958"/>
                <a:gd name="connsiteY2" fmla="*/ 257442 h 257442"/>
                <a:gd name="connsiteX3" fmla="*/ 0 w 1567958"/>
                <a:gd name="connsiteY3" fmla="*/ 0 h 257442"/>
                <a:gd name="connsiteX0" fmla="*/ 1567958 w 1567958"/>
                <a:gd name="connsiteY0" fmla="*/ 0 h 257442"/>
                <a:gd name="connsiteX1" fmla="*/ 1513236 w 1567958"/>
                <a:gd name="connsiteY1" fmla="*/ 257442 h 257442"/>
                <a:gd name="connsiteX2" fmla="*/ 1 w 1567958"/>
                <a:gd name="connsiteY2" fmla="*/ 257442 h 257442"/>
                <a:gd name="connsiteX3" fmla="*/ 0 w 1567958"/>
                <a:gd name="connsiteY3" fmla="*/ 0 h 257442"/>
                <a:gd name="connsiteX0" fmla="*/ 1567958 w 1567958"/>
                <a:gd name="connsiteY0" fmla="*/ 0 h 257442"/>
                <a:gd name="connsiteX1" fmla="*/ 1513236 w 1567958"/>
                <a:gd name="connsiteY1" fmla="*/ 257442 h 257442"/>
                <a:gd name="connsiteX2" fmla="*/ 0 w 1567958"/>
                <a:gd name="connsiteY2" fmla="*/ 257442 h 257442"/>
                <a:gd name="connsiteX3" fmla="*/ 0 w 1567958"/>
                <a:gd name="connsiteY3" fmla="*/ 0 h 257442"/>
                <a:gd name="connsiteX0" fmla="*/ 1567958 w 1567958"/>
                <a:gd name="connsiteY0" fmla="*/ 0 h 257442"/>
                <a:gd name="connsiteX1" fmla="*/ 1513236 w 1567958"/>
                <a:gd name="connsiteY1" fmla="*/ 257442 h 257442"/>
                <a:gd name="connsiteX2" fmla="*/ 0 w 1567958"/>
                <a:gd name="connsiteY2" fmla="*/ 257442 h 257442"/>
                <a:gd name="connsiteX3" fmla="*/ 0 w 1567958"/>
                <a:gd name="connsiteY3" fmla="*/ 0 h 257442"/>
                <a:gd name="connsiteX0" fmla="*/ 1745891 w 1745891"/>
                <a:gd name="connsiteY0" fmla="*/ 0 h 257442"/>
                <a:gd name="connsiteX1" fmla="*/ 1513236 w 1745891"/>
                <a:gd name="connsiteY1" fmla="*/ 257442 h 257442"/>
                <a:gd name="connsiteX2" fmla="*/ 0 w 1745891"/>
                <a:gd name="connsiteY2" fmla="*/ 257442 h 257442"/>
                <a:gd name="connsiteX3" fmla="*/ 0 w 1745891"/>
                <a:gd name="connsiteY3" fmla="*/ 0 h 257442"/>
                <a:gd name="connsiteX0" fmla="*/ 1745891 w 1745891"/>
                <a:gd name="connsiteY0" fmla="*/ 0 h 257442"/>
                <a:gd name="connsiteX1" fmla="*/ 1691170 w 1745891"/>
                <a:gd name="connsiteY1" fmla="*/ 257442 h 257442"/>
                <a:gd name="connsiteX2" fmla="*/ 0 w 1745891"/>
                <a:gd name="connsiteY2" fmla="*/ 257442 h 257442"/>
                <a:gd name="connsiteX3" fmla="*/ 0 w 1745891"/>
                <a:gd name="connsiteY3" fmla="*/ 0 h 257442"/>
                <a:gd name="connsiteX0" fmla="*/ 1745891 w 1745891"/>
                <a:gd name="connsiteY0" fmla="*/ 0 h 257442"/>
                <a:gd name="connsiteX1" fmla="*/ 1691170 w 1745891"/>
                <a:gd name="connsiteY1" fmla="*/ 257442 h 257442"/>
                <a:gd name="connsiteX2" fmla="*/ 0 w 1745891"/>
                <a:gd name="connsiteY2" fmla="*/ 257442 h 257442"/>
                <a:gd name="connsiteX3" fmla="*/ 0 w 1745891"/>
                <a:gd name="connsiteY3" fmla="*/ 0 h 257442"/>
                <a:gd name="connsiteX0" fmla="*/ 1745891 w 1745891"/>
                <a:gd name="connsiteY0" fmla="*/ 0 h 257442"/>
                <a:gd name="connsiteX1" fmla="*/ 1691170 w 1745891"/>
                <a:gd name="connsiteY1" fmla="*/ 257442 h 257442"/>
                <a:gd name="connsiteX2" fmla="*/ 0 w 1745891"/>
                <a:gd name="connsiteY2" fmla="*/ 257442 h 257442"/>
                <a:gd name="connsiteX3" fmla="*/ 0 w 1745891"/>
                <a:gd name="connsiteY3" fmla="*/ 0 h 257442"/>
                <a:gd name="connsiteX0" fmla="*/ 1914205 w 1914205"/>
                <a:gd name="connsiteY0" fmla="*/ 0 h 257442"/>
                <a:gd name="connsiteX1" fmla="*/ 1691170 w 1914205"/>
                <a:gd name="connsiteY1" fmla="*/ 257442 h 257442"/>
                <a:gd name="connsiteX2" fmla="*/ 0 w 1914205"/>
                <a:gd name="connsiteY2" fmla="*/ 257442 h 257442"/>
                <a:gd name="connsiteX3" fmla="*/ 0 w 1914205"/>
                <a:gd name="connsiteY3" fmla="*/ 0 h 257442"/>
                <a:gd name="connsiteX0" fmla="*/ 1914205 w 1914205"/>
                <a:gd name="connsiteY0" fmla="*/ 0 h 257442"/>
                <a:gd name="connsiteX1" fmla="*/ 1859484 w 1914205"/>
                <a:gd name="connsiteY1" fmla="*/ 257442 h 257442"/>
                <a:gd name="connsiteX2" fmla="*/ 0 w 1914205"/>
                <a:gd name="connsiteY2" fmla="*/ 257442 h 257442"/>
                <a:gd name="connsiteX3" fmla="*/ 0 w 1914205"/>
                <a:gd name="connsiteY3" fmla="*/ 0 h 257442"/>
                <a:gd name="connsiteX0" fmla="*/ 1914205 w 1914205"/>
                <a:gd name="connsiteY0" fmla="*/ 0 h 257442"/>
                <a:gd name="connsiteX1" fmla="*/ 1859484 w 1914205"/>
                <a:gd name="connsiteY1" fmla="*/ 257442 h 257442"/>
                <a:gd name="connsiteX2" fmla="*/ 0 w 1914205"/>
                <a:gd name="connsiteY2" fmla="*/ 257442 h 257442"/>
                <a:gd name="connsiteX3" fmla="*/ 0 w 1914205"/>
                <a:gd name="connsiteY3" fmla="*/ 0 h 257442"/>
                <a:gd name="connsiteX0" fmla="*/ 1914205 w 1914205"/>
                <a:gd name="connsiteY0" fmla="*/ 0 h 257442"/>
                <a:gd name="connsiteX1" fmla="*/ 1859484 w 1914205"/>
                <a:gd name="connsiteY1" fmla="*/ 257442 h 257442"/>
                <a:gd name="connsiteX2" fmla="*/ 0 w 1914205"/>
                <a:gd name="connsiteY2" fmla="*/ 257442 h 257442"/>
                <a:gd name="connsiteX3" fmla="*/ 0 w 1914205"/>
                <a:gd name="connsiteY3" fmla="*/ 0 h 257442"/>
                <a:gd name="connsiteX0" fmla="*/ 2082521 w 2082521"/>
                <a:gd name="connsiteY0" fmla="*/ 0 h 257442"/>
                <a:gd name="connsiteX1" fmla="*/ 1859484 w 2082521"/>
                <a:gd name="connsiteY1" fmla="*/ 257442 h 257442"/>
                <a:gd name="connsiteX2" fmla="*/ 0 w 2082521"/>
                <a:gd name="connsiteY2" fmla="*/ 257442 h 257442"/>
                <a:gd name="connsiteX3" fmla="*/ 0 w 2082521"/>
                <a:gd name="connsiteY3" fmla="*/ 0 h 257442"/>
                <a:gd name="connsiteX0" fmla="*/ 2082521 w 2082521"/>
                <a:gd name="connsiteY0" fmla="*/ 0 h 257442"/>
                <a:gd name="connsiteX1" fmla="*/ 2027800 w 2082521"/>
                <a:gd name="connsiteY1" fmla="*/ 257442 h 257442"/>
                <a:gd name="connsiteX2" fmla="*/ 0 w 2082521"/>
                <a:gd name="connsiteY2" fmla="*/ 257442 h 257442"/>
                <a:gd name="connsiteX3" fmla="*/ 0 w 2082521"/>
                <a:gd name="connsiteY3" fmla="*/ 0 h 257442"/>
                <a:gd name="connsiteX0" fmla="*/ 2082521 w 2082521"/>
                <a:gd name="connsiteY0" fmla="*/ 0 h 257442"/>
                <a:gd name="connsiteX1" fmla="*/ 2027800 w 2082521"/>
                <a:gd name="connsiteY1" fmla="*/ 257442 h 257442"/>
                <a:gd name="connsiteX2" fmla="*/ 0 w 2082521"/>
                <a:gd name="connsiteY2" fmla="*/ 257442 h 257442"/>
                <a:gd name="connsiteX3" fmla="*/ 0 w 2082521"/>
                <a:gd name="connsiteY3" fmla="*/ 0 h 257442"/>
                <a:gd name="connsiteX0" fmla="*/ 2082521 w 2082521"/>
                <a:gd name="connsiteY0" fmla="*/ 0 h 257442"/>
                <a:gd name="connsiteX1" fmla="*/ 2027800 w 2082521"/>
                <a:gd name="connsiteY1" fmla="*/ 257442 h 257442"/>
                <a:gd name="connsiteX2" fmla="*/ 0 w 2082521"/>
                <a:gd name="connsiteY2" fmla="*/ 257442 h 257442"/>
                <a:gd name="connsiteX3" fmla="*/ 0 w 2082521"/>
                <a:gd name="connsiteY3" fmla="*/ 0 h 257442"/>
                <a:gd name="connsiteX0" fmla="*/ 2242822 w 2242822"/>
                <a:gd name="connsiteY0" fmla="*/ 0 h 257442"/>
                <a:gd name="connsiteX1" fmla="*/ 2027800 w 2242822"/>
                <a:gd name="connsiteY1" fmla="*/ 257442 h 257442"/>
                <a:gd name="connsiteX2" fmla="*/ 0 w 2242822"/>
                <a:gd name="connsiteY2" fmla="*/ 257442 h 257442"/>
                <a:gd name="connsiteX3" fmla="*/ 0 w 2242822"/>
                <a:gd name="connsiteY3" fmla="*/ 0 h 257442"/>
                <a:gd name="connsiteX0" fmla="*/ 2242822 w 2242822"/>
                <a:gd name="connsiteY0" fmla="*/ 0 h 257442"/>
                <a:gd name="connsiteX1" fmla="*/ 2188100 w 2242822"/>
                <a:gd name="connsiteY1" fmla="*/ 257442 h 257442"/>
                <a:gd name="connsiteX2" fmla="*/ 0 w 2242822"/>
                <a:gd name="connsiteY2" fmla="*/ 257442 h 257442"/>
                <a:gd name="connsiteX3" fmla="*/ 0 w 2242822"/>
                <a:gd name="connsiteY3" fmla="*/ 0 h 257442"/>
                <a:gd name="connsiteX0" fmla="*/ 2242823 w 2242823"/>
                <a:gd name="connsiteY0" fmla="*/ 0 h 257442"/>
                <a:gd name="connsiteX1" fmla="*/ 2188101 w 2242823"/>
                <a:gd name="connsiteY1" fmla="*/ 257442 h 257442"/>
                <a:gd name="connsiteX2" fmla="*/ 0 w 2242823"/>
                <a:gd name="connsiteY2" fmla="*/ 257442 h 257442"/>
                <a:gd name="connsiteX3" fmla="*/ 1 w 2242823"/>
                <a:gd name="connsiteY3" fmla="*/ 0 h 257442"/>
                <a:gd name="connsiteX0" fmla="*/ 2242823 w 2242823"/>
                <a:gd name="connsiteY0" fmla="*/ 0 h 257442"/>
                <a:gd name="connsiteX1" fmla="*/ 2188101 w 2242823"/>
                <a:gd name="connsiteY1" fmla="*/ 257442 h 257442"/>
                <a:gd name="connsiteX2" fmla="*/ 0 w 2242823"/>
                <a:gd name="connsiteY2" fmla="*/ 257442 h 257442"/>
                <a:gd name="connsiteX3" fmla="*/ 1 w 2242823"/>
                <a:gd name="connsiteY3" fmla="*/ 0 h 257442"/>
                <a:gd name="connsiteX0" fmla="*/ 2411137 w 2411137"/>
                <a:gd name="connsiteY0" fmla="*/ 0 h 257442"/>
                <a:gd name="connsiteX1" fmla="*/ 2188101 w 2411137"/>
                <a:gd name="connsiteY1" fmla="*/ 257442 h 257442"/>
                <a:gd name="connsiteX2" fmla="*/ 0 w 2411137"/>
                <a:gd name="connsiteY2" fmla="*/ 257442 h 257442"/>
                <a:gd name="connsiteX3" fmla="*/ 1 w 2411137"/>
                <a:gd name="connsiteY3" fmla="*/ 0 h 257442"/>
                <a:gd name="connsiteX0" fmla="*/ 2411137 w 2411137"/>
                <a:gd name="connsiteY0" fmla="*/ 0 h 257442"/>
                <a:gd name="connsiteX1" fmla="*/ 2356416 w 2411137"/>
                <a:gd name="connsiteY1" fmla="*/ 257442 h 257442"/>
                <a:gd name="connsiteX2" fmla="*/ 0 w 2411137"/>
                <a:gd name="connsiteY2" fmla="*/ 257442 h 257442"/>
                <a:gd name="connsiteX3" fmla="*/ 1 w 2411137"/>
                <a:gd name="connsiteY3" fmla="*/ 0 h 257442"/>
                <a:gd name="connsiteX0" fmla="*/ 2411136 w 2411136"/>
                <a:gd name="connsiteY0" fmla="*/ 0 h 257442"/>
                <a:gd name="connsiteX1" fmla="*/ 2356415 w 2411136"/>
                <a:gd name="connsiteY1" fmla="*/ 257442 h 257442"/>
                <a:gd name="connsiteX2" fmla="*/ 0 w 2411136"/>
                <a:gd name="connsiteY2" fmla="*/ 257442 h 257442"/>
                <a:gd name="connsiteX3" fmla="*/ 0 w 2411136"/>
                <a:gd name="connsiteY3" fmla="*/ 0 h 257442"/>
                <a:gd name="connsiteX0" fmla="*/ 2411137 w 2411137"/>
                <a:gd name="connsiteY0" fmla="*/ 0 h 257442"/>
                <a:gd name="connsiteX1" fmla="*/ 2356416 w 2411137"/>
                <a:gd name="connsiteY1" fmla="*/ 257442 h 257442"/>
                <a:gd name="connsiteX2" fmla="*/ 1 w 2411137"/>
                <a:gd name="connsiteY2" fmla="*/ 257442 h 257442"/>
                <a:gd name="connsiteX3" fmla="*/ 0 w 2411137"/>
                <a:gd name="connsiteY3" fmla="*/ 0 h 257442"/>
                <a:gd name="connsiteX0" fmla="*/ 2680442 w 2680442"/>
                <a:gd name="connsiteY0" fmla="*/ 0 h 257442"/>
                <a:gd name="connsiteX1" fmla="*/ 2356416 w 2680442"/>
                <a:gd name="connsiteY1" fmla="*/ 257442 h 257442"/>
                <a:gd name="connsiteX2" fmla="*/ 1 w 2680442"/>
                <a:gd name="connsiteY2" fmla="*/ 257442 h 257442"/>
                <a:gd name="connsiteX3" fmla="*/ 0 w 2680442"/>
                <a:gd name="connsiteY3" fmla="*/ 0 h 257442"/>
                <a:gd name="connsiteX0" fmla="*/ 2680442 w 2680442"/>
                <a:gd name="connsiteY0" fmla="*/ 0 h 257442"/>
                <a:gd name="connsiteX1" fmla="*/ 2625720 w 2680442"/>
                <a:gd name="connsiteY1" fmla="*/ 257442 h 257442"/>
                <a:gd name="connsiteX2" fmla="*/ 1 w 2680442"/>
                <a:gd name="connsiteY2" fmla="*/ 257442 h 257442"/>
                <a:gd name="connsiteX3" fmla="*/ 0 w 2680442"/>
                <a:gd name="connsiteY3" fmla="*/ 0 h 257442"/>
                <a:gd name="connsiteX0" fmla="*/ 2680442 w 2680442"/>
                <a:gd name="connsiteY0" fmla="*/ 0 h 257442"/>
                <a:gd name="connsiteX1" fmla="*/ 2625720 w 2680442"/>
                <a:gd name="connsiteY1" fmla="*/ 257442 h 257442"/>
                <a:gd name="connsiteX2" fmla="*/ 0 w 2680442"/>
                <a:gd name="connsiteY2" fmla="*/ 257442 h 257442"/>
                <a:gd name="connsiteX3" fmla="*/ 0 w 2680442"/>
                <a:gd name="connsiteY3" fmla="*/ 0 h 257442"/>
                <a:gd name="connsiteX0" fmla="*/ 2680442 w 2680442"/>
                <a:gd name="connsiteY0" fmla="*/ 0 h 257442"/>
                <a:gd name="connsiteX1" fmla="*/ 2625720 w 2680442"/>
                <a:gd name="connsiteY1" fmla="*/ 257442 h 257442"/>
                <a:gd name="connsiteX2" fmla="*/ 0 w 2680442"/>
                <a:gd name="connsiteY2" fmla="*/ 257442 h 257442"/>
                <a:gd name="connsiteX3" fmla="*/ 0 w 2680442"/>
                <a:gd name="connsiteY3" fmla="*/ 0 h 257442"/>
                <a:gd name="connsiteX0" fmla="*/ 2840741 w 2840741"/>
                <a:gd name="connsiteY0" fmla="*/ 0 h 257442"/>
                <a:gd name="connsiteX1" fmla="*/ 2625720 w 2840741"/>
                <a:gd name="connsiteY1" fmla="*/ 257442 h 257442"/>
                <a:gd name="connsiteX2" fmla="*/ 0 w 2840741"/>
                <a:gd name="connsiteY2" fmla="*/ 257442 h 257442"/>
                <a:gd name="connsiteX3" fmla="*/ 0 w 2840741"/>
                <a:gd name="connsiteY3" fmla="*/ 0 h 257442"/>
                <a:gd name="connsiteX0" fmla="*/ 2840741 w 2840741"/>
                <a:gd name="connsiteY0" fmla="*/ 0 h 257442"/>
                <a:gd name="connsiteX1" fmla="*/ 2786020 w 2840741"/>
                <a:gd name="connsiteY1" fmla="*/ 257442 h 257442"/>
                <a:gd name="connsiteX2" fmla="*/ 0 w 2840741"/>
                <a:gd name="connsiteY2" fmla="*/ 257442 h 257442"/>
                <a:gd name="connsiteX3" fmla="*/ 0 w 2840741"/>
                <a:gd name="connsiteY3" fmla="*/ 0 h 257442"/>
                <a:gd name="connsiteX0" fmla="*/ 2840741 w 2840741"/>
                <a:gd name="connsiteY0" fmla="*/ 0 h 257442"/>
                <a:gd name="connsiteX1" fmla="*/ 2786020 w 2840741"/>
                <a:gd name="connsiteY1" fmla="*/ 257442 h 257442"/>
                <a:gd name="connsiteX2" fmla="*/ 0 w 2840741"/>
                <a:gd name="connsiteY2" fmla="*/ 257442 h 257442"/>
                <a:gd name="connsiteX3" fmla="*/ 0 w 2840741"/>
                <a:gd name="connsiteY3" fmla="*/ 0 h 257442"/>
                <a:gd name="connsiteX0" fmla="*/ 2840741 w 2840741"/>
                <a:gd name="connsiteY0" fmla="*/ 0 h 257442"/>
                <a:gd name="connsiteX1" fmla="*/ 2786020 w 2840741"/>
                <a:gd name="connsiteY1" fmla="*/ 257442 h 257442"/>
                <a:gd name="connsiteX2" fmla="*/ 0 w 2840741"/>
                <a:gd name="connsiteY2" fmla="*/ 257442 h 257442"/>
                <a:gd name="connsiteX3" fmla="*/ 0 w 2840741"/>
                <a:gd name="connsiteY3" fmla="*/ 0 h 257442"/>
                <a:gd name="connsiteX0" fmla="*/ 2662808 w 2786020"/>
                <a:gd name="connsiteY0" fmla="*/ 0 h 257442"/>
                <a:gd name="connsiteX1" fmla="*/ 2786020 w 2786020"/>
                <a:gd name="connsiteY1" fmla="*/ 257442 h 257442"/>
                <a:gd name="connsiteX2" fmla="*/ 0 w 2786020"/>
                <a:gd name="connsiteY2" fmla="*/ 257442 h 257442"/>
                <a:gd name="connsiteX3" fmla="*/ 0 w 2786020"/>
                <a:gd name="connsiteY3" fmla="*/ 0 h 257442"/>
                <a:gd name="connsiteX0" fmla="*/ 2662808 w 2662808"/>
                <a:gd name="connsiteY0" fmla="*/ 0 h 257442"/>
                <a:gd name="connsiteX1" fmla="*/ 2608087 w 2662808"/>
                <a:gd name="connsiteY1" fmla="*/ 257442 h 257442"/>
                <a:gd name="connsiteX2" fmla="*/ 0 w 2662808"/>
                <a:gd name="connsiteY2" fmla="*/ 257442 h 257442"/>
                <a:gd name="connsiteX3" fmla="*/ 0 w 2662808"/>
                <a:gd name="connsiteY3" fmla="*/ 0 h 257442"/>
                <a:gd name="connsiteX0" fmla="*/ 2662808 w 2662808"/>
                <a:gd name="connsiteY0" fmla="*/ 0 h 257442"/>
                <a:gd name="connsiteX1" fmla="*/ 2608087 w 2662808"/>
                <a:gd name="connsiteY1" fmla="*/ 257442 h 257442"/>
                <a:gd name="connsiteX2" fmla="*/ 0 w 2662808"/>
                <a:gd name="connsiteY2" fmla="*/ 257442 h 257442"/>
                <a:gd name="connsiteX3" fmla="*/ 0 w 2662808"/>
                <a:gd name="connsiteY3" fmla="*/ 0 h 257442"/>
                <a:gd name="connsiteX0" fmla="*/ 2662808 w 2662808"/>
                <a:gd name="connsiteY0" fmla="*/ 0 h 257442"/>
                <a:gd name="connsiteX1" fmla="*/ 2608087 w 2662808"/>
                <a:gd name="connsiteY1" fmla="*/ 257442 h 257442"/>
                <a:gd name="connsiteX2" fmla="*/ 0 w 2662808"/>
                <a:gd name="connsiteY2" fmla="*/ 257442 h 257442"/>
                <a:gd name="connsiteX3" fmla="*/ 0 w 2662808"/>
                <a:gd name="connsiteY3" fmla="*/ 0 h 257442"/>
                <a:gd name="connsiteX0" fmla="*/ 2476860 w 2608087"/>
                <a:gd name="connsiteY0" fmla="*/ 0 h 257442"/>
                <a:gd name="connsiteX1" fmla="*/ 2608087 w 2608087"/>
                <a:gd name="connsiteY1" fmla="*/ 257442 h 257442"/>
                <a:gd name="connsiteX2" fmla="*/ 0 w 2608087"/>
                <a:gd name="connsiteY2" fmla="*/ 257442 h 257442"/>
                <a:gd name="connsiteX3" fmla="*/ 0 w 2608087"/>
                <a:gd name="connsiteY3" fmla="*/ 0 h 257442"/>
                <a:gd name="connsiteX0" fmla="*/ 2476860 w 2476860"/>
                <a:gd name="connsiteY0" fmla="*/ 0 h 257442"/>
                <a:gd name="connsiteX1" fmla="*/ 2422140 w 2476860"/>
                <a:gd name="connsiteY1" fmla="*/ 257442 h 257442"/>
                <a:gd name="connsiteX2" fmla="*/ 0 w 2476860"/>
                <a:gd name="connsiteY2" fmla="*/ 257442 h 257442"/>
                <a:gd name="connsiteX3" fmla="*/ 0 w 2476860"/>
                <a:gd name="connsiteY3" fmla="*/ 0 h 257442"/>
                <a:gd name="connsiteX0" fmla="*/ 2476860 w 2476860"/>
                <a:gd name="connsiteY0" fmla="*/ 0 h 257442"/>
                <a:gd name="connsiteX1" fmla="*/ 2422140 w 2476860"/>
                <a:gd name="connsiteY1" fmla="*/ 257442 h 257442"/>
                <a:gd name="connsiteX2" fmla="*/ 1 w 2476860"/>
                <a:gd name="connsiteY2" fmla="*/ 257442 h 257442"/>
                <a:gd name="connsiteX3" fmla="*/ 0 w 2476860"/>
                <a:gd name="connsiteY3" fmla="*/ 0 h 257442"/>
                <a:gd name="connsiteX0" fmla="*/ 2476859 w 2476859"/>
                <a:gd name="connsiteY0" fmla="*/ 0 h 257442"/>
                <a:gd name="connsiteX1" fmla="*/ 2422139 w 2476859"/>
                <a:gd name="connsiteY1" fmla="*/ 257442 h 257442"/>
                <a:gd name="connsiteX2" fmla="*/ 0 w 2476859"/>
                <a:gd name="connsiteY2" fmla="*/ 257442 h 257442"/>
                <a:gd name="connsiteX3" fmla="*/ 0 w 2476859"/>
                <a:gd name="connsiteY3" fmla="*/ 0 h 257442"/>
                <a:gd name="connsiteX0" fmla="*/ 2308544 w 2422139"/>
                <a:gd name="connsiteY0" fmla="*/ 0 h 257442"/>
                <a:gd name="connsiteX1" fmla="*/ 2422139 w 2422139"/>
                <a:gd name="connsiteY1" fmla="*/ 257442 h 257442"/>
                <a:gd name="connsiteX2" fmla="*/ 0 w 2422139"/>
                <a:gd name="connsiteY2" fmla="*/ 257442 h 257442"/>
                <a:gd name="connsiteX3" fmla="*/ 0 w 2422139"/>
                <a:gd name="connsiteY3" fmla="*/ 0 h 257442"/>
                <a:gd name="connsiteX0" fmla="*/ 2308544 w 2308544"/>
                <a:gd name="connsiteY0" fmla="*/ 0 h 257442"/>
                <a:gd name="connsiteX1" fmla="*/ 2253823 w 2308544"/>
                <a:gd name="connsiteY1" fmla="*/ 257442 h 257442"/>
                <a:gd name="connsiteX2" fmla="*/ 0 w 2308544"/>
                <a:gd name="connsiteY2" fmla="*/ 257442 h 257442"/>
                <a:gd name="connsiteX3" fmla="*/ 0 w 2308544"/>
                <a:gd name="connsiteY3" fmla="*/ 0 h 257442"/>
                <a:gd name="connsiteX0" fmla="*/ 2308544 w 2308544"/>
                <a:gd name="connsiteY0" fmla="*/ 0 h 257442"/>
                <a:gd name="connsiteX1" fmla="*/ 2253823 w 2308544"/>
                <a:gd name="connsiteY1" fmla="*/ 257442 h 257442"/>
                <a:gd name="connsiteX2" fmla="*/ 0 w 2308544"/>
                <a:gd name="connsiteY2" fmla="*/ 257442 h 257442"/>
                <a:gd name="connsiteX3" fmla="*/ 0 w 2308544"/>
                <a:gd name="connsiteY3" fmla="*/ 0 h 257442"/>
                <a:gd name="connsiteX0" fmla="*/ 2308544 w 2308544"/>
                <a:gd name="connsiteY0" fmla="*/ 0 h 257442"/>
                <a:gd name="connsiteX1" fmla="*/ 2253823 w 2308544"/>
                <a:gd name="connsiteY1" fmla="*/ 257442 h 257442"/>
                <a:gd name="connsiteX2" fmla="*/ 0 w 2308544"/>
                <a:gd name="connsiteY2" fmla="*/ 257442 h 257442"/>
                <a:gd name="connsiteX3" fmla="*/ 0 w 2308544"/>
                <a:gd name="connsiteY3" fmla="*/ 0 h 257442"/>
                <a:gd name="connsiteX0" fmla="*/ 2207555 w 2253823"/>
                <a:gd name="connsiteY0" fmla="*/ 0 h 257442"/>
                <a:gd name="connsiteX1" fmla="*/ 2253823 w 2253823"/>
                <a:gd name="connsiteY1" fmla="*/ 257442 h 257442"/>
                <a:gd name="connsiteX2" fmla="*/ 0 w 2253823"/>
                <a:gd name="connsiteY2" fmla="*/ 257442 h 257442"/>
                <a:gd name="connsiteX3" fmla="*/ 0 w 2253823"/>
                <a:gd name="connsiteY3" fmla="*/ 0 h 257442"/>
                <a:gd name="connsiteX0" fmla="*/ 2207555 w 2207555"/>
                <a:gd name="connsiteY0" fmla="*/ 0 h 257442"/>
                <a:gd name="connsiteX1" fmla="*/ 2152835 w 2207555"/>
                <a:gd name="connsiteY1" fmla="*/ 257442 h 257442"/>
                <a:gd name="connsiteX2" fmla="*/ 0 w 2207555"/>
                <a:gd name="connsiteY2" fmla="*/ 257442 h 257442"/>
                <a:gd name="connsiteX3" fmla="*/ 0 w 2207555"/>
                <a:gd name="connsiteY3" fmla="*/ 0 h 257442"/>
                <a:gd name="connsiteX0" fmla="*/ 2207555 w 2207555"/>
                <a:gd name="connsiteY0" fmla="*/ 0 h 257442"/>
                <a:gd name="connsiteX1" fmla="*/ 2152835 w 2207555"/>
                <a:gd name="connsiteY1" fmla="*/ 257442 h 257442"/>
                <a:gd name="connsiteX2" fmla="*/ 1 w 2207555"/>
                <a:gd name="connsiteY2" fmla="*/ 257442 h 257442"/>
                <a:gd name="connsiteX3" fmla="*/ 0 w 2207555"/>
                <a:gd name="connsiteY3" fmla="*/ 0 h 257442"/>
                <a:gd name="connsiteX0" fmla="*/ 2207554 w 2207554"/>
                <a:gd name="connsiteY0" fmla="*/ 0 h 257442"/>
                <a:gd name="connsiteX1" fmla="*/ 2152834 w 2207554"/>
                <a:gd name="connsiteY1" fmla="*/ 257442 h 257442"/>
                <a:gd name="connsiteX2" fmla="*/ 0 w 2207554"/>
                <a:gd name="connsiteY2" fmla="*/ 257442 h 257442"/>
                <a:gd name="connsiteX3" fmla="*/ 0 w 2207554"/>
                <a:gd name="connsiteY3" fmla="*/ 0 h 257442"/>
                <a:gd name="connsiteX0" fmla="*/ 2055269 w 2152834"/>
                <a:gd name="connsiteY0" fmla="*/ 0 h 257442"/>
                <a:gd name="connsiteX1" fmla="*/ 2152834 w 2152834"/>
                <a:gd name="connsiteY1" fmla="*/ 257442 h 257442"/>
                <a:gd name="connsiteX2" fmla="*/ 0 w 2152834"/>
                <a:gd name="connsiteY2" fmla="*/ 257442 h 257442"/>
                <a:gd name="connsiteX3" fmla="*/ 0 w 2152834"/>
                <a:gd name="connsiteY3" fmla="*/ 0 h 257442"/>
                <a:gd name="connsiteX0" fmla="*/ 2055269 w 2055269"/>
                <a:gd name="connsiteY0" fmla="*/ 0 h 257442"/>
                <a:gd name="connsiteX1" fmla="*/ 2000548 w 2055269"/>
                <a:gd name="connsiteY1" fmla="*/ 257442 h 257442"/>
                <a:gd name="connsiteX2" fmla="*/ 0 w 2055269"/>
                <a:gd name="connsiteY2" fmla="*/ 257442 h 257442"/>
                <a:gd name="connsiteX3" fmla="*/ 0 w 2055269"/>
                <a:gd name="connsiteY3" fmla="*/ 0 h 257442"/>
                <a:gd name="connsiteX0" fmla="*/ 2055269 w 2055269"/>
                <a:gd name="connsiteY0" fmla="*/ 0 h 257442"/>
                <a:gd name="connsiteX1" fmla="*/ 2000548 w 2055269"/>
                <a:gd name="connsiteY1" fmla="*/ 257442 h 257442"/>
                <a:gd name="connsiteX2" fmla="*/ 0 w 2055269"/>
                <a:gd name="connsiteY2" fmla="*/ 257442 h 257442"/>
                <a:gd name="connsiteX3" fmla="*/ 0 w 2055269"/>
                <a:gd name="connsiteY3" fmla="*/ 0 h 257442"/>
                <a:gd name="connsiteX0" fmla="*/ 2055269 w 2055269"/>
                <a:gd name="connsiteY0" fmla="*/ 0 h 257442"/>
                <a:gd name="connsiteX1" fmla="*/ 2000548 w 2055269"/>
                <a:gd name="connsiteY1" fmla="*/ 257442 h 257442"/>
                <a:gd name="connsiteX2" fmla="*/ 0 w 2055269"/>
                <a:gd name="connsiteY2" fmla="*/ 257442 h 257442"/>
                <a:gd name="connsiteX3" fmla="*/ 0 w 2055269"/>
                <a:gd name="connsiteY3" fmla="*/ 0 h 257442"/>
                <a:gd name="connsiteX0" fmla="*/ 2223585 w 2223585"/>
                <a:gd name="connsiteY0" fmla="*/ 0 h 257442"/>
                <a:gd name="connsiteX1" fmla="*/ 2000548 w 2223585"/>
                <a:gd name="connsiteY1" fmla="*/ 257442 h 257442"/>
                <a:gd name="connsiteX2" fmla="*/ 0 w 2223585"/>
                <a:gd name="connsiteY2" fmla="*/ 257442 h 257442"/>
                <a:gd name="connsiteX3" fmla="*/ 0 w 2223585"/>
                <a:gd name="connsiteY3" fmla="*/ 0 h 257442"/>
                <a:gd name="connsiteX0" fmla="*/ 2223585 w 2223585"/>
                <a:gd name="connsiteY0" fmla="*/ 0 h 257442"/>
                <a:gd name="connsiteX1" fmla="*/ 2168864 w 2223585"/>
                <a:gd name="connsiteY1" fmla="*/ 257442 h 257442"/>
                <a:gd name="connsiteX2" fmla="*/ 0 w 2223585"/>
                <a:gd name="connsiteY2" fmla="*/ 257442 h 257442"/>
                <a:gd name="connsiteX3" fmla="*/ 0 w 2223585"/>
                <a:gd name="connsiteY3" fmla="*/ 0 h 257442"/>
                <a:gd name="connsiteX0" fmla="*/ 2223585 w 2223585"/>
                <a:gd name="connsiteY0" fmla="*/ 0 h 257442"/>
                <a:gd name="connsiteX1" fmla="*/ 2168864 w 2223585"/>
                <a:gd name="connsiteY1" fmla="*/ 257442 h 257442"/>
                <a:gd name="connsiteX2" fmla="*/ 0 w 2223585"/>
                <a:gd name="connsiteY2" fmla="*/ 257442 h 257442"/>
                <a:gd name="connsiteX3" fmla="*/ 0 w 2223585"/>
                <a:gd name="connsiteY3" fmla="*/ 0 h 257442"/>
                <a:gd name="connsiteX0" fmla="*/ 2223585 w 2223585"/>
                <a:gd name="connsiteY0" fmla="*/ 0 h 257442"/>
                <a:gd name="connsiteX1" fmla="*/ 2168864 w 2223585"/>
                <a:gd name="connsiteY1" fmla="*/ 257442 h 257442"/>
                <a:gd name="connsiteX2" fmla="*/ 0 w 2223585"/>
                <a:gd name="connsiteY2" fmla="*/ 257442 h 257442"/>
                <a:gd name="connsiteX3" fmla="*/ 0 w 2223585"/>
                <a:gd name="connsiteY3" fmla="*/ 0 h 257442"/>
                <a:gd name="connsiteX0" fmla="*/ 2383886 w 2383886"/>
                <a:gd name="connsiteY0" fmla="*/ 0 h 257442"/>
                <a:gd name="connsiteX1" fmla="*/ 2168864 w 2383886"/>
                <a:gd name="connsiteY1" fmla="*/ 257442 h 257442"/>
                <a:gd name="connsiteX2" fmla="*/ 0 w 2383886"/>
                <a:gd name="connsiteY2" fmla="*/ 257442 h 257442"/>
                <a:gd name="connsiteX3" fmla="*/ 0 w 2383886"/>
                <a:gd name="connsiteY3" fmla="*/ 0 h 257442"/>
                <a:gd name="connsiteX0" fmla="*/ 2383886 w 2383886"/>
                <a:gd name="connsiteY0" fmla="*/ 0 h 257442"/>
                <a:gd name="connsiteX1" fmla="*/ 2329164 w 2383886"/>
                <a:gd name="connsiteY1" fmla="*/ 257442 h 257442"/>
                <a:gd name="connsiteX2" fmla="*/ 0 w 2383886"/>
                <a:gd name="connsiteY2" fmla="*/ 257442 h 257442"/>
                <a:gd name="connsiteX3" fmla="*/ 0 w 2383886"/>
                <a:gd name="connsiteY3" fmla="*/ 0 h 257442"/>
                <a:gd name="connsiteX0" fmla="*/ 2383887 w 2383887"/>
                <a:gd name="connsiteY0" fmla="*/ 0 h 257442"/>
                <a:gd name="connsiteX1" fmla="*/ 2329165 w 2383887"/>
                <a:gd name="connsiteY1" fmla="*/ 257442 h 257442"/>
                <a:gd name="connsiteX2" fmla="*/ 0 w 2383887"/>
                <a:gd name="connsiteY2" fmla="*/ 257442 h 257442"/>
                <a:gd name="connsiteX3" fmla="*/ 1 w 2383887"/>
                <a:gd name="connsiteY3" fmla="*/ 0 h 257442"/>
                <a:gd name="connsiteX0" fmla="*/ 2383887 w 2383887"/>
                <a:gd name="connsiteY0" fmla="*/ 0 h 257442"/>
                <a:gd name="connsiteX1" fmla="*/ 2329165 w 2383887"/>
                <a:gd name="connsiteY1" fmla="*/ 257442 h 257442"/>
                <a:gd name="connsiteX2" fmla="*/ 0 w 2383887"/>
                <a:gd name="connsiteY2" fmla="*/ 257442 h 257442"/>
                <a:gd name="connsiteX3" fmla="*/ 1 w 2383887"/>
                <a:gd name="connsiteY3" fmla="*/ 0 h 257442"/>
                <a:gd name="connsiteX0" fmla="*/ 2569835 w 2569835"/>
                <a:gd name="connsiteY0" fmla="*/ 0 h 257442"/>
                <a:gd name="connsiteX1" fmla="*/ 2329165 w 2569835"/>
                <a:gd name="connsiteY1" fmla="*/ 257442 h 257442"/>
                <a:gd name="connsiteX2" fmla="*/ 0 w 2569835"/>
                <a:gd name="connsiteY2" fmla="*/ 257442 h 257442"/>
                <a:gd name="connsiteX3" fmla="*/ 1 w 2569835"/>
                <a:gd name="connsiteY3" fmla="*/ 0 h 257442"/>
                <a:gd name="connsiteX0" fmla="*/ 2569835 w 2569835"/>
                <a:gd name="connsiteY0" fmla="*/ 0 h 257442"/>
                <a:gd name="connsiteX1" fmla="*/ 2515114 w 2569835"/>
                <a:gd name="connsiteY1" fmla="*/ 257442 h 257442"/>
                <a:gd name="connsiteX2" fmla="*/ 0 w 2569835"/>
                <a:gd name="connsiteY2" fmla="*/ 257442 h 257442"/>
                <a:gd name="connsiteX3" fmla="*/ 1 w 2569835"/>
                <a:gd name="connsiteY3" fmla="*/ 0 h 257442"/>
                <a:gd name="connsiteX0" fmla="*/ 2569834 w 2569834"/>
                <a:gd name="connsiteY0" fmla="*/ 0 h 257442"/>
                <a:gd name="connsiteX1" fmla="*/ 2515113 w 2569834"/>
                <a:gd name="connsiteY1" fmla="*/ 257442 h 257442"/>
                <a:gd name="connsiteX2" fmla="*/ 0 w 2569834"/>
                <a:gd name="connsiteY2" fmla="*/ 257442 h 257442"/>
                <a:gd name="connsiteX3" fmla="*/ 0 w 2569834"/>
                <a:gd name="connsiteY3" fmla="*/ 0 h 257442"/>
                <a:gd name="connsiteX0" fmla="*/ 2569835 w 2569835"/>
                <a:gd name="connsiteY0" fmla="*/ 0 h 257442"/>
                <a:gd name="connsiteX1" fmla="*/ 2515114 w 2569835"/>
                <a:gd name="connsiteY1" fmla="*/ 257442 h 257442"/>
                <a:gd name="connsiteX2" fmla="*/ 1 w 2569835"/>
                <a:gd name="connsiteY2" fmla="*/ 257442 h 257442"/>
                <a:gd name="connsiteX3" fmla="*/ 0 w 2569835"/>
                <a:gd name="connsiteY3" fmla="*/ 0 h 257442"/>
                <a:gd name="connsiteX0" fmla="*/ 2747768 w 2747768"/>
                <a:gd name="connsiteY0" fmla="*/ 0 h 257442"/>
                <a:gd name="connsiteX1" fmla="*/ 2515114 w 2747768"/>
                <a:gd name="connsiteY1" fmla="*/ 257442 h 257442"/>
                <a:gd name="connsiteX2" fmla="*/ 1 w 2747768"/>
                <a:gd name="connsiteY2" fmla="*/ 257442 h 257442"/>
                <a:gd name="connsiteX3" fmla="*/ 0 w 2747768"/>
                <a:gd name="connsiteY3" fmla="*/ 0 h 257442"/>
                <a:gd name="connsiteX0" fmla="*/ 2747768 w 2747768"/>
                <a:gd name="connsiteY0" fmla="*/ 0 h 257442"/>
                <a:gd name="connsiteX1" fmla="*/ 2693046 w 2747768"/>
                <a:gd name="connsiteY1" fmla="*/ 257442 h 257442"/>
                <a:gd name="connsiteX2" fmla="*/ 1 w 2747768"/>
                <a:gd name="connsiteY2" fmla="*/ 257442 h 257442"/>
                <a:gd name="connsiteX3" fmla="*/ 0 w 2747768"/>
                <a:gd name="connsiteY3" fmla="*/ 0 h 257442"/>
                <a:gd name="connsiteX0" fmla="*/ 2747768 w 2747768"/>
                <a:gd name="connsiteY0" fmla="*/ 0 h 257442"/>
                <a:gd name="connsiteX1" fmla="*/ 2693046 w 2747768"/>
                <a:gd name="connsiteY1" fmla="*/ 257442 h 257442"/>
                <a:gd name="connsiteX2" fmla="*/ 0 w 2747768"/>
                <a:gd name="connsiteY2" fmla="*/ 257442 h 257442"/>
                <a:gd name="connsiteX3" fmla="*/ 0 w 2747768"/>
                <a:gd name="connsiteY3" fmla="*/ 0 h 257442"/>
                <a:gd name="connsiteX0" fmla="*/ 2747768 w 2747768"/>
                <a:gd name="connsiteY0" fmla="*/ 0 h 257442"/>
                <a:gd name="connsiteX1" fmla="*/ 2693046 w 2747768"/>
                <a:gd name="connsiteY1" fmla="*/ 257442 h 257442"/>
                <a:gd name="connsiteX2" fmla="*/ 0 w 2747768"/>
                <a:gd name="connsiteY2" fmla="*/ 257442 h 257442"/>
                <a:gd name="connsiteX3" fmla="*/ 0 w 2747768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47768" h="257442">
                  <a:moveTo>
                    <a:pt x="2747768" y="0"/>
                  </a:moveTo>
                  <a:lnTo>
                    <a:pt x="2693046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btfpRunningAgenda1LevelTextLeft432015">
              <a:extLst>
                <a:ext uri="{FF2B5EF4-FFF2-40B4-BE49-F238E27FC236}">
                  <a16:creationId xmlns:a16="http://schemas.microsoft.com/office/drawing/2014/main" id="{CD807574-0AB5-42A7-805B-F70A3E1095C1}"/>
                </a:ext>
              </a:extLst>
            </p:cNvPr>
            <p:cNvSpPr txBox="1"/>
            <p:nvPr/>
          </p:nvSpPr>
          <p:spPr bwMode="gray">
            <a:xfrm>
              <a:off x="0" y="944429"/>
              <a:ext cx="2693046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mo</a:t>
              </a: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raphics</a:t>
              </a:r>
            </a:p>
          </p:txBody>
        </p:sp>
      </p:grpSp>
      <p:sp>
        <p:nvSpPr>
          <p:cNvPr id="30" name="Title 1">
            <a:extLst>
              <a:ext uri="{FF2B5EF4-FFF2-40B4-BE49-F238E27FC236}">
                <a16:creationId xmlns:a16="http://schemas.microsoft.com/office/drawing/2014/main" id="{626BAC75-26F0-4EE0-A2D1-A22710BEC3A8}"/>
              </a:ext>
            </a:extLst>
          </p:cNvPr>
          <p:cNvSpPr txBox="1">
            <a:spLocks/>
          </p:cNvSpPr>
          <p:nvPr/>
        </p:nvSpPr>
        <p:spPr>
          <a:xfrm>
            <a:off x="339725" y="-383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>
            <a:lvl1pPr algn="l" defTabSz="711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24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Demographics</a:t>
            </a: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: </a:t>
            </a:r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Survey covers a diverse set of respondents across scale and industry groups</a:t>
            </a:r>
          </a:p>
        </p:txBody>
      </p:sp>
      <p:grpSp>
        <p:nvGrpSpPr>
          <p:cNvPr id="39" name="btfpStatusSticker988396">
            <a:extLst>
              <a:ext uri="{FF2B5EF4-FFF2-40B4-BE49-F238E27FC236}">
                <a16:creationId xmlns:a16="http://schemas.microsoft.com/office/drawing/2014/main" id="{4EB2A85D-D7C1-4852-B80B-6B9898006AC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100356" y="955344"/>
            <a:ext cx="1761444" cy="235611"/>
            <a:chOff x="-1630959" y="876300"/>
            <a:chExt cx="1761444" cy="235611"/>
          </a:xfrm>
        </p:grpSpPr>
        <p:sp>
          <p:nvSpPr>
            <p:cNvPr id="40" name="btfpStatusStickerText988396">
              <a:extLst>
                <a:ext uri="{FF2B5EF4-FFF2-40B4-BE49-F238E27FC236}">
                  <a16:creationId xmlns:a16="http://schemas.microsoft.com/office/drawing/2014/main" id="{EF8F968E-A359-4CAF-8F8A-DBF766A73CBE}"/>
                </a:ext>
              </a:extLst>
            </p:cNvPr>
            <p:cNvSpPr txBox="1"/>
            <p:nvPr/>
          </p:nvSpPr>
          <p:spPr bwMode="gray">
            <a:xfrm>
              <a:off x="-1630959" y="876300"/>
              <a:ext cx="17614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liminary</a:t>
              </a:r>
            </a:p>
          </p:txBody>
        </p:sp>
        <p:cxnSp>
          <p:nvCxnSpPr>
            <p:cNvPr id="41" name="btfpStatusStickerLine988396">
              <a:extLst>
                <a:ext uri="{FF2B5EF4-FFF2-40B4-BE49-F238E27FC236}">
                  <a16:creationId xmlns:a16="http://schemas.microsoft.com/office/drawing/2014/main" id="{D03CC550-5AC6-483A-88A2-55B4381BDB45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1630959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btfpNotesBox117783">
            <a:extLst>
              <a:ext uri="{FF2B5EF4-FFF2-40B4-BE49-F238E27FC236}">
                <a16:creationId xmlns:a16="http://schemas.microsoft.com/office/drawing/2014/main" id="{629609E5-181A-45FD-90E2-C6895881DDC2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 </a:t>
            </a:r>
          </a:p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</a:t>
            </a:r>
            <a:r>
              <a:rPr kumimoji="0" lang="pl-PL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FC4F8E0-4DED-497C-A54E-5E4AADBC0EDC}"/>
              </a:ext>
            </a:extLst>
          </p:cNvPr>
          <p:cNvSpPr/>
          <p:nvPr/>
        </p:nvSpPr>
        <p:spPr bwMode="gray">
          <a:xfrm>
            <a:off x="342865" y="1310439"/>
            <a:ext cx="11517312" cy="64012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 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which country are you currently employed?</a:t>
            </a:r>
            <a:r>
              <a:rPr kumimoji="0" lang="pl-PL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pl-PL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 </a:t>
            </a:r>
            <a:r>
              <a:rPr kumimoji="0" lang="pl-PL" sz="1000" b="0" i="1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at</a:t>
            </a:r>
            <a:r>
              <a:rPr kumimoji="0" lang="pl-PL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pl-PL" sz="1000" b="0" i="1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s</a:t>
            </a:r>
            <a:r>
              <a:rPr kumimoji="0" lang="pl-PL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pl-PL" sz="1000" b="0" i="1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our</a:t>
            </a:r>
            <a:r>
              <a:rPr kumimoji="0" lang="pl-PL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pl-PL" sz="1000" b="0" i="1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nder</a:t>
            </a:r>
            <a:r>
              <a:rPr kumimoji="0" lang="pl-PL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pl-PL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 </a:t>
            </a:r>
            <a:r>
              <a:rPr kumimoji="0" lang="pl-PL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ow old are you? </a:t>
            </a: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Which of the following best describes the industry of your company? </a:t>
            </a: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 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ich of the following best describes your current role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 </a:t>
            </a: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pproximately, what was your organization's total revenue in USD during 2021</a:t>
            </a:r>
            <a:r>
              <a:rPr kumimoji="0" lang="pl-PL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How many employees does your company approximately have globally?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8035638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" name="btfpColumnIndicatorGroup2">
            <a:extLst>
              <a:ext uri="{FF2B5EF4-FFF2-40B4-BE49-F238E27FC236}">
                <a16:creationId xmlns:a16="http://schemas.microsoft.com/office/drawing/2014/main" id="{DC2F8694-6D0C-4ED4-B5ED-F30FE8CB9D72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45" name="btfpColumnGapBlocker676798">
              <a:extLst>
                <a:ext uri="{FF2B5EF4-FFF2-40B4-BE49-F238E27FC236}">
                  <a16:creationId xmlns:a16="http://schemas.microsoft.com/office/drawing/2014/main" id="{814C5F7B-8DE0-4F49-B06B-00DC02FC3C88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42" name="btfpColumnGapBlocker186865">
              <a:extLst>
                <a:ext uri="{FF2B5EF4-FFF2-40B4-BE49-F238E27FC236}">
                  <a16:creationId xmlns:a16="http://schemas.microsoft.com/office/drawing/2014/main" id="{6B39AFD8-83E8-4897-A8AA-0853039F0E0E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7" name="btfpColumnIndicator590012">
              <a:extLst>
                <a:ext uri="{FF2B5EF4-FFF2-40B4-BE49-F238E27FC236}">
                  <a16:creationId xmlns:a16="http://schemas.microsoft.com/office/drawing/2014/main" id="{5B6825D9-8DD8-4758-B482-B95492AD6571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btfpColumnIndicator321433">
              <a:extLst>
                <a:ext uri="{FF2B5EF4-FFF2-40B4-BE49-F238E27FC236}">
                  <a16:creationId xmlns:a16="http://schemas.microsoft.com/office/drawing/2014/main" id="{2E155FD9-CADF-4D17-9B25-479D65F934CA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btfpColumnGapBlocker719541">
              <a:extLst>
                <a:ext uri="{FF2B5EF4-FFF2-40B4-BE49-F238E27FC236}">
                  <a16:creationId xmlns:a16="http://schemas.microsoft.com/office/drawing/2014/main" id="{877FE432-AB7F-483F-9BA3-D518EADA5344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1" name="btfpColumnIndicator890852">
              <a:extLst>
                <a:ext uri="{FF2B5EF4-FFF2-40B4-BE49-F238E27FC236}">
                  <a16:creationId xmlns:a16="http://schemas.microsoft.com/office/drawing/2014/main" id="{20855B94-13F9-47F8-856B-D6063A7C7ADE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btfpColumnIndicator513993">
              <a:extLst>
                <a:ext uri="{FF2B5EF4-FFF2-40B4-BE49-F238E27FC236}">
                  <a16:creationId xmlns:a16="http://schemas.microsoft.com/office/drawing/2014/main" id="{4FB895A0-0D5D-4343-8C9B-1195172C8BBB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btfpColumnGapBlocker913010">
              <a:extLst>
                <a:ext uri="{FF2B5EF4-FFF2-40B4-BE49-F238E27FC236}">
                  <a16:creationId xmlns:a16="http://schemas.microsoft.com/office/drawing/2014/main" id="{04F9EA3F-BB1A-4764-B112-07AB3E23EC36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5" name="btfpColumnIndicator416498">
              <a:extLst>
                <a:ext uri="{FF2B5EF4-FFF2-40B4-BE49-F238E27FC236}">
                  <a16:creationId xmlns:a16="http://schemas.microsoft.com/office/drawing/2014/main" id="{8720B766-6716-4266-A3B4-2C2F838543A1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btfpColumnIndicator648449">
              <a:extLst>
                <a:ext uri="{FF2B5EF4-FFF2-40B4-BE49-F238E27FC236}">
                  <a16:creationId xmlns:a16="http://schemas.microsoft.com/office/drawing/2014/main" id="{A556B799-760C-4AE9-BB40-1FB3B21399A8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6" name="btfpColumnIndicatorGroup1">
            <a:extLst>
              <a:ext uri="{FF2B5EF4-FFF2-40B4-BE49-F238E27FC236}">
                <a16:creationId xmlns:a16="http://schemas.microsoft.com/office/drawing/2014/main" id="{0282F7A8-10E0-47EB-91F3-91B6A6EA0E9F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44" name="btfpColumnGapBlocker763260">
              <a:extLst>
                <a:ext uri="{FF2B5EF4-FFF2-40B4-BE49-F238E27FC236}">
                  <a16:creationId xmlns:a16="http://schemas.microsoft.com/office/drawing/2014/main" id="{D01003D8-1D26-4192-B6BD-95B9BFC447E4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41" name="btfpColumnGapBlocker790764">
              <a:extLst>
                <a:ext uri="{FF2B5EF4-FFF2-40B4-BE49-F238E27FC236}">
                  <a16:creationId xmlns:a16="http://schemas.microsoft.com/office/drawing/2014/main" id="{B16EB611-7CFC-49AA-8FAA-A29DF798AA67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6" name="btfpColumnIndicator157240">
              <a:extLst>
                <a:ext uri="{FF2B5EF4-FFF2-40B4-BE49-F238E27FC236}">
                  <a16:creationId xmlns:a16="http://schemas.microsoft.com/office/drawing/2014/main" id="{4E19EB73-96D9-4495-A156-40A781CD3FFE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btfpColumnIndicator547629">
              <a:extLst>
                <a:ext uri="{FF2B5EF4-FFF2-40B4-BE49-F238E27FC236}">
                  <a16:creationId xmlns:a16="http://schemas.microsoft.com/office/drawing/2014/main" id="{ED9F4C77-B45B-4CBC-9919-734A311683C4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btfpColumnGapBlocker460562">
              <a:extLst>
                <a:ext uri="{FF2B5EF4-FFF2-40B4-BE49-F238E27FC236}">
                  <a16:creationId xmlns:a16="http://schemas.microsoft.com/office/drawing/2014/main" id="{1AFF93EF-67C9-46C0-8C27-245801BD4338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0" name="btfpColumnIndicator576535">
              <a:extLst>
                <a:ext uri="{FF2B5EF4-FFF2-40B4-BE49-F238E27FC236}">
                  <a16:creationId xmlns:a16="http://schemas.microsoft.com/office/drawing/2014/main" id="{ED312EA5-3E9A-4B15-8ADA-1E66C48D2345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btfpColumnIndicator151273">
              <a:extLst>
                <a:ext uri="{FF2B5EF4-FFF2-40B4-BE49-F238E27FC236}">
                  <a16:creationId xmlns:a16="http://schemas.microsoft.com/office/drawing/2014/main" id="{D570E5D0-4B99-443B-853A-6BC921BA099D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btfpColumnGapBlocker724185">
              <a:extLst>
                <a:ext uri="{FF2B5EF4-FFF2-40B4-BE49-F238E27FC236}">
                  <a16:creationId xmlns:a16="http://schemas.microsoft.com/office/drawing/2014/main" id="{DA0F9AC9-E70E-4A60-88FA-BEBA9F4416B2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4" name="btfpColumnIndicator329480">
              <a:extLst>
                <a:ext uri="{FF2B5EF4-FFF2-40B4-BE49-F238E27FC236}">
                  <a16:creationId xmlns:a16="http://schemas.microsoft.com/office/drawing/2014/main" id="{3E4B8E75-B505-4CB1-AC5D-CD3DDA8648B7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289413">
              <a:extLst>
                <a:ext uri="{FF2B5EF4-FFF2-40B4-BE49-F238E27FC236}">
                  <a16:creationId xmlns:a16="http://schemas.microsoft.com/office/drawing/2014/main" id="{1AA28B46-8A07-4136-9859-8014EEFBB916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btfpColumnHeaderBox889335">
            <a:extLst>
              <a:ext uri="{FF2B5EF4-FFF2-40B4-BE49-F238E27FC236}">
                <a16:creationId xmlns:a16="http://schemas.microsoft.com/office/drawing/2014/main" id="{91B97BEF-1A07-43B3-A46A-09E409B0BC9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364101" y="1270000"/>
            <a:ext cx="3483504" cy="559753"/>
            <a:chOff x="330200" y="1089692"/>
            <a:chExt cx="5495528" cy="356892"/>
          </a:xfrm>
        </p:grpSpPr>
        <p:sp>
          <p:nvSpPr>
            <p:cNvPr id="74" name="btfpColumnHeaderBoxText889335">
              <a:extLst>
                <a:ext uri="{FF2B5EF4-FFF2-40B4-BE49-F238E27FC236}">
                  <a16:creationId xmlns:a16="http://schemas.microsoft.com/office/drawing/2014/main" id="{5627ABC0-8A67-4F85-8227-D7434D741F78}"/>
                </a:ext>
              </a:extLst>
            </p:cNvPr>
            <p:cNvSpPr txBox="1"/>
            <p:nvPr/>
          </p:nvSpPr>
          <p:spPr bwMode="gray">
            <a:xfrm>
              <a:off x="330200" y="1089692"/>
              <a:ext cx="5495528" cy="35689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X as </a:t>
              </a: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imary reason for change in spend</a:t>
              </a:r>
            </a:p>
          </p:txBody>
        </p:sp>
        <p:cxnSp>
          <p:nvCxnSpPr>
            <p:cNvPr id="75" name="btfpColumnHeaderBoxLine889335">
              <a:extLst>
                <a:ext uri="{FF2B5EF4-FFF2-40B4-BE49-F238E27FC236}">
                  <a16:creationId xmlns:a16="http://schemas.microsoft.com/office/drawing/2014/main" id="{D26A1C75-B1FE-48D5-90DC-FB08060C4DE4}"/>
                </a:ext>
              </a:extLst>
            </p:cNvPr>
            <p:cNvCxnSpPr/>
            <p:nvPr/>
          </p:nvCxnSpPr>
          <p:spPr bwMode="gray">
            <a:xfrm>
              <a:off x="330200" y="1446584"/>
              <a:ext cx="549552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btfpMGChart209271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ovC2SzSB9c8Os+ebp2X3ul3gVMNwoM6g/cuNn4RSRd8806Ufmbl1nJrIP4PiD9jfPGggT7TTWVQAEKv7ov0Trh2B9cdJdWT37uxAPai19pok/aXGDdPgU4kXXu2tJ9d66J8jT91wJ94LIqf4iQVaHhapMuSeDI0/wvuSjgu36uCQ6Ci1DbziZp4YBjktaGRkWK1IIDBtDNUsc4nw7EdjvOZ1MOku5l9TzF8IZv3YePdIYi4qHMcDJHAS7mHtdQlZ8gfnMSlqqaJBoATLEVz7/yacxSOgnhBAGIemqTPw3a5q+P1+7ScD9BYmK/mepUZvn9ubAbIlOvsrKA1fEGQJOYnWVoliQUASwzB1BN4nE4TKtJSwQqlW7GrufFZqdnr5DKOcZjfa/rkcQJxwgba+kR7CxfGVERijZ9wMY1Lo0BQ3nxgzYgIqJVNzFiCl7HfmwyLeXnI2BQfHbWvERgg6SSAqr5su2Ggo18TtIeyrdVLN6mkcnCM6+9xmqzp6Lal2ka/ptyNz5e7+yFBxJWEBI0ChI58sfxcBh0+dXp4lsKqZ3/8swKb0AB8xbbe4+cCJjs2oRUy5Hzu/m+K6sa/QkcY3eJFf222p+paGggQZwai88ykTvQ7Rfptit9YER+jbQg7A7FOLCVR7NO3Bmi8/VfznSgqN6bFpgY/rcxWZBnG5yNSyM4Atiy/3RtBu7z5Wki3o2dW3+1RUpyDto8Hqgl6ob3b4V9H2fWi7lrepN3xOcUqKHvl/O8rEkCq97d49siFyi2gFbd76NobC7f8cbZRvOWQqkXjtiBYLcrep5m1d4xKAEvhPRpyx6m8mcKL/WCpbu1qwxh+0wA7sH73RkefbVwbmHDAC2KPUioJGuxidGckp9coEuFdhOLfrGMSRwtJynFPiq4XkUdlSFum9cjxjEV/s71SsdShBUFUELx7lEgMfSfZDJgBZWkvgEe/OMa0FS106dbizV6JfuzUzCgMAKMrLdLFkI4xiuJunbKfTLDx6PITFUosUWssrzNxEth7l+bL3BDm2vnJVCY+/e6ZzV3gJ8dzmAbTeGdHLf7KzyCLcg2eWgHDEouduYKglm4WfZ+HA+32bXiHYh0kQt6u+smaKIAOyWV4cBYxVLk0INOCA5q7nKf3Z4dqJ+2ZthQhguFraWJ/vgeJaYcdemmENwpQMPmN81ykYpH6aNAzz+g1paZcuzArawgl1+fXzWi1bItLeiRTmT65WpFyBbTYXk/mnNbAUE4yRmhpXsijkNVaRTHBXr+t3qa/OEDhK467eoHviwVM1bW/4bNQzjg9ZdM4f5NXaYg3/ykqJHAciHjofo1OzXhp5Q0mwpHRk4kjm7lPN5wSHQzC7d7yFkVOBTLBnOU0+AJ+T/cAJ+kvbegJU3nJNW9aH6/F0rnMHFB9m03vKn1mHD/xfMTkgbj8I3EguvUaSvdVIYy5qGY6HVMgu1zCwGAPpU9f55Niba8CmjLk0aMbha6MFHj9OIYvwbYyrMzT5Bi5NmAWPkwPnY66V0VTfEjQqSMfZdmiyHl0QNLoSQYhiRyVpQEcAxOONYaeOcnlxBZ0wyUtXJBDVD6awfFZ2zT3slH/4Bpb2RVTvR1kJ5UkTxUif+Mijq0Jw51IckxiVq5Vb2/v9v5NFSg5NL6qe3+MyUIV/oeN0B0SMaE/Taa1fDgvLXe7H22Th1cagxna7tPveMRbJGjOws0yPlKy6ISud0u1mNFomqI5mGX+kUoTwq8Bv71sDF+EYVbAMbScqEAJwhO8zRdfW387cmRLvhBrtMOLJSXxm/CnkFqPOeaaXCeX1Wnuz7b/+7YwxrPkUtd+o0H1d9csIirS92qsbyrDoYyFvuQhTxfb94bV5VsX8Opq2YoP29ubUTwPfKgey1RbUU/hgEWso/WTQXUTbRYYNy1GZLl0I2XbVlkHMv2bPlTb+5lVyRo5iohD935IG+B7StOrdW1ysugPg6SAx03xbbW3TOxTWf3kHti+a+CkpGYRlVvEGfFJbRn4uohEqFTb8oj2zlHGMsNVAsMRGMRS+Qw/ip9+qanRvL4qe8TwLqbSNeQQCS4L9mBPtPxmYaengDjM55zCVoS8ML3wxpXixil41Fsvu7Mpz1etdwaHKREmIv4wzszO2mjG3krGo5ZpmVTXaaPJJVWCJ9LdL5PmmaRp4CxBHXJKPDjy2RTccLEfePNOhVkGSZX7VzL1dHiQxLugmEfuZfdUtLOEFFg9u7azvBP9YtzA1muOIWN7C0mFz2HqsyQSj51se6Ccvu45yUdQ/oyZffBmbpKVz8L6PFUIB97OVnGmHySLMFHcJPEtMMBVaAI96rmQQ5QoevA9K+mYX+sh/aIFg8Yk86TpfSOSDo8eSVDAzo6H7jZFED4dxH5eQtKoUojEktxrvhgPCtV3ewQWTx2JkRmwCBl72W/iWQgz3Skp1gh+8VKEmAA3ovWoTJPjf2jhQi0e8i8Y42VPF7HP7e+HGq7olNB6og/JN6Gmd16QKgksOOXC2oxqKC2x1JmTmtiCrkYfCo7Z/xywLABGMcotMbP7zhvR6kptg+X6504C3bPGuXWrI5Siq6G/+eRVv6XHR3WxJnuPKfPBNGwAB21wxKOPTrYhuM0wEG7Va9T89kG6joQVyuIaY3V+4pbDRSgi0l8hcZALUpSfElPOoKvSEuPkqsxAfX0XVZZtKwHauA6VeyLc9O8js8kMneC7an3AglVJOs8v0cEyrvUzfNNcYor6U35rtjoFJneNAtdYi4eRc4xuHnF9Vl6BM4A7rFEBsaIN7Jj1VnenKg00nrTm3gJWPgGD1uF+bkMS58eGmZxLKYKNoFL3GHulKZOwAgXYaGXm9FqvIqUiysjsjp8Dyzg9PC1qIo41DnQyAjq3TMe8IKozxJG0LC4g7jlCYvjRRPhsYy2sKiYlzj+DdonrOOkpGN0AiDP0G2o+qTOoXlX0J0NBxe2ujz0gXlwXEcMVkFV4qZeow/OhF0OEsWeiDYyZBUI8KY7PV8Fa/Yq4Ne2WJfe0QjZS0UEmlebw8D0WjCCuRj1EH9BN6eYKS65f/sebQCBkS48eFpsbiJ3FcHCCACaXmJLrDycigADCmGxBCqfxtF8S02XymNffNVPpZZlNyMrnK4wQ4H8XtPIsjJPMM75WsjKmUkKUyI0p5iiHRbdAp74wT3gPcx/uemQVnecFm0KVfGHtdBvlpZiFLyqWvpuSBly2OKmA3v/FnEl2bUwSnpE3QMtKoKJrIdD/ILQdJBh3K5H44uObYIp7obaa8LDVGt2ZbGTMYvauAJj10lO/fnV+5TO/tsnoBQ3DUA7zQJGRAhzPN8LL7Tm01HBvrrf9ctDup8BvdZIkRqXN1lFADAmuHMNahbXMt9bQWVtXdK+0Flkwt/wGrHZKQ6eJg/pl+JvYmk8hOXeYmmI7K6mHTf6JNylbLyRv/iaoZ5hLM1oXpZuPlLxTpqccRYYhIs5XRliybqkovV0i3//YZyCYrod+D9gwMfkdDQaZBCuZ1PeUnYr0xE5XMe+wsPIrGwkkT++8oAc5RMmPMq1Ju3Vth8Y6engNODHfwpi8919Q2uxpdLziwhkvzjcUMDvvmOkwK7rL+fbsjkl71pxyNUB6rp/xqgbA8THmwDGgKA6plv5g9NQU/qFmrfibH2CqMDja04A24QTo56Kfo4Cfe8EIKJF9wuQGHRbfNAzPmyK7bgniqoc+H2CHAduMBGvYuh1x1Ye7AD2xL0vb9I1Lk/4Q5W6dHBu22hQJNNkza5hnrLh+XvJ1gLc8a/VBTC4z//PhfCpToBZ9vdJdlaqJ47T0F60RqdGShqnoOKQ3LoVXQIogxEaRmsepVLvAbTqHKbpjL6w9/q1cXbXvPEWvsrVAXX0c7qzLubiYmDlvvdMypRjbeDhuecrEZw3hDkhQ5X2jb6sQf3s01mbKpIM+mTn0tJqxDZN4iWwOeVBvaAy0jqBhEe8yt13LTwnRKGp480LM9chJbCPSNt8NMI20+20nUypqAnCNqU63klxwMCjhgs0e4HSP87sPkGCY191j/LW7c5pJIlFQkUFWueO0j2K96xI1yX9/35toaNqocsg/6RkUvuQfTFqbTna9q+VYZaVawfKK0dlcqDgwuaNf2WUsmR0CxBj6op42bIFIhZEhV79wk090cpVd08IUNujYC22g5a+6qmliCBuKBQ+KIku7swswpYEwScl5+WcJnXnxHOUOaFDIAciWQTH92/u6u0Tuevlf50mw4PmQzIDzSzskM6PynEkOXvgjXSrUU1a/+hH9oM2EtEo4ZU7dVBKyjoThkWS4jWIPRqcoGJdx/t0uAJtL+uMUsDGwgOXOo6/M26G5ThOVQtSeYYuAU15qz3tvdwYEYs9kDqegZhHf6QbU5HPK37uwa9OWKPU4p871on95hzIL7BvbZ2Sj8/U+uL2T7VRut28Z+A8GsqzmRVpGNxld9XWpDB2iAFJCOx67NVsEP5NAr+NIFhMzaIOiK7vQquPJaIf61HdZD8swdGSccLLZB3NOnRejJKbkyaw/TWF4ffTh5u+nbdwiDhAIyIK7tjvXGbJwhmo7UWCJM8l7SZJ0Hp6YlrFmaH8VES91LDc/DOAnm5TqQGrr12C8uXOQXG7oalfRn/UNHxbfqFwY0NRG3cnUsX5Np0HmbYaAHdsaUpH1X7XRwD7T3Sk5uvO8GElY4zwQZemcACWdywUX1FQ0jR+p8l1haliUtKkXrJtInf9jsuiqt+7CBQBWyASGlp+LwSYLGL+sgAkAZYouGWRAeMvUInSCkwBFO2FVMgabRDb9PdLE+8n8zFaCAiZluwEHMrIB+E6RFWaEccrN+2wp35PDHs8Yb1PQe3UKlOpkcsGCJKotSK+GuwWa+Ws92jdMp5i40HoD07yyQQRPD//ufGkRHLqd2LR72Pr0JmmeK/Du2x47535q273OsTQHSeeYW2zyR4X/aYfNmgS5pnHpdOFRfJGNvDerEy0YupQmmU07yQtDGefDW43QDLeRPtbFro25ne44Hk3jb3hw9v0rxl4rIAvghKdK6EIkZ8ZXc/W8F77yoD5YY0iewp5hIy9uap4MFcEMv76+hd9SILcG29LoJClpQgXWvPQhHIZi9NNKzKQsJ1gaGa3QGB9loiWDO6+6q7yqi2EgumDV1kwJVKy3wgzN/532WywQTlLeqnLPIRW1yzyCoG6HwEYwS5NCFZ9sqZT10x0+Dm2DBnme0p5Lr+SbDJIUDWusQ2Pc+9JMtV2ax64jvmqdo/Rb+n8CmmKStroXE90Txouelvh03KUFQnIX8xYwFC98/qouCo8o88rsITugulVzqCtxdVBj71sNMQekYGS9gcPNcuof2rJ1MAuBYm9rlyncVrA5W0RZ2RddLxhHP+RkQ+5Ffe0lyarZ+O99V58lh5pxl983Mw6iPohszyaulMQOCgS2LXdjDGFl3efSSq8LJX+MiSKuuyuHnpA05SyAnBl6DljxIMhfi4y3F9HuaOzea7WIQuyZXYP3AaMXJfoUS8tLPP8ZB5OsBHoFnZKax2XD+zypX4pBY1Oa3Qv2pgDvPcDb8Dmk2G2ynw0ZR9nZFdmFn7iFj0Wm8gwtI4eQ41pGssRMjriCyPqwY9BZ77X+NOhbBH7lvbZR4maIvbLovdIzxICJl8THDR0W/SpGrWsKfzOINNP8JzjMpm061QjbxQ7ut2MDk2uUaQYl/PEKzg097WTkZ1umMFOkhlxIN14kCMS2Z4BSLwZ1s44ivoUxZNhWGOL9hRi5bd7XvAdI2hYbaQA7SlXZUtsVsoXCh31wYHkLmXczvOeIUJ+gYEdrEOzfvKhZk0PenL/CNcpFqbAZF1APOi5ef/Z4T+Om5LC6lxQM89kMdfmcr4b0UstgDlUEsXsFN+vZ+FPQwMvc2I13Sf5AMfUwInMnyGtKOn5ah6TZSvPBQl0HZscY6jvYeUJdR55lYv4rxpf3QOJ7DZRAOMpzh5WD2/AC/n18oC2nPC1mw76Qic+PmdvlMKTmH+ljjDbbIWOUu/xG60afAdbdWn93lmlD+q5z3XhiRu1WICJD+Z0/LG2rDtCSTZuaHwo5iNUHeivFuK7K8hEYFiGH5mhu5KR0vWDuPnG7XN/G9HjRPtjKzRuZtmeCu+NG6lpKXsJZc3iB87B+b4V3vXl9W2LbydqryyVkR5bg8ctlyUhrFP3KG40PC2YRud2aZ/djJL+C+8F9brytyKferPdk6OrD6zNPiDRMo5SE7ZRI5xGzyGpaMAIXcHQJCqLRQmb3LJldXmO5p5WEe1X9+Yb3CN3QUPleGCtM3ibaoio9zt3uFjg2QoQr+qNzQKHW1EfnN1K4Tt7blYQcbbda47CBK4cSLKRv012OkpyzClEm4MhzjukNgfnr/J+3kFroU7iKJZ42kECK37jDQkfa1dJ5vSlLA7lgupJ7TYEmAMl8NcCdzpAAIb55c1PZ2uOn9GpkaPbyQ+awCZWNB/fz/8j/J+aKZ7TjLhx+pikymD5UpX0jPhDuB/goso/IG4g29nuj/svSkLwWcD0x/gQIjfif0uVi587xpQawDtR4CnA4rZb8U2VmRCihLAAYTKbjMooZKnbB6tJGGxdfOg/31tqEC1DOprH/DiKM3I+Iuf7pKngkjiBBU2Sf7oIY/AKXvM2bbyaEZj0189Oggjb2D7Lw4oJRS7SpPdmh0A2ZPA2JF3iyn/Mt94lpBKnyWQN9LzJtnNuyu4ePsad+lUXuYxmbDoxfPufZWANIJ1Sqe+cKt7lnj7TL8mb3KDWZjetB+nufo2wGm2SKd6iScu9Dt4N0h+FYTekK6FJLYox24j4i1rxfyTWfMZ9URyLc9kroDeK9h+OVdk3rxyt7a0HRSzUdoeeHH0pKHSBo0BLUkUE1qIwtk7SVH1ZTSttUEe0hyRz7t8Ke5VvRjpKUMjkjbJodMcHAdgE3PCwYb/pUahEV/ku0XgyJTuj5EYH3sIR+el2eZryFE123H2wa8YrVWaZy9vKuJaDfPgJxDHX6TMp3xMftyd4YDeiPY2awQpa8EnOAFB1fX+Y580tL0S+Rnti40OeDOQcHq4CqbcoV71maNZ2fV74hwldKBD1BESzAMcRlRphBI7RbO3D2ZAnXLLAZ/wh7oOMS5MBvTzNhX4/3ry7xAU3FuOjqSYip7V4TdlpIeks2TOz51snrEELXMV+wIOJUT9m9YZWtkY9u+RCpVtIen8jboMPo1hbMP+PkFXbF2t3+I/2ddXozVtnVJBkI71WjVGlcds9hnZoS6c8MvssTyxen+qgpggnJnak1R6tN8PT4rb/piwdE+6Tn7hyk6++mgJSBQN0MN7VP2aHEKcJzijIqNuCgi6uuz0WcTCM+IYVkt1P/eRUMM12NIjfK7vhUPQfhokYXNAiAIIx71ZXzPGIfD42QNCiDCqpS7WCA0vfCYyzQTD/leBu6qTOAHlAlhJMd0N/PfJlbfiDkvRJzRm8rHBU+qHDqnB3A62mBRVPqvviNu1qH115fcU1ilsoCA9EohWwhd1O0PJFmAQsUaxFOL1F0CQ6WE/v1EApjAFeDtaiFmy8kU3STK8haqFNC7mBfnFI7z4xbcGauYrYTGwBJSwImEgYLMRMoRbXS7X2sOcvdg+ScxzlQs+d83/E40DbmFT4gJzkJPRIFGY034TyxwHLx30TYHDjB83L9S+PUhAgf+8/4PZtr2K+HA56OL5RFj0fzGuEpWP1r/BTZZHZrG6VHPrs14GP7EdSiqy2yZBYEwn1fjwQcMDGDBHO1JCdChz6whEWQbBSVxbe+Onlc/bGfi5TtTC5Vue2eHP8Q/xBg7SI4s3RU/aDFcq1Cgaw5LLhPnwyaSphFxgDTyQGZOev7DNzQsQVvkydj2pnAjBjKgOpSq0PcaV0rKwEwoL8mfrRfqvpHRK6hUcHo9g2FqsmHD/ekqD3E9zsRoj0RzVq0sogaJzr5DKKpOmYL+89tdU56J5vtoHCLxcR65CewE8KnFNWVIhlAoeMTM83oK4slt6JRD2QCk/idcEidagKtlfg9HmN/TSOdqx7c9fViJIIKmbLfuIn9ekXNfnfBmhYBeN/+A58CrJcLMYljLfPWeCOHiFoJZBMm9PgZ5NZxteg1qSvbWjRTFLci+2qkCxdBR8JyQb87RU91g7kvHRZAFWRLF0bspTPkaaVCEYKDJDXGiL7K8ubBQpjlBMOSQtjFBguW1LBdx5YbXPVtj5Tw/q2amAqyeHxO6nJ03JzamdnWe5CoMvAntqaJpwQnWcVQAj2PlRqkjCktSLTtHN21i0bwkX8FYxto+qy5Gxnuzaaxw2PxkMh5TmEKiSp8d+BTmOySZR11J27kPyQoI8jlve+8Mb7mu15R7TCGZR6Q562SP56F8e52Z2k8Ywr6CMI6efmWPMkt/S5iC+tGFUrkxfCuoTqDOOVXxzyUYnnugG3dYHTlDGoOSopAnA18mXXAgZ3bc6YnfRl4z2WrcHEc7jdjNpeR47GK6aW+Ej6cauBSe2otH1jt3a1Z2EkY3XNKVeu/3eFYxuSKbboxpOLkt3foCC8Q0UR3ifboOsqOio7hK8iZF4bYjWyizjinBU8EJCe3Guteq5Fls0LHwPf/Uh5yOwa3+9PCBQtniB7erq18kpxwU6azm3D8Fz2tL4K+8IF5muRvsKov7kqfnyzq5OyDKREJrmJVDxXNSg7eFkTrb1SKTt9CrsHUTyOyPeGbJOqXJdhUHCN/tHxPhJxmZVMB9pVoNsy0vg9Qklye6KI24c0rGJ/1zmdlTKfiLWVV6WPwfBlUIImUxop3q+JTBebhbyGudkqpGYxuzX2PWdZEpnQi/ZUqe6L7madxQkDI5xag14KXeUcg7qiI1EDc8EBe0LPbcvw/8zm9zhWbbefc0HST+/HkYPzyyZ/OlHv6yE3fztFCuEzE0AQb7d4kiC+MR2ZAgJKsy39ZqO/qyX6K4HsrwOOy4HouG3fkl6VYSf6I7Z7ryDfAMHhhGmcTKt6TF4H5qq8IyAjbar8+ZNhDgGdoB4r61EwH/xMmbwpqjz1Xa8w+tfY6RHEuryQTP9LEazg1v9i1jd+6tu27xTqvdPtLmXyAJy7Q97ViWXbdFuTRxPdl0XEbspJ7AkNYtTz0+3mGRlZxuqhrV26m3ns4sVK1phl/RhcfOOVpy37STUDOK1/sq2T8sYo/NEuIc0yR4uV6My6Kpj2AJiMYJ+eFAZ+wbk3k+bd8jzZ74oUbUGqcOWP6iMwIDYF11nke2b4qlSHqtcXqgN2lFrYcItO92+4c+8fAoR2cE2VGahta7kECAa5mBfnBwcOd4SHZROEBmRb0DrXOR6mNG4etO8tqR80+um9BOq2hkTqyHfMGU5uRiBhCoLmzJmfIF8gD0+Vc7GpKSgsqip7hZHASkwjGZdfZzxGu6Y1Z+jbEucFNgukAzB9Bf6szYqUnojEpt7a+5D0rH782sQVdm16HJTHcSOO6usDYELycrKX5CrnJwWTzqucx0BRG09ciLtfmaZ01nyoZg914BxO/hQeJ0EqnCLY20X52/bLGy1uJLq/37ZAATwh+54PHN5e1SBR1ZPH7xxNVQ3BHyquR0w6hE9Y4DocRzUMtj0Cy1i/yt8n13hROGWEOHIS6yDPw+ztjPFlUtnfj2SK6+NvEax/JCHPN0Erc4cnsEr+Q7b1NU1E9Ps9e9IyxW0Ug2+gdnlxBJ/EqUpPMVtvHHoFgjq44sDErMktgac+bec9KK1AapVpa0mSR+LGviKXVkE0gSYgg5QwfqMs2iZm4pbPQelhFXqOxvqknuqlw7EGtX63b8BtC6MayEPObnCkA+DJz3qorUW3pZx0zmLfmfh9KTDMbZfvs+KVKp8My4eIkPMetL6ZAW/x6fM5iiDGLqKIZiHyMKvCkVLh7NkuZFAbi2aEvRsHUDghp0+nN/KrjTlkDcObI+x8Nmx6Um5p964wvwY2B3VVtAaU0yl95F3CP/J7yh2QKuvSZ+VDU81kGCjqOxlfKD0Yx5SSYEtU48JZByppbTKCvLigRmVS4lrBGJwlr5m2luyDV5twZ0gUKEbtDfjiOmtgx24R9+PrOZt168x0juXc1Hjq/L2i/zym1XvHLrbTmg3HqR91EoMnIcEBRtMNA4BYIxMktVkcUR6T8RWVosgcPjDq/XVOthTFL7ahYXEPflRLY8V4O3mFfEPKaE0BoLa6Hrft3EuXjVEArjounTqu3pQy+SOAPYB4LA1+ueTmaBsqby6/R9kZGW5pgIOVRNwWwSOB7oPV4D+A9K/uvT+DOS4bG0PEkZc1d3PbiNdc7/Fl1zdfkC/sz4pZqqkbdrZwi9TbPJ42T6fdyC1IvVR5YcUgpLc4SeoDYxns8OJMjNcuVfbT4Hx0D9u5N37yowKnxVx5XvYuvtSc6pjV6vU5jjVbkcOQAVE/oWyP3AXc2+DttitJjExkVFNZx6pv1rluLUPFzq/Ofm+jZwqfmFr2DDiZAz9VdgxoecNOHwXRhY21yhAcFRVRMdl/dMZ+sC0zEVI+/Ll3W68UGY8gFcYZGP1WN/ZJWKT20s1tPJYHQRIhmXiMam5q3z1omzZHMDRqGr3n6qn2RFmnqHSMrY8FHGFaqJoFfkvIiCikYkBfSVJNXFWU6yaxW4buhZRqWSoAzFQpAy5Demuf1+gDL/Ts5xyJq7VFWeHKHtN7VgMidtrMvIlcpWbHKnvhmP4OZHgP4SNVVRAdX7uZeANaz0ewmvEte33CZeU5mrUfdB/5Q221q3U2OOINifRZ7Xw3ffMD81LjBHfstj5sWdxwA3JuMW5bxCV4E1LQN/AuSufZjPTV5YW5NLmZskPjBR8lpkw84d+vMhgLmId/Az+oZe6sG6RgabYOq59UiQSDjGBiQI8VaN2smsmtEH14g0qCscN/YbjwOIl7LhIpBJLoINML6tMPj/W03xtT2th4enTT5dMq1qDooImE5UykJZHmFBe4uUTow0xR4KZJ797DLuOrOaBcbFx2hdiHKA7BcJHWK2gMAz8DHASPk/A9nIxlPWLa/GsTpXJ6DcHsmXMPbvGfqpYu57/RWc6sPCUi/ET27Z8XVWe0/D6a0J3chqdaJmBr05/YaMagiSoU6Lik8XufN5WgbpmK2zd+UAk7MDIAytcDA9gPZPI90pl9DLJZnAlNNvAsSxD3b2MkRC3Oun9gk5qs2cR0cMaMzA02/8OcxCDfxF4E9tl9rV2wF+reoSMGwDz8fe8G6dEOd/e7vfHUZD247NvXA+BMjeICg06l8gMX1F1dt6KWFCrf0MbAzrlmViaenVTw4/GfHlBQGI28xh2ohdXJ70FM/g7SJN94j6Y2R6EvuEeQ4aVT7sG001M0xDbjIb50px2eXgw08ZvN023v8mKUIEgF7YuVfjZjPsPpMPHS0B1C9Kebs/W+s7MfI4/J8wMquL0T/hX/RQWC4tNS1ATvQn+UbJeHxg5qZIzjfAqHZWF/UwqDQS1AOpq1XeUuj+9XVxHCSPXVnzAqa52dfXm3W1KQbzmN1AD/bpFhJEruAY/7R4r0CrmhgQNAhfMPRtpRRzTwG3A/12BY04HED7TrUKaOjUz/d8GoAiCnCG3CkvwC3Lw230Tk9hpWFl8/Ps6xTmVWB3l6DihiBLyhLJuAS3/J2mDt6LQAeOrAGytnT1yrHFC2O/laesupmMyzYEnxCGDH72UtF1zp4JXk8d7OmXSIFlRjl4H9CDnKc844Bxw7akVfzmkiGIY7gZAT8jnZYU5uEFdmCXNPRVmOz25ZpisQw3KskmqnSlbW5YXJNAKqBafPyqq//0WDxnq3mdiJQ3LMGh27Teh2FOnNKjcI4voDneXSNkdMBKQkNz2G9u0JRDBH2EImiuJev4CVyMWqoqtl/EMd8Ffyvuh0q8Ev352eSdPqdMdY+AskTfLOTHn+pFfiSM3aPbHw0wT4FdeN/C1ehgPASSe8FGdtAemnrxVCJ6UZE9Ue5JM9JNfZEAgjzYWBqx+Jhjw8wDUpywLzkvL3um+R44G2575Wial6xOkDGBtRwg21hlq7+t7lM4b+GWgGvhEM3ybNBS1f33xMNHrKvVXKr3Qp+aIOZWnBnEln7z1iUrZStiZ8aljFodcGTXPFK4BrtIgZpnumLKEtSW+AH1xdDdr51yjGNCdQjGcPF9vUnlrY8eJ5Z0lC5jZDJuJSbZJn3WopgplUXT/fbYTCnQY3lgQR1nKp5oxirYYEBXM7GGLuoyAYDcctUqmyFkGXhi3vdsfI4cD/3W5zOsqTjsWrgKiEB1mkUmIbOXwOi065XeGlo3nro4g6xAqv560hHZvY0GebdFIVlW7YJ26i1z4+Hr36QGtXVQqb7qMcWl+18EOacyCCmi8ZkAnMlGLHTa3+czcCeGIVeoEBsRc9oRxKPj2G+d/myXDRgY+80EyCuI+Wl8L9Vp5eAyJuh4iLp/IfBopqVn4hJp9Zxvt5y25Lb/gqvB+zAAsUfHYS7q7vRsg3MV6wbKw/eNGU6OT+PfwPbV/rSYU/wcKkpTUw6kX4mSBFxyEkIntlxrv0BqNsE7XjSaJXWqD7yi4U/uWTkpyny4FzCR76GoK4K1iKahIIm/QTCesVM/5DnBYGTAa1Fokh0DDSySgADjWk4x5pjd0kfASQowe0KZNNKr7XI31BeHvgaM7SHckEHXlY0fWqvgILg87cSPuG99IrA7zkdCVhBMxE+H1Vo7y/2Iv2a5WmhrbGhjg9h2ki0k2eyiug4qLFApAntCCXro+1YsQn917V60ZLjogepYzMIFIzn8GGD5QWyHtW1qwgomLD60UrNxjl9MV9tiv6DuuTAMHsAhR4H0Hy37bdGjewYcn5aZinzszt7xaqWp8JsTM0WNJylO6ZIfPBP7P7UUsMWDkREj0rWfM8uDRdhdWjq+MzhdfiXX4+mCCy8j/LokZ08WXEq4eZxc3H0EWEjpF9ffro1YTVU7pt9J+n4Sg0gRpZupFVFAdun5UP9gvza5AHU23MoHTKaV5q/B41kQvFx+MrzaI2Z9tzgXj8pE+ueBw7PcRMw7W4Y4wlf6FrqrPRbw8WZoXueXx+CJU0PBPVeiMch45Uk5AaQrJiOpVQx02guleaGwPDCg4TkRYb0i6S+eB/Ee8O10NmNMG+6BASSQL4snyg487Xi//mHGAX623dm0W37dMhOSGo8gR+XWDIn5xNz2RYZWQ2GdwO+YF9y1Xstm5b2oJdtWOAzQ3hsibr9BODNDDe7mI/lnJFsogWqeBv7UFl+BmwsILICMiLj9CqGPqBP+0FtOwDf4CSV2pfZXt92Ls9rV+lpzbCp+w18gdrT9h0ywbTFck1UhBoycHnO0hAoe8virrpDVUEIj0me11PNsbfJAagb8LW6ZsZQHACeP1F+mBcQQ3wz/5TiRfjBbzfFCh65VVdKXuZYjoYoNPEkCjYk61SSvZqxwHLINApcgOyi7ckju2tmRPLkxHT0jNIAgDd2l4ugGip58XRdvugnD5Pr0xbV8rcP5yHLOyFiEDaCcFFn1BLFHQMqRiTAfaecZblhEwJQa6H8qW98tDY3yIt9ngN3VsfV13m0+WJw8K1SiDFP0dkPsA8iktGrmNShC5iK7UILrCgwor02E9Hl2uWUo57QT5IWMB+cgAKgS6FTDwGT3pwwpSBfLVmWSx06utHCycbWLXmv0dSD72/weVQYveknTN7Fi8F7OaG7twcicC24JfjQJ4FRfCsULDKO+RNKjVYMMPLzSh9PAXpC1rPhKUl9vbB66XU4C6lTLatYVOLbk0y41NastYyVVv3z2u6ycypK8SY7+UOVFEy35NA2vYUDIEWTaUcaNB89+l5jz9zxVdffrrsjN2BzPhV2MTEo7gIpYgbS79h1amU2daTqN9DUeYZUACJFrQzFV9/M71SWFceFyvZychkxY3+rZ1UJxEb4ePtnQjWpwMSsfOzI8dcZhOXdwjRVDcg7xA7ZO3b+OXBR6HHd0WiFiWychzKa3B4/DG0Ojg6YO0PKz2O5+1n9Tfj428gmcQ+5LbNCDu+jh1x22+H6A4MqfHb+tsqLy6YvOSVThLlm8fMaGI6xzqmvRnUHB3TlUNjMUSyXVbtuA4Doin/NjdcxeJepSXPj/QSrioIV4FRkvGtBiRsYkni3s1gHQJ69l4SaVqpSEoccQ7qiCxzOq3K1lo4xlgOz+aRBeqSwGJW3S1tJ06NzswpPaASmvoE7fFCsVImv8+H9U+clEhFoJVsh6mUALnoY8oVOpTS+ssRh7DZH6H1sGu4ONMxZ4tY/7Tapuc0FWLCTPJ7zkHDbaxNL/CdMj9CgwxgZEYc7HAb84aMdnXkD9l72uvbdPSm7mlY+6LIgj89cKatCsViVwHaE7a/z+iRIRRSvWFGzW724Wr0yjlsHHqRr7VLBNdEFU/3FfdaCmV6aPKrPrlY+nEYm0IIBeBfIwnE3OjlqbcU2VMeqS6r+yh/bpHlzZj+Q6cG1/lF2VL3dtkRJd9JP0THdBxJ69irkAtc5vEPyBlXgZ0GPsBCPzC9toa+SmMsHGgVd9MzQ3/wexXt6AK+JciphuLJ4KyG4wPs+YOT/cSkSRmOsBrAFJvmPzkzL3GYRo4yWYqExakkRxtvuA9NiOahWUDoh45a7g8Y7BOEdeHxSyF5o/0xX5fVO2ymKnq2ShLYM+pBNpqHFJWqvBWYETLv11ULdqGObKBEI6uhdhC5N37RS7Dk0ayYTXsvLOL8qwNMHhCs+9AeYdy3IkeAnqU6P9Z/540NKrNx4Af6RlrhKsT5iH78eCdaekrvaOeAqi5s79naVS8nGgXqk4oRk5Hn1p9YDtIMdopdlBal5TUqLWQZ4G0Jv6nQsU+WGV4kB/EzgW8ElVJa0SmJv0+s5hBJnyvJRq5+kawcEDf23LSpxQMKmiP6HTbHVWbOVVvydV02ZpxH97GhnGCtrbJDK/XSXQsOV3AtQl0Xq3KpKjbQtaKRBDuH/L9CkW8GxhjusZO3a5dVSujjKDvOuFSZTFuSag9IiUZe5GkS7QXI94Wi+R4aOSHtySQG5S9PbhhnmXR814lY4kEMaebU8IbpUA4C87ip6kk8KxLqsCPlI5DX8HIBXHIgQ0Jia4/9K++c0myieIZauYe9gaUSiKaigWaP0H4lfsZECYlFrYhDj3sf5yFavGmkAfwTurGZnwIDQ8Vcq31HLmPRpknmqtFsnaPae3uo3BKntNQlMIrxJ1mN0v04oK4Pt1hdNYDnKU1Lpzsamta0xkSftiQlXBq3W5U4sMLASmB/q0oG3DP8jzw6Ahe96ckMqH/yfecLFprh1yy4XvWWsZpuZTmLSQ1to8Vx9eAF/bGzRd8wkvkboDM4hUeH2Ws1OdsCFq8sAo8HuHKjbdRUgh5BArKDFrbXxtiHVrDnSfQWpijOb1qdIv8y2JJOL7cBbarvWIQZlDPO+W8BCAPuC+QwFPK92aU5gs8Ud4BHR2xRfHh84LNb/Rncrl3nc6/2X3Wjb2ekHfQMKvvHoMzaRupMOxwCJom2nYgUJOUf9cfzwDM4//xtRmV2gc0pGXXHR3iXHlR0jvd4uwYADE+esjI/cfDewzCBWmCEF4j6+fQ+CcR6EOnjYNDtC1SyRKZMRWVKLHWM+Bkj5L3MOSA8XIOnaEXzSyjD7Us7GzSFOWG33Uz6hUqvSNFw2aeVfMepeYnxpVI2PcmyyX/ppjMlk9IIxZ4viOn7FlVvPqKHKpEhXGFy7LXHNOF560eD8C5OBGVCB2HAFG5geflv+J2fDbP+q5CF6XuMFZyKG8JuCWMIPLVVCxz3XaNd7wL+3D8UGPpYe/piyF9qMjEQwzX35rNz6JC50ePgLL98nroQudXD/QgsHr8N/hl9Xd2kO+GThlKo4jMeslHowIoMw8EXP1ccJpCSPDr7qHFGxDpjB0mEnOSVXOSRRnH3ONH2KWIj8KTMuhVa150yM6C4Yn/Tx8MW1y17nAVN9ToGQl+v2zmkHVOE6NSHJUuTkqOQNTaVlrV3DC9sNRkeP0Vbh7jYPM6QEdAPQDAn8r1xKnUzDcCg0BegNl6RsGfopOlLptCDbByZCSqfQOydu5IB2MyWCzoVAgS1bmmFAzNXRwSqRDcO5wkS8+Z5dcl9RTtg5lCX0h6iZ/2Adpzv8bT4UeubMTHk4YRHfVu521kSTjGAE5uj2uALx60+13+ph2uvozmuXk0K0lYzaGJHtiCUyrU7aY7CRS7BPiDjGIE/B3cBhr7FvLlqcPoan4LqiThSRxPUN8JO01HjvfMfUkWKfBf248x+H2vNEG1Z8/mhcgTnyHRON4D9dRNWk+uVlAMw5p+KSQPNN7o4f4/MKqIXKkhwb/dRuQNBxJGXQNXzvwLouLSz5W0/JxOKyoQfdzQbwvE6eton191iKZy1riLbJPxADXGF+mYMzJcHgTe7tFXWmKqdKizQ1RwceZWuGUaJhGJwVtZwktpfjRtHjwzT9VEsOfhDxYqOSYaJ6U8W1P0wQvysehIse6gHcwVIq3YsUWga0xKsnRpdgjd6lEFZkBa9ib3lH7X0Td57wak+3BlcRox64h/KYROUIonyCw7/NkI7i6zYERBBjYfDDiuEGUxNofz3tyTN78SezjNspM/cM+FYoHQTW6r1OePEf+sdR6P0NaC0uFgILCnY2ghZuXGve+vyhgIGD6+LHyIGoshJOi8csU4dxnV3MHKzQK6jvKJiquDGeeax7JYr+yhFPVOzKjApZR4+NAe0a1bWS6G6Gv/yux/2uG3AShCmqoJp9PXLHTE/Nriq6icHHviSsccfAfKqnl4aelVUbu4buZmqR2qEojz9pbONt44gVXM8gJPskylAMwtdjdyVVU70rnwbGKQUDWkxijDnrz8aGjo79KpVEu7v8TXIDvv94OL6t8TtKIVgmwzxD6ke2wiXDWbIY91quLFmeJY9JTIVS1k85V7gItMektHMffrhUnsRoQtXIwDFWDw0ajswKb0utYdzBOTd3eUB2MT4rO91uZvPdR6G2AVHpHOuoEZ1LCn7HgGsXUhvz628sjtpjOJChdzEhNUt0FaUewe88VQm7N9Eer5O9SwPicq64us7GR4pkPDstTF0AFUPOdQLJ/83qaGPKKgK0ljfjQoVt01cN1X2ibM/iegAfSwO/nECVhSDoqrf8cmejGbm5SWF3h/4moBSxT6r/eFsGPhOHZ4y+bi6tyiDmZzy29++zTvszg8A7SpaYaiYJJnjprI4FoKXeEVSfcxzSsm8k3vaZ2d2BLHpUAGAlwb4OdlyFudTG7FugLKL9gZJinU+FIw2Kna9K3jXkjF5adVxaK+Z6Oyl+swdC1ofZT4WlsZfRxxf2iYHi/ElpB6GVwbBjZrEmNM5M+aEpp1iQdVW5uUSmk5mBy9/ELDiYF/fGgpKWxPxOXAPWQ8+PHicGM8RJVqReaSnKNwDfdwRSYOeWl8ZZlBXer1Qa7/qF01bBAIVuhqVA4Q+D45/7Y8EsB2KqvUAjqsaJqo4gDBfw/J/rMQ6x+v2TSzKyz0pHYyaT7vDmT/aqbN0KbYul+c+89gOv2/Fu9V/LAWCDWNzVcn2Zo0Nc3zgQ4pr/g1pK1TApCFN3jXkToSWV+c/nOvTcmzGRyIYQeBWJME1BzfP5CnBlHegK97Mn0PZtQrAvTS+04gF0TNvttvRXxD2wrPYGGqmamvrBkgqoAylmU+lNH65H7RZPEopvpsy1q80D0j9pevGbjwHyp+/yBtWEsRTCbrpb+pICmApk7tnIR2WH29Q7jjwI1C7W3/nxrYJWikK/oG2dUfAfdk2svTwYdJ2Ux3Fxe89eLi4bwKoI3SsfOASWL9lBpt9/lk/lJdQNeupSACY2rU78s1/lP5B3xDw0ZJLoY3ERBcPdOjw0ElKs7HLUPizpRq2UIkrCT9QBqgpstpVhaU+v+inKJIorTNIpI1bRSpuRneE9RnZUMIVLTN/QL9y2Wj2VwpwFrr8NeRo3TyWC+nyx+40rblf0H4BKECHRD+TExYZMe7Pk6uh4RORtJ++mwQ4SiHFR2jXr7aJQjCKDZ/RntfKO/dnT8pGqNNwuJIcjkH2J5gbAHglQ2y1Tsj+uw9y/WScvymxgc2fs9IN/es5qFuJY+8esGVY5gmIvYLAyvRzoBPNPAwcH28oGlvsjeKV4lm5dB43O/Ax88iC7svJizeYCQ0le+78ZKsrrkDHc0EgcI6pOEzmz28PB0xHw3/a/7ioZ+ZcQi7iPfqWslfGPIWZLqMwf75zLXJQehFUsFdfW23TsPJ/LwKkfS8vLnQhCBphFo0yCYCMr/v0xkbgPE7i7rYZ0TICq9R2myeqW+P62F4tVBMxB7DbnkxpRfyJi0Ve/R5t2YzoXpG4M4lzQKBEYWIeD02GZNbc+IV8PZlFxtZI1ey20tfTLZH3vjahYoomGvwHRqVckdVa/OhUiBX9/ihSVVhxBCIf+1danBy7VW1gsZMv0tjDkQt60DFjGuA67qa+sxxpfvTjWHM6AMLrQVCizLVZioZXAe+ApgccbGfXxaBCC3R7olrKdnxr9/bfSxNqPDWGlDxMmWYDNoncnehXT6IpUvdRd9xoXAotWfuqptEICv0M7p6G7jHLvQSpyA8Ezs6JKsN4/sTzLLPBUVmz4NMHxZYdSRYwOmJIHT0BlE6c/CRLo90N6sXYb/2ERUui5kDOSkKuOV98oV8m3XmwfeUuDeX6hL5+x9nkd2yNGLdbRO8TcTpTTrNd/Q+Jwa8ZtvGF/b0bhUC830hHixV/BYMmLMEMk0w/Ih/7nYlz5aCq341bG6hhl1UxfX7e/25kObaFf7ZSxkOJD6S0iwuqKtYYGVKmfUeoVR2LgsDR4ViNOlu2sfZ4hWxyaFtmJln5t+aWRaeR+uP85v2PQ4aNd0q6pFmkPqFLYzsPtlGziM+g111qbEcWFESyU/4NKHEaMRuieIXyTOy9bP9P781mG3hTNfoVORTox8gHAWbq6C5xr7+v7RrOmoaBTGsnqKoiXR46esaLQZu2uGcWaSE0MX+aRg3deENCfWc1NExp1eTafb0VkO/knshmVaxvGTgz5WvSfHb33ftCxhq5dejvgvvw3+jP9jI6gIyo532fOX+g8FRcc9eAnk7CIh0IAiarVBh6IM1srxe88tqknghKN4aW5cvsh1HpEvTFj3R6Q4S+uQPbf+E2Bl+tdi3GwaceAwD5Npu1aSNXwxgPY438hOa9d3codzI9O67Bz+SbVDRSSbQLVw0geASFpApEY6930mfPPiOLlF1HogZUrAJpZm08uiULm2vquCrnHyv9UcjRnoHwrXFWYMBGstfhUEvZHgNDwizL3AmRtMSox0iJF/s6x90fFmc9hLodnfIS4Jw88Fb/zh/7qZth1TyXhRlcvsqenNjG9+qoN+YlJv8BRXpraKA7vjIzLUaI0ajED/NlHgWbR2SSBf5Qc16BBLlYrNKX4mAkRadYpXeJEGdCuP2a7AsSqvOL9DYwu4hsiDf3DYJdF6p9omLPseQi0YFKLh6sw3WCnQ+BeEClQqfBaQsP1EqnxzcsPoGnc9ArQq6S90jjg6PPfpNd8v3PvKqTn1ElwWl99hr1seOYPFdusTzFXLIDtHNJmvHNPWKd8bQ8UTmDc5y+Q+SHK3+lTivvmaeXW1A/nonnGOjYU32ztRtBjE17eHQzygFDwKdqBVS/Ru0TcyLX7BpDNBiBTH/ytqy4Vc2JtbFqzWrdCnTO2IRQqB3/ZxP5s6OEe1WBnjVLAbePK1hrTo67fn/wIlLg9rpjbNmAe1CpjzXsSS357RBxyQy9d/keygzWZmCZrR9zeNF5IDruJ/SkG4Rzv4Scu3FYfaV7aiklJm2sDjCCSxVVdgnKDxYllXdfrpeQ4bT2/94amTjvUCbRYrAkjRSrGkjPprSFeNqjV6GPOA+4HpQaKGc1aYJYZEqR8RDlxVzsZ5IGwWrSg8gXmPAIz409suNjtgSarfq9OC0ohoqEqENtEIHp8Ln/ggQTKtLeVTvZF0cBJAbA9VWKmJol02oJNElcaYRmRuLnaiK20yr1SMF5j/kcknxxHMSauFvfIIUox9feQ47MDp4RcjteseELKcaBD0YTXPmbRtLcuHH7dgK8i33BphVPmp8lVjQg32a24FHV8yCXmrP+ZwREAXEEfEMtrx1++jDQ1XB5enfP0J7Po1cwIGs6ykb0fqFig3obtUSFWSn5Ng3LRU4VeiJaXUqSXE2l1lotx0GGqxq6y4syJBzO7EY7em+vzBBsyrc2mmX5p/2vCu9f7H7vysGceX/lPpO6ndLtcTOud6AQSh9f2kfUgmrohhbrpRxZetS7h8Y0EWoEGpsE7Rf3VIDiTNrRAH35TL7TeG3IHTfMH9LivRiQBILa6cFXT4IYVdmCNHx2CYMwqYeqjmU3Tnt0qipmynery2ltMxPg7jwq3kgigp32in7zZz7GaX7TuRirc4vTDc+daZ4eGDe1wfQkEBf0p0LfpTwK5Wo7LUVaa0tOs82ExuyZIodj+HwFj6lprng0HuwlQSWLSiZtK92bk6C5sNFVxNsNaDXCyzHQiAUq7UB8yufSs+EvC3JjQuVpLcP51DwsorcUa0WPg8zwYV7oOPADMY0bOAfGWhfFkdEZ8LhkvQv6fv1pDr9PWAg5xhFXUgY8m7aM12KRNaG3DTyygVdcFAO2ATtqoZpq79uKO53XldIMZpsre76Hr2ZUNmLPRTR6Ldws667QoE8jfS7s8ie57MBrhBwxZV8pbBWxBYSXYvi5p9s41H9L866WqLGhLzf5kX+Rq/eK2kx3yyncb0TtJc7ojzc5mxdy2hrdu4NMZCrOTOONzCT3XMOfQE3n1T7NdMp2PJOhAHn05mDA2RuxgtZU5nOEuCzyb0FrMUiqTukarkyapMJPPVI/cuvkE2Tspra7VDfCWgD0Aq+S2nCpKbIdvpJzsXMi8ZD0fsusI2mlQ0/71nd2krg8wG2ISiaPJKD2wrY7hh1GSbgnFnGiIYy9oTACqrHugBESHRhxjGeqYjv11UU3T9i1XxBaRQb8Kzms1xGTz4oBNIs4gq6r6CXyppG45/ugGHe6RcGddYlgQ1HRwAyiWQyAJNVFZcVHOd1yw2eJZa0qoiI+ES7NLrrBMeUq6lrr6mtKI+WH/11ZkZYZUzZmmZfZI2PYXz3mXLdMQDchrpKW41qffsy8KEwD2gWo1AVnbKKRUqH3WootX1lMVsVZ15kA521EamzsdffjiekGMcGWb7TZQd8eJkPQMW3YV9q9bPTeY1n4I4wHXccOu3Zb7kkmNMDh4a5gNrJ0BC3J4/aHU0kdpJ64ER8qxX//sNMpybvd2p9R9C8jfxArTPPB8WVNOpy4MsaRksvG5iZjK3YZFAE9LRoSWA0eGOWmvoIejBP+5pU3hYtP1C34QIkA4ZrUkwzsqi6ScKMzv7iwmE4Tb2I7hMhLhJFLSClNAiLpBw44KWtThKlZCSAInpSXKpkcwu9IuUqetFlElrtqmXGJNmx1tkNHysxKHCJygLb1SNllVAb2qgkXjIQpaWRhH9JB1ZLViopPVjq1VmzzTMgSR+i1tuxdZJ9VnbhxVMiUIdBi8pZiIee9rKmBnbmlI8lc962s2iGsyZ7mhCwVi1JZ2dZ5vM5T+fBEnsQVJ2B/yMkqxBB2irOQ8OM/ZnwoOhztPSK4iCb2b7g8a7TkhN3wwltHX6YYrEv60JyT57HDh8NTyWdikxguNfdgFFSNAVaLcqq8uojVDzR03kaLgevzpdtqDNmOLcPT1zg2Cu+MBY419Cg78szLrLM+sncr4LNiciPsom/OGrUn0iDCWHi+86dPgj0v1wCCuku81K8S5td49EPZV5PCEXdF0HVsP+bO/IF9r2m0iGCm9j8sdm7mF0m4/QjR6kvMJ4K6Ab4OVO7VdYUllQp4MevVPGLBtRNuwGPHLzrWddS5OBOu9Xi6M4K3rpAxKPxbF25q0HY7oqECg8bMFF8Zdwxas4gMeWqQfcguCbTteSs/Lbw1C56pcASg60uW4fqHxULaABWKX47F9hlZydbGfsHckfGCqKVRpzCiuvfdyI9fhUS4Ds4ee4vS4Xzl+pJe1cypiPSqWT6aKAv1g5wyCuV1WtrRH2cD2GzFNKZcInJ+oEHs/6hXr9HlqwLf9IFX5MgE/drgfhdTJQMEq5hXFW+dIzdzB4kNpWRMV07zL4UnYS41Yb06w4bXYvP68ItSiLCM31O+u8jRy2+y7lNLRgFvUDfItndJgaRqJpPVETDpVubnzQTspxkEsR+U10VCKRnis2WQUYQRi5JJs2gTPB47HvNyZU9MvlYtEYK+NTNRpv/TSsT46Ea3mxojLqP78UdY+EOurh3TK0v97nStA/MCurliJkfxKF8uyImvBQOr3k2Gs6w4QnSjMxubDFbWBITRuSqNzWYsVU5z8e4U4Q9vPgzEtW+c5ZonzrC8nNRxfhUJVnNw+CDvZWE25IW4nbKA8KLV/8GFYe+gdZTigpjYIAN+5k18+ZkuvfyHcQyzLECW1zuM599zyZk0R3nXCnVBf65o2f4faBMwVpWEjbJ0yzG3Soyf5iIAaz/l0I4vf7Nvjye6Cqy54SxDfTdVMlGajB4lgrcGZCeC6v6tx9TT8MDc3KfvxEOIxLf/qdqg4Q15vHgEvHVtRsFVE4v45ASKsWhDL/K4ZYdHbatRF+QRXLIZFQIGfdpOihSgr9RFhSzEaFsc8Q4YXP0e9ozsIEPRT1ypFEAsErxSJPNAf/5UbHjCFdLgR1bNBCQYtV9zGvfD3CoEMo+3CVeZ4BqvX4PoLK7smGSeIPpnCVqz23ycMn+8de6aaB4afxOVYOYRDrkvbJPK5FiQwIoZRWatvibctUpGTVjyQnyZjqmyCoSZaxaOtLRhX6lI43XF61Je0UWsatHeqdXNqD5TPS7r3+vk0B8I07gyNF8afcbTsrZ3Nk34FWHBm+towuL5aCwWnTAbaoQim9YURcciQkzPMK5b8xZvP+gVLxeKtl/suG59XNOwNwKdevphKgfVAUNo6vds/BWwzwY4Cd+a2mSDCFAxeNjL2ngvQuKg2L5Zq7w5m4iya+GT7yy3JsWFvNoT/ei0GooH92ArAnxu4OluJSZgqsxRQWNGL+VIqMDeldxIHcUn9dgUqkW+U+G8C1im+in/szzZW1++EXugrq+3Ow52KjNbMWX+yDu2yx9oa6VgSzOqb3yyExlQALJan5TQy8h8ShGMNPopuZDQKF8lwIURGVh00aU/3saS0Ugn3gKVlzu3CUoOZvIfTK2/eX9lqMyzE1eQI6ZhOT7zAuI90YtaHOW3XWZkxm2j8sTT3iFIfBtD0oeR0S5/NEnjAlU+qSen1cMIWhUHkRPoh36F6IXpJJvAtYwBI876eq+C/kegkWZYrar64E2fqvAPEIKx3LvmBiLQrx1VL0BlDcXXbaGzRiV85JALb5qdfcMxjceZ+zNUD7q9WX7JL9Vf/2yn/1zG7IuF5plALebsvKq2SpP7l4axZyLu4oCQdqyNZXQ86jQKxgZp+jBA+SeeuYLWUY+X1NYS1RHHcH2zXE+89e+9poyXHX2LUBvz93oHclqNVuaEKGpGMvVkDpu/JiTrxjV10FNbEXcKzGux0/Jhpd5e8M226wO0S2/Ryhl0spc1RhVHqtfYqZLs1gwNKQamLXRHKUNBGVslV1iq6tSU1mkXWzx3WoUK5pZP02ip67JqiJrHrhF79HT1vdJSXABWCCFYBoH5tya40fNpNjkS53mB4w6drYBhXzSuzVgu8y1cQ/Xt/S+0WHcTLk9Zka0QC2pyhF8nZAW9am6/P/v62dsTUhiVPvD7cxBnPPXsL+5gN/uvBtfaqzmFz1nVU6I4bKeMzqpMfCrlULWbQryhEOPj+w2JTwztPyx2h0jw6Fw3/AUDUKhs9aTv4aHzPHP/UBm1lCuwyFSgvX9tt1c30qSlG+IxRwMP6simlXLbd2E3sWWPQLCnYEmiFm4oyFzQEOLWxLZ5IHJpySi9oCVm8ndKnTv9NpeZW8rtEwS1JtGmkjBJLZWpCQXTH9jDEYSbGJ6HikZ8QChjuGfh+/RSycTAyTtjueCt9pxJlMidcnDKkKrxBKtE/4yTSAngPpfWVbScTkuPvKx7cVS0glxejZb3h2ikS1CrsSdN7mdcz9tzsJWv/WwzVVVzOdhJ3mJvEOylZgBoDLEaEn+ZFGMd0rmBrGkTFniCYcDIaOn6KjqfyApBcxrEPTMjSuHUXcHejoe1Pz1Vzi2F/er8dAVvp/OYnMyCY+CNn8B5/oLADWgC+mOdIdV5ApTSx9VrcNDQ9jpTuqUdop3GdW3NLg42LF9B+83Ba3c0SnBjpBzp3GqikG4Ri5fiR90QrSb9wUaGAD25GUNbq4S76UIsfvxyWZ+86HA4NX0eH4OH7bFUGc1Pd4HV38jMELvsI72cywmpjn/IU71clYLNO1qS+p/bMZfsFEcCW4CxGHZRSjx+hhDs4qqSYai9CKaRp5wFlH5jcf0mk0E8Kl03pETEp+nwe9ygGeNo9mhc8rwwoEaVD3I7Bkc7oVqYdr9mkWogph8Iyr+1TQEsrOWfytSNY2FOz1Iy5cXdY+YmHDs0CGGNXr5fUcfM9FTsCbSdU7WGnJt5gB6fg076Mdr/ahw+hF9jBLpf/8wQtaQpBMlBHWb6Dy5P3NsXGWaFBIOF1IlQyqIqb/qVUYJtVp0qJzHkO211u+cjHgoV6ebLtrG8tQmRmHenz0VgIUj+qWhkXQP4mhF39lhtxwJYuUx0GYwq2id9KfFFtV9CXAkzJtrcTHIeIz0DP9q5b07XAtjzY37DFww0OhMpejnSu85J0YEMZCrdOEUSCP+YNsAiiQKTskgjcNj1I5YgY0DmO0ksFNYSzExwumywC3u5AmeyiYnGrtrr6OjJQtoxVRI+QnmA9WoYJpm5t0sM06cGILyAI4VUMIWQPb9oJE8KmIX6f7ksrK5pAQxuPhFN2I8xSRdHvYA3YL/Ow/70FM7vE1CCjJR2EsIoLvozOlOBphdj/m+qSFZWgubKLB4kNG0kbLhyQF7wnqANCJNDi758uhA/szEdmpszUJTbGEk/D43JMQrEaO3y2HfqFM0DkjYRpM1uWwVxYSk/DHsmS8XVFR4qXYGlZuCClcanrudoxgb/mU68wj7cAoZks+adiNav1CEv3BP9cpgNlXSgaR3y24lLN6EDBCrNg2TajHdMibXBdhJwimFgir5HV/5WVy9j8wPf6flVcleOppuisIYGBpmsJJ839z53rSkTfFp1pBt16QHGRtL78Tb3xJ6jFbNNz17zOn26nAR9uchee36JCg/ML5Twl/tnp/AXcqLQChnfZo6t5I4PfGhi3VC6jldZyXgD9mthfz7p37HI7Eu+TCUzG9J9ojQB2YsEIrf74RbOr35KKiyU0m0TEPPcxShR1R9TXILBTQHJJzhv/FArmNQsRnjbuqsx6w3KTny+YJ0G+WRWAVvyV4CynQZsCaWyc1ACjFG5e2qC2fhD5FtZCgbJANjtBtcFoNamJRjO9L3C9eVncKjbmJXvB+i6DNehWFEY/OeQTJWkBOt3x+IiR8Bh0MrCo4lIz9Zh3dPgiUFwwqZlDpviRlyay19Feu0REoevWlXh/Y7s+1hBvO5VCxEBE9zidjI2sG0eO+ajnLZCuc39YiYnOoFdhB0zyl5qPmKwNNX2Zxfz8SvafRjTTy2iCileb2Y9LBwaivGsQoEBwGFDMTpnR2MadqdTeIGWvhcCO1HUm+D/KZ9vJGftbdQpRSwKXoo/3hWNWJW8m8agdauLnq9YwvwYXNmDaF0KAJC8BEf2yj3A2SDYEHeYes1hYbnMvzxt7Tqz+sfpTy+3fZGodvqILTpor5EyJr9ihEegymcnzlHCG0k7ggek3ZV+ZTvSyd1ct0EnZbv20VQT4o7AIVzv3mkwI+IFBjRya9QB3bAv6XqQdAlBEHlZyC1gvsq+DmE6cgIg4lu91aTmtf4gKhNTJTcw1ZjvvvK9q2oN9J2i+smpxDCFNXut6InJNQps4Etb3E7Q5mp+RqjHAT8LjiEqGOBwhOSfTrT9u/npayrDYZIhspFLdm7o3xVuPhFhpdDSv9IMTlNmbdcfdY0rjLSSqT4OWc0Nh3cE93HCocYpy7q2uiWGwJNymr8VfBaZSGN2/oAL3t7BlYvLLlSGggzLVyNKgFBbCvlgMVusxxktEgSCtRbBTloD8R5ssGs8QwBmHexBH6E7/C29WUO7jbXj3nLoDqjCv4z6l/+2jKzsE4GLyDfh7DySDdF0hmZrSb9rvRERvnV09bxJ+QIN6+KX+F8koz8VfwxQKpdRbw8z/1jOUGjKQuI7H8A+I2F4FxLXrBfCvt04i1EVu9vrcPXf8Y6mA24PcKpJJzPSkbPVlHXYCWi9wFxH/3Jm5CMSMy/xndqJ3V7l3LaprgTl9s1Hspy/ZAP9FAHU158mmfBi96SUwQeJbFCqWam98V/eIEC3Mrk5s5YlKILrWush43NKTkES/YWXMqiNt8rKhlcx090PDlXtcQGtq4tozJDxM4Zyr1fu5KkoJ5QDWCj8P8Xfw1PGIPlJKdgV3EsoGj+fWmqlPufeir7TyKAwqOJkALAkCwVzUrNC+tWQi4NMiiTVqaFHf5zV/Btryo+NNbBjs2X+4nvwbkSwTWuzlavVLZ4vcqEDPHRqo7vsqwD6k+BNxwwhJ1DUPBP0Hv81kKVI2ijGvBSxn86/6giAuTf8i4g/UsGTzdJDYMHViw75KLydD/hIsddDwQ7KSx8M8bUnPzqstXA3ouaweDu9LuJ49OezrjJlzHH0tcp1szTb3V8N9Lhbihf2g/Ks/FbrEMMC0yIwukPMHVk05YryjkMCplxWhJIVm1PYJ955OOYmcfeJf/ajWTgn9BeBNJKKbEUbb1YoW/9GgCRCjjXXQTgJ/Zq9V0Xk2VlycelD8neO5nxYEEfIz21N75KL060ZOiBFYYYLm9H7luI4vmklFx3SjuKyf283f1a1sNWZMb472t8MLmszuD3w68NN35K+Fvqc0ajXhKI/fYiTl/KRqZHTLvvpBX3OydURw54aBTqnzpx71lAK7xJA8U1GshKjZYo41vt4NT1II3l8ANUDtQnnq3SRLFSRk7207Zoh1KoyzV64yJiSj1tqM2LpwrOhwHX/3HD5DQZ7OZzXAqxo37yGXk3P1AmhhFJmCxyIoB/+pS8fkiSJdatbRhK4XvvzMTITgZch86WFPDtsirI+G/o7BwT7hJ3E4/DSgIXfL/qXADlRXrU97BVUoeKB9WA4K4nwd+oMOiyzXsu53dJx2x1LWIkEOGRhz97Dol333SkLSc0AeF1uDD/ylfxpJVNAn9H0F+XgDGjLMxY+cLk2Wns/3bobpsjyLXusSbM6+G9A6PFcP7xrvhvR+MUlYNypwSDOzroTj9qMe/OuooNjK2wan85oA/Ve/cJJA/f+vfbEtoPozHyqL1PDHvv0tjpVJNwp9p5J1kWSdC5U0WMbCf8wr2UnLiPFpz4I/janmPvE4AaTizoV8DaQwsRKqGAjTh7o6ZphN/GJbkG9MQbeW09Ynuucuq48RL8aq9ilm/GoJOSY7c0Se5bLex7diMaxkLHotUNB89hHasjznlTvSsJQgHmOE/+HV4lkWMHiuXIJrscAwAsfTr65NjuYUSjjQmAw/Ll4J8gVKICAVsBsqgBbc9xL0KDWI7p5V4AVZzRhDADaEDgOMcehDie1qNSDeWutV4oH/AZe5UyArzhiuwRj11nZ2kthvD7ql3vT+GSb4brIgMm9xNeKJeCxGm2GfotaKvy9BrzOPjg/F9Qxvur7I3yvm0sNycj2b6U2LFtr7Mo0uP+BP4FqcHC2ewcQVY1zI3atKnb8ZbY99c9AbIWWQo8iwjfuWDTyuw4WUnMUJfrD6d5qatdJI004RlpAzKrTSb4ui2r5HeE3DlC10o75BEU3/XUEXUv8wT32OZ/nzk8oDOcQ+TuVRjWT/OyXxFY2PZzT6DkNKGj1CebWQqpvmf12PZ1zkIw/EgotUshMRnP476IjoquCAXluzBxiVE7OdcJBF1M+dhmm6vxJ6D5wLzq62rRvfhi5w1I6Jqurr+Lygv4rmFGdew2e78KZ6O73JzYxl4+lsYcmzkv1rXw7tbJ8bHciatCSEBEZUj4949ai8V80ZGmEMkW7k65ODmgexuxLlmHwiAqj+yJ374GdcEJGlVykR/rCK+hUiSPzpvkozr2XxmZ1RnAem3f2zatBpOJOOaJ0/B/6BFyaoGiAC+/yz0GXS5P1Kbmhnnyg0hTWyYzXjdo7OQelfrFrJY1yEZN9OpJUnlIwtzF8VrWd83PMQ3x+B2wutMXs6A2ru+6foY855q5VdNd28ucqp5sdvyFfm4F9yrYwpofShE8gCGYVZ/YU9AdkOeZ2aDllNjUpK8wSDzbz7PG3aZhzonRjfbouVi7WGdMR5xfyhMLlpaJIX65C4WONBB1VRKTSrKCCl90CXiCWWQ12/lEK8hXoHDfdeZftAl/g6OlIACEbNJbSWnKtuv93+wBdwcW+E0BtOnG1DWapEoglvrQJ9rUXuuH96j01A9kfdPm5TxvA6YcaG6s7VfbG5qjJHbTyslZXsKQPb6oU2bJVEG4/37DguKEaOl8V775Mg7zpelD7RfedXfFxiUojX0C6SKPCrLS2WnPBnscUVdmaVxOQTt5cW5tL+jlrJCtsUR4PVOZDCfgDRBHcq2ds2f6p9bPlvhWvFTRwE4zmgmGMYZjo8JlgLev/vSh2jEGE/+bp11RwFJQDMo2PcO3bqvFtxikNeHCGv1Qf/e8izIvi5Pn0/iBIKBZQ90gMc4hkFT0UjHuJ6dpEYc8+1YwdftyXXSKLBTLQ8sHn6+jTVht8lYtso07helnJfCzrs9OnejM6PgotDO+a1mQYhLKSYZsxyOgFckGCxh0GkFGo3CqF/lhZbc4BDhmh25krqfH/3NdJWbAikbKEKm+4RNddiIv4jSot4hVFs1fDKhA+o0+3AHvmcUHUfcLPmRA0+12YJPBfZW5pkQ0kpg0oebBq0s+OfemwqjwexvlZ84KdPKbUcpH4/GM56EZHXADee75X+VL71j0Bt3BmWMLhrl06gg67b1OZFBDRNsX8qI9zonp3+GsUvOKkLapEMqaUe3u4UWmADcABh04CW81YRX3pf098Jp3+3iBjOOcrgJOxwr27DewjKDHvDGIPlptuuMKAvD1BwZ5+Po0groFjeDr7GIWifOI6rpA3P9+VgqT9ARegb61xqUmbw3ZIDZFBuz6Gix/hxP9YdF+1UT1Oir8G2HPuvmoPCEI2X9tWU8KbyHFPlfpc4Rfj1IVGtb+1aQ/pHF3o3lumjk0/5AnSpxxoiip6c0RHZxmFCe9UmN7nMUYOubsJwgIw7LX0ki4U6FhIKiNISt88PigBLT7LINdshkzzBQ1Hmb3pTTegVDGVJOb257Bo8cWoY7/3N8pM0agKOheyAvj65B2lF192fnlDU0qs4jZ5jxTnpJxF1zbrdDlkOFgYdaUSBbINtCNASVuvNC/eyTueMKrR+KmGbhrzpuBrMzObFa3BUY7eTP9ER1ykdQpvClFmr7mb270zbeMKLgO/tV6nVWsKgnZdfH9z2na0Ew16V1objygtOxiK3O68qLiRfY9PTSwW+pDfddvuTTzNbK9OjtNjce4z4K8RDqhS7i97SUl5f3Me2GGHc1LFsqbXNHvIVVBgEFsxOV4Jl0blsFK47UUDqQKmoh7JeDME8mXcdh6MjGKANRJ4r9ziptOceOND1K94RZQ2wLWUSV8Q8ef/sJw9r16gBAxvUf2wd1lO4jkJL2Q0UrG2iuAD9f6E7CWGLtAENLMe2G0bomt0xHH55dYk/15dNqpUW2ctwbaKYcmHQX+g1Q0deq0/I8tkXmkm/VoWaU/nLbt6xnIRNHjqohvY8txzmmP/sG5EFYlr1yU9IoMH0gzJGTvv6CNenKxFpCFgCwTVGwDvtEBHSjkAG/hvPueHLqyLWhoqf0kkCllhpAabDalFm47GhDWAgmLTSQiNeUCRPdBL+Gmfwt02wD4dM1/nrz9uA86flfsMGVHsKshJjcvXIw9aKw4w+h/f6kLQyEDLl6srvmHkRlCjaNUTXsCmpnq+kf5Weqi5bgtNdgWKNgnT2B2KJkNvYjDgCtPKJSzsGeCkqhom7cT5FxevUlvehyryw1U7jzq457mIZxvrksQ1C0Ft6XGaPZQ2qKbUPBk9ZuooDkKAkp+oVVzo6h6yC+6WRF6qLDhSj3Vq2Qydeh0w6x2m5YN3gKd5fIcEKUfFG57aW3LyUfsl0UQq6/E89137TtjMg+PW6Mm9SCj57j1jxhcabSgFf1PsehpdnmpCoSLXb7+I8oHPczTp4V4tvVbv+G1wB/A4J9s0VQCO7xml/MdUHH7vUBi93LUJp/mt2CjGzJhmTFgBwGZimG757kBT376fUxU3xllB0hQXoO7eKzy0Y+6hIljISIX6FqmZ+UfwLuH0oDy9zsH0+EYjbWHk+r8VGX406CinWQ5Wqjrtgo2NQ9I3/IHDN2SvsONCaksjP7ziu5h4V9B81lB6QZq1PUWabd0785k4pAcuJ10aBiLqzFlJi3LVkExnZcvh6FFc4MINTJrXx/8DQ33NvYnUNwu5gAoj+2rbWtrvqFyULcfq3RUgOXM787SnPzCt1yEsljIa8vAyhKYvSzWo3FNs5hrvThPE9lXiIHRaj9E5SlBNoxvre413wqYsu7cMhwhF5la62SBdgh5lkL5A/NbYiAnOehWqxyj54A7hKvFKDhsDBKJvph3AcJdLfSthDc/L6fnZIxRPcfJ7yLkPJJ0B1drI5Wxe48iS5YVjtDhrtsejE1A49UR54WPTS1VziTD/ySYwjgvyMwIlQZ1zOvzw7goWiW80V4B7KIxYMfceEmmtcHZlCXop9I7p3jcEgka/yWhg4WiKVesgoe7Cil/PkLSwvQEqwSveAkcwZnEy37iAVv9f+6CI7zf+C6kNco4uPoYuT4/DD2DFXtqNxiVpp4bp5V++cx7NbshaXH/D/DBFopILuQB3B3kq2AtSd5ecXOyl3sGhMzI8fUtNbLdHHZjxW5mHvEcxvv1IBXNKkxLbh+YmPqKtx758p3yeOZdSdih8ZpyokgtiosrIVCSs8Ef1TAG9M02K6V3ryYYDfl8hz95JchRYzcF7yDYhjsQZZBDzrsmRp6FVDxrPUES+Dm3exgYCV+RZj/u4O6amEUzeielNxvv+CZtcDHbtQaYM59wcaAsSqSAkmjS8rwlB9sXOH6yponfIx1yjZMFQn38UzYdRmEOu4PoqHaV5n7paItD2mwHBt/E81TevspAgzTIJPshFYdNeRyfl8hGuspvpisa3PiHWDIwMyM7T0Kd8Hqkpsult73itJAnMdGmBtl2PQ7CAS5RxTg2RZso+sHoxt5wnuvNMYt7+27Ufz8hg7s5l3w0h4hG2ezqTwZwD6g+UpLLWlmBLQBhsmWDvg/f9e53r2OWPY6ugrlIspZCax4QiYpHRV+f35ufHSIYKyAicFEZRrICuh8wrnMZNmxa4RDfOg9JPHmTqtabp73zX305O7wBgGe+8Q/5WzYe0QofKNxcBeOoy+jhF4xz2w2/h/iert+qkH3B5j7zpI4350SLfZnJpkKFvNCSFsbvGBITB5Euh0sqUssK+odlfl317psJOCWT5HDhYhVak5OwZtTFuzDF6YJ4CJE6iFGm6sPiOAJzppUaC3vgADSedWdmnW4Z5M52kswMZsnOhyBz5WbOKAUTUv2P5ojGTwz7y1BDvthkde4uVEDH4eVozu1DNB52yjXDKeCREwe3pFYYWWG8nS0UrnfKhId1RoiJuT0P4WI7znRUwqheHfJA8g3IyxGoJcptitulrTDc4Ejc2ohH2uBYDVGH3ajK7X7x+o2GTQmWASIAnH5+MJxP4Pb0YlT4st7BjW1M22RhvhxmAZ45wI6CPmFPatD8icm5BxfReGp5jsC9ueRQzWOL/g2WLPE9ypzGtBj54+MfA/3UMlkk+urM5TKhX5/h21hOPcz81JJ+N+dXPyOvQMfDPpkyYFw0iNG08QQMXyeCoLI5kq8dq/IPHWsFI5DDDYZDN3Q7pFDeq1B06qyuScSpg0Ebw+Xufv9UPSwdrMnY9auDQNHVO7Duvwi2yAhwxheXI3A4HfEjFpSnZRfxHtXr4TNggjS2RBsRtPo+gjOxHx7zUemHOMtnJ2JfWIYgXc3nR4336IMDDwQ/eMAwzro3b5FInebKUWagqMxWDdCU+VVBfJ6dbMN+zyzbvdiareER1zJurgFoBtRLZfWChVXBekdW9Q2nEjXUGduHhVkkXJ8Rk/23Yy5NHFuBuWnR0FeFyxMr3hmzWVAn9Smj+nXA8RjD0R8BE8E2tOuZneKyAQ9dQgRrqkvczIbpJG44snv+tHtnLx3MgBmHaBSwYTO5YEx3LLoAUJdEddvHE3Ns4x9+QJ8M1/zxEKs3aZvU7c5XdmSpbLUAeruoEHwTytOgG3+G7feuANEW3n/Wo6Bu5aMYtEmgmCXp1UyVmPpa+Tagr8i92YCFsWVsIeK7TTh4yecQflnnFNasVjAX8r1b5kaSni72gCPHzYmmAkDYbExYeMbqUDUSSw6jNgSQ8qFTHqHes4S3KQb+KTZwZBpSh/rOy5rVq3jSzQvRDhQtlBRGrbrOvSBv+gz980V3EB+STEDj4xeAurtYbz5RhbS35+cpglLqXagUzfSROhMGdLickOIzuqqHHBb5v9N9YDqR3N3t5rXq3SyoKH4DbUQQ41khapZE+GIQ1BPBgwSLkJEc9OSK4JyHsNre6F3k47C20aZW1AcPDLKHa66Cc0GU0ssCMmFHVtFB0Xh+Ie32AGQRYhN/5xt2LSJISC31nT3pzKE62SpqjrQxdThAacutkWPDVkJotxpwV28reCShe2uOC8bdrbCXX1M7a5Zq6fEiQ3cmJFtIVI4S1/7P4I+vNCYYDHeB61ZPpdBhRHiMU3CWE3NhXkkx7Js2bWtBFhWpIMmN4+CKnuhoN3QlBPyqcBNIGXePHVtk0PEus9PCQ1u/aSZ5crMwY9bI1i8WpOPlu7jRvhPNM6psXAdkwuRbzJg6QXzu0RoZiePPIswoT3wlg14vehHhVfbMj1oI9GqlfkZ7GsoYAk8gCRO4V4x5SFq/h0lmVa7sCD373jAyYtcJS7+RLYf9HndtzTICcJfubPxruIjL65MsoaRlJBtpGiLohVgflRrWesybSxzlLfbxxjzkMZP8d+hCQQ+hdoUtpc0z+Cp+prX2+mCTMletgyrOqC3oIiH6o+JyQx9M/xDMt+rzhPtmyeYepY0k1TjuagT6QuBgsdifpk5LkefH2/Gsdp7xhFx1eX8Np5BrKct17kJx4w2dHuZHfWlPCvZ1mpFyFUYsi6wjwjJJ+YGex4pCWQzrJN9a9nuhH6oY2o/drla+c6VqKzQtkDhy0AaEwCEuReQeCXhhYpDuf0+EN05y6++IbjQEC6a9Iu9q+gpPPCCcUKilbe9VvaW6FbP5L0eM6hDW3ZuFPaNs6vTtl+OgPXIGFgkGUF1Vkhxkor+Ru6eAi7S6486B1VXJt3+W4Xy0ORLds8CU6H8V96PoIAwwv/QnDqLulWL5vVv7J0D0z6E+oflJnGLej7hsVjL73QAoNKHWjgWQoKHdgbA/RM4sOQKJzIPh56+fWOf9uc/eZImSsYlb+iVHEZ53muv/UozFhxFIXJtxb8WkJygvc9pjWW+jU72662cbsW5LQOcxYX8ZSUP9NWnabAdWQVlFzLpTgc/BpP8/8BSP4tKWJZTL8BqTDG0ihatYZGRSBevidGgv1bhu3pJt5vLCYlZxw/Pq/hLXISovILi9gQtrURohgWGRiNAQ3Mx3qm9phXNbQoROxskhfmubfKD1bBehhrJj3OvsX3P/0k+vQgmn9flfswgsWoyVZtuLNyrfVXz6hLaRS0IGe8dzPxdNMFG2jgAb9rdFCWI+252hL1XE8nxT0ud3suKZvIrVwfAmHFTY+YwpiRjsieFod2yCUVD8uV6KrFRt9jDdwJj+0wIPSFOZXrDtY8MMrssSilPZCplpcIEtNpfIRbvIb+4TqmJA8aN4m1x77OWMeR5el5zA+rmatAMntLJdPgKSl2m9eDdvczGG6QbZz/0jTxXxw36EXLTf6w6MheUGYi7qUEV2h7Kc6QUFCxcQWGELnjpX4qc11vz/ErxD5s/x64eGjXhBGAK/KUiUmb9pSqYZt7GtNiS4GNBAy+RE9dzNZ8TASdEurnn8AFOR7uqUcDglGAvvYcN7NxSMfTWW1WKrfYPW0UO6sqJoJh3sF4iCLY3fFPiLYXPMO8WkedqMovJ8+bdKuwRTBWiMlu3F/wkSZTqulCTLfaLfF5FooWnIxxPYS16WYBjnLLnbYsdwaStGZ6I4dRKXM1dnF0fegubYX96dPjiSNOV8TIdJxMkaQRCt4In2JhQiO5N/lan91cyfT5npEgwZBX1QDIbKAOOCd5Iq3LhpYLCAT/IgEU7LFKiOxBQwL6kZM9Fn/RgvDG2l/GLWgV5OOjvOyqoblqjuoxYy4snrbZ3YmOT7S2+fefkBV1sl3QYGwXJvML+sCC2b8jy32ACR6UsE1NrJst0CR4h9cIA1kXLk3FOtEd/shvuTMY63EGZUD72/YQ6eTH2ARl+FHBWeHvyypqhq60BOEv/zW99My5jlyOaXelQRHLpOEeDK9Ycj1GGUHV0t0PRBqcgpEu8GdCG4IWgVLx1M0gImuC9HkMCiPMBm1q0CX+GJso1lOWQclolTLYZ9WFiQ4v+K8nicx7KfExQoRRBA9ytdbcKO8xa+5dgzyTx2kGt9JG/dMDAvytVhN1uNZfM6geLI+uiI7khte/6zZMt177dGiWAH5H5v/81Ugt+oHs9CgF6zqmazluGq3tIEl8YB3ZtOb5S5hb+D4jqDtlBCuDWDs3Uy1SHuKI7tvYhSxmv88uFDoQgJ/WhYbF04EkzajjeS0tOoM85t3YgJ4n+mGdHUNdeOdjWd7hAemdhDcR13lm2exaIS4SXxtA0T4yIEdkgEc9I9vUxAOvIMD0jMyQbfQj1mFp8bVpVpdZtPjUx0PljIvkfhUpHYPCWuWEsDZuFOoC0Ji9JsRuRFvjD4hCtHmzE5fI63dy8bbEvAFBsOLwQpA0Cpp9zjbn5aqMD8BtwQtNMDGZSTNBa47WbyZZqdoJp3PvGYYGhTvd2pnPaC/bcDWEAq3jksEQHRz6y6hY0ryb9eByNOpmrHn1/C5gfe86oYkNxxCEF0ekGwFe88TVknvd352DhVofOA+Ue8SXHC45ULdS3uVwxaR7FpdJQIMYuvwfi1DfXmcNRWPSBFSfKwdTxc2aojmoso9eIA7XppiE77oRu/Tn/FLV0d23kKwA/VX08A0YzQNJjMeJxHp8z/Qs+MjoCBS80zvwPvUXZ37uHWAuSebvTtprKl1dmTAkaAEe9B/VVAEJTzuAhauNG2Qi06GFtMLGBSzaUHbfiMewP3Zm+At9RyQ/fzfsCaaedF1WU2vHEwMDSuLuomrTOwrrMo9NtY6cGr93PYYF9Fn4kV5r01/SyApxE2ZiKcksfIt13WZ80r91Aa5fQiLnqycfElRZBPBx5CpYo04d5+tZ3c2Vmnm8dFnmgR2A2XKfANo+ooS07oHfJmpGAT+auie69cv97SdypWX7S73WX6Xi/GwrSAW5rAkYOesWoTwlJrVFaaZGjlaCSm5GdegP9F/7fC2/nPrbXjJgzZkPnrcWVYV1oVY/JsBU06AkvQGqS3wMyWNkujpWUQZBLVTD8RAWmORUdQByUSz1+45KcupG8Z37L87dYwNw7IydYMnnVnzenSVQIsaJInJhzy5d1cAIRGFZjTXU4bqtcM2abOPpakLaREXm3960P2qiAuovyVl5gNmXvXzFIAvKWlnCCe8uRjnEPM5GATuJg4RYX9gmC2tk6tl1VNamGM/6apXdl3lVQX8H6pbXLregdWH1KQtTRqhZIrhKZge0FskZuJtv5lYQ8JIX9TjP8IdoHnBa2WAsfPrIb9Vq5u4SHde6U2Fx9a2vAyynaJBwnzShGwn3fTpG/jDkeiAppbvhOjerKrX/nyJXjpy8/qeX7QHgd8pIyXOlt0Z0FWpkK2FE3kNdXZIuLvgsLqYiLs2dHhWbDHTinSqExz4+LZvRj+oW8ZSmYZjR5Ao1NCSKOi2r0/O4kmQwQnUUSVHvxxcOQOOHh9N4zRJdTB3q/ddXAwpVuESy7EqAAh4d1jYwwyRDd/upOUzlAcwZXDVWBcTTC8ZxR0t3UY0eR/3FBK+RE7hV3Vx/n+Om4Wff2llMVvZrOq1tep0PEwWcNpfl3I28FU3NvOGlhkiPuHTJ4xG7RpfYCxgfQiKixPZ8acgE6fU90fNhN8Ca0fCzsgqssKyO7Mo4BettTq0ZbqkHYr57md5p/aIqIENxat4fXbpx/fl+xFYHSwH9N4jKMVmvgJIBsmI+Xd3wf6psvLrbJIylZMtas3tgyqoWYsDk6Q89MySBBPYmRT6p6bJvFtrIMGQwSLiz6ONLM2lQ5PP8eMkxhNOgtQ7I47Q70RK4logKc6bVvJBM8LXDsySmzyuewdUQzUv+GdzaW/Vt75rgvZ2k1a0ixjbl6nX+8pQ3W6t3mCAj2pafxXzqM0ThNJU6laXam/ILhzzG312eUZtJrK62OoOL4v3QAw6guHCIKWcwI4+HQ1/TpZsaHT8kkodyW6QUd0tNEtwUmT655gFHK+d4QnJhHFgpRjlYEyqAM/kl57TndoIgEKFMkvBbAy3a5xxZ5n3nexhRaVRFSCK86B6clHRGR9lnhXvKT2fmeRjzHurguASsWwmyt2ybM2F21UaEsRedAdWI/6FgUQj96dxKmGiO1vpB8Oln0asTyy1iFYRtQfszU2hy46TgmQWg0dPEm8Vd3W2Yv3yUDiDeaCNHxR/eeSxYh2w+zz3vlVIeBIhzENkYQCg+2/3hE/G+LGo4h/f1fLTs7OfS4PK7CAVkB5owVCjEgI+uJ3nX05kAornNhuwa8msjX1QyP6RtkNIYPCE3MZQ1KXBsoaRyVuAbp98dH/XGoFOND+nPXGAmCPX5smkqFbbYFWZkWG2uM5M2uLzFgWlDHS+/pPEOzjboLsyrT4g0Y4l2VPZNXVuw9rJIFhk+zRUDsRP5M8JiHCEC7dZBrgThvmg2RzsH6fwVrILmrXurqWo6Y6MAplTfRvPqZZoJggt+scqwh+7daE7Kp8uLvUm6XescUm/vaKLW5PVO7Xyz8T1pRrxAFGDTXc0wENzCZ30qVYMwyR84yxV5YqPvw78awPWw/Zu5ZbT0cVlyOJMtvMXJeBR5VoFj6RiF2Kquw3n/DbHnsrqsPr1lfXtAOsrdi3TkKQuRWV1QSgFy2g32UGHlOYn2XsDIlqcUc7gN5Inu61bRg7agOcwJY9hNJY6R40vPkNSs0bu/y5zERGz40Z0Jr2R7wyViAxTtth1aiEN64M1/nMDuwZSaAnI6zRmyFMffI/NAC+JEt5cIwo5HTrJ8qBhFYwbNz/ivGtvku+W0w6KOzUqHzbdxYP4GZQY/sk0j5Ral4IRo5UdPsVeio5IDCmk669AVXQWDSuxwlRTHO1WzLFAqTaIrsUC5Exb9FhwkvJubdKIanIWzGavGpvgg1+eWcBhiDvxopJf1Ap9ZrSYlWzIIEEB3KX3GpZ0sOVriVuB/9EIm5+qe2NtEpX2e714TdCR28c9V0rfv5pxU3sLvjTjanxwIrSze6ZF3x6tmSR1WYM+FQnsI3LHgroH+wrlA2L22cwKHFma35InDVdJp6mkrQltBpWvo9T7s2zf0UccDK9Y5fiMx3NKOwYvkayXjgYXGMiwdDOQP8CXNaDm7z9k0qgiHtHnkM9sIT/4CyATZvdmKsDcdXLPYbGODEbLyeoLujHYh8R8Hh/VG5FfSIcGbTcqqhfSZ6/1ZCgYhykJIAG38fjBDKtgEh9k5yeoM0wVHwfvfO2ADHa7hmPX7D/rkfhmDVzjnhB4WzH1j13adJeU+lk1+ucgE4bKGMKPW0s/yVhwd9gIBUPsDOEmkZjMEXmIerpBGJW2uNbaqbyIOrMMURjqOXXGzyZyCh20w2Pnkcu4A/PTYe1lsq+ano0DYcsUzjXru0FWr3K/UUMmwkRHjP9uyxWBBST9vg0gu4owYC3Y+l/q+KqfJYZxtcrFzbcSddf9xTEFGHW3E0IqFLW5KP4a8UxgqzdQxortcu5kFuE3Paj6IfupTApn6/bQUn0zIP2rgasjZMQcuFIZFP53TdZKZU4yzatJlgfcGTE+TE3ZWe9LE6Ux0a/9BM5+y5K1bfbM1zSbjiqKouRcUJYhMdThAv7CZDZZ4SjCorwyCAfItR86kN39HA4WDzTjiwCzQVME8l3FkakdSO1cIulaGO/55eOMrvAga/NK00F08GU1j7cP/BsdTBCEhQTQ7g3mCP/f38IHQflctMVU0ZjG1ZB+w5DG6oizawtBz/IDHxYoIcdZc6ou0y+WDCm9lgBLLGg1XVDOZnryTVMT7Cng5CkUpAulqgYvzD/XbPlg3Bpvovcs/TM9TUc0rlw987eE4Lnao7jMlsgTnQ6xuiM/yNFiswOpsXz0+5H80dUhAUEo2OQt0BDPHgWMl3+G9JlXerGd/+G6jUoCTwk8QkUpQLHb+6jIIIZBNcdjMWEgnh3LGaD//SIdUxf/hIdVTn6IMI2asxavdGcWHK4EqxdQooFldli0Z9rUb3CjQB58+GBQeep/r6MIXqKejj1d+YifCjOmR2SOfZue2zUVTJ8A83ODhWVN3IW72Sk9H25OMVyoKN30owdryKwaq1JA3q1cpV74YQEbjEk3kAwAx/XhE4LCpylOOWYzRL8ga77rmauOCkf6PtD7SErxbS/pAexAC0TV/mb0mCO//Ph0k2sBoNWpJRtRHtyB0YEcDPoLKqNGybBRsP0fXjRBhMW1GRqjjqvRkUC3TALm0kMIeRlciAcwTfc08NipqFOQCm8KCVQZ8eM3O3q4FGt8qe0vbIDIBrZxl4nqONZVPtbTSuZ62+AWaFmxebwGNBxLQ2sVDjxRnw/uaKOnlhHVKaW/zuhLuljHe2VKxRlcgt8F+6e0Vl6o90i5cFyNNsFdB6xN4h5JB+SrycD+2JyS9xqYUC1nOoSyQwTY1E+OqxQEeO8Ft0Ci8u4KvZkCBdlPMJTDTM+p3m38xhKck6GMqwcilY20Y99tX" title="Mekko Graphics Chart">
            <a:extLst>
              <a:ext uri="{FF2B5EF4-FFF2-40B4-BE49-F238E27FC236}">
                <a16:creationId xmlns:a16="http://schemas.microsoft.com/office/drawing/2014/main" id="{4BA244A0-CD43-4EA7-963D-E43299994E6B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 bwMode="gray">
          <a:xfrm>
            <a:off x="4354251" y="2349924"/>
            <a:ext cx="3483504" cy="3902020"/>
          </a:xfrm>
          <a:prstGeom prst="rect">
            <a:avLst/>
          </a:prstGeom>
          <a:blipFill>
            <a:blip r:embed="rId12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0E54251-EB82-4CB7-B48A-A2864F7A738A}"/>
              </a:ext>
            </a:extLst>
          </p:cNvPr>
          <p:cNvSpPr/>
          <p:nvPr/>
        </p:nvSpPr>
        <p:spPr bwMode="gray">
          <a:xfrm>
            <a:off x="4354249" y="1873793"/>
            <a:ext cx="3483504" cy="5157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</a:t>
            </a:r>
            <a:r>
              <a:rPr kumimoji="0" lang="pl-PL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  <a:r>
              <a:rPr kumimoji="0" lang="en-US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ich of the following is the </a:t>
            </a:r>
            <a:r>
              <a:rPr kumimoji="0" lang="en-US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mary reason 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ou expect a future change in spend?</a:t>
            </a:r>
            <a:endParaRPr kumimoji="0" lang="en-GB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2379016-9B9B-47E7-9E81-69334799BB25}"/>
              </a:ext>
            </a:extLst>
          </p:cNvPr>
          <p:cNvSpPr/>
          <p:nvPr/>
        </p:nvSpPr>
        <p:spPr bwMode="gray">
          <a:xfrm>
            <a:off x="322496" y="1873793"/>
            <a:ext cx="3627332" cy="5157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</a:t>
            </a:r>
            <a:r>
              <a:rPr kumimoji="0" lang="pl-PL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ow much do you believe your company's </a:t>
            </a:r>
            <a:r>
              <a:rPr kumimoji="0" lang="en-US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tal spend on </a:t>
            </a:r>
            <a:r>
              <a:rPr kumimoji="0" lang="pl-PL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 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s </a:t>
            </a:r>
            <a:r>
              <a:rPr kumimoji="0" lang="en-US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anged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</a:t>
            </a:r>
            <a:r>
              <a:rPr kumimoji="0" lang="en-US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ll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ange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ver the following time frames?</a:t>
            </a:r>
            <a:endParaRPr kumimoji="0" lang="en-GB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btfpMGChart209271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ovC2SzSB9c8Os+ebp2X3ul3gVMNwoM6g/cuNn4RSRd8806Ufmbl1nJrIP4PiD9jfPGggT7TTWVQAEKv7ov0Trh2B9cdJdWT37uxAPai19pok/aXGDdPgU4kXXu2tJ9d66J8jT91wJ94LIqf4iQVaHhapMuSeDI0/wvuSjgu36uCu8RT18Ix/KiRV+dREK3q7dMAlPAvLzgo9Tu5onRyOxKTwI4yAia3bUCJ4brESH2QOyXMPZGmcNXNmK0k8UBQTIhS08mHd6vMhD/s1+x/8d3O2/vIUxMEsdnhM43YP/I++nL5XJusoDaYBwfVgxpkE9NwtS6yqDmJvrVZXr3sIC04S5cF0dBrAYeNooaflsC0gV6O9960QhfvYj/V8DVE6a63xB75HgzKvWOEAnomMeb5+J7fyTGKPAhxjgQN9wmS1YKPzkA+MK/EUimjy38xEOmimVyIaFHNTUTA2gL6wChBrJ3nN6PPQzs5Ycnbc/rHXIlpWCbCApwx8u5jv8h17MI+4GY2mDRZgZTzZ7ISShSPQHKWLIFD8000jP/QwE6PJpsyolwzy4cH4xt+cXZykic5pQaYlcadA/MT8eGRnSZDVQDBc3u4/GDDUxmif7ZHL2eDIlnGGHTKE4HvCO29qTBCrA1GLHjLF1iq6Hirh1668qC1Sa5VyyJEb0xDmePGtVkweT7CAoSR77IwjDUry6DC44D8xkb+qx6KRa1Jhl9pE53t8s2F/WRvp1OC4iXVH5VaMbaqouJliIKffD2Q4pYhdxqSzgEusRma0NwamM6oJob5Z3BLawrqKXRSUUPgv/9pDkg5vAU+v5+dyFgVNQebJMERjaQbdjaalJ8Xf7PlpRl8VN+XWvYDDb/N3y/3Xo1LxR+U5hcLKxSBw+t7zxgnw07NncKv+U8ie2FgMJO8gHHQITozJevMmZf7SOhO/7BUa8JA//E7/eMU8Jy+07W3fEQ5GPNhGkatYSuP6iva0FZ2+kC8L8KD8GQmzyLxlwr/JtlmjhqI+IQfwzOkUVxbBlGozuTzSS0cWD3uykXkx4Szf8U/VlrhDsF5Puk04c3M/7Z7cwPj3wmjY9rRi+u/ZQMSCkUdSmswjy2oAAj6Mb3RIcncWP1pdNcA5zYMXqslDeAOkRgn+hM+unCrDNz85TePByxPF2ZoBUVAUQv1Aa4jYVDsOwNTO70oq/VkP6J+jmje/6TlW0UKgHst8MrVhG/UZij3XfXkOJ/5KmOOlHQ1pGM5rcQubKXKclcGqYL/qoVgR1g5bLB43eYjOrTfDAIXPfIGmYQaqRCe7P69QaEtlxXUYZcDC+XFVgh/OjwLkBnBHaKq67/7A9wMnBHpOPlGSLJ181sx3uXS1h8dbJVFPsTcZkWgTpo2HAC+mkWhuwvzkkHbQ7zVjfWYPF7AE30WdOkDHuJlylqY1h3dkO5vwcpBnZuUm7p+/xzvh+dpzAIiW3SZvSkv0IB3qwjQT4Zg2NfBuNvbBht04ycRmZTS5Zxo+aEBFFFdr5cYcZ4UJH1T8mSEIXvwDcKDsFSE/QZKihZlzoOMkwkTve8k8Dr8DWZ6DFVECE7+0oW2G84gL8+pJN1vO//9wgoibE5n20r5hi7PQArbBoxrEpYalLkqWrPutrjELe0Nn7jb3A7uHrHNn3AVH5nX6kToQsFWcZsOm/n6VglSTwU3qoCup41zSmlKLYHaM5PlxOFLeZbmIpffit2kjoJw5/viQeOuUVAP4Xg/5VpCBlGHq+rEYxX0vQm/fSJab447x6Z4207iM7Q/D3RKoR/4SqPnC8GBhpuGJbMVHC6cqLHG9TO4BAMxK+FS5mT7DzsDJzWeTUEcH9mlM/q7Wbf8oUv1ggQjHRAUIEJvKRlgo1wP2OI2LorVOphhfC4q4+4QVPv4uZTBdckOmsxHtgt0JZLmrKCPQRc19BmfBZgaHo5vRk2CS3TkRQ1nCQkUOa7vFTcWEfipC67fWMmPZXKDvAbYEdQx7CID+WEzV2oKMLnOKBeRH2uZ4VvmwnWWyWcnCsYi5SGZALrjeIbgZPDpGUrw0ePoNH1lCLOJyn3IE7/8ZHemHh+Hw9c91Opwawvf98VkRsm3rhqrXYzEcb/JjZtJt3yHyAsbPLKosCdSEpvxfxLT3w7NbxYKOcCR+ka6ByKvk2+oA65k8ThixWZJWkjGm4wKuCq2Gjo15TuxjXMM3U/BoHflY3E7fN+BfvfvCbOuap/PlPQAcUzxt9jLrUjRvNBi68os6bEN+JzkjO/uKwguvxtl5KuDdNMKcTKznRXqLrS1035bWrmuMu037TADxgblM3JiiyduFDaWH66WSiCb/TKjQ9Yy6Un7/PrRXm5sTWosKT0SOy2wy1uNYWCLVM4/rmOs0NDdonoqO/qPr3AM1c22Jf9EeU+5kMAMnpRFDvsI5FL/buWyaqoMqXbQoDkylX1xAjjK1HG29nLSyR97Hp2xqjfSdGGDdEJk7R/xkG7ToeLq8MpHaJXHmvHdn0Ob9U9TpqQ3P/opPYB9L0yxLdKEhQ6NKj/AqVAUdAhzQQshT3Y1caTUnbFcwSPu1bySnKYXCJBiAdhhJdfkoNDezODABWQwJ6iEI+3g8am+j5fY3A5tYTLgG2oXLuC5hTuZcnNU5m9UsJKJajpsTC3fuJphEoGYPs0gQbM6l/2/nJFztAEA73AAtVwnWuxzCR5B02MnQL27UxcwhOyGGiWSVxFKxySvr2tcTOKNHJznyCWHdGMl3ECmD30s5ueSfYiTYJrsZn1rfIUXUi4iL42s584ToVgeK21hnt7JCZeGPNBbMIo57WJcRZggnSLQ3A21DaeGX9l0ULRrMUgrCTxBC0nP8Vwk3zsmBcXHN5mvtNh4NiJmH8yYC3H1nJLE3+vq0JiiUTb2RCHsxBuOCGo3zSRpUQQwoiRpE4gnSQSToSGDV/KLW++PTdn+6ivwz1nu7poHM9I2sjjrQwVKdwtQczlzDirE6ZJkb3+S6ICvD93mpu8aqXRvfnMu0FqM6SO7ICAMaskn7SlK9mTWmfHnmXmHn8Uy5A53UaXzvfeo9SyLNYI6odi6khb4hdG3bEf83FJLc+h4+ECKx08QGcVpFINDAA93Ijs6tiolxVpDro/go6Z+74Qk6cHpnLYc1csqsNcAZBW6pRiRrcRPFl4cZ/g2weTWVEoBeXaHcZwz5K9uoPCjq6iDd6zVbSjAd8hqB/RUunRg5TP7pUbjMRo+4dSHo3xepg33gOilEs0zzrgc3NwuW8btRGD+bGr0+QHbmtAnSVHG8UZaLa6gUnxODAsmpinvaouFpFQbR24NXYGHV5+EHrkrHsIvZHTgOou+d09thd9SUZWpHJeQy2NXIYZwpjhQ9QjxSDq9Lm2/tYcVqjLCnvCytjfEDblaMT7WRcXHAQSPt23jYlFuXNfaWrUULLHk9Uq+bHCaQ+kI2KyK3ahQbWqEgO0DUrRCNfJVPKAxI48k18Mv1R5hxB51/YJtLzqTjkSla7lW7/PwQfN2rQBSss/SjYJxgM6fd7xl3d4A8SaDxI7mfcH49K719ci6zy81BXfur9fmm7jIPbBvDuckKRomAROOwvkR4/A4NCUE5kg01wDrPpSiMJZCch/g8JhW3RXQrExb1PDnzGprYstI0NLFGOFrS1y6OCTLJGAhjIfTO6d4jaSO+sbTEYupCQbX3OB7A9AzJ+aEJE9Ke+maR0nCWMS7ChevwgIUUrbZuCLXmyY4lG2AbT4NkSNc56EL6nOT3+0zcLbo/dsqasfpr6LEgos/bjgZ9Ram4jiPjISA8Ageb5tJJkAU3YQHAsgCybggVBoOXDakiFb1oc6KL4uv1VA/Ei5LfCJnXflFnHWsLn3cvEWVcKd7lELKNqEQ8fioM105Slyybw74lMgkyJMaQv5XEsnc9MkrH9SIJCTnInhwBAyHKbw0eEB8qsTPWatqLR+LPmOc8FB4Zn3hE4dz6AYmreU0AK0I1LenPidfiN8e0bcLQ2e2tEma340IAyHX1cB3XWcuj4wk9QSopTTerFViQzuapPP5c5RdYgPztlLdoYWuCfebKxJeodHrziZaQgmWseKrJ5u9lA7cFLuFXlOQyqoiEBtTyjWu+T54f4wE3ru3NV1cvalk0Kqpm6yKes49E1p3UMftot8OS0qg+Y1uKAnYJqh7574eZtvPiTMjlmWPOUTWg8AkXJkWEylM2WLe5tCbzvaLZFayqNyvtL2DiJTV6bEY3khepdUBKA1VI4QL+ARM1ZI/os/RREa0MmWRbmNn94BGBKXyA8Klhmh+rdb6VzNJz8Z/qTD26tNQhfPoUFfYrsd+TU9jIH6/uq9sZR9DWSB7rgECSH+yTSGNBbUeIk/fjLu3DkUX6EK1xYRXPYi3Je4XMKVrO+/gNnnMQoh2lfwrIcaGEek8o96e3b4bt5s/fM7l5zpivPiSo3tqI9sCxREZMefXKUbaujD4m5pSjvdCQuNHWyYNIoqyyQiBO0m/iBi9DYjLRq4XRvHYyCfcTWZqLniR+XjEdSK3mMpjv4l8bhBrXSvDtsgvFjKZ3o2IaJQpRDpobVL796szmuXgBWsyWyNLzyrrehRYApUQGLOhwJ7k+J0dnzdvFRsqUnvE4Ts/XTQkVzNCG5pfESyq6aViVRsb/1+OwBduKNmK+L3ozbpaaFveM3zytJWUzYiNrHcCBFQCA28/62Ix9bB0Bvc1KkOMQWEKmhQ18QJyhcDl5egxFYX+zGtV1RCGkV0IsuHRZ17qOg+b8HQ9CYMHG5f+A/yjX7dm7oiJb3wdSoHQnEwaE+0elk9BmLnDVh8UI0KuOPCivpo99Ih9OYk6EzTYEBpJOfNxx/YvusFy0U9PAHkVRft2s9kmfP3BFWvHYEpFw6WVap7GH74GiRq9rGYLbfasXwlIqxLDTt5TgorvPVMcQfHWW0s/3HSzsns4J4QRjx85kq3jfEn780+6Mn27mIrFxbKEAeOfyy55TH4PzTmrIgDaaYri3n5emuOpzFOMs2rdvdlWuO9gy5qOwS4G1RgFnrmb0XEmuN5UyoUOUQlqmNwMEvsaVpHV9+oFfr6fIR/zRDgCi6wAAbJxsMlM48drAEV331r4Lghsl9DG1a77TOYJZD23sxnn4ybcqTHgzA3bTD/+Zg6+xpukujq9cIjgtR0eyZyINDNeXRg4djBsajneIpzifzJ7wOVjlFw/pohNRt/t+W/WcIjTF42+HAvTqdkxVDyF3SQFskh9gOy/Qx1KmLX9xOjPCtrFmM1QYFsHUIxZvSXn3XdMTSMjh3OjaVhNFbp539Az34VGNiKUqP2Fpwzk4pY3cugiGyPUHboZOSemq1VthlaYc01hBKT5PQFwTYaHVcC4RaWO2ZYBWqEXPmpg1E60L6mCuY9HtwFPrXIwpU7YJJQMfdKfpmrN+CrqUloferNcxkAlur4LizZDr824euepKp4uVMlkteaVmnim7CFxw4KthdPtN8nonK6zkUC9uXeDzcpRn/XPQqNEkPqAkmUB28NOrSs3ps/5M7sEa+i43fLA4mytxyKI4+wGMMY0JYNjLiMYOVMS6wyz+nnEnutIGZ5AxNAvIZhP5qawhFBON6u5tG7LmiAd7BGZgACC5kULBVr2ttjyYH95GVoi86xj2E7LgEWGwhahA81nNM635cQfWJRIijXR2AS1yUED1WVkNMSNWXZHUFCX+v1a/hfsgLU9MKG6sBE5N/VdnwYnYhl1rwoWm1KXP3VeSluQACo9Yl9WPPKh6Ta9Svaa9TG3+7ysNf5lLeP7pEw0lVK8FOzKcam1kAvIO3FA2LyxwHBeEIdQ/jZSNk8Kf8b5blu596tf39qyV3u3RIQJkJmfvZFA/6pjU3Mt+aAM80Wbh+cC18W69CEnS81Vxn29A07aPiaQs6LvOn9nt85LCTkKZPXrcw8u690+fFUFvBXSSBWSfo3713y8TDZC8/TcPpRDYJt3wRFZgPOuZXFsHzxULNRYkKCAUz0u2ypQ7HMkOHxAhPsJ5tQEDcQRpKpuU1IU+HDCtNtCw37dtblGooAaWquSQDRzDlfIB74Dh0AKZ+jtGohM36vZeFCdruGoBxzCL1zjhQQWSpdLAhv+Un0zrTUN+/dYMAiqEkKQzZ3zzWaO+IPR5FN2oML+Rmc4AMpJr7TzWZDznLcb3UZeBBmJMVaGpEBRnYurdKpIY3EJ7q7cDh+occzy6L/s1MS0VeJPbFD8Mewi36+myUlVa/IQ3oGBhqiAiqgiiJ3aoS+Fh/1vEKhk7RAWerXx9K+dAWfIAY4UQMvuRSOA4fVrBgfLTfRGZGz+YbUOkXKlWCVajWc4JTEeql7RZLWOj6YugEYw/9VuAD/6cweGhuvDfGZTwqz1f8jmy+DvWSpir0nYMci+x0pIIaRrDjSd8ZohZ1vJ/EKL5KDfRzDicjeGmTFDLRewhURrE1gZlQQB6YIQHdKLccfXRnB2fX8tC6qYoj45Qr2vkE7w7FANEFuKftgeY5E4oxBzbva5dYQtKv3stdbGEBG+/KxQ/Oq05XPzUYGSt9AETQaW67JgvCAVn9aKDpV/vHMrq4xRxPGmD6nhlB1vw8vxTgl/AupoQ/B+hX2WCQpVftR44zqkFa/OQpvJcKoHxq8VDTE0+5eg/NFfyG/s4zZK6OK65JyAoDnDSB5m4uDpvT8707tbyAaXedw0KCHEGsfsFZc4L4R5hS/sqkCOU2DrVqmA6TSgC5EsNcDG8knP1z72SrYJR53J96hh+wio/EvPUicw11989jL+DTgmUGzi1hv4dPszk641YvrtkktvT6Elj/riTDD+g14zaljrVsO9jR7JP3zO4LX/F3kEu8XpmyyfkDdueRZ5wA6c7vk3M4t+hKk1bGco+UjvOiC//91WvHNKaJTPgYIlIbzwgCuEow45kQe73Idaok1EgYpuqi+r45cIBmhbN6p63B2EkrF7wmbcDcMiTcGpiAs5H4t8SHbhXY1lmi0yP4Am59EPvscdBaH5nw4dv9CeWC5+hze6ldpMm5/hss/KQqQafsanq1szTMEufGfyTS1GT72dbxT+f2Q80tHce3Zrx94kX4fy3NJZOvU+5dASr3ElpnVpBT+dS+yyi5ny/WLIs4TNvdcBNgMb08e/1HZSUeYiSE2zsVXh8bcgYcbvZ7ak4oIyM3CJWaTTc7mi/Ei9Z7kTaHXyXOp/CWKiq2VnmPrRcmKmMv7w6jixThAAHIh8HItg0+z6wilNe7n13H3uFuA2ZAsODwbi2mr9Z/3AEBnn7OLf6L/Dq5AxjejDkyBmgGsP0QzodvlkJBwxRccSng0aOJ7KmQNiq0FB+CjbzaFJDLv0jMuhwtdhUmmYQ5S0yQKrEo0skrcl38epXG5Np1BMAp3PvKqwqEUhpJ8/yBgQsotm92T7RJivw3A1EUeFNz9TQ2f2ZeKBnxJOtgmhgo8aTcYc2dlDqu1I1rBExszfs91C5uEOP2EHX1T2hN+RG8vWcjVBU8lu0LI8nHoaFirrK95P3y0XVeGZuizDLf3gDFZO3vgxTiMip9cmul328SzIcw+mZUpxKeJO2TSt0+LfNfjdXWB54V7hWLbfea/7HLTCLamYE+NEz2pr5wNNV6PkWKg/JFSu2Vn3V8DYDI5sPbzEcD3z7UdhL/CTI+M6C6hGLODpReGqEZn2bNy3z+V+DGc1MqORmEmVCXYLrHYyUU9ovsQE8VWTJbLVuhBsPVqvfYX9fWMc1aRaJZzTJYqU9prBKyM98S6nlUN66rCzbY9Vf4/CeMvaYZwhFJnzOXfM+tMnYB9zFzwWk/d+ykJeXCSOfJydGtaoZbhHRK4A0KdxVGAZtLwP1Ai0mK5z7X/O6S7l0vK9EMJf5b2XSq8DADSMn706K9ru37bHujW+LfYQQAxfLEvqqhCedM8Pnfk8AB8UTfqXhK6PwcN+Ai2yRKT4StKjFWwBvAqmjMjoHC8kH8e/or4lRM1rPDgEbaqFvWR95UeNM1A4Vj1u2CzkXsnq5+XLXNm6flwhr5O3p8g/Oe2R4XsQ+pfltY6WARiXRH78pbrk7Kv97Xh7hK5cmzI8CAxsNkZ0T3qApQ90dMBV+KbSMRx0H4wMl3u+C25S4Nzx+aXPG5V8xVWUfAyOvgyyLD31a484pwgVBi2kW8ERs60fo9O85TIffMUw822COSaWlcD89IAu4hpk7PrNksD5pZivOCOJiuHbONAU4ysTIP+PiPcl5UVBtBcgDofB/lu2Otk+S6OgF7gHoiop6uVxTA7qkiTaOjOnYiC5fre7sGIsOgiSW3fGyFLmV2fHj8SqHa79eXaP24/qcEqaCb4L73NBjcYuCW1AQSXV22y2ltluWD8JAGE0bp0Sz6AMW0pUTYn2jUva1xVO3IaALU1S/P3GO3QNO9IzSudI0/NjSnEL3OEMRSN8fLtWkFrLLphOFQjnCAps9336TdIENMPgr2WorW/+OgoMePdm1YjE0Swv/UixKPD4Z8lKrQ9VTUtv2GwJ1C13kzWtaBTSn2ZToG0a4oILd7L/oeSWhaj3nUjSNlXU0mbUKcpQbK6RdvciWot8vcBGq9oP1l2KcHN0YpLNOUVdZ1GnjPcJzDf9wDl8idIo1mC83Va3sAEV68zgd9IXy43QahX8gygGptUMDRdk2ryQ4qjFoLUVPJWVs1KdlUA/UXlYS/5witJplRn5hQ/qoIgmDSYFJsJ0oV3OfveLPFfioMWl/E09EeDKgt4huwnxUOcaKAHORhcZ8A+ABD5WDqo73JmxZtwR6tavqa/HMdrq23WATyFxbn3i5BFT2I1QZTqjF05SQjnItQwIiswbc2qvgAvghxjISP0LOm5ESK9tk0djIr3BChQhQuxhM+cpO51cuo1NO7Gq9Nao5ApQ173C5ztzyh9SUt2qVHoXGnmtSKJu+AOO4ttvoOUuitHZ10qwKsxOs9Zvm1qo77sKr++AKfCTNaSZjCNgxcZLkz8ucUsWFv8buWvBQzZC+vuIc3xH8CR4ETk3usBpZ/jEz1QHmqIuIHH3bmJSkJU8SJrdWKLYp1Ri7Lv2wPaLHlt8w1Kh4TElB/1FWmnpk/FLGQfJwCdUCBHhDUre9BXb6WkOwaRffZSOp0JiQ4mvfB2fDrGvShWn7Luyqpjw/a43Qac6M1/tN/w321otRQ7CjHS81qTlQua9AF+SRl4eJVE98mcm4jTgXDz8bxVbeeruZG7I4FvQxSZ+J7PlRqs3cg+CaorVcMaWoQvk5lo+TvSH7BpMAUXnaA8qObuh6jxE6H9UNWWYWUHuyXaVPoRbSAobNV7R80XNBoI9xz8+6MFaoFvTVdlrsQd6vKvdfJrgNkd2f2ETLfGpV4MQ9Wp3SS+AuzCTegLmeXHWy7ruG/sKZnxEdBA5Ymz3muRuMXU/eLeecmPAOihD+hIAe8Ddy5rR+5a0v4AHNQffPaKVtLbRunB/80bnNO/hs5cOqFFnAEtihTAaJuwdQwscX8mqcb6WbcobaWJkjgkp5+iuwdDq7Ug8QliD9tFkB9IE1Q9WKRQ5oa/Q47pFbKb3vwvikiXCrtslnuglRq2m7iFpmLrbBrFl+7a3McctOsONjtt0GEjXxa55CHl8lqGTB9qoXzKimvDJYa7X+e1Xa0VkrJ7GWFEB1NjtaHuw5H+Ob8BI23A+XEYU/8Xp9y72xMX/gwMfXfDrJhv2GWMojZLf6bOwDEsA5IXckpVSy1vlyvJGvczLK1Yf8Zqsu//qtEjWj9TyqIYq7GUAyVnQA0QBmWQIy69XFUqqURa5Cbpb1/5WCEU8/sgtEmWh0wzXavM546CWksWfMiplaSoo5kEcMwU8noHOEixw1OcrvYG2V+/gD4xx6AiH/Oi2LShKUlcmvLOjbNNC2GIrI/DV6mm2iQ8NpNa6SoEjhxIORt2bLshTtdnei9t6pTuZ6bscKiXcpugwLs/AZ3b7DtPZmahHwLVDieYTdDmBBdoXoxfiRiQTHql7yRw9VwxVe0hFnGjY64+geOz4FfMpWW7PXxTIG5LLYl6jv9Vux3Cfq0O5VUP5EjbKakH0anXFu1Ogzbh6tf1orM4lKZga3feWfSBQh9+em/riYIHkyll8MaRub2d9t8acbVcymuR+BE8OAhNI7Uh3TJFuVkKTdr93ePABsqD19HKho7ltesovuMnHvX08s3nFg02tuZkYoINS31dWDZ2lCWZc+dtQoVE8iQBlHpr1KZ94jGrg6s1lzepn/ZOvxQvAi97PSP+kUm1V57xjjNy3ocqkOBP1oFRuuRNwnSnH0sbhesFlj4ZrMDRXVlTZ23QgaR1ngAgW4vUy/04ErenFofI7BmWa3jPuqtIvYX5I7rEz+OgblOWw7tv1VIEGYFbN4gXi2/kbdeNMN9nw5VOawHNQn5VQ+n7vFLoU6upsxhX6dMePnf7DKIUsE8M+1dF2gskTquIodTCfaFDmDZvzQli3kGNf0S39s6gsuWt9DOzqj9wVQfM6H/y7zkmdHDe9IlC+L+FOxacP3JvnqFi5MmiZCMUbICrRSYGqabPhQMcLq0dLBadQzDuSYxLZGdufV9koRcUcJTLC43GuoZd3JOkOUGIuGJIXDUvSXm3W+Zv6L2nGnnLT8tnqfDGZwI08HAnJ42Qb0tOzvjqpX9fMz4mbskNJCfeLjZlrfKiOqJzPG11MBwAZ1GVARZQP9n7cv5GJmapVYZN5kVqUotNI1O+3kjaZXCkCR73M5WLypGbIH5dQQBZA/I5w3OYOhooAzOHjkerTpZo5tAmDFxK+TbrxXj7FR5uqxJa8SB4XxrMWTVSrFLRYzPNT+lDjOoyjwemfd8uow+sB8pdVCjozSaxFrvxalqxTlVxFXgRO/s2iTDgWFyP7bls2vJcskoO5Sgl9RY16KUYBnwRO9nuZiRkPwv58OYRPvtm9RRjxC5j6aFo5saa/Sz8y32EUrF58Bu286MyqMg6N0wSBUDQDLM5AsckXNdJXXunMNowRVKx2kWPo9dUzG6CObArV4rPm61ROX3i3EoxmpOzFK2eXsma/++9m1TTUCQMvoTUPNdP/YT/NDBR7s9LmvQyRBCpPOeXANGHB/cTLJ+2tgyQmZnqIqa8EHH+yrCZBjh2pikOq7qNwS7vxnFMAAA0Cp+uf+CMEqv2dP4J0ZNlQVfYLNwo0JO4D9Ke9JUt0akMkF+hTcqmuLliEVj61o/4yJqO9z12dnMuOXmbKl4AYTlXM8IwzE/i46M4EDQWtsiQi4a//1yrGnabcbqvIfKZoaWh1H7Hs7vqsHugDGExkOqsCebV64XwDO2kKr5vMkWxZ4Xh5tZbwb0IJMWk7Xa0HKBMrO/+qpmlT/oBo92FhYh3cerQKLF4V52FabCL9VztXdCk7rNJ6siN5BnrUDzIzOQDffq/QsVY6TMI6SUge/njlPF81lZYWKWD9ieOn9NqG4Fbg0rnrrdFga0NZqM+H6ystKO1zPmJXX7PkY2Vx7eSgv5gSzbfxr3nAPtl66nD3I7aeSggBmF61ssrKdWgyTzcH1dOdasGbRGwKPa+ZQhK1A9qhB597HrkQC7oOX1KgsuUfb0yGrjAgfDtsnLOTTF/TtgT6TfVdwZLOiBCDlyxsNusw02laZMZt0a38xR7Swlj6S9awthTuCO799y9boT8gOdF3w/JJSCw7XhqF/RUZd2dxM6+ikO/S9SfpCEpns6Ypgh1luVexanGZ2YNvncANuriGb0dI+uhikvfRPGb/JnU2wJfSDMywrp5FrpNcz4SVDnjMNagSNg1N5gyxeMOmeYwnR6pYihmTCDV1eFS8hCCUk0gVyDaPWiJYI4Std9HgQvOnKG8rtdjuEUorF7+h6rR0t+5lsRK7KnzAA84mqsp4VwdZvdLPuNAsV2GuTCA9ybuzZXHoYI9HO9gRuPao2ZGF/vfa2+mcHOO3JLmuSKRpNx889Fnz3PMxAr2H/w0kc/16pIV1146akK0X/cRU6JIFN8kE2Bez6EYC09aVzk1eVyryawOfrM8YGGU/GT3zKNWeGbNp4lTDD0lVQuLkDAygEJDC+U1JBmtO20Z/PvoWa5rdE4wWlDIKCKqEPsk0v+AzEbTVsFgPPtileldfQ2YdVZcl79i7Z6Cs/7jJy74bSW3sKH+XV2KUxrCWOnOzc47d01CGoEaWvxmVc+HXiMsOn0LodLSVFh+aPt9sEv9u76gabJ9xF3FV9lNRm/vBjrsRz5Ki1Fr16IbcVd7ICd4mVDtCVbHzcJtBoQgOCg3g7rNFl2uSv8HsbFMHieTh78kpPQMvjrwGrHe1nlWozOdtLungjzBgI88bbJUvLG/nVBOXIxmkRucYHZtea953YU20jEfGXGCyQfZbNFiEu0rA/Twd1XHcr/dz/A0H2owpZR85FEvRdgZYFEJdUjMclylrZp+HyQHD9IXqe/mJcne42U35golkKJO6qhmtKYreTPXOZMIcXEY//QbD7uzfzHRE32KYSLbjHK5npLwwIovsjqKlnEHdW8zYghuAiBmUhtw9W3HgMiOTVoTr2qHZ0JUCA/ng7hm4jC6cU3ijLWPdFl+6lsIOc6kvn9i2AnL6DblTc5KxnUun7yvZXVPESCFfpxjUF5Hhe3gMbzn14O+gSMEk+s7+39HtkaU+b78cRRJEeNZAUfGgS0P/8Z61xSG93sVKeKvkuNWvZMN/60SSc4WNWN/PlmLZOyLXhBdkGX7NpYLJsGBzeDS3kx8g4uyBKtFLItHhBJBByqu48FDN1EmlmmyIDI42z8ZsZ/lb9iNoSP08xMlB2khEjvQfEfYA80sScpA2RfkWM3VPkbymuRu9/Qrde6erlcqOWfKEOif+gEgsqZqa7KxZOppKY5KQhJoapgJm6Xc4iGmooFi9B+dq5uHipZSMRKDC3GxfZya0kdRUtyvghHR26gpn3Uf5QNTTuk40Yao7hbOVWYi8jlG6Y/nkuuDo3hd2xdw4rvWuARHegbuHZUIlQkJW0+CgGU8jUKTv+nIWDYtBpFxz1oe+PlkZXuRrkUsYOUm62FIn5lbs7yFBeXDnjbhfdmR5T0Z84oC6yCTRbrxZIFO9Scb7N5Wo5mRJsNMrxOUo3xtujr1hbh/ZqLdxuisG+yWHVmBHK9hivnD5F9rYxYvX95lvmoJdj7jGqV76T3Dga0CifdvPZ9RRy1JBkKAa+/cvSIHA7+aLEkfGzoV7A4svrAFG7Gd3/p/TcsqR+aCw/e05YBdMcm6QIZhqcfvhb62tDEzFrjYFKtFOX7UG98nGQlij1jyMOulE+exqt4JSXLwgBVXnd5w7laMDv4hE8qCjuRBJuLf8W3vFSLs8m2PIOeodrC0TxBs++qlOE8ktH1+CDyqJ1jrUII5LYo+QdrfaBJX9e58nfV9PNeKrULIrAC1pGgMj7fegIHnwc7vhvMdrkUIW69RSi89cMpZIqMXbv316+jK3yTzSPiuk6svApOGg+1XbNGa6VcJwMmwswVI7UoRD6nFXaJ6Qgn0tv+FXjy1b+HsrdaTGYJYYK19SFERgx5gn6UY66VJ5PAcTvMjSuPaBcGQl6qHENG8nwk0YUrCak3Qyr8xnbLMccX6Up56SRI0Ej17RTU9Es6J1c++l1Fu0N+2u3WBKHrYo+I5Le/m+TYTfCK8Hz4D1bmdSPJGqL5PnwnTsFnDcvef8gReVUswuFt7hlcOzXRpVBJTGw+CkAcGEFjfzF7CYPGfketyndO7Mkk+bjAdQsy2S567q3V1c1orpTNXrrzYlchXAFnjhWOgo6cDd1bkkTaV2b2zv0bHONdc4f/bLYWJ+oI8t7tvxDtjlZUmSlGemfJ1OqmgOv6PJlJaT7ss7YCoWV+q//PRnFQM+1aD0PHu9PXMcWnynNQif5s5bOXkoTp9MqNHvUJy9dx3UnF9ZRG+FmFPZLR5DiDsYUBzAzZFmGdUfXcKfWsd+ZCkgfZ4xnmEwDIt6pV8h9tT361z/op1QjOM6yd1+vrv+rEaFsc4IZDAg2heBFMvgZmSPdCm/n+iSwSBBpGc8Ukrv06LibMSaTv+1mRKbTdtOzqK3C0VtQ1yQy6/jpTieT/L03mD3/nbgOxzobcT+0GcWRnd2EN4XkLeuALVoolQp0sbGgwFK+NuQseTL9D/HY/KSM+eKoH2rLVOzv+dYF6p9IM8PPArJsp+pWax3Xfgat6SREWJHLC2LHJv+2TAx9gjYD85R4bBvPJxQw26xllGyIUAS0W+HA6nTrSsr7FdqcMqPDvm2aO6v20UwKMnp35Qir6tpNvLBClmGNK6yHKhD5HEl4k3Fxph1Fo317vGqqipMkAHfRaeCOgxudQC8r9hx5LM3yZKySfTHX/5IysNzFRam4TY+71kaowAK/tGxpTcmgfjDOH/sxkrMngMb4m0SrXWI6iLJz8LWktNXvSR0mDtL+efpPpBhOjwChNa6KOwqtJcx4fwQKPFOKWFCJOQDAtmxRHDxQH5BWJqjZy17Bq9zkaG81K6lvtmAFMNxLufHBu9GRxXMoOMbQK8+k850L8vXa0lIFcoJ/EZ9zODZuwPlfEVZHouaBeRio0s+8awlR30rRphMePGa2uJt3hI27AJByogKk9Ctk/sniySytooM8nLabscG0/7kBxsx9f3dEa8C4vGQiwd7WZNRs76IphzmfmDd82aWsIjeSNA0+Tk+Jklyb2pwNXH34L6j0Mmcs5mERbcdMKODMPqOteWN7nwZjL8NICu74OcViBAgV76S0o7dWB8NhV6Ax2Il1Nj19JP7/hAdKgBLRNC0h2Zpou2HyLuv1CumDmXmionArpJfmzovLnxmsb2/MlT+UbCqtPGcZPnTdjiLYEFZPkBzxqRUtCChCBUd5FaRpgiJ/GUlNV97zU62uFZibtnAPCAuNPhk/YlHNaA6K86gIENJFSpDoebY7YMV3yJc9P/yyJYUPJnGAiy3H9Chy559x23+OaN+F31+KwiySVwJdUeSxmHq+1OISzL8djpC1SyC32CulUJkWm+ZdRGy6saxcfnt+Cq8Q2fRMCXSCPFjac3UVCZcQlpFPejPEusD8HkuSh6bPGVKMSPuNZGbI2UJEwpOP8c2w5EuOvXfRRJjoWZJbS851m2d5RRubo5UAly66seG6iHTn4xmi4WruzD+Bh8FLBfniuSZ0ZwsKpV724ACksdmVOX4YqNXvCrf8XimMsSeLFl1h1uJw0xlbGpT48c4G8KDyNpPPydqlLdtMPOXIuNVK+LpGfrC5uXrs7DV4fVzXSjsCNEHq78ZahT3wCWrzqsyB0lsnmdCc+/WrW7YWXRqIosRFrkjgq6QzIWsxOHy9z2jAHKCBHSzB2Sh/KVIKEjFmPcIvb2sT+oh7l96BzDVZJEiLcbV+H9+AmOuBS/kY9GIaOor4KIA/9mIUgexkKfyZ6tdskMdts8C+hLoX+gX3SBxdBQt2ukcSdA2suuw5MbVXi2o2lSz8gNXlk2+agQ7GKDzNZaOzpCSuG+ZORz3mVpgDpeAYKoor5POAG1CrWMnQdTNEDn746IE0rBjDAZA833RxnFp8ssLaeqaief4zcw5XOrhW/vZgjKChsNAeeCXPQjdCumzol0YwIbIdtWIIoxqVEzM2z+w1XE2dCTrdbIISS2yJtYMtWmiOtUC8tsMwC4X5Oa8oiy1rpvMS9+t5trcItxmCUucNLbtxwQNTqmfR0Hcyl9yda/4QKBdl5461InghIeqZDnvvuW2lMWoBPC5oLvjRmjraool0qvGj3Yis2nS6DEtV0mbYQVILBGyT/BE/Po97Z2i5hEDmQ22yIXqG05tGSCp+oTbdqg6O1tlyukVOAeXLrkTUa3xLEJdKFD8T8l7tFdrbHzQQa2HwvQ8leCYbpnY1YbLWgzidKG4PzfSxO+DFY/XmWK64TBfdI4+j3O3WQ7Se0eNM4F7V+I1TCXjORvjGLyito0goGmjsFXhArovnxsjXhkDhJt7YgqUzLb3KmvdO/4him81Zlnr5NMeZ1sQ1NOAiHhmC8ghZcz+ZyB5j+FcoHwV3U03jejUjxh5xlguJfP2i31xtEsA+tGhVBMQOkwbu6cSapTAxb8DGlq6vJT9EvKOFLaobBFwp1a24zHN0obRxT0KqfmwgGHQHPZ5lffAcRAvArZmOgDfgdhf1ot/3kXSfUoui8NFTUP9DrprhrWaIB22hFuvvFFXdL06qrDx1VIA/oYUCqvjuuZJH92UiRR1iAl/WM+YZVzgW1BspMzPo9vIpFC76quLER46KWV0DiaEnbrE6W+kwGFbL+Toy4vSWxpqloFN9SEv4xENJGdPQ6tmXwTz+6tmii3XPCxB+XLoSkAxueSEHLzg7IL/L+QdZVUTxKUWjJW9eHknxqI1o1LuYO0n+QyFSoPVeHvsuqe9souPu2D7dEn4+Ymg6Q0oAemHemUXSSFmQ2ZrDpQep+9XCtzNjiq3t4Y5HrW6WKMYRiLnEwiwbKX3M/ZnF9Wg0N1ImgNaRG2qMKathgjHIC2Os1i5ondEUDc2Lmn4W/q7icB5VsSvnVRFQT4K0OheKPg5ta2qpOPJXv1rRKzfHc9C3YXAfOVt2LAnCX+sZ1VDB73blFrJAEBU4X5Hck83TYP39N8uoeHp9gXmwi24Q2b2cGjRvwghK0TNJhA8MHCJFk/CcJSViVnKpofVRqZ81Lgf9sfHtW1VCXAZx/GJ+Vzo2ywiEprnwMcDoXckAByhBKPyj6At0Ni/1ZbreZDcTaKm2vphAA6sNkLgybEF13vLH3DgvtA1SlyInLv/UFaEpxQXemEFtwQZEiMu1UD4NxxnjFXAnwgkwrX9uKgDl/S8Sa7SG1QMt03SamtFUQxzyRwAMrswJtOjrPDn/Tzdn3fgWuHKDgjvIAs+fhMzEImqERhZ2p/mT6xXQOuhxjWhwjA5+WXA6uWMCx5Wiq0fKOOpKuoF+rx96FGAu/8Ih1xBT+ujrvgYOTtofDX0w14k6U4P2xZmkXwXMzfGirwXkVlPOjsbGEp18Gj6WsMw5RDW8gYt+V/B+GlgpfJJb/gfeVOudNiVYQ7V14mnUpxOt2ohAQSFuMt0oP1Z6Vhk5G/VsNLO23rDYSH0I175fIHWSkn60EJ0mod+bIf7BlJcJnguuSVXem/H7N2d2r9sZ+AdNCH/o/ZCQ6a7/hws2TS7AnHWbAYR7R39eQARq3Y/Cv4bk8wyJ9r5Fvx7wC7UxC7wYpkF90FB6tSwHFwNVlqtqnDo46sO2ypMRXF51u6oqmovB/axV5b1sUZYppm6XUmg+IztZXF+cvTzhs1CGzJlEYSGwp4bLZQdAvAxbxGr6EAOJMPfA4ksX4ksyfM/LphV7N9ScszBVTKLhB4jXLB3f7dZfL8P+mPpnG0URvl6hKvYuMWDOFCS8F302dta4OLUVeczWY0tTTpcP9Qp2A1volsZ5AWGjf5mrq5Mu3TF6PkWkEICZF1LcMvwdScsGObJz33g5eMspJ5IHeRvtupzgVR89EnvP/hqATuSUb8gDKs/U5O/fs1hySJsmxdmrO5/KA81QxDUrewpGj7O8aCRC8uKps4jkN9wKfBJcihln2xvKhdbOpSXPAJM8LFJValvEbj/W1Tu6Byq4zJD4xXu+355PMfyg+ZVACoR7qh4tCQmzRneDbLS78Fu6IJIzeUBagDeFOWZ/xlO5+SnobpI7hzV9P84Bffos1GYDa+9EmCv3V9rbT4q5y4jMan/Lq7vyFXGxLjpTuJWTubJpjGeDHfoVbdVt9FzrwLgjk3XD2SOZhY2xupasPx9fOA3CFUXtSk9BrcxGZiJY2YtwZuM09IOq0/TV9XmBsdo2nBX8BYbFc2IxqcSyHH//15k8Vve+YeowvzlyudFvztBjzvuKIpKF3LQFh/Q4E3qStYc4QGtmcxLaFeeLYMcax+9Bzpe9m4XesnIDvwKBHL/aXdJzdEiZeTm58P+u0rb+igyFr3FeYOyYyxYKa/fJ7V3VDrmmUVTzkR5LFffFCSNtMfSDO4LUhQFVFbaa7EVPfecE845nByUC8qyeFW5+FiMTuy77+HqOg3txxkoyFK1d8FAiYnihp4tf/eBGLwcHAh3Jhz7yMGEj3XzspmAuUcFHPB/ba5Dw3mrXFRmZSbjtotwYhPRkQaKMU9SwUXENoBmgMI64BvN4j2sSzyMOZCe1qRcB7cvTwswJTBW/GI2yABnwNkZ5MuK51ONw407l4zlImeoaMJ+yRB3FRpbE7HxEHOjgxJu/OR3JSWOCgmC29Eq5wekNJB/xxXMGWsmCxq8hmJOt7mZUsHG7HTb+EyhkG0LsLFoW9ZFpGKXYcwFN7WK4EVU8Ycosq/DJSIsQz6earoqEUqO8CRsA0yTCP8PGp4BYFRU0WJLKCyyXvxPsM5S0vLBXRGNNN2TA3tVaQOdEUw89E8c/UAayuQkgwLS2xqvvIM23F69gXgoWSv3C3VXYAaTAtuMt8RrkGBIoQ0jCYBndyeqiklJAxubauhQ6cp3pGb2PnXITwgvbugLBAvzrL6LPeve/CuahXh+g8Nf1udqR8sRvioieGEsUHR9h0o2O43jl/vIuYHhJxOHnPDe9OFKZf3ybp84KNSva5bVwe4ItiWhHglo2XEy6MeIzCG4hPtobl8EmvYGYSMFLRYAq/B1EDYW+FewcJbV+Vbl0jmhmUsVsRwchS7/j4Uinx5Gqc+xwpMIIoeXlizHouwu4EwZmYklX3bEisWwcMbQ3uX7ppEsE6oXYmJHH2Jy8hMq7PqwiKtDPcF0WnscHdRnu3/ysF5+SymmCkRHhS8VU3W5x4VJNO4oSlADb20TBlwsVtRzjMqUqChPaRH0GoWK2D9ZSb6PKdoWqxkrTu7dkDRVt5xOtXfiwQx/iUJNOqC7305xHF1vU8B7gzQ5kSgQYEvgZfSf9mqoY0eisUiS9eBNXMPindeb3MRmcY2OH+SccCuawDmVUJHcJQduvfoCWbChERz61JNdUQJB7LQbgXKoSt7YxZk2sHuZMcooGsMSZXrfyoXOwzbCKBzIs2hp9OlmICrS8XagcXAjCzTqC3GNraKmUnSikPjXLevaOv2xB/ItxTecV84Ulb1edVYW8rO7gQMrg0cu655VXxEcDy25HlDU3PsIUvfFD9AkM7cPMru+K2hr4m1Bn9v2yibBDO/34GFNel9uDq9aWQWxrVSrnrS+bEDWBjRYARrjU6pv4b5h7geMKzeT3RW4IBxf4sJfJ1MXSLeXk0Ex758FQvcsJHCItnoD+YbGhf0dXNRJjWAYhXyVxpe2PFAl+PLE9WePFDCIReIly+l1jHR7YEcIAnjnu4kGCmTxOuqMuQMQF/zRCKI5y9ozmUh/sOgZfSRNMGpN7d3CsGZt3AU8kc1avzeKqkXUI59PFQHtcqZnl7dd/iGzGju4Ik25LQQRMA7Ze+DljWgjAQ4egXKJLFixJ6IVb4TULwCfqTVCPO55XA8Hy0a1bLMwepkJvlghKLzhdnzQn5kRFaZDIwPB3HeLzwC/W5KSm96U6TOsKOYVMbtg8gghJ9aAecY0m5gmbhNdthGLzbL9sYbnRfJ55Ptch8L6Y1r4QHn9M+c5Mr1XE8gp+X/+3Js63gEwVgJAbf40SlOg++TCR9T5xDTYqbR06/zz2QQJLEDe2fm8nifhXo7Vxjv9AJ0f5TbE1ggF814+zYIGzjgEvOpcFwUe3s1UQA2bwGP3VC+NcgL27x3OjC2QV4AWmQK2z3UsZCqWobrf3XoyeHDqJCR55DKzzx+UxsyIOna+iGJSZYMr6PxnSdjUNHi/yT7DsN5dALR/jhxWDBRyDJ6eee102joXNpTrS2ksiu2dIoYxVe+ezKWjOe3dP65zsQtBXSPez8Bkvf2a1e9X6+BIiASVyxKn8N0kD+E+K/mu7w226t7w+Aw1cIDTyq230Q90c7MXel1LIfusoSXxNQFUwrLSxfgsMf+iCwn5DC1/xvUh5c5Dhq+Ki+stCBSnKrPl23MbVrJpaqRT46UaAdFgmLUAJPwhe8Ws64AGmGGubs77uWzAFUcSuqpqQUIfBA56xCixHzcb9YKLs57HgbJWFTAQb6oPA2nYcikzCCYZQFd+r85uziaBi0xaS+Sdh0/nfIoZIQgOEVuaLyW0Bn/ODp7xLwQ3k88OoHBPNSNU7qlTfm/TB34myNOxkuGTIKR7SqJY6gtwUfl0gVLo7/zFwbSnahUUVpp21FqiPOFur7+8a+OR+TKElGZINkM+1nzk1AcIgSct0qAdqKrIzkCBHXzG9Z577qI8YRA3KigSTSVw5FXesyROFUha2qcyod0F5f0JFZiZK66uTrZi0DzYMW6rIOGAI/tWI5pHIxfM2ExN+yz1u5JQ5eqLhc5ev07mQtaOKdQej4eqOOlUqjDVwes0Ow0zbf90xuLz7ztmDYUvr4gR7HGcykFZoP6hMkZy637CgWZGkm4inr9GOnY153O0dBhtueA59u+xUCexW0sP2Zkd1Y7L0agS7jjh5qa6ZaqH08+XdMokgCml6cMgAlWB/HviUN53atdbDegFrCUeDf5yMqhQ0MwlwatsJJyNFC0tTZbMQoN2B4j5pHtvSVgzT0nNVX3AYKyVAVwAo98R7eDkrxCKR2U6+p3C0gAK+mTNA4ME9lGNXDth/3LoOLOUSxxWEXxLSgjPyXjHt//MtwbL9/8JkIfAHckDXUlXAyvpjZkyjFosaVrLnwyDZBUhkH2MYUeDhZ7SifWG44BUaF0Kwts0bqTnklSr5kg00TW2rG6WMXPLbbKAYEjtMzvL871zw5oL86q0/SnzgdJ85lJOVTKIdckdps5vUu4dTo2BCuC78I7fS3gnT03nUSL8C8tdLJO0zo7W/bazKrC8jzhwlMc4q45ZweiqMPEL7CaVh+m5uDya1Z6Inh3LXwgLgKMNEb9mEovx50b+/ZF7jbY9B/20tpcKMwjqAatTDlmjbG1lKpmGuqTnscngz5ceEMf+ad8YyxdoEFEA/VyOMvS9ubxk5ZC1ZcfGOI4OiOfTNOc/lUWAwFZSOeaftT+kgfnAr9GqzvBSWa0vxTccRPiDt7m9xDYWgOyOmYlyJNAiQJz2xQy5aiDizwA56lCVN2JWZCTVZIE1SIz1kQWJAY0txJCM0MaEeWgfKlH65SASTUnmWu+OrIqe8smlWIcWzPqPuJEd9S5ixSQNc+I9gifr8iwmv5whu4Ne3vc+bfreLN1erDsR0LRAQpNeIEbtzj2iMN6TCSEUz6S34cqpxqEIMdjfaoiM+62HiWGRymuIukl31w/ge2EYL9fOYwFYQVsj2KWfGhGOdJilxNM3ZeAx/hsPaNf9iZLuf6K3Q534VPug7vqScu1p7FthxIXQfZ1++dsJCJjnU2D5oyssaHE2zh/Noi0wBu0NTBB9P3pEIWEtyVA1rCmvrV1qc9VYlX6AEACzL3AvQgTNK1CSq5hL5/TSZyDz5IORuupO40IcVM9j7nZPLELcHxvvL52f+r7OJJa2/Hzs5+GoI25XB5pAqY+K5fupyhI7YwgkG0wagR4LZ6wLwq/yjYDs+LepK1R5R197DCrXQPUXfrFRfDA1xGeukNeSYmwD9ECMel7p7UEJoiI4AUp14Q6qvZrMTOWYY7EZunBjPm/8ZLmOYqHHJ5eear1kEE+Wq6MMYSdqz+cOySue1hPbkL9WGAo1FwJoN+adErNjJAu1TGQUeb8YNXlR7Kr297aS+iw/eSyCsoAvDG/SSLJSyAqsN57lBuDEggyGBXy6HudVAxBLwM6Z5cx5aNL+H/STNbCpc+ycnv4sAnZQ5EDZWeCdXc6KWW5Cx5OwOhmLWTxBVqr0egqXoqEenT20oHaufr4NVQfJnt6dFa4d4F8YeJz7SsiY7VCKN7Oys0QRKtOD2r9ZuecEb2Cgo87Nifzh8wh7cAqmcndk6n1QU4QZrZnAbFkIcfGr6t/cWZV/Gw/GKZHGUdsq6O23Kov/LRwllMETyUoXOa7up1mjLTnScudnmoEoV/mAo9iyOCJxiqZsLAoy2KNZy1a476sYZ5ARjECI42cD2l4fAojJfiAg+NOMrODRRz8UkT7270p2e5dV2sSU2MfUj+lG+XSKlayXSXpEytPJb18Pm3IV5QN0i0rhaV7rfmhxrSxZllP7jl0pK2YNJUJzNpd/sj4OViedxji1FOkZknFUtPg1w8AAq5aobnaf+Le24YN3g9dASI1LteNBLZyGENhqs96+EviF5tPrQk3MbbaDuFvCHDVNrQ+NG2kRdzFFfwdooPEQx1EsTVypr/3S5ExZFBTFTDy8ShGgJF2sJaTySHkOo3HkXgYZp15bwWAACs17KgIEjWd/E8dC8ssJyodXKFPOrko04bTsZoBuuqMX/v5MndkASiW+Y4yal3fF+aLxvKlzBkP+XXjKyqmbXyHsK61qJN4P3an/7foEPl2IyZBWmrNvax8McJsaXZUv90ST9inf5SNlaI2MHWcvh5A4lGPeDb+G/3ZJO1IFY9HpywSvP76IWd5VpQmCc0Ew2NTfCvD0pFWFRsAAuAy434i2UQuLEzfF3En52OQrMhGYwvk4deOTI/DBl+M3nLOXZ3u6A8PS+/h7EcAxoyzSNy+U6dnRe/IzNzcDbq9MLweuPuXkvbHJThvrZ2wJ2UhgkgSeTnRjjAHmNuw8vNCEefALrNM3aw3QAoEswwUwezfwgzHgqPC+Fi5fMAmXk1WgGPedI+a9psTIP8Zdl507MCcNLv83Hy42/B7V0x9M2hmeJNZRKxLSkUmj8HsdpjLhT3WmKn1Ac8aygmgkQQ76VbfZEAJdoooOHmc866bPw2BnWbQo5o32r76JefmVgnOVfL1YGdLHXD07heq1fkdFE+el2xlUIhmGo3rjaXWhnatM7X5jxb+YLKgnlG+n1hOoiTncpRH8wp3KhuI6OZah8gzPqmUEE15VJMELDBqeOwGHP70dkjflwEoHw122eWnmKWeM1laixv1j/JTvLchGtr99NzuXSPD5h6ZaDOoMJE7c77PWynretE3hHWNDMJELYyPr09VJuiexbOnxQsAWxfgVtuZP5Gwj9K7qQfMjv/pXAqomvAFeu2tmSM7b64IdaleUpIc/AhlMDNqsmQwCLO3zpSfg8bwH+Kd6UXojxbK4ksPR36FWGSTjLABwMDKksMERmvytiIfdM3n+/Yq6w1/nww6SEF2PvzR4tw68DcuZT3Svqj3A6pVqu6OLViLUKlRJ+iiT+Ui+xPF+JULttIYdwPzaDpsbwxBWYVicsCa1Q65rIbDokzvva/4paXvECZAa+LxkwEmVMYfE/HeIlddBhaE05edG7j/KslmFsS3jUgRg7PeQ9kK4NRfgfClxmhWY8V94Rqocl9scVnqme8whY0aXY7ov+Fw3lQeXgQmZd+ZbZx4FcjYSTh7CrxpvDX6Tcs+7lKZQSC/8hntnfuoPeEXZ/uQxtNNt4laIQQE+IKfrAJPDkCvFepKyg88YiYCZoWQ+yEOTpJVKKuGUS0vYZ5r89oayposcYLFIJFtqNhSznCpKy/ayEW0Ecrxf1eK8RRxIvF1TJMFMShMK1X1C4m9PSWFBCpQi4nIVj8a+Iqx3iUN3HWqknF3AHi2aclZCwovrzAi+Nqor2V1EZrMtqax5voP5kQVHAuJFuRg7QPzTVl+fP4wiVHKjFmNY7Nv/BXlRg84dynXk/VFSAaBRHY07V28KYEQ1dp/sJvAiTeh31FWlEkkH73venjXNuJAOVCViv9Fdbx0Nvg7klLHSUDxS4lF1jp05YCoHnrVQ2D9n4ILsgeVFHp31BlZP/1jvuGYGPADOIHe2HrKG8e69gtnc45tqDeWZjzAdJs1c8kL1/wr66G3lw5it9WBE/R8dF9ifko4FLM/6g/xlmnZhqwStlveTpv49cankanvCLuhSC/hsVUrdO2AIOzpza+W4AF1MfdUVzXHfauff0XdZYUmKkBxWJHTJ1wQN5YVY1CfDkgvFp9Mk464t2JzU5W1QQyo57zQCnZxP7EyoKx5J2X43CbdyKB00LGBrqWJu8yFGzESUx1Uj3NGJOfIuf2d4q7eEZHxLLCuh7ug2jYH+8bXpgi74Km+Rc76AlVCI9waYIO6PpHk+mAIou0rKMROCSGUyAGHCtPNgFSllkgMYuf/1e1RrbwBPkRO+8YDzqv9/fqNVnr4OnOgWDH5LhSxzYHmxGELvUYMXMUDoVoXc2L43wyUsy595JCe1O19PWqToz6tfoTF1xpSE6PPsCuMyvhewcTcfqmyy96mFGGV1LLcSEhvonBgXTCxdmM0bjH78a0xA1yTJuyaxAsdmASrRFtz/Z14fL0lQS+HY6VGGbggvETcgmj4zX1G4k7CQrXMYwTyzi71+Se8c95zzkvj6csAhqsEH5Ll9V8OzHnA7llk/5Z5uNAZJOwQay7zb0icPdYi4JZpLLiDnNCUTBDhkPD5kT1HFNlWZrSmFzJxHADoelGRXUdPVIBAaiPTFIpPdnHdw7xziTgNKfwCNKJcyD9vt8MpHXXz++rtUQtYC4AS3YQPo3XpsgHS7oOWxdQWc59PZolCHjcyPIJKxRyeKLB8nEATsvEZIcMO5ArEOXhNaGbF7LSl2d+3weNCR78FK+Wt8fksbWaUri0fMwmrJDi8aws6TsFyqAE315KwqYD0hR1Z1/YHEAbhUQL3YopHwpPEZ0amK7aINPhz3+MhdUZX3NVsNexEXRwwAToJqw65G1OyuEXwh02uP//wE25Ze2ztrmt4o4KY0+tjB3NC8xZe6+gIzYa3wa347N7TtMjzSUQifEdSEefJklhq3Ug8vNGHQpd8Ybsueu9ztiuNFByvbnATN7Rc1NE32+L08G2p93XpTnZYFmCB6SSzRqqsL7w10k/yzjnUuhedjYYaZNzMITlzayyq9Kn2VYbLNDgaSYWk7gOKgRzruAT3RcdEIOxxBQTyVTvPatrgGRc2gJ88Q8zy17vmEaenSHyWbH0uJMJD2DvBmiUHhZkaMh5dxh6uWaZI3RImRgENjQkKgZgbH+aljFZu+36HzrvnZWKqzC0qQIlf8U6keBn1c+f5QmPRK9cum5HF/UM0Acctq2rM8dAxTdTxtIbYNBv0Pd+Sy7jbnrxvR8pfNjzmrNY8s9xquqamDOWwpieSDUrPTRzTjleUtPV8L2V1Xt0YYzKPUZ1s5P/7nle544iAc2H4H0ftnrN/Y2M9DS4X1C2Ry5y+gMmdag+r/NcL4jriHqHjhOba03kKzVNFWfXbknZsGHm86IGlqtPAxurnvmtANRrrEFL9a5ZpmX7gRVNCqQn8rf501fTrG7V2xA0qgRlZ7okPupr5sboCaA2Pj+1m9CC1px2W1yiu1iMQf2uAoYzl+cS0BKGIbCIgAET1aYreNBPFr1merII5c5rXmd8Gmk/IyxTu89AS/AI/hh0g/2qJuIgDx+etpuntKYn8s2PbSRMi9up6hHyPolyIdedpTFs9xCQyR1LOVbPeco8/mq3LX7HL1mz268FewJ8AMo5xkrQd2jxps0FijKV+zMO78TxVXA18kRwc9xMDS7+iPrEipFk0U0D8cJOvdDKq4hd42lrRiT2sE7o2Zu78isLRQntq9SjA7C/oBr3iqPcwiRHA/FUI4XFdntOGCfhsf9oyBr1FxeFuhUE4Yve6/mapz026IoTGdOCd2o4A9ngwm+WOj0pGruYA1OWyoQTRKPrvtRsEzcjGME+sHgbTY4xIGv4gFLAWG32fpLenOIQ+WKUTDLOjFVA4/fuh/pG74MLkBAEHsMUKhEqlMTrGtsqsyP67ID8LM4F9aFKcFDy4o3UQ+UKOuSMkK77lUWL5fQd903eNC1gbhEXCHotD8devXNIdBTmkh95yebU/VyHDrLGBUtjFmKope52SAl0sF14RA4mhvYfMC71P/gM1vArQf1SGHtqDc2afwB35iGGiSDUyYNDkOjr6RcdKxTZj9CLQn4Fht8U9jXjeiCiZcrWdqn2SBPhSFjJq0n+Qz7yaftFVUWN4J2XG2v9RUcV2/KxOSNMSbGPQN31waZO/3qggzU6J6pdFV68YevXCSLQug2690Y4occjBcUxefdn9NsbA7Lw/FuS5pdjnYXclpPAcQQvhjhc+aZDzdXbjj+IEnM24mych4uI/SkDTA5yUS8g0sUdpEAFVyTLLVMSRnuqXuYSbQVcda1Qr3i32qQs3Li01wyDi6zmX9LZ3QLLLrBEqv85Qc+M+w709wsgwbHj7aX/pju7rBeIKT6iPheD2ckif3IV1uw8Fz7g8ghAGbpSDzBiPcOkLWemhWRqZMqmj3C4MwVVyANQ0vmkV75keX5ElKhSguMG3rFsascv+rZ2ANDjxmF26nFQkU+Y8oAVk/2US5cNikq8xMhZf2W6Vy0ATK9pHdUNV6GUMIzWQLxZt/YHnSvqhE1JJMKSahYs73D5c2+1Mwf+HC8qfkonZ9a5PxrxLjw3SFLE7WjTNkpZV+gDkhbet07l2ScfCzrTwxC+dWl6iEj+l1sZSdDPd6wDHS75Xa/ZTi+DTqfxysnhimAq5Yzh9Yi9Fmxycv9WhX7McAJ/5ylm4F1IHyBL2VJnZkB/MuD0gqXfyHHpCGlyb3j3bYpuPXHg427Gr6DUDfvBaSAynXVw5OmXkw+9if4XVbQA0NZZkriaXPf6t6jLmym0kOXiMySwLKV+hFk8c3x1Xx6aW1ydlXwmt5F8Uj21ht8hxl0z+TPbney7vkRbo80Pld1yHZA5WcIsqeg/ndmPQhF+7SBqvZZM4+RltUiSP6/5Twzw9j1J6pB5T6nJkQfVsx3NLwJATvmO/enrj8xef8KqfzxezhHhQFmmtHMrm+sIHf+vurkcNSiiQ83EymcJ+RkDk3MIjIVe+9yjOAVvWqA4Y9sMV88O3SC85hUb1IYDePj7AnqZGDvMRgVhfm+APWv0DYwYMNH6l7RMLzeZDKAK1DJLh5nfPXXKcqYrlr8R7RUUDI49k7Dni2UE2dCx9aS9lgf4YQtpixiQ2pQhl9VHOFPXB7DpzFtpF+Yg4Fzd09jxm6nGkT41FQwQAHZQzQ48TBCzQFSg0P9HNO+uoxElUiZxdQge+KdIe/rMo4RsvzXQrvoPP6/AFq6Sgxnvfg2vHV2MoV/MHQletCy+pFPVNOZmFudr26dofOB3I87YsY6Ahml+eYjmFuW7z6mFWEL+nQuc8LDktuWeAzqoWef0juJppuvDrYjWVB0MmsCJb4TQ3H6NgkK7P7QpAy5HUsHe+CbpdRxhtq6dG9JUcgQcTkG60EXR5V5v+n6Vztt7erfPcIArVoRAeyam2sO197jWdp9tv2RjtS9Bk2LrKngqPek/T+C7wxCnUPlgv8ZBH6xiLfpSXw00APGQUkwUog5CXsmebzacEgsu9uDYbPOKrY12/BMyHich2uywYLX+NFQ6baNjFHKevLLARSubeEXxikNoQKB7S+LPbIT1fVeuRfZQ6Gx5ugaMZaqtVY7OT33TN8fLP/ZmkKA2dk1eMVIDrp3EjawdSjOOEz0a5KKLGBlMx/qzRqmVVS8zuDuvuy+Cgs82WelF22dO9rBkv3XM5DvGyz1dmU7SXwwqmqFRQSbhirnZPe3yzP0TDHt/EtzSfdbpW8ElEyFSEJ0SlM1O7gicRmiw1bPrp97C50JxRlQlAEuCB+X15fQzyDqXY8i9eIEdiGJWK+wBO9qfqhBb61R4hGXmPCQOCX0++ZsjE2gJ3qik/akPUzzv2gYEJu7sVLlf+sgTaYmExGMIptHS4uIYvaJIJzcW7moXTeLN6Ivv1h8QU0MzJZ1QdYHjcKw3PzbQSk515ASlce0/5eAbOQoOF5ldyt9oEpagf7UwBbIEs+3XCGLszSkSAbWahJ1Y70n4LOyep1949r4mKbSzzK2waTfzcm+c1zkRbHVgObfDl6wGDKPhP/8fH5p/nHkJ8s877cptUBuMfhBEns7fv7GnE/UTMRA9i+wy6bneurUylNY9V2Vw4AjlWLa1UUr49DhpR84pcpgKOdDB0r9GcELMSeFDPoE+M0vN7KH7POnrHAbt6d27JwvGXbqtKXV9R5otMCaOpyX8ktOtLocMgyOwAkCA+J9NqjuSRxiW20W+z0Ax4vGpSI9z1hF7JlwQ2QC4YsYV+DYwHCNJeI5L7AFJhr58K4LpykLJjb5y4TWtRVJhKefQETaa4cogwrTkfFz1Rtk02Kf6YgLtutVqQAl/67hNuepOMggHfJemgYFyq22wxfPYNDwYgWu7rDuRGTzHAw+oty3I7pdHcOxU2ZJH8HndxobAOXiDLQXSGi0PqH62LCkRIDZ6eGWqhlCSRCUii1O9La68uvhJ4o8HW+lKu5zLwk55LMmihGx+BufXPIkZlPpyLjEXB84W5SZWwRQPFUSWEUjGmluhTZi89msOx8vf8ncVopPuGVh5Sc+SxXAoiASpE3TwLC/CoKnjkGme8S+y+WUEx7keO9qeAWfuYGgAPlhlwBrCOeOR9sbACySEXEMz9cb26mJWi5Vlrd/nps0IMrPmxQWlsm0LIxJ9xmjD3sA2N+ArzZSdYT8oZXK8kfmVzuyNC2VoVptvpt+lbc2f2UytVKs00Bab8z8cp1uk4tO8AXiKL7XwopRjw8sK4ES5yG3Vbxw/CEyZclapOG3TexIJT34yQIOpvmnDyhrEjMZz3B4vzYC8c96Ryyxjca5LznFsRtaWmu7IM7wcmdSlgI5hX1IQoYFuMdaTXZgOzvrWGYFja8qOzvOwnm7zdDhclvVYveMEex2prI2tsLUFQ9waI0sFPVkjdwcZBPvS7rtrzVcskUt6QoqaCjLl5oCBh7N6ACU47zffROpPJLKdPyALgfzH8JN59CANYVeUm8ClQ8ruVWiQO1TEu1lnfQUNqQbnlYSJhZJAqU99OeW7x6l6EaldyfLZe2kdA96Dd87jsQkQshpTYpDnVXx+qaYqXlORNOSIJLFsPDP3uvrvo6ug4hftC6EjtBgDWGDzdlLPDwvNBd4CmlaoOKmWgOt1NLW7UX4ftNSBVneGtIG9k/lB3Zl4KRJf34Q0wa4Q+kbBP+HKdB/W4x5ZpHhLAvwjc1VbnDOsJ/P5uhHELlxSKTZ5mOVXj+sUBZcsJGx4gm1I+QTXcWZSDPgsOZfuadjzm0llAhYpwp64OOT7xXO5Jg4DfiKaD7wPqATJ6rS8qsphu/q1C3uKmaLwQt9BuM+GeBvPTJwNyKfhjeMUmP7t87835fSf2mvzEq5iifVy1XXbZ2nRWf2LDaKLc/R1HBnnshtg6bnnfJb0Tomwr/UYaO7jsplEVsWu/NYXu3H8JT7GFRsbPvwxSrunBzKxFWLxs9ftddKx+xl1PsbkBZVvowSipNRfS+XwIMNDVySCLLtnNHjrsEfaUgqXimnAkD5cbHZH8WKoJuO4LZI44EXEBpfqNPFYk1vxmXkFQwJaF+h3nCPmI5mvs+7WOsJoY4Vt/hh3CNVheBTVt0NM7T5Akc8Iioj0I+7ErdWpXf5GhPHLBu+pWXzzSIIYhMegNkPUE5H2Su+lWM6QxZW4c2dlNxtlZhLZfkgIwL/i6ydER0WESZTGlVWTW0s+dSkhvB8a2WYuZ1qR/68gbArPTjJsq9fsgtXlNxgXIpmQ/LUvvr0VWjrw8e7pPJU0tc2CXgo4gH2/DSLTVvd6893wMpzY9GvsBkNxr39RVwFwdBW302kFEUncdGngDg5qkZyCDfINnd2B+yH1lqhPqx2S2CJzocbbSWndGtVQ9ipHpQuw+g77nGZF/UfH/QaK2ycAlA/rKCqFODxcLx7RHe18x/d3zZYFHtevwPsxLh+P2msz5RSYXZ/Vg0FzwsbO9hVMCBHJJBLXlRDgrRk6WyDCYPy7JpPRpkUFtCHeuCgHaZzZd26MfGzFVv5crn9+bTEmwaZSJ60AFORmuEg/x58Rv++HJsaUjwyqTl/hRSqYaVziA15GBH4y2FYx451ZXQJSwyVGkpZY81MM1qFDS/D5bcQrU74TLHFQvCkF3GlE4QZaYagfs/FktCFzpv4k6mVyR53juaD36kE7ZHienO06PzXZl9xFmXwDhoFMjqjZEg5Fc1sLlfdNaP6HRHaO3dG6WUVRPkwesl6P9EbS7T2r3TIoFXj90Cv9USiUDqWum9Ea+nJssNxaZkNYAeKp8axblvC4ocf5lR5HSjATb89qeSynWf9j3Rs5u9JVbMo4lV3ZD377oRXN9wDDPSarFPDfvwaaOe7W52IOwLL/DNOkoMbHccbREJ6Epx07n8F86A2YyOU1FpEKA26wFsopSC1WCbwlLQVYq772toayo7vZ8xf13sDuu1VqR0X65NHjIoWF2M58GskvdXCrS2tzIS4DF0MfAWaBD/B7YSLAmAywGI7hnF2DBWKGJHFTgWCeK0GHkyUWljkw8WkrKBwJ5MWQ8GVhriCkGnPqJV0ZLxzCbcCuAbqsedyELpmVmpGLRTkBmhHRoa2D7teGvD5z2kxOJpidLE4lHsvBgXyyUCl3rc42kcCWKHJJv5yLv8SNubqn/02xip6Q27/zdqqghlXSMc7nw/HqTH1hwkdAC9E7QveFR2KVC/yn+BJ3G9P/6OAtojboY5reOBx+ElLSvJgaJnL/pVFRQCJx01dhj+PYfm+9t5J7mPal5YZkwh2HKYbV4/MxNMyzpvwUVKfF4MHfuIRKmSgus1+S84tZM9Fv/kMY9ul7Tpmvvvrpcwbly1bFP+mQM/yShILvPgC6A/LJeU3pWw8XiKXv55hptph98dulvO7tFQzAiXlZAfSzCbxI3PsaLyIuK2CEo7wq3cKlLIsMB3D9S/2j57rBzLtWyYLmIPuhLUhukfTbaAweogSLcJ1XM1FxtNjKd6G8vxmsc8WdOjzhOp2xfr6YyupTM8eog+SvQ9YAk+4glPHyQB5DXUsAnnEmXjw0YDGj6doZhLOvVduT1UZOtjGU9ngaRZf3i2K6SWecuO89R6LqgB0l4tBTlnL8KDkQhqCPkSk6AYc8kx8rFDnIIj94Lza3E5mm4ESiZKkLTt/qw2VjLx6H6CQofzpro487vpq5VQPikD43FZAo3nc/IX6rhT9G+3RcUTG6ecZ5s5Hx889d+gboTMvT82v/NZ+bKM7pvslMsEUAsGus3CuLB+8Dc6fJfXeO35KD5kSVadJqYOltu94iW1vSL58drYP+wrkwxSF3GupFoPgaDlukvTc1vz+R+yXB4OTPUkWEMVu46Zb2VOgUFi9SsjpN4I/S5drin3bDT5X23Y9aJGNVlfAO1YGTf3O25xHXQtvuyHp3h6Gmtnt4eDW5ixuQr1foBAEB5AE2lT31JpamQrqlr0ZUrN4JPWKAnMK+cBTzjKqCNVL2jN3qdqgymUUC85LAy9wESg9JzdMrzuMxr1BT22v6VxgDnNRK/qwUW4MlscAakbzHb4vDxTN1N577Gmo8isFfHcnMo5zPdt0GPsKsuKpehFLsqsd+dmlpbzUVAnc5D8A4lxuirmGwr5hQwY0kE8T6RbYNf+AwhQgzlJa7sgKJt+nWIyqxMbk79UMSNV1MyI/cJsk+e5GF4SPoAC59qOQe2XrAQxBktL6cjDNTLEUkQyOoDwakxT/5qdS1Eyoa8RvdKZqhQZKHp0QPwyzbLNaUCJOhcm63TEMGA8g9tsaa++T29H1NcOOVFFPGSvAdjribXrXjQgomc9kt1TSh8Y1gbsF4v3/FroQkFmOo7dvZDrpSLFLM4CfKgfnO/E755eQtlZD6El4EOrVVKzV1VZ3buILRjjWQZjzk4nQKI30Tlmt7kxvtRfa3O+Jai7EtmE/3yD1zTR0008BDzJsPLtKj7bbh1UPj6VumLfzFxW+X8DlJjEZQIrrZB/5n9chtwOwz4qk8aYlOE6R0+h9ZROE30yYgTju8L+4u0oZN0AEGzWC1OxYERWxOqIu7ow92C26/FZEHMuF4+WfhNuUxhFEahdqK5iEuuMfQUhh8PKa5Hh8kBkHvhf+HNTDjzRMKBZZD5aXOKiWfHeTTIRj4avSlRq+02C6zdEeQzKhl/ncIWfdeGvP8w5tMUNAQv/Q+YRL5OD8hBJUkGjCy+oRKw9KDUZ5FAhF6v+ASBfYWrhs+74+//+9ayXW6PPN2CvaD/OH1KIoQqkSRE3BzihCY5bsfwtdzXDVAhUm9OmGNLOORv6EZi5zU8KMcLNnSVIZObo4oEsgJk9d1laC0tc3fpPQ/+fbR/8qZjQ1KOsl2eCZCAAt7kUucu+TsCYpA3wCwyNJA48f2PvaODPbxbAWMfPKKlK/xx7k/bJQKBI+45SaB1sq8eAHykxtnQqHwI/5NltFp0cTn1qOA0VN0/pqPx+W7v4ET2A2kQixqtBZOUfUNfZWLfd+Mmt6uNnDcvGZPWwMxYIiw1p4ty6eEjtYnDqcLDniu7LHJrPrhOW9steY2fw20zjk0jxaaXBI1wAIxcRl9+xNY+uFyBnRKG0gWykBUsNP4H4nBolcBwPfWyIozvmqE1X75NV075U215aSVDoJFgz1V+yk9K+GnCePzhX/lYWX46ICwm/dpqvtH9kdREfnBBBpRbcRc+QtwXe+U6ylFtv3DWlEZ0SZ6HbC+ajhy2xG8NeLbpnESExvVfVS5HxDMRbevi3iJk+rCqE7QTWGr7eNZxdmx8dC/e97gNP1Fl2v8h21nx1QlgvG2DQwMaeelI7/Tw0T+Q6VRGARVl1B/NaIVEqJb2cckc/os+usEnaoRqBTzxmJID9Thb1f2zC90Gf9/6HzCKDoteaCqq5uii4yvKOfDos18bpSY8Bu98jkK/s2dTxVrZ8SEVmZpedGt/2kPXPHBXegTnODtHtNnSpGPxNAOISC6iUHjcKgG7v6+L7Hw/M3r8gs2M9TYN+R/60DpRnbVRXPlCzGJegwrG3e677FW+gbq9l0gvgim1ijm11wW3ZoZTTMZFI1Q5WlFJtUojcuSMkXWeR6Nbu5/jCYS45leznqz3d/uILwQ4ER7+JUAM0vUfUyebUYuRWIxPpCtzrKZHeMs48P43HKG2/6ODDSlFUHIF7ZiiLuJOdCWAlOEjLO0puBiwWE9Pq1ZsmeFlx4MRED19mcd83GqpgUz1nUWAuQZC5N/sfrnLTdcAXGBtX/PJGo59imQUfd2mIA5iX5pXXD6G9uKjZ430YMYGIfFIDEqjSuoO6YmQGIIF/cnnVJUU4NAR3wXPOTMwp92KZpM/rsgcndpDkcVipmMfxR3UEGBcrLiVM4QXuKY6h9zf4FAs56jYKFqPxAxKVoKPSdmGcYwneau4eJG/c/6Zf1dUOGfz09qgZyDKcGe/bcBuPgl+Q5ZRExolSlNGwf+MEubh3asT+pAw5fnew/8jiyAz4PL18H2lOkVbtZsAtZ77Ch5gxnziZTOkBcw2v4s9k+QA4gmmKWSL3XLAERUcSMhQgO9192MSUXhIbmUkcpVllDljau/aSLGNboXjrIyiYzppIZbPUKZSe3WSMr7oacNx8o+mLtH7RueSSb6CX6SijprnU9q5vYVBgv0HMxqjD6zdFODSPtzcxvOM1Ae4kjzoPmwdVlbl47SQHuGFuNMLDpY9vtPVYSHRMh39lAy4GKF4DRAXwcJEUnTm9RLEfDKun1839c9B3FHRYwPqrCCOU3cxNgTID1eyXjscxlpO+DwJcJ5idSeD0bluHAb3khpKnDTylQ+d7PuCVzaCdnbh2/V9c2N4M+dDPapav92sEO4hnW437+UrCganzPaH1N5lvESAWv/m/nSZn2EPQXSBZWuHJ+ZWaeU9iEmTJy+fSbKXLzloeHcIBZF3UyjBs8VH7DSiKTW4Curbe1N4ZStn9TFe2sSshI8riKVq3aKpaAGs74UXh1fihvP0g0dFnJzZVyXJldJjzofc95OFItFTK2P7JoQDcskmfurG81etNg3HiILxe6CHMyEmvYfQKCREigG0JGUjCUov+XDEiboqqtghnO9PdOmkylJdGazwD0uE+DaChArdgbOkJfLoziDe76PY8ttQa/OoOKhhXsSZZfOolB+PRPvztFCoT4ykl+YYzlo99A6pr68umXAp404pKfmEUfbzOgWDtqx4+Xkc1TtY2K9L9p9KvpbLSMktNjzG8ir+D+32ro8aZpS9dff3R5GQEtLPUB9o9/V2j18U5GkVmVqdsq78NF9qNFC5xL1A2WgbSV+AA9LB3luFdypJuxgYIJC363drZ9bLcIeZlzo1hR6n49P4kYW9jDW69lHnbgYBpWFJ72Gw4e25QKBjTZ9wZQttrjg1ML+nL8sbQKFgnz0DXPpljyW/+C0We5+h4rmr/E/iJBl6f4K9qAh+lO1+0QHqtaVTPVB8xHgOBeUKJz2/DqphSTCSGQG8AgC5IqDHjODHt6oAjwnU/bB39JrefD/IbqoUvrF/sHvt5iF0HgsLPXc8BT5+rf9HajQ6Vg8nQnu2ZrZ13itoGguQYdcW1SB67qhTy2SvOaN74DsoPRhSTm6f12BY3KS9Y/rggdiaNPYPlJs5lsqWum2fP6Cb4/bZm55waoYV7CDt9rdEZ8O8Oaa1BvYgsdrUaVTp28vzP0QkgctivU41Jp81gnMXvMqK6+NRBQsbtNtnaZpQJayhW1jhaO0l6CaP6X0mjeMUyNqE0jW3wr3NfHsVXGwdLjY6QeaI74ivd0qMzqjLE75NwninwlMPf/STbyWk8OS0wBWkQ3/F5/L7KqCf+zP8BgIbPQb4xBTalLWymDQh/ILv6h3skKB+aPt2pxHYbCgRlTgzOsk7zt/7y6y6cFETxSLaj31PEYFJiUmhJFsXd+F6fblGziver1gwAykRbntSmCaaIEEb+K8+tM5lHBr5/Ajnq8XMTiBxs+/yxKEi/CJHCsYEq3MW0FrtkXRA+7ntG3eC5dHLNEauHAC/n0jzCbCIETOKO93xOCgq/68qnrV4hVZlKOQRKEXLx4tOt4aYGd3FLa4tT9rqZYBPUxdMG30giIjwPdLU22VGUvN6uK7tzKJIUGGj6byDFyIAEpHtBRNv01t2KoCx92izVHlHwhVNTsLbpRf248PG7lsU6Hhq+vEgSUUTXCk/bXi6/PqQT/tTBh7Ls9s0wv2Bkyeh+Yn953igUeOns372uxiq3p06E0D9do880wS8VGDKSWuLqOnq8MoHn9R4w10RHcvU3QAHnj8MKKgNsvRL0+yMpi399yceB9i7pwegO10eCtVnvHG9UG4pEXagX5SeM2KTnCj7FO7/Ts5DDgSqa7iRb6pbVMVaR9GK+7V7G6CMt+i6vYT6xUzswDaqr25wfnwrDqTnDCGsqzndgawedTttNFTDtIpBL1TWW/weGHdQwv4CmvURkWyiFjh++Ywe6oa/9f1Sp3t8nVhCGQq/NzzuWFBOtsHgADoHCe2By1eudnxU3nnMEXP98e6oLYBwCS19FRkT2C03EHixRgPoLN34bt/8HdieitA/v0t3v0/Yf6I7oAaw4SnA6kDDaFhHscG+L61c8SSBzph3j/6uvobWdt2Zu4CheEH0YP2o4De5SAFWK+TXmrZRdpm8GCMVFHL46Cxw8U/ebWomP5TiCDpSlaXWDMYVZTA7OCr4/UH06n3id0ZzDP+Bqf9WgFS7iIr6tlBTzpGNB/Inmnb65UT3MzJra/HYkEbx8G8XAGILfjyOraxHcu3XgmYW8g+onU2Jfg1EHG6g09B5zYESVyuCGHS7QhVvUaUAz1FR6zgUu0wdXL30Ywt7ijVQcNLv3F+WM5eBAGIW6corcf+6q0skYF5tVd2AQkn8psuoRF1/+hFC7884AAQo6AadtpYX2vcx5G/4NHVKtYh/9gMRf6Cqt7opcZmeoBybvHGgXE9jPLGDr6HorTNSZ0oOCKOTFr71FDizjbb1JABJjmv6h7LgGymqKrCJ8skCQSCdOoP5ahaeu7Ic+En5yfbQT/O5jDr4GjVLONELTgVUtD94U2qFtksxcp65hJBuh5Xqgm75kq1w92dWuoVo9y7uXJ3TDsMPkSgh1sFsK2euWWcffzla9vfyZxxyciajinbPYwgK1xB3Zf9MLEllcTHbWvnhPN68YNLZ6ZRXkKGbi3GMyz4RiWAwlX69DBbwovXoOHLm8lv5K5sA7tgZMFYAA7XpBmlqOQU7U8rFLOZs69iXHDok9YhJv0U+B626YmThjcALrEGLG4J9bXaT6bGyz3GBHkIcKWKweRwweJ3cFHFfCD/8XYi5Ix1ShvK4W91i9OmyLgXHXyzDyIACawHOc/OzOEO7IcZ4PRETt+IQ7UJZ84d2Eeoq2HCMUous76k/5fVEqU85lKgqWPPquaOPew2zZIgNBmLyyEDsnpxyvFeuOoxJbcbO0qAU0Uws5Hs6ScF2NpFg/9pvfRLniCyJ1AbiDr9EfcOZjwslMhPzmUQIIUq72o6xvMOFIjdFly9oIhh7lWkwwSPG3TLdRVcNTxdkDEEnW2LFTrWDmHCpkObRW+r7YJxufPGh2ASRLllS6itYb8X5hAOv8GxblgM3WUuRbHOmffYh1ux95xvkC4WoMNh55D2tCDvN+cY4H6e4JuM4cNJ7Kn2JW5gBX4LzG1yPX/eVoUiWHCf9UHNZi+8GHA6fC5ZA7bLU7lFvmjkdxlbtARQCzV/tzoDBdqOtOWqwbvk8p79tX4KNVYTW/uI7EMBIliFsXdQ9lnuNy3BPybcr+VMKNBBcEZiAd7DwKKJhVrX53wsBmqGYjja6NtFcVxeWk/7lo0QWOACJlV4k5ClAAEK+4ngOIkpb8NqAgzBJTCw7apr4G3VL8kngjrt5Pf3cKcVkt6NchpvBSxiFr+hOL/h/wM/T2CgYN/8wB4bmwrts50NA/bQbakGVH8sodaMHWubbCJ4qAP/cKSR+iHDQmPteMf4bEpSrn7nX5ho95cfR+IuFl9ZSk5Dq4Pg/+Gxl4qbKtdPhN4JwKYHzoCLmEcaF7VAcunkngAenelMtW2u3s6FpIUvNx0ItPm9Ze/rJ8KamwkFiufnYxJ628eOh62pz+5j4ZRpTnoI74IvPKXreWKb5HwmnfHd6/uS7JBEGrybRxrKPbVMkhuAb2GVLjBNPC/m4AFnKTPRsU96p4+rENyPDpLXbTgfaY2aI55eRWS/cvNQn/C7VNvQCsnaNilFbnpUxW7NmjTTSEQJHQkLCrlyTfSy56Xj8mVslWZLSxJH2E+j4HeB5HznYgstacm05/PgWl7xtEicaYS7GUGSwGIEgOPs7RrNUBlukQSRpzcYfD9NCuAL2sxWVguLHbZJA/o5WfY0+t44nhHoAdHHHz3sOSBMzOdHWemBYZzuhI9QF+N5zVNSxRwLwkC5i/wDKE9hk5tZ87nS2Ygtuu/eLZMdStzddR9CxFY6g/8K36OeObSrQ2wWRrZ0WUD4X++0ZVFsct975Tc6CBB5tBNm90RcR8Pvhpd3ZnHgiD5gcin2AxM4XX9uvKzzjEXFiKPlVaKUK0ES74bBMdj0mKXWYdq2kjH7EqSa2Hh4TMZ8+HGoJfFU/sUr733FLMni6rtZAgl9BtB0flETE/jjP3UwMp3cWdESTmowjQkGOyQDHi2H1HkBL0w/eXARncZCYSxOTbpBaXA/FI8DBE11uehpgVb9jxYJgP+w43siNioXw/C9UYdbdDRy4+T3q7nEiUb+C67uXP23XBFBL9g7d4W7BjZva2CmtNvF9VMBKJG3AMBUPukINGG1JR0eIxQWKY3aoRnrTcU8nSXM0GXgJ+NuOiv/YOUPJp5ZjKBY/MU/y1XOgVH1j2m4FmSnSFZm9C1a44iH5e8Nld3vZw/WJvt6qw+IITBANJFCrQmXVVr/csgBMMtsW0aYRGrEUMIY4PRMt4XAo463MPvJslMprzn0VYMRp3cVxtavXKN7o8qGpI3DX0kWIZP+hQudkSkMJZy33D329nJq0jMoeeEnChREWiDpjiB/OOlKF5iOskXmhQ/X8OUMNB0SaYnGGtkjS4ziBU5vTMFsaFOv3tOLdGi8lWW4uFNDym507yBKK2AlPaPztsEEC+uMlBUuWFm7Zgi3gWT5W2oMhiabxRkfAZySsShsxCgq5pwhSwMu1xiki9kLmTUx2/3J6bPaJwroxpCUW85ncoHujr1/hN35FSrdwJRZuGJ5TYQe1YGbxegf3i5GAYhM66J1sl9OlecYrivYFnl9zEYO3mKi1cF0DIKTe9KwRBfpE2LJQKXmKt8yNF5Ng4FTVht9/69Iw87ipVvn7qWKrDyilBpXfYI0rWapX2JzswqW7wBqkdo6jthLUizrU1/5sPi7p+2GPMU3eKEhbd2cZR0x3GjqJeElw5N4YRsaqdA7r5WwaDh6LxXNXV7IDxmoIBQzilEFJVagycDz7UOfGW6ZD9Kc2AGMzA8ehr6phiUm4JOKbS2Cuwy4g8QUQpr3saOoaPHRIkrk9J9zwO9+SimleGs4taAKENQvsO+el+pXnIfoWP/DvAeAY+tJIoDi51bPFMFzIdRJFECJKZio8DiiMPrACKnCCbWIUOd7vmYZz/QE+kd083h0VJkUIEvlBffv39mrQS+0FXK9MeLknvIM3Npc8YE/a0Yr7YTxhzYHRYDeh+rG06C/JJTLLHUCGl4kSsxSDlqFnoJJxR7CetmlspEXNGQBTvA16ZTNo2YlvaWhIvex2IdWkre+4TxaWVC86YXAAjuiLsZ14x06ccppmjNEIXeeoQckT/KF5WJqFNkkRO6b9f17nxmlwpecbvLovxtGBwEMSmkHcm2FKFV9GD3PP7epELpC6szXkeTFATJQE0mVOOVMefEM7kHraJ5tmubBOIBlcom5RI5X/cnpSThk0UECIO0m0gF5rkNhzUeQLxIsm9QNU8qaviRXM2Oea+IQX15NgeqngS4F2rP0cyEJKd1htwp/KKiro8H6g3fDfLpMTYDW0R+4MXPVQFcTiqVqwvVml0T+KQDpP8Au6mTBh0wk87BjWH7VqZu19jgzM/duYFwAiVNIW3D5F4RiadCLm/6ZOxeUib9GGcIomY57382SibnBPNfeezpjdPcnNugXOhhbSMbMGh0dZ+YblVMymnDsV9/lmy8Gkb4VM9pXJpjwY2imJJ8RsnZclZG4kaAhCYQgqPOCCzMKSdASenjHE8IpY0FoLX19FiOzoIgPBCLCKu0a3WQlD/J3o+twR6QsBbujefcPofZL69sJm1Bzfs/0lfghKGY83Y5TSQnhxBmdLl3Se+lAAAeyU+fwYZRCh4EK7PW94qLNqRBz4fWgbue/Ke79xsrcv93xgyduU4mIZZeWNoQwIL69YoikxPGsSG2Ej2DzFNqG+hlzHaRdtij7/fBYH8vsS+xDiY/2mt/2qrvoKejbhL/jqawwiZb1uTedsupCE1cj1Kr8n7PWXAZjBzAPT8dbpOfCPQhz18ozVQiPtdSmtcAI30DBSaW9UdGCFyK2PnVkp/+5YmJBvFh8fe3VFfPrg/+sBf1DAxxqKcFtPNtfULzRMG8WsYOAw2pZPHZaTsfWVS6h94G08yveXuU5Gl22OaGi+CZex8cPNIASe665RieuCtlSVqzvfo+1bm18IPlIxClltHJWO14TuthCAunLWSoEeF/6hOErvmobVPBbV1ZJsgIiyUgKNtEdnYqNw0+3gNUaOGdcWarPyQA43O+QiD1UtNi+3Ubk4ok26GTqYDa4vcy4WBr6evyGBLf4+0XdeRM5iJnNe4EtYjxivUDTv1ktmgonvuUn7Qx9NHDWwgPVDrOTHpw6jy6AxrQr2B/jV95pnBvUlCiISdDN50EIUHmjHtmYWI5Fvxn3LHUSsueiE2PUfWSmEO3cnfOxd4trxaxKPotgJagx6pGsbm1Wb4YC15F9JgY/lNmkwJBepcZRAFR8QVkvHGk7pVyNGQa0bXModC2E0fcCBFk7X66ph/HxrQGvK6OB5Y4r6CS5+lu/+v1aFxZmOk4cWq5pFlBlRcwbeFYQmgZ5zK58MgeVthypnZVU1c+wXGtE+dnjSjI7Ln4Ukw9ZNacSX8fNTwrptC/EelySa35m/di/3PGzftw0K2jNgeqr2/WcyHzIRwKjDCvRiZE/HNxt5zMW/zvj+UxrgwdIa7MNCJp/jhk3SIRWyAOCoJWZm8bhbU/UzTdc0ot606TdY19jqRsWnRWtTM7+nyS8iOxJZw1oV9mk8ldxtp2T9LTcxc+NSkVwpBsygCaiF05UXe/8PFWgVYEEhn37PQECGu+aC6DCQlNt++6UZXITMrqqxc9RMokGIp4TIGUzNXRE7M9n4JXdVnt5qM2i7Za42oCEVH5M7O9kPZEm7CrvgPH0/hA003UwU0nr+QRgakpN7p+1k59THaSFcZh7Tb/ibArDFfqyZtc9im/dG0nKoABLwoAqgy0TzQ44xPhJviNKJxeIWPQMUHqQOLBso+0ejFdH6r1nu/STjTyIygFjsTizcRL94Ip0TQEac0qOCAvq2LVOLnPfSHs5uSisP7Blsw6nXed9gCy2eU67n41O7A6FcCatLHi1QjkPisS+q3Np3NjNR3TPg3v3uH2u5udGEqvGtdInIExnzxGFXux8c20antG2eVgW7RNGQrHaSuciBVifyO5llZAarkUOVhnkICN10z6L6d8bob5e9Xv0sxct9FXLRndMzbvTv0E+65/G2QE+ZEUYZpYMBA1q2I5SV6i/59pQK/NHTZxo+un+MxRMZs55bsAIH66cSJ0Em0nljgOWP9K/FzHK1kWbMLhhLeIxRqzDFU37e5upUrnMHHg/boT+7RmRAMsP9ShqM3Futlr74cN3O3MND1+39516FAsOEP7/65ueGO1/9Ddos4VfCE1cZ8iWQm7b9rbf+kjivXSjxmhZYFIghYaAOMOcpYG6E9fqogzBmR84AL9aOOEIdjvSPSyMoJkNJnbTmdatbEmAs/bE+neTEIdBinQObHxck1dNmgjtOh4GuVwx+pmbJ/qusJlBR6tq9RV/Fnn9Hv76D/qdvF4Va58bQpy3W0Pge2UqBTt4vsc1agT3gCXO2uX3YFc7Ylx40937pUMxt/vK4jsKKkL3VNA5oiE6dQqbdUFW/lPJC8afV3qNlAZu648M9sNZXOhgnOnk/EVVy9u/w08fC4cOnTElChsebtewTBoSVSZyNTbdT/7MuP99BsTSDsPkWj1MwXoppjwcU1QNqYm3xNt+HzndPaoXHPVSmfqtNeVWkzSgHtBiPA3YVtwF84qz+nkln1+c+UaymoOC0lbRwZCK9YG/J4TsFgUR+ZA1NVfbXRWpwrBA1NEBDkY+Q3EponA7xXWvZBRN9H0B7//rMO7zGIMJv9rK8NgkQOxsCPQvJjl9ApJ2c1FQ3pDmU+OOeDWTdcm8CCbFuC/56PGWyInhFY+4YxY/MdWyw8+07Atr/IN1Lld/DGfzfqdOvlirowNkaUu5wsWRvj3g4wvH7V8HKARs4X1kERRnASGwQN9xcFj+apa5p8esh3n5r0Kpm5ocUSeGUM98DFMIEa+j5eYaE18FT9CDCljb8sy3HoGx3YEmseEdx2fNe+osv66aB0aXl6OclXqwtuoLm9H4jIeniaSAflKGJt1z2jQUYH8B/iXuzJz1YfVWsiZaMQJxuXjqhcrW8E5HBxOFV2uUnrQiBShmXT30fY+suwzp0ig3etMUQYFIUT2PS3jUxSkEWesb5LMPi662Td+ATk2h70ELbLQ8JnI6nkqu1tI7+JWN0uYIMbkE4+aDxE0Z/S0/dev8bDh4QyulxNqUwBJPRFbuJzgHHcB7MTCBE1rnRKuKODOhKvwwAeBIPcpuy4zdkNJksMVS43nQ7JboyVYcpNjdsgnWQkCbIhnqcd5YJs2BhKz/hi+6OXCtwFUx9amADpRIQJ5Sqk9SXyJ8+9IlUKvf7c7/jHkEW4+xFzMP+ouA/7CyDYEr0lAojQQ8XXnFh3ZVKRtn0ia9ROeZxt0KuioSj4MCutCH/wk429Kdjw7WJfXvCy/fNgiU8eM/wRWgreH3c1TMpKC4uuvBmICmqlUCu4eMQ//HjAughttrPHpvr+cZ5wOSlZM6/hP+QjmayftEppv4NZgZGIHIDEbAQF9WXJ2oNchwUwsrKrsa9cz8qQfSk7gAu05kHGsvlB8++NCDTsWQDpOivbmTWBegPK7rNm/jZVjxPDWjefGtAYSD3g9aqfdtJ2JOildb5UyWGf9pzcaBVkBUWmVS2m0k+yOdM4c61NO6myXinuuE+yCORZuxiTLIuOyBfhIt56eK7qiXIfNFWvqT1H4ReP3+RBU8KCULlT8bna+R8ckGQmshJBRoAfSAy21AxEi8VGndePVzNuWuihuqXV7eSP4u9CDouJr+nRaayKYfPAgW76lqvyF6B5ryY50gpVsKNg4hB6rE3LAWy7CkmTmYPvfQZXsH0hA/89ijcJiaPqCSo2tFTLiMx8RrZ8u71Xc5CSva6KOS/7Ddokq/z5ziIF3LVIfEDQKDmNfCGHH7qH07fwilGFDgsxCdhz3pPmUZrGQDHj/+CqoSRQFIHf7jyoVL71H8jS5Ebx/IPdwvSHwZ9ixlLf53olMEjPHxOOrbUkY5wFtkfQJ2TGSUwmnfI3FZyE6mZVDf2+B0AgkuiqmBTePE3cRx7v0PSBLMYuClDPCWUCQcDs6TrgjfiQq7WsLBlKTZpvy7WpMfxTxoohXExcaQvXplZr2n/qT6nvozN3aulM/E5CALONjQC1dqmv5GZuilkj8BL8E24lbm4Us/S25sySJY9wgagTaUjdL4bp7KJjBLrO13NIiAvWHT5Bbxxt1+JaaJGG+cZ+WTM7Zk+xwC7IGEhf/VR/fjupqQ50eZcBFP8/PL8A6ddnQ/LjAqIpjV6jEsVKsCBwc/k8f/QSMfBItqMD+YSD85QFZBIvFTM68uCCu/6OXdZtMCmjtbbxfGMVC43Zm4EtYmLaLRBUhM9DqTf3GMqq162YCHxPeRjJWxudIyjafuiiOQhgL2QboFmg+6ZAwtmcEIffRta86AHgIsHUlBFgBE4MjBJvccbirexj2FyvvSWueAG7BOVR56G3DG1c21ru3VS41sf++OJFpSEZEUwZKtNRPX6KZfbOdBX1YLhLZTXcCS8NfbRWWKAKyVW45RAExICZessfSaddfHIHmiq8LpH/2f33Hlld1qn5/K9Lp3/Xaf9C/OcTK1z2CMQs4j1ImJVOfPdWVV6jhJweUAeAl4VZ4CXOgyAJPTt+cYOJXCzzfjZRmlKu+B3e49Y0UUkxYxgUiheOt3y61UmJFft50aWAtCeS8Ab1Jb8+xkBPQSNMJ5jXj4PJtofyyJ32NLqYS2fPuoh9B/Z0mr7UQ1nA2W5BKlMdabT9iTEUv2pxXBNcTWFLey8X+349YoliMu7jRbE/pKt8HaCZBp9m27o+duo+TVaWW+IznPJszi2OEbZBIy8Fun8ruzxnlmsrQEEAly+ia9+S3rQgjvJIIG1uJENUXonfHsHJOQukqRJAOjdeu40kSKEfAo6Z11SABoEaRLQVgcBs5uQOuwNiy1/h5UYDJju/QHBDcHdcb+uG3Kx3VYXJ9hd+QR+ltkOtjiBzY4j1DXpGMZXD1FtCe1OQZw2QXlbhF5+tx9LxhNvUA5zQoONF4CyVbOoZls24p6sEHPystgey9NBHFCqsMxFGVhZmFOhPFdVW0b+rmW2tE4hnMvFudtJnIyZ9n58UIPn7eZH0eiqSAbCgQ1NeVjHG84s/Mh0OMmsAH5A03AJVFIPJEE6V9ZLR39xsrKkza8bs/4nZtHVqQIAwgejUj4puxVfFHksmLecmCFtsiA3xJkyC5kAN/vr9Bw36hmSto8Hq41qyX8wjvVaeEuCK7FBkTVLZjluXZa6VNVt5JmMwVkLGsGoZEV27WRlNPJp/v4HwIxVOuXW7QYfQ8n8Q/EvrlkpIvFiyc2X4Q7Wg8mAm4YHIURy4hO8vFFVagvf9qrudjml8Xa8fJTVg768JDuNQX1YPih1RFuup6FSsEBePmac/ZZpvYYOjfGDo/0+1VqHomrEmvUJC1iJbBYnpbSMSaelzsJfpUWgV1YD/PiOtAePqTV1LY69bhMNLw7TNBgL1G6g3TZkiRwoKGopsmcoNiPtRWxQizu5qJLeLakgQbUqLFWIOo2EX7nm7F2U9e3LSc5dm6ex/vWIKrUyu+PNMV6/7OA/mBp8vIfFDMBza/7tJp6OezU/GMC8ojfZYf3/S4J4pfE9ge6rZWi6XfRn+8PGa/R3ODBNQW2SHRZhTbuK2mTKRIa7WIW8onUr7mraWNrVftovmpD5TAh44r+hmK3rUgbEp8Yov1WdhXFbMHNji+CpUikpB5PXqaJQtUEHi3R/r9tgmALZiBOma+S6ZWNi59ZTNkemG5XgotmHy+60cd4WyweREWSRedDSle3aSzLGk3ehZyMmhmChJtwrW0q403Kk5gXxnCaVcrJ19FuxNFXM0LKghwx7cs3d9H5cz1s26/rAQXfejflXEpbRKH+UzLrhy7vD8w/N388YOSmXQvDeVGQykWuB8G2YAhpXWvfHRw1fak9XWUbW4pHPGtCFFYnNohkCzJemzU1udgxwepQlhEHeL72Te+HBeOK96v/KNi1oVt8TR3hLGB4y5FKIm0PBs59SBC0KODjINB9ZJGv+w/GMj8kVBRMgl8CcTNTjDlcv/0aV9ok5XjVi2/xiVMV7mcabX3UO9YZV+xElF7oqcbm5VJnADVg6RodhcVoW/TxeYuF7/8VMszS59F8w1sMKynwZxmR6DVpejN6gi5pzG6weOv9fKKUGAPd+Rx46nBS2/ptMnMlDQhNtnDjVQM2IO30TmgNerH18iLpWJadGsfiRxT+r1ILbFoxTvv0O6xgBMPzEPtw4mU3pkWMkkDciGiaGgatF0ENCYuh8xzuLnhVOZciWYrA3UQO108fHb+PApLAHmMpxopFanpf5OPxzrnueatEtZpmvuE0/xlvtosYODTgPJqrqbrpIr/aEB1LKx8eTosDV77qJy1pF2tniE+r/OL543uVYKIjg0kxJnJ4BHpa7b0/mJ4VbYNFckJqt4oCgQvDrwC7elfsfyMqHDGxuErY7iZXCYj+OVe40AbkKeFWTvrkyQQeqOfVynMFWEnxVE/8O+XS4p8bR3IXz96tLfeAmb8IJcaEjmJKJbMZh+eUaE+qq+s2xH7lJ1B6j6ETQO9qSt9E6LSvztnVnsK3MBDu7AfigvfxW4kOpceILbNs69XdsOn9fH2sBoRBSe/Zhium6PvLGcakUro/VfMM0dyQ06Ryt+Te5qAS+l67ot5XJsMer+GOrwtZZE/Up1hyI8dD8t6TRAYAYPcbWx6qcCjySWRDC8Dlby0dJE4USggJzv6x4DEAdPb4LKc8T1hLsGM2VZf9tVwTjgHoAaGY4Koncoq/cUYLRnpgBdjldeGNb2J7MoZpjrWOXJANQp+iBTwQG46eOvEc4isg4gvfHQL/M1nViPCFWEaeiw//ZVfb8InVejeTHoIaZbTz2Eve31r8YcbMHa02ScxOFzv0+XYZUVCHsSLFclcg2RMuaWWpD3WoZnCIgfD9EMEhdcZAR4gw2hNQcKvfRVqqOays7W86fV8FkeNgUnJ9cOTRXQS9cKRoTyDOTdF6lx6muVQVlOouBK60clHRwD6T43/q447aYnpkBaIBwPiYUnZfKoa6iPtvDf2ZIozYtn8zhx53vA2McGM58Dljjvtl+AWQq7kZAekBede7shWf85MdzTl/2nAWelbXARtyYR0o6dBLDHnuVQ6tnqGjii4QzBoUTSn9YxAfkBjhGrp+ae5tyujC+kFs05S6ZFuGZUJesQ0LkVoLjEZUetc3Y5haI1Qr8dUR1PwXqmfqAW7MA2VEt5PVoHsqcrQljsEfrx9dd0hRDpI7rAIp8cgmYTFFrnswyVO+d2fO51UmKsLhPWoXBcxDkJA/vR7chymkCbDJ1raY9OTZApc7ARF8qtL3CAvnTnM3GR6Wvkw5kWeemn6XBlLFpZKCpB9XxR5GDQC3AapJU/Ca/1ZW+oWhrKVQgwoJ5dm2Rr+ATfkdDun3VR/spuNCyuuUVVVp5E59muZ2xl8TfTHMRAotWDroXQ83UoBBzpt/hN0h/dj7fC7cv2fR0mswrJshjlJFWWS1nWcj09CuMXufHIhX8T4pRLzBWWbyEiRPDC75K5Eb4d4z3i0EGysHR4yXm2/3kHqcZMKdkbG/1ZwGFL4HLPzEzSB1Hi5s/GkZ5cn+2r2NwQs0xBzTKKZd6tcCZ6cUqGvWgpO3A3WN1oDVnCDMgmrl+PainXSt2lf/vEOkOG6xaavetaTIIqIkNxLjn8P1jO5Y+N8DtYCR6h9E96XZ/PSSMxXi/ReQ52RW8oaneFREcBGEtXIp4MAFZBMGaII2bTudDCKLdnvlsDlTPxHqzfKU+iTMpdhVhy6RWS1PorRVVghP040rcOj+M3DbhYytJ9Y6nHkVnDPMawWCP7aEU0Kfc9CXRNsjMkJGwo6p0BqH3A2vVcOZrRnwl8FJc61q33jChuopG8js3IX5fxOaTxWEYTCqcdxPApWg4UGOIT7LggA3QBU5PLxq3pPDg92XUi1RBV1iKu7y71ZVJb33Viedf8m4I3KyoHKBJrDaN2d+KKKvMj9KMetKHIIPkBtNAJdm0IFiAlcodu9C3/7bNSB+1qL3aTS239FOSgb7+kSLXfftmwwIgCqYJ1ZR4eJxteDYqnQXXjnmTWgW8Tkhh0o0NjiP/pr7Cfv3KuhZg1fvyIPxo48ggHdexXGK6YeYiOf+G+ODeVTcdZAiYYG2+okB9siFbHn6eFsRG6wz+PZroBwJciW4ErFfqxuhKzjq+whui/b3qpBXDIQiXzFqYRGbYaRn/siUZk6IjuLrWHJqJI0XiYFG8GdN8j21Re9cUHkvFQiG9o9T7pk9/XMB11Ns7t7TUfnYrTsE3BNNEfX1Ts4BHwxFiDeCfbePbZuJ3KJsx7KEX9YNpyZhSy7tnuujFbTspdlVfD/pxvyg1Yr/OQtzzwEx8z2y+XDnazcC7IRbZgwC617g1J+bTfiZGoEiWU8nMSBdaxMizdlLFbYEIpLXnC4jh0VdRasYsGH99EgL9cohUIzgbsm6DDWBvH2ustjFHSq4tZeTBJcLj/YRB1b8kum2e62AmVoFepMv3cW6KPv2y/KMiAKT0bdNbiD4xvXiPpJu32eQ3XlRnMhGa0Iq+rkk3MoXDpxcRitlCNQMYipNmQfVItn4ZcjwWUtTV2j+H+EMH+L9Er3AcdR9+YQw2LhcMrY8Vb6e/MKLil4CFblEe98ARFbPdA1vcphp5eO7nGuDLZ1EFzkI6yYBzfQwRpCbOMH2iwgPgInMf19ofU727ldbdpT4//5t09N+pVF0iQ1PaYVyh577Mihxs3wrOyxpqqAsv3ewcOKJr48zzhzyGpfHX10upIicTOChYsBOXLzBKf0nZuTpHUldVIjbs9qgq17/vepD6c0e52FMybqEBH41vbajPEDYelj2CwH8J0jqcMx/mSOuBnXGXN5ARzboTTnmqP3nS4cTHMS6380IE71VJJ8SfI4Vft9NVPLNXpRSjMWoA3NnkdyIi5qDEMZMZRnddTPQR2/OBIj5og5cy/aw7uAXT5ogERswgnsvA7hIWyHeRa1prwCmFyGqVxnLiNRhmyyLFVtMWH7peC06AslSLfWEwqbm8acVty70GT6CJnEM2iZ1Jg9s3dXNZJGCOFg6Oi5A2PAS9vMr2+PSdVRw3Fiw66qfgTeV+9q78ozKSYH0ivQz07GsmE8+SMjrzCNaPixUoXJQ8ksccZBxpu5F9gJpWi2dUganaiJFBaDitKXOB3FfO4NVrclFDpp8n/bXlNo50cN6NwEC5wDe1FPEvudUUUfkIZ0RbOQ37tu04pM83bEyAz0k+39AHv19AdgxkzfOK0U/m1UuwdsAF8tccM9sMAuTwseK2a3qkVrbdwLATmXU0IentGn7cUX03lt5IEZ2b9NjCX6nPePHiLNRjUqjOpjC7Ozbaj870D5vKWgSlMBtZz6GwiZ3Ve4WqLt504Sd/au0V3vMxxMd/d+uSOt1iEuaWpmtpHmE8TUggLTc3RlgydQ1KGizIzTGdSRdJKtTq+fffD1nr2mcr+ggNofsj5UaEC3FTMZZ58HgamsSbo4nVnExh0Ns7zv64W/DyDLNxDyIM+/ZZxrEbmd0tLhqUA9U1Px1eeIlRXX/dnXAN46k/JeTe5LduCWYKqfu2SLdgJT86Dtu6VyK6ngDErtwCMUNebdg4b9z5P/+JmJYIvsRDVVONF9B6m5r8XYPgwmPB0qoNtjhQQZDyEE/Qqp8/r++i3UcLONIzsJGphhniYLEBhX9D4Kz1+w+6x3cNu82HceciGM/czb+Jwdda6Od6Mrv1nwroUQfhIX+08kw4Nb5IqjSVf+u/N7n12z0EpwEr64GUKdy80XdCf1yokFIgOs6qwyQmniLhXNUXHo19WkAG+ie2Xvpo0hBT6nTsdDx5f7aEqA95cVEheNeRHALSM3I4ACLR/p/4xjyzNjpVuLx+SxAEyi/trfKF7Vfx+Zd24VQN2KxlO5CQhJffXcfCXBPCovD4nNzFXYCZSQQtEyHZiEriqmKNvPjrk0BuYeoJAQ5SlcB/k3D67tPrRa7OMB7kU7/jxyGVu2N+mRn1hKxU7ITg3v+ypZ65Zm95xOiFHaoyGqvpLFONWg0W1AkqXhl38oHcSl/kTAoWBWnLOmnxa4KoDbth1Br6JFApFTr9n/L5gCtez4KOK3b1QpQK7gx4RF57OiK38vOaMOJMQQfhMnD7GOJcvuS5anNLyOZ5TNJ3+NquvjHzw9Kf8RXonAYZkxURBQyycEFDFHGQa4agAZy/jDO3pqSgr6zHeFLn0bvsczFO/+Aw2XSoRclC8F/cC87f9NxSUX48ALAnvaPATHNBhTz1IxUiEPh5BMbwMQZfcWw043sPnUAo8GHZacqFEjboLQlhpwVxfqDyM7exOObs5vhCB1rG+aiYAsHBi5CXUMKVezPdmmJ8i5dvepZdwGWbk7PQ4Jqge4aqwPyy5Nkdgldkhnxe+9YYIeT48oLWi+BN22h0oPiU8dJvUQPD/60hpt5M0pkCwo2+RCSTkmA7qnMbL45b5PoNF7YWBnW8TXt/6kOzy9bP5gMr7A/JILpMfoKFlc0/wBuz0k5L1TeWlXNARAszspoPrsf/hIdJKJnQtfjMseytYnhNYxpJO9tNhya8Z43O6oYEjSikxrZYd/qVDTobRWbicwuKJkUxo7CitONRt7ER2HU/Uwdb8nQYM+UXa2+5Gx0eqRspz7gIrv0fDFcPX3HL8xCTyvbE2+1qcC0P05VdvPMhby2U0qlYsbgeVNtB/EELDEGI4zNynwM0rd7njejwQ2OOM4s0I2K+gZngJ1/PG3BsR70eLcYsISbl/Aa1L5e9vkrucmG2AhtfxngUtLs3aaVyvDIBzRPWG/MTxE2phEDPq2L8ckYZ/F2ghSooj83lOWLglAzHCOPiq9iNNzAJPx6ROfMG4585inyPTFXeNp0ggwZ59MenLl7shkUcGbb8E8PnnDrP/TV1M2CPtX/QMmnaE2VbsCFUffoXrjfIGAS8BJZ1hS46oS/rJXsk2yLldWfjWiq+rlRIwaM2QF9pwSs7pwgxGIOJi2NQvwbTGff9OznklIzXxrVtBrZRe6cApl3bwu7pLKokqkp1IkNJXWC24n2fUcZYfR7rB+HbL2yRkTvnHbCuUoTJ/ickcQ76n4mdNk8oHn+tMvzEizwswmMmGAxRWpN7MrHt9rrWlJFQP2c+eSh9x8Teu6XaBaTCb2IxKZ5FhO4sBaU7VZ0VSl7giFAMO3tDyE73vKFRalPeewnBa7nquIW7xZq7pp3CVlmH7qJXF41Ewzo1fv6t9leQK4oJVvpaIC6mRe7Dw8DdJx44Kdck0pKGPnA+AE5ipm7KK0GaN7H5mzllzd47G9tGGDjIfzI1+z5tlJlG4e8xzAXqwlLe+0sbgKsR0uTSNqasdJAZZ86BtZJj139Ao8AsKppNCwWHDltp3aeEfZ7GXQqT9Pc5WJx9Pj5VjkDuasICN8Jk1hhLwgJVaqGLE1qjpbioD9u96T6JP09hNJJWAgYWzmzBtWHLNCKhbS/8PrJekzQJs314OjIHWgs1I6ht5kRVTon7bS+ypSg+KpUMOocsRBi6RApDTzyNjRnhEvmJmDdU8l6thBaNkX2awnGVKMzFgj+RdEPQ7s4sjPTg0h0DGUmzsZbQGnz00VJUGoj6PZ6/mBwOEYGKPPXB9OvQuV5QdCKbNgj0KGHWkmNFoL1V5vb8vdVG4O+13WGSeyEL82tU9f9p6DdZXPJVslm/09DmP13Yf32bbuxKaZ+PjDiZ8bzwpL+vY86SkcAD26ZsqKcWgxWtm3BdYbZEP93oB02oJNODQgrOOqsSHsO75k1V+drWxk5vXqz8fwrTLCVWrSUIno0kJXcX9K0TAQv2dZLvN5OOo/4jNpljJ8oey1jsFhAtLeatzRn7VK7Hn/IRsks8XzUm/5B2d2SfBN+kj56abgZkQBMJyUxfeNdHwPKrKZKQsGzwwBIz3sxr/BO+Au9JhteycgTOYbGJ8Jhw9hVbZl5NGmN+huxFP56JOP/JreNFrpAPHUE3pt9WaUjP7zVtXGFcdMJfcNsvFZqNef/55HcEaHKKCAGXLYf2eG+vxaHtBmmckMe5B9peqWTc7C2rk9+Fmc2EIuSLUmlHSkXD8F4kpO/EkqPmK7BpCHZMRLtfRE3NCCH9tZ+Ej+y5CZYyEz3q9QPt2WfdoJc4QTo/rGVfz9weY/0fzMdgqli6vGnRpub9oRUJ5Wo5b6SINhAyDlzEC0rT8GNWL1aOBcvn4eckDamb16Hm1MrKznRzVL2dF1KvpSj5/i5x6TRflDJZuwom/+Lv0ksHKJxJ9B5de5sgc9lQQINthcmWI31bxIFVONRKACXl0oMIhb4Qa20dviDB2ZD5oM2HBQPWNNhxle4lsejbyy72xRtrp4aDi7GKkbMLI4lsEcHCqktl/JkOXSFIiji5IPY6ntoSkT15e4weYdso7tF28JFLRV2QN+lNDtlSCikAG0ZOwoTH4SBBFuCGLMzzD8xUtSObCmNMIb0g52T4voHHqWkXjPy/UwSdzvy+8/BNs2HCnraUwTRB/PPDmVhkGuCJv5AG2ifaPDARxfSGTN+nkjqmh1S0y8uV6ecp7yWl1K8dwNkb+cfcOuFtPg3tBINqwc7DHGHq+92nJIKait8JYQwxOnrHKv3WMZOPZVFOetCmH5TfiuA7Z3GZgEIpNpMG9oHTIddY7MyuFODsZFgHm5aqEWGCA069ThPdcJTD73pV8uBVcmN75mMyeGJfhCqAxz+aNd3ovdoZ22bjbaJ+fThYaBrIvjWPVuTrb9g6ctPE5ex7VwrcLfTNjucgkCWECSJqZZZcbnbz0hLyg7ElvvQasEA6iwpGcw8VsquKB+4zLp0jsPPNB8L4GKLOE/dbtr2JkXLW9Doxg5sgw6Nl197MeK/VoixbU5y5cX0Xwqx91I+hkADZygfpWcvyrwlsRLA8BARxXzMo8wSSX1+xWTDeqlzWceHDZmp0RBBKvR1GUD/C15lkmg88JDgk/I7HmGKozFqmWPnc=" title="Mekko Graphics Chart">
            <a:extLst>
              <a:ext uri="{FF2B5EF4-FFF2-40B4-BE49-F238E27FC236}">
                <a16:creationId xmlns:a16="http://schemas.microsoft.com/office/drawing/2014/main" id="{7C0EBEA1-02C2-4571-ABAF-53D390FB78F2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 bwMode="gray">
          <a:xfrm>
            <a:off x="352107" y="2347256"/>
            <a:ext cx="3574898" cy="3902020"/>
          </a:xfrm>
          <a:prstGeom prst="rect">
            <a:avLst/>
          </a:prstGeom>
          <a:blipFill>
            <a:blip r:embed="rId13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6446156-9B4F-48B7-A4D4-A789BD85CE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~</a:t>
            </a:r>
            <a:r>
              <a:rPr lang="pl-PL"/>
              <a:t>x</a:t>
            </a:r>
            <a:r>
              <a:rPr lang="en-US"/>
              <a:t>% expect a spend increase </a:t>
            </a:r>
            <a:r>
              <a:rPr lang="pl-PL"/>
              <a:t>on x</a:t>
            </a:r>
            <a:r>
              <a:rPr lang="en-US"/>
              <a:t>; </a:t>
            </a:r>
            <a:r>
              <a:rPr lang="pl-PL"/>
              <a:t>Average</a:t>
            </a:r>
            <a:r>
              <a:rPr lang="en-US"/>
              <a:t> future spend expected to increase </a:t>
            </a:r>
            <a:r>
              <a:rPr lang="pl-PL"/>
              <a:t>by x</a:t>
            </a:r>
            <a:r>
              <a:rPr lang="en-US"/>
              <a:t>% YoY</a:t>
            </a:r>
          </a:p>
        </p:txBody>
      </p:sp>
      <p:sp>
        <p:nvSpPr>
          <p:cNvPr id="23" name="btfpNotesBox406686">
            <a:extLst>
              <a:ext uri="{FF2B5EF4-FFF2-40B4-BE49-F238E27FC236}">
                <a16:creationId xmlns:a16="http://schemas.microsoft.com/office/drawing/2014/main" id="{2580D98C-A2C0-46C5-8C9A-A7D25CB6636B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</a:t>
            </a:r>
            <a:r>
              <a:rPr kumimoji="0" lang="pl-PL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</a:t>
            </a:r>
            <a:r>
              <a:rPr kumimoji="0" lang="pl-PL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8" name="btfpStatusSticker329178">
            <a:extLst>
              <a:ext uri="{FF2B5EF4-FFF2-40B4-BE49-F238E27FC236}">
                <a16:creationId xmlns:a16="http://schemas.microsoft.com/office/drawing/2014/main" id="{8FD9C68B-1893-435F-BE8E-974376687C2B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100356" y="955344"/>
            <a:ext cx="1761444" cy="235611"/>
            <a:chOff x="-2288191" y="876300"/>
            <a:chExt cx="1761444" cy="235611"/>
          </a:xfrm>
        </p:grpSpPr>
        <p:sp>
          <p:nvSpPr>
            <p:cNvPr id="39" name="btfpStatusStickerText329178">
              <a:extLst>
                <a:ext uri="{FF2B5EF4-FFF2-40B4-BE49-F238E27FC236}">
                  <a16:creationId xmlns:a16="http://schemas.microsoft.com/office/drawing/2014/main" id="{29CD66B8-493C-4E9B-B21D-AF329979E212}"/>
                </a:ext>
              </a:extLst>
            </p:cNvPr>
            <p:cNvSpPr txBox="1"/>
            <p:nvPr/>
          </p:nvSpPr>
          <p:spPr bwMode="gray">
            <a:xfrm>
              <a:off x="-2288191" y="876300"/>
              <a:ext cx="17614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liminary</a:t>
              </a:r>
            </a:p>
          </p:txBody>
        </p:sp>
        <p:cxnSp>
          <p:nvCxnSpPr>
            <p:cNvPr id="40" name="btfpStatusStickerLine329178">
              <a:extLst>
                <a:ext uri="{FF2B5EF4-FFF2-40B4-BE49-F238E27FC236}">
                  <a16:creationId xmlns:a16="http://schemas.microsoft.com/office/drawing/2014/main" id="{D1D71066-F7B4-43C1-A6D2-28FFCA2C6CDA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88191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4" name="btfpRunningAgenda2Level770509">
            <a:extLst>
              <a:ext uri="{FF2B5EF4-FFF2-40B4-BE49-F238E27FC236}">
                <a16:creationId xmlns:a16="http://schemas.microsoft.com/office/drawing/2014/main" id="{A05841AF-29DC-43A2-A699-C6472D21BF0E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0" y="944429"/>
            <a:ext cx="1600017" cy="257442"/>
            <a:chOff x="0" y="876300"/>
            <a:chExt cx="1600017" cy="257442"/>
          </a:xfrm>
        </p:grpSpPr>
        <p:sp>
          <p:nvSpPr>
            <p:cNvPr id="55" name="btfpRunningAgenda2LevelBarLeft770509">
              <a:extLst>
                <a:ext uri="{FF2B5EF4-FFF2-40B4-BE49-F238E27FC236}">
                  <a16:creationId xmlns:a16="http://schemas.microsoft.com/office/drawing/2014/main" id="{567B9F5A-FDD5-44F7-8289-D60D6D66B3D4}"/>
                </a:ext>
              </a:extLst>
            </p:cNvPr>
            <p:cNvSpPr/>
            <p:nvPr/>
          </p:nvSpPr>
          <p:spPr bwMode="gray">
            <a:xfrm>
              <a:off x="0" y="876300"/>
              <a:ext cx="1600017" cy="257442"/>
            </a:xfrm>
            <a:custGeom>
              <a:avLst/>
              <a:gdLst>
                <a:gd name="connsiteX0" fmla="*/ 950801 w 1271402"/>
                <a:gd name="connsiteY0" fmla="*/ 0 h 257442"/>
                <a:gd name="connsiteX1" fmla="*/ 1271402 w 1271402"/>
                <a:gd name="connsiteY1" fmla="*/ 0 h 257442"/>
                <a:gd name="connsiteX2" fmla="*/ 1216681 w 1271402"/>
                <a:gd name="connsiteY2" fmla="*/ 257442 h 257442"/>
                <a:gd name="connsiteX3" fmla="*/ 0 w 1271402"/>
                <a:gd name="connsiteY3" fmla="*/ 257442 h 257442"/>
                <a:gd name="connsiteX0" fmla="*/ 950801 w 1216681"/>
                <a:gd name="connsiteY0" fmla="*/ 0 h 257442"/>
                <a:gd name="connsiteX1" fmla="*/ 896080 w 1216681"/>
                <a:gd name="connsiteY1" fmla="*/ 257442 h 257442"/>
                <a:gd name="connsiteX2" fmla="*/ 1216681 w 1216681"/>
                <a:gd name="connsiteY2" fmla="*/ 257442 h 257442"/>
                <a:gd name="connsiteX3" fmla="*/ 0 w 1216681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111100 w 1111100"/>
                <a:gd name="connsiteY0" fmla="*/ 0 h 257442"/>
                <a:gd name="connsiteX1" fmla="*/ 896079 w 1111100"/>
                <a:gd name="connsiteY1" fmla="*/ 257442 h 257442"/>
                <a:gd name="connsiteX2" fmla="*/ 0 w 1111100"/>
                <a:gd name="connsiteY2" fmla="*/ 257442 h 257442"/>
                <a:gd name="connsiteX3" fmla="*/ 0 w 1111100"/>
                <a:gd name="connsiteY3" fmla="*/ 0 h 257442"/>
                <a:gd name="connsiteX0" fmla="*/ 1111100 w 1111100"/>
                <a:gd name="connsiteY0" fmla="*/ 0 h 257442"/>
                <a:gd name="connsiteX1" fmla="*/ 1056379 w 1111100"/>
                <a:gd name="connsiteY1" fmla="*/ 257442 h 257442"/>
                <a:gd name="connsiteX2" fmla="*/ 0 w 1111100"/>
                <a:gd name="connsiteY2" fmla="*/ 257442 h 257442"/>
                <a:gd name="connsiteX3" fmla="*/ 0 w 1111100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271403 w 1271403"/>
                <a:gd name="connsiteY0" fmla="*/ 0 h 257442"/>
                <a:gd name="connsiteX1" fmla="*/ 1056380 w 1271403"/>
                <a:gd name="connsiteY1" fmla="*/ 257442 h 257442"/>
                <a:gd name="connsiteX2" fmla="*/ 0 w 1271403"/>
                <a:gd name="connsiteY2" fmla="*/ 257442 h 257442"/>
                <a:gd name="connsiteX3" fmla="*/ 1 w 1271403"/>
                <a:gd name="connsiteY3" fmla="*/ 0 h 257442"/>
                <a:gd name="connsiteX0" fmla="*/ 1271403 w 1271403"/>
                <a:gd name="connsiteY0" fmla="*/ 0 h 257442"/>
                <a:gd name="connsiteX1" fmla="*/ 1216682 w 1271403"/>
                <a:gd name="connsiteY1" fmla="*/ 257442 h 257442"/>
                <a:gd name="connsiteX2" fmla="*/ 0 w 1271403"/>
                <a:gd name="connsiteY2" fmla="*/ 257442 h 257442"/>
                <a:gd name="connsiteX3" fmla="*/ 1 w 1271403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3 w 1271403"/>
                <a:gd name="connsiteY0" fmla="*/ 0 h 257442"/>
                <a:gd name="connsiteX1" fmla="*/ 1216682 w 1271403"/>
                <a:gd name="connsiteY1" fmla="*/ 257442 h 257442"/>
                <a:gd name="connsiteX2" fmla="*/ 1 w 1271403"/>
                <a:gd name="connsiteY2" fmla="*/ 257442 h 257442"/>
                <a:gd name="connsiteX3" fmla="*/ 0 w 1271403"/>
                <a:gd name="connsiteY3" fmla="*/ 0 h 257442"/>
                <a:gd name="connsiteX0" fmla="*/ 1439718 w 1439718"/>
                <a:gd name="connsiteY0" fmla="*/ 0 h 257442"/>
                <a:gd name="connsiteX1" fmla="*/ 1216682 w 1439718"/>
                <a:gd name="connsiteY1" fmla="*/ 257442 h 257442"/>
                <a:gd name="connsiteX2" fmla="*/ 1 w 1439718"/>
                <a:gd name="connsiteY2" fmla="*/ 257442 h 257442"/>
                <a:gd name="connsiteX3" fmla="*/ 0 w 1439718"/>
                <a:gd name="connsiteY3" fmla="*/ 0 h 257442"/>
                <a:gd name="connsiteX0" fmla="*/ 1439718 w 1439718"/>
                <a:gd name="connsiteY0" fmla="*/ 0 h 257442"/>
                <a:gd name="connsiteX1" fmla="*/ 1384996 w 1439718"/>
                <a:gd name="connsiteY1" fmla="*/ 257442 h 257442"/>
                <a:gd name="connsiteX2" fmla="*/ 1 w 1439718"/>
                <a:gd name="connsiteY2" fmla="*/ 257442 h 257442"/>
                <a:gd name="connsiteX3" fmla="*/ 0 w 1439718"/>
                <a:gd name="connsiteY3" fmla="*/ 0 h 257442"/>
                <a:gd name="connsiteX0" fmla="*/ 1439718 w 1439718"/>
                <a:gd name="connsiteY0" fmla="*/ 0 h 257442"/>
                <a:gd name="connsiteX1" fmla="*/ 1384996 w 1439718"/>
                <a:gd name="connsiteY1" fmla="*/ 257442 h 257442"/>
                <a:gd name="connsiteX2" fmla="*/ 0 w 1439718"/>
                <a:gd name="connsiteY2" fmla="*/ 257442 h 257442"/>
                <a:gd name="connsiteX3" fmla="*/ 0 w 1439718"/>
                <a:gd name="connsiteY3" fmla="*/ 0 h 257442"/>
                <a:gd name="connsiteX0" fmla="*/ 1439718 w 1439718"/>
                <a:gd name="connsiteY0" fmla="*/ 0 h 257442"/>
                <a:gd name="connsiteX1" fmla="*/ 1384996 w 1439718"/>
                <a:gd name="connsiteY1" fmla="*/ 257442 h 257442"/>
                <a:gd name="connsiteX2" fmla="*/ 0 w 1439718"/>
                <a:gd name="connsiteY2" fmla="*/ 257442 h 257442"/>
                <a:gd name="connsiteX3" fmla="*/ 0 w 1439718"/>
                <a:gd name="connsiteY3" fmla="*/ 0 h 257442"/>
                <a:gd name="connsiteX0" fmla="*/ 1271402 w 1384996"/>
                <a:gd name="connsiteY0" fmla="*/ 0 h 257442"/>
                <a:gd name="connsiteX1" fmla="*/ 1384996 w 1384996"/>
                <a:gd name="connsiteY1" fmla="*/ 257442 h 257442"/>
                <a:gd name="connsiteX2" fmla="*/ 0 w 1384996"/>
                <a:gd name="connsiteY2" fmla="*/ 257442 h 257442"/>
                <a:gd name="connsiteX3" fmla="*/ 0 w 1384996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111101 w 1216681"/>
                <a:gd name="connsiteY0" fmla="*/ 0 h 257442"/>
                <a:gd name="connsiteX1" fmla="*/ 1216681 w 1216681"/>
                <a:gd name="connsiteY1" fmla="*/ 257442 h 257442"/>
                <a:gd name="connsiteX2" fmla="*/ 0 w 1216681"/>
                <a:gd name="connsiteY2" fmla="*/ 257442 h 257442"/>
                <a:gd name="connsiteX3" fmla="*/ 0 w 1216681"/>
                <a:gd name="connsiteY3" fmla="*/ 0 h 257442"/>
                <a:gd name="connsiteX0" fmla="*/ 1111101 w 1111101"/>
                <a:gd name="connsiteY0" fmla="*/ 0 h 257442"/>
                <a:gd name="connsiteX1" fmla="*/ 1056381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1 w 1111101"/>
                <a:gd name="connsiteY1" fmla="*/ 257442 h 257442"/>
                <a:gd name="connsiteX2" fmla="*/ 1 w 1111101"/>
                <a:gd name="connsiteY2" fmla="*/ 257442 h 257442"/>
                <a:gd name="connsiteX3" fmla="*/ 0 w 1111101"/>
                <a:gd name="connsiteY3" fmla="*/ 0 h 257442"/>
                <a:gd name="connsiteX0" fmla="*/ 1111100 w 1111100"/>
                <a:gd name="connsiteY0" fmla="*/ 0 h 257442"/>
                <a:gd name="connsiteX1" fmla="*/ 1056380 w 1111100"/>
                <a:gd name="connsiteY1" fmla="*/ 257442 h 257442"/>
                <a:gd name="connsiteX2" fmla="*/ 0 w 1111100"/>
                <a:gd name="connsiteY2" fmla="*/ 257442 h 257442"/>
                <a:gd name="connsiteX3" fmla="*/ 0 w 1111100"/>
                <a:gd name="connsiteY3" fmla="*/ 0 h 257442"/>
                <a:gd name="connsiteX0" fmla="*/ 1289033 w 1289033"/>
                <a:gd name="connsiteY0" fmla="*/ 0 h 257442"/>
                <a:gd name="connsiteX1" fmla="*/ 1056380 w 1289033"/>
                <a:gd name="connsiteY1" fmla="*/ 257442 h 257442"/>
                <a:gd name="connsiteX2" fmla="*/ 0 w 1289033"/>
                <a:gd name="connsiteY2" fmla="*/ 257442 h 257442"/>
                <a:gd name="connsiteX3" fmla="*/ 0 w 1289033"/>
                <a:gd name="connsiteY3" fmla="*/ 0 h 257442"/>
                <a:gd name="connsiteX0" fmla="*/ 1289033 w 1289033"/>
                <a:gd name="connsiteY0" fmla="*/ 0 h 257442"/>
                <a:gd name="connsiteX1" fmla="*/ 1234312 w 1289033"/>
                <a:gd name="connsiteY1" fmla="*/ 257442 h 257442"/>
                <a:gd name="connsiteX2" fmla="*/ 0 w 1289033"/>
                <a:gd name="connsiteY2" fmla="*/ 257442 h 257442"/>
                <a:gd name="connsiteX3" fmla="*/ 0 w 1289033"/>
                <a:gd name="connsiteY3" fmla="*/ 0 h 257442"/>
                <a:gd name="connsiteX0" fmla="*/ 1289034 w 1289034"/>
                <a:gd name="connsiteY0" fmla="*/ 0 h 257442"/>
                <a:gd name="connsiteX1" fmla="*/ 1234313 w 1289034"/>
                <a:gd name="connsiteY1" fmla="*/ 257442 h 257442"/>
                <a:gd name="connsiteX2" fmla="*/ 0 w 1289034"/>
                <a:gd name="connsiteY2" fmla="*/ 257442 h 257442"/>
                <a:gd name="connsiteX3" fmla="*/ 1 w 1289034"/>
                <a:gd name="connsiteY3" fmla="*/ 0 h 257442"/>
                <a:gd name="connsiteX0" fmla="*/ 1289034 w 1289034"/>
                <a:gd name="connsiteY0" fmla="*/ 0 h 257442"/>
                <a:gd name="connsiteX1" fmla="*/ 1234313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457350 w 1457350"/>
                <a:gd name="connsiteY0" fmla="*/ 0 h 257442"/>
                <a:gd name="connsiteX1" fmla="*/ 1234313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09635 w 1609635"/>
                <a:gd name="connsiteY0" fmla="*/ 0 h 257442"/>
                <a:gd name="connsiteX1" fmla="*/ 1402629 w 1609635"/>
                <a:gd name="connsiteY1" fmla="*/ 257442 h 257442"/>
                <a:gd name="connsiteX2" fmla="*/ 0 w 1609635"/>
                <a:gd name="connsiteY2" fmla="*/ 257442 h 257442"/>
                <a:gd name="connsiteX3" fmla="*/ 0 w 1609635"/>
                <a:gd name="connsiteY3" fmla="*/ 0 h 257442"/>
                <a:gd name="connsiteX0" fmla="*/ 1609635 w 1609635"/>
                <a:gd name="connsiteY0" fmla="*/ 0 h 257442"/>
                <a:gd name="connsiteX1" fmla="*/ 1554914 w 1609635"/>
                <a:gd name="connsiteY1" fmla="*/ 257442 h 257442"/>
                <a:gd name="connsiteX2" fmla="*/ 0 w 1609635"/>
                <a:gd name="connsiteY2" fmla="*/ 257442 h 257442"/>
                <a:gd name="connsiteX3" fmla="*/ 0 w 1609635"/>
                <a:gd name="connsiteY3" fmla="*/ 0 h 257442"/>
                <a:gd name="connsiteX0" fmla="*/ 1609635 w 1609635"/>
                <a:gd name="connsiteY0" fmla="*/ 0 h 257442"/>
                <a:gd name="connsiteX1" fmla="*/ 1554914 w 1609635"/>
                <a:gd name="connsiteY1" fmla="*/ 257442 h 257442"/>
                <a:gd name="connsiteX2" fmla="*/ 0 w 1609635"/>
                <a:gd name="connsiteY2" fmla="*/ 257442 h 257442"/>
                <a:gd name="connsiteX3" fmla="*/ 0 w 1609635"/>
                <a:gd name="connsiteY3" fmla="*/ 0 h 257442"/>
                <a:gd name="connsiteX0" fmla="*/ 1609635 w 1609635"/>
                <a:gd name="connsiteY0" fmla="*/ 0 h 257442"/>
                <a:gd name="connsiteX1" fmla="*/ 1554914 w 1609635"/>
                <a:gd name="connsiteY1" fmla="*/ 257442 h 257442"/>
                <a:gd name="connsiteX2" fmla="*/ 0 w 1609635"/>
                <a:gd name="connsiteY2" fmla="*/ 257442 h 257442"/>
                <a:gd name="connsiteX3" fmla="*/ 0 w 1609635"/>
                <a:gd name="connsiteY3" fmla="*/ 0 h 257442"/>
                <a:gd name="connsiteX0" fmla="*/ 1777951 w 1777951"/>
                <a:gd name="connsiteY0" fmla="*/ 0 h 257442"/>
                <a:gd name="connsiteX1" fmla="*/ 1554914 w 1777951"/>
                <a:gd name="connsiteY1" fmla="*/ 257442 h 257442"/>
                <a:gd name="connsiteX2" fmla="*/ 0 w 1777951"/>
                <a:gd name="connsiteY2" fmla="*/ 257442 h 257442"/>
                <a:gd name="connsiteX3" fmla="*/ 0 w 1777951"/>
                <a:gd name="connsiteY3" fmla="*/ 0 h 257442"/>
                <a:gd name="connsiteX0" fmla="*/ 1777951 w 1777951"/>
                <a:gd name="connsiteY0" fmla="*/ 0 h 257442"/>
                <a:gd name="connsiteX1" fmla="*/ 1723230 w 1777951"/>
                <a:gd name="connsiteY1" fmla="*/ 257442 h 257442"/>
                <a:gd name="connsiteX2" fmla="*/ 0 w 1777951"/>
                <a:gd name="connsiteY2" fmla="*/ 257442 h 257442"/>
                <a:gd name="connsiteX3" fmla="*/ 0 w 1777951"/>
                <a:gd name="connsiteY3" fmla="*/ 0 h 257442"/>
                <a:gd name="connsiteX0" fmla="*/ 1777951 w 1777951"/>
                <a:gd name="connsiteY0" fmla="*/ 0 h 257442"/>
                <a:gd name="connsiteX1" fmla="*/ 1723230 w 1777951"/>
                <a:gd name="connsiteY1" fmla="*/ 257442 h 257442"/>
                <a:gd name="connsiteX2" fmla="*/ 0 w 1777951"/>
                <a:gd name="connsiteY2" fmla="*/ 257442 h 257442"/>
                <a:gd name="connsiteX3" fmla="*/ 0 w 1777951"/>
                <a:gd name="connsiteY3" fmla="*/ 0 h 257442"/>
                <a:gd name="connsiteX0" fmla="*/ 1777951 w 1777951"/>
                <a:gd name="connsiteY0" fmla="*/ 0 h 257442"/>
                <a:gd name="connsiteX1" fmla="*/ 1723230 w 1777951"/>
                <a:gd name="connsiteY1" fmla="*/ 257442 h 257442"/>
                <a:gd name="connsiteX2" fmla="*/ 0 w 1777951"/>
                <a:gd name="connsiteY2" fmla="*/ 257442 h 257442"/>
                <a:gd name="connsiteX3" fmla="*/ 0 w 1777951"/>
                <a:gd name="connsiteY3" fmla="*/ 0 h 257442"/>
                <a:gd name="connsiteX0" fmla="*/ 1918822 w 1918822"/>
                <a:gd name="connsiteY0" fmla="*/ 0 h 257442"/>
                <a:gd name="connsiteX1" fmla="*/ 1723230 w 1918822"/>
                <a:gd name="connsiteY1" fmla="*/ 257442 h 257442"/>
                <a:gd name="connsiteX2" fmla="*/ 0 w 1918822"/>
                <a:gd name="connsiteY2" fmla="*/ 257442 h 257442"/>
                <a:gd name="connsiteX3" fmla="*/ 0 w 1918822"/>
                <a:gd name="connsiteY3" fmla="*/ 0 h 257442"/>
                <a:gd name="connsiteX0" fmla="*/ 1918822 w 1918822"/>
                <a:gd name="connsiteY0" fmla="*/ 0 h 257442"/>
                <a:gd name="connsiteX1" fmla="*/ 1864100 w 1918822"/>
                <a:gd name="connsiteY1" fmla="*/ 257442 h 257442"/>
                <a:gd name="connsiteX2" fmla="*/ 0 w 1918822"/>
                <a:gd name="connsiteY2" fmla="*/ 257442 h 257442"/>
                <a:gd name="connsiteX3" fmla="*/ 0 w 1918822"/>
                <a:gd name="connsiteY3" fmla="*/ 0 h 257442"/>
                <a:gd name="connsiteX0" fmla="*/ 1918823 w 1918823"/>
                <a:gd name="connsiteY0" fmla="*/ 0 h 257442"/>
                <a:gd name="connsiteX1" fmla="*/ 1864101 w 1918823"/>
                <a:gd name="connsiteY1" fmla="*/ 257442 h 257442"/>
                <a:gd name="connsiteX2" fmla="*/ 0 w 1918823"/>
                <a:gd name="connsiteY2" fmla="*/ 257442 h 257442"/>
                <a:gd name="connsiteX3" fmla="*/ 1 w 1918823"/>
                <a:gd name="connsiteY3" fmla="*/ 0 h 257442"/>
                <a:gd name="connsiteX0" fmla="*/ 1918823 w 1918823"/>
                <a:gd name="connsiteY0" fmla="*/ 0 h 257442"/>
                <a:gd name="connsiteX1" fmla="*/ 1864101 w 1918823"/>
                <a:gd name="connsiteY1" fmla="*/ 257442 h 257442"/>
                <a:gd name="connsiteX2" fmla="*/ 0 w 1918823"/>
                <a:gd name="connsiteY2" fmla="*/ 257442 h 257442"/>
                <a:gd name="connsiteX3" fmla="*/ 1 w 1918823"/>
                <a:gd name="connsiteY3" fmla="*/ 0 h 257442"/>
                <a:gd name="connsiteX0" fmla="*/ 2093999 w 2093999"/>
                <a:gd name="connsiteY0" fmla="*/ 0 h 257442"/>
                <a:gd name="connsiteX1" fmla="*/ 1864101 w 2093999"/>
                <a:gd name="connsiteY1" fmla="*/ 257442 h 257442"/>
                <a:gd name="connsiteX2" fmla="*/ 0 w 2093999"/>
                <a:gd name="connsiteY2" fmla="*/ 257442 h 257442"/>
                <a:gd name="connsiteX3" fmla="*/ 1 w 2093999"/>
                <a:gd name="connsiteY3" fmla="*/ 0 h 257442"/>
                <a:gd name="connsiteX0" fmla="*/ 2093999 w 2093999"/>
                <a:gd name="connsiteY0" fmla="*/ 0 h 257442"/>
                <a:gd name="connsiteX1" fmla="*/ 2039278 w 2093999"/>
                <a:gd name="connsiteY1" fmla="*/ 257442 h 257442"/>
                <a:gd name="connsiteX2" fmla="*/ 0 w 2093999"/>
                <a:gd name="connsiteY2" fmla="*/ 257442 h 257442"/>
                <a:gd name="connsiteX3" fmla="*/ 1 w 2093999"/>
                <a:gd name="connsiteY3" fmla="*/ 0 h 257442"/>
                <a:gd name="connsiteX0" fmla="*/ 2093998 w 2093998"/>
                <a:gd name="connsiteY0" fmla="*/ 0 h 257442"/>
                <a:gd name="connsiteX1" fmla="*/ 2039277 w 2093998"/>
                <a:gd name="connsiteY1" fmla="*/ 257442 h 257442"/>
                <a:gd name="connsiteX2" fmla="*/ 0 w 2093998"/>
                <a:gd name="connsiteY2" fmla="*/ 257442 h 257442"/>
                <a:gd name="connsiteX3" fmla="*/ 0 w 2093998"/>
                <a:gd name="connsiteY3" fmla="*/ 0 h 257442"/>
                <a:gd name="connsiteX0" fmla="*/ 2093999 w 2093999"/>
                <a:gd name="connsiteY0" fmla="*/ 0 h 257442"/>
                <a:gd name="connsiteX1" fmla="*/ 2039278 w 2093999"/>
                <a:gd name="connsiteY1" fmla="*/ 257442 h 257442"/>
                <a:gd name="connsiteX2" fmla="*/ 1 w 2093999"/>
                <a:gd name="connsiteY2" fmla="*/ 257442 h 257442"/>
                <a:gd name="connsiteX3" fmla="*/ 0 w 2093999"/>
                <a:gd name="connsiteY3" fmla="*/ 0 h 257442"/>
                <a:gd name="connsiteX0" fmla="*/ 2262315 w 2262315"/>
                <a:gd name="connsiteY0" fmla="*/ 0 h 257442"/>
                <a:gd name="connsiteX1" fmla="*/ 2039278 w 2262315"/>
                <a:gd name="connsiteY1" fmla="*/ 257442 h 257442"/>
                <a:gd name="connsiteX2" fmla="*/ 1 w 2262315"/>
                <a:gd name="connsiteY2" fmla="*/ 257442 h 257442"/>
                <a:gd name="connsiteX3" fmla="*/ 0 w 2262315"/>
                <a:gd name="connsiteY3" fmla="*/ 0 h 257442"/>
                <a:gd name="connsiteX0" fmla="*/ 2262315 w 2262315"/>
                <a:gd name="connsiteY0" fmla="*/ 0 h 257442"/>
                <a:gd name="connsiteX1" fmla="*/ 2207594 w 2262315"/>
                <a:gd name="connsiteY1" fmla="*/ 257442 h 257442"/>
                <a:gd name="connsiteX2" fmla="*/ 1 w 2262315"/>
                <a:gd name="connsiteY2" fmla="*/ 257442 h 257442"/>
                <a:gd name="connsiteX3" fmla="*/ 0 w 2262315"/>
                <a:gd name="connsiteY3" fmla="*/ 0 h 257442"/>
                <a:gd name="connsiteX0" fmla="*/ 2262315 w 2262315"/>
                <a:gd name="connsiteY0" fmla="*/ 0 h 257442"/>
                <a:gd name="connsiteX1" fmla="*/ 2207594 w 2262315"/>
                <a:gd name="connsiteY1" fmla="*/ 257442 h 257442"/>
                <a:gd name="connsiteX2" fmla="*/ 1 w 2262315"/>
                <a:gd name="connsiteY2" fmla="*/ 257442 h 257442"/>
                <a:gd name="connsiteX3" fmla="*/ 0 w 2262315"/>
                <a:gd name="connsiteY3" fmla="*/ 0 h 257442"/>
                <a:gd name="connsiteX0" fmla="*/ 2262314 w 2262314"/>
                <a:gd name="connsiteY0" fmla="*/ 0 h 257442"/>
                <a:gd name="connsiteX1" fmla="*/ 2207593 w 2262314"/>
                <a:gd name="connsiteY1" fmla="*/ 257442 h 257442"/>
                <a:gd name="connsiteX2" fmla="*/ 0 w 2262314"/>
                <a:gd name="connsiteY2" fmla="*/ 257442 h 257442"/>
                <a:gd name="connsiteX3" fmla="*/ 0 w 2262314"/>
                <a:gd name="connsiteY3" fmla="*/ 0 h 257442"/>
                <a:gd name="connsiteX0" fmla="*/ 2416906 w 2416906"/>
                <a:gd name="connsiteY0" fmla="*/ 0 h 257442"/>
                <a:gd name="connsiteX1" fmla="*/ 2207593 w 2416906"/>
                <a:gd name="connsiteY1" fmla="*/ 257442 h 257442"/>
                <a:gd name="connsiteX2" fmla="*/ 0 w 2416906"/>
                <a:gd name="connsiteY2" fmla="*/ 257442 h 257442"/>
                <a:gd name="connsiteX3" fmla="*/ 0 w 2416906"/>
                <a:gd name="connsiteY3" fmla="*/ 0 h 257442"/>
                <a:gd name="connsiteX0" fmla="*/ 2416906 w 2416906"/>
                <a:gd name="connsiteY0" fmla="*/ 0 h 257442"/>
                <a:gd name="connsiteX1" fmla="*/ 2362185 w 2416906"/>
                <a:gd name="connsiteY1" fmla="*/ 257442 h 257442"/>
                <a:gd name="connsiteX2" fmla="*/ 0 w 2416906"/>
                <a:gd name="connsiteY2" fmla="*/ 257442 h 257442"/>
                <a:gd name="connsiteX3" fmla="*/ 0 w 2416906"/>
                <a:gd name="connsiteY3" fmla="*/ 0 h 257442"/>
                <a:gd name="connsiteX0" fmla="*/ 2416907 w 2416907"/>
                <a:gd name="connsiteY0" fmla="*/ 0 h 257442"/>
                <a:gd name="connsiteX1" fmla="*/ 2362186 w 2416907"/>
                <a:gd name="connsiteY1" fmla="*/ 257442 h 257442"/>
                <a:gd name="connsiteX2" fmla="*/ 0 w 2416907"/>
                <a:gd name="connsiteY2" fmla="*/ 257442 h 257442"/>
                <a:gd name="connsiteX3" fmla="*/ 1 w 2416907"/>
                <a:gd name="connsiteY3" fmla="*/ 0 h 257442"/>
                <a:gd name="connsiteX0" fmla="*/ 2416907 w 2416907"/>
                <a:gd name="connsiteY0" fmla="*/ 0 h 257442"/>
                <a:gd name="connsiteX1" fmla="*/ 2362186 w 2416907"/>
                <a:gd name="connsiteY1" fmla="*/ 257442 h 257442"/>
                <a:gd name="connsiteX2" fmla="*/ 0 w 2416907"/>
                <a:gd name="connsiteY2" fmla="*/ 257442 h 257442"/>
                <a:gd name="connsiteX3" fmla="*/ 1 w 2416907"/>
                <a:gd name="connsiteY3" fmla="*/ 0 h 257442"/>
                <a:gd name="connsiteX0" fmla="*/ 2515140 w 2515140"/>
                <a:gd name="connsiteY0" fmla="*/ 0 h 257442"/>
                <a:gd name="connsiteX1" fmla="*/ 2362186 w 2515140"/>
                <a:gd name="connsiteY1" fmla="*/ 257442 h 257442"/>
                <a:gd name="connsiteX2" fmla="*/ 0 w 2515140"/>
                <a:gd name="connsiteY2" fmla="*/ 257442 h 257442"/>
                <a:gd name="connsiteX3" fmla="*/ 1 w 2515140"/>
                <a:gd name="connsiteY3" fmla="*/ 0 h 257442"/>
                <a:gd name="connsiteX0" fmla="*/ 2515140 w 2515140"/>
                <a:gd name="connsiteY0" fmla="*/ 0 h 257442"/>
                <a:gd name="connsiteX1" fmla="*/ 2460418 w 2515140"/>
                <a:gd name="connsiteY1" fmla="*/ 257442 h 257442"/>
                <a:gd name="connsiteX2" fmla="*/ 0 w 2515140"/>
                <a:gd name="connsiteY2" fmla="*/ 257442 h 257442"/>
                <a:gd name="connsiteX3" fmla="*/ 1 w 2515140"/>
                <a:gd name="connsiteY3" fmla="*/ 0 h 257442"/>
                <a:gd name="connsiteX0" fmla="*/ 2515140 w 2515140"/>
                <a:gd name="connsiteY0" fmla="*/ 0 h 257442"/>
                <a:gd name="connsiteX1" fmla="*/ 2460418 w 2515140"/>
                <a:gd name="connsiteY1" fmla="*/ 257442 h 257442"/>
                <a:gd name="connsiteX2" fmla="*/ 0 w 2515140"/>
                <a:gd name="connsiteY2" fmla="*/ 257442 h 257442"/>
                <a:gd name="connsiteX3" fmla="*/ 1 w 2515140"/>
                <a:gd name="connsiteY3" fmla="*/ 0 h 257442"/>
                <a:gd name="connsiteX0" fmla="*/ 2515140 w 2515140"/>
                <a:gd name="connsiteY0" fmla="*/ 0 h 257442"/>
                <a:gd name="connsiteX1" fmla="*/ 2460418 w 2515140"/>
                <a:gd name="connsiteY1" fmla="*/ 257442 h 257442"/>
                <a:gd name="connsiteX2" fmla="*/ 0 w 2515140"/>
                <a:gd name="connsiteY2" fmla="*/ 257442 h 257442"/>
                <a:gd name="connsiteX3" fmla="*/ 0 w 2515140"/>
                <a:gd name="connsiteY3" fmla="*/ 0 h 257442"/>
                <a:gd name="connsiteX0" fmla="*/ 2683455 w 2683455"/>
                <a:gd name="connsiteY0" fmla="*/ 0 h 257442"/>
                <a:gd name="connsiteX1" fmla="*/ 2460418 w 2683455"/>
                <a:gd name="connsiteY1" fmla="*/ 257442 h 257442"/>
                <a:gd name="connsiteX2" fmla="*/ 0 w 2683455"/>
                <a:gd name="connsiteY2" fmla="*/ 257442 h 257442"/>
                <a:gd name="connsiteX3" fmla="*/ 0 w 2683455"/>
                <a:gd name="connsiteY3" fmla="*/ 0 h 257442"/>
                <a:gd name="connsiteX0" fmla="*/ 2683455 w 2683455"/>
                <a:gd name="connsiteY0" fmla="*/ 0 h 257442"/>
                <a:gd name="connsiteX1" fmla="*/ 2628734 w 2683455"/>
                <a:gd name="connsiteY1" fmla="*/ 257442 h 257442"/>
                <a:gd name="connsiteX2" fmla="*/ 0 w 2683455"/>
                <a:gd name="connsiteY2" fmla="*/ 257442 h 257442"/>
                <a:gd name="connsiteX3" fmla="*/ 0 w 2683455"/>
                <a:gd name="connsiteY3" fmla="*/ 0 h 257442"/>
                <a:gd name="connsiteX0" fmla="*/ 2683455 w 2683455"/>
                <a:gd name="connsiteY0" fmla="*/ 0 h 257442"/>
                <a:gd name="connsiteX1" fmla="*/ 2628734 w 2683455"/>
                <a:gd name="connsiteY1" fmla="*/ 257442 h 257442"/>
                <a:gd name="connsiteX2" fmla="*/ 0 w 2683455"/>
                <a:gd name="connsiteY2" fmla="*/ 257442 h 257442"/>
                <a:gd name="connsiteX3" fmla="*/ 0 w 2683455"/>
                <a:gd name="connsiteY3" fmla="*/ 0 h 257442"/>
                <a:gd name="connsiteX0" fmla="*/ 2683455 w 2683455"/>
                <a:gd name="connsiteY0" fmla="*/ 0 h 257442"/>
                <a:gd name="connsiteX1" fmla="*/ 2628734 w 2683455"/>
                <a:gd name="connsiteY1" fmla="*/ 257442 h 257442"/>
                <a:gd name="connsiteX2" fmla="*/ 0 w 2683455"/>
                <a:gd name="connsiteY2" fmla="*/ 257442 h 257442"/>
                <a:gd name="connsiteX3" fmla="*/ 0 w 2683455"/>
                <a:gd name="connsiteY3" fmla="*/ 0 h 257442"/>
                <a:gd name="connsiteX0" fmla="*/ 2843755 w 2843755"/>
                <a:gd name="connsiteY0" fmla="*/ 0 h 257442"/>
                <a:gd name="connsiteX1" fmla="*/ 2628734 w 2843755"/>
                <a:gd name="connsiteY1" fmla="*/ 257442 h 257442"/>
                <a:gd name="connsiteX2" fmla="*/ 0 w 2843755"/>
                <a:gd name="connsiteY2" fmla="*/ 257442 h 257442"/>
                <a:gd name="connsiteX3" fmla="*/ 0 w 2843755"/>
                <a:gd name="connsiteY3" fmla="*/ 0 h 257442"/>
                <a:gd name="connsiteX0" fmla="*/ 2843755 w 2843755"/>
                <a:gd name="connsiteY0" fmla="*/ 0 h 257442"/>
                <a:gd name="connsiteX1" fmla="*/ 2789034 w 2843755"/>
                <a:gd name="connsiteY1" fmla="*/ 257442 h 257442"/>
                <a:gd name="connsiteX2" fmla="*/ 0 w 2843755"/>
                <a:gd name="connsiteY2" fmla="*/ 257442 h 257442"/>
                <a:gd name="connsiteX3" fmla="*/ 0 w 2843755"/>
                <a:gd name="connsiteY3" fmla="*/ 0 h 257442"/>
                <a:gd name="connsiteX0" fmla="*/ 2843755 w 2843755"/>
                <a:gd name="connsiteY0" fmla="*/ 0 h 257442"/>
                <a:gd name="connsiteX1" fmla="*/ 2789034 w 2843755"/>
                <a:gd name="connsiteY1" fmla="*/ 257442 h 257442"/>
                <a:gd name="connsiteX2" fmla="*/ 0 w 2843755"/>
                <a:gd name="connsiteY2" fmla="*/ 257442 h 257442"/>
                <a:gd name="connsiteX3" fmla="*/ 0 w 2843755"/>
                <a:gd name="connsiteY3" fmla="*/ 0 h 257442"/>
                <a:gd name="connsiteX0" fmla="*/ 2843755 w 2843755"/>
                <a:gd name="connsiteY0" fmla="*/ 0 h 257442"/>
                <a:gd name="connsiteX1" fmla="*/ 2789034 w 2843755"/>
                <a:gd name="connsiteY1" fmla="*/ 257442 h 257442"/>
                <a:gd name="connsiteX2" fmla="*/ 0 w 2843755"/>
                <a:gd name="connsiteY2" fmla="*/ 257442 h 257442"/>
                <a:gd name="connsiteX3" fmla="*/ 0 w 2843755"/>
                <a:gd name="connsiteY3" fmla="*/ 0 h 257442"/>
                <a:gd name="connsiteX0" fmla="*/ 3004056 w 3004056"/>
                <a:gd name="connsiteY0" fmla="*/ 0 h 257442"/>
                <a:gd name="connsiteX1" fmla="*/ 2789034 w 3004056"/>
                <a:gd name="connsiteY1" fmla="*/ 257442 h 257442"/>
                <a:gd name="connsiteX2" fmla="*/ 0 w 3004056"/>
                <a:gd name="connsiteY2" fmla="*/ 257442 h 257442"/>
                <a:gd name="connsiteX3" fmla="*/ 0 w 3004056"/>
                <a:gd name="connsiteY3" fmla="*/ 0 h 257442"/>
                <a:gd name="connsiteX0" fmla="*/ 3004056 w 3004056"/>
                <a:gd name="connsiteY0" fmla="*/ 0 h 257442"/>
                <a:gd name="connsiteX1" fmla="*/ 2949334 w 3004056"/>
                <a:gd name="connsiteY1" fmla="*/ 257442 h 257442"/>
                <a:gd name="connsiteX2" fmla="*/ 0 w 3004056"/>
                <a:gd name="connsiteY2" fmla="*/ 257442 h 257442"/>
                <a:gd name="connsiteX3" fmla="*/ 0 w 3004056"/>
                <a:gd name="connsiteY3" fmla="*/ 0 h 257442"/>
                <a:gd name="connsiteX0" fmla="*/ 3004057 w 3004057"/>
                <a:gd name="connsiteY0" fmla="*/ 0 h 257442"/>
                <a:gd name="connsiteX1" fmla="*/ 2949335 w 3004057"/>
                <a:gd name="connsiteY1" fmla="*/ 257442 h 257442"/>
                <a:gd name="connsiteX2" fmla="*/ 0 w 3004057"/>
                <a:gd name="connsiteY2" fmla="*/ 257442 h 257442"/>
                <a:gd name="connsiteX3" fmla="*/ 1 w 3004057"/>
                <a:gd name="connsiteY3" fmla="*/ 0 h 257442"/>
                <a:gd name="connsiteX0" fmla="*/ 3004057 w 3004057"/>
                <a:gd name="connsiteY0" fmla="*/ 0 h 257442"/>
                <a:gd name="connsiteX1" fmla="*/ 2949335 w 3004057"/>
                <a:gd name="connsiteY1" fmla="*/ 257442 h 257442"/>
                <a:gd name="connsiteX2" fmla="*/ 0 w 3004057"/>
                <a:gd name="connsiteY2" fmla="*/ 257442 h 257442"/>
                <a:gd name="connsiteX3" fmla="*/ 1 w 3004057"/>
                <a:gd name="connsiteY3" fmla="*/ 0 h 257442"/>
                <a:gd name="connsiteX0" fmla="*/ 3181989 w 3181989"/>
                <a:gd name="connsiteY0" fmla="*/ 0 h 257442"/>
                <a:gd name="connsiteX1" fmla="*/ 2949335 w 3181989"/>
                <a:gd name="connsiteY1" fmla="*/ 257442 h 257442"/>
                <a:gd name="connsiteX2" fmla="*/ 0 w 3181989"/>
                <a:gd name="connsiteY2" fmla="*/ 257442 h 257442"/>
                <a:gd name="connsiteX3" fmla="*/ 1 w 3181989"/>
                <a:gd name="connsiteY3" fmla="*/ 0 h 257442"/>
                <a:gd name="connsiteX0" fmla="*/ 3181989 w 3181989"/>
                <a:gd name="connsiteY0" fmla="*/ 0 h 257442"/>
                <a:gd name="connsiteX1" fmla="*/ 3127268 w 3181989"/>
                <a:gd name="connsiteY1" fmla="*/ 257442 h 257442"/>
                <a:gd name="connsiteX2" fmla="*/ 0 w 3181989"/>
                <a:gd name="connsiteY2" fmla="*/ 257442 h 257442"/>
                <a:gd name="connsiteX3" fmla="*/ 1 w 3181989"/>
                <a:gd name="connsiteY3" fmla="*/ 0 h 257442"/>
                <a:gd name="connsiteX0" fmla="*/ 3181988 w 3181988"/>
                <a:gd name="connsiteY0" fmla="*/ 0 h 257442"/>
                <a:gd name="connsiteX1" fmla="*/ 3127267 w 3181988"/>
                <a:gd name="connsiteY1" fmla="*/ 257442 h 257442"/>
                <a:gd name="connsiteX2" fmla="*/ 0 w 3181988"/>
                <a:gd name="connsiteY2" fmla="*/ 257442 h 257442"/>
                <a:gd name="connsiteX3" fmla="*/ 0 w 3181988"/>
                <a:gd name="connsiteY3" fmla="*/ 0 h 257442"/>
                <a:gd name="connsiteX0" fmla="*/ 3181989 w 3181989"/>
                <a:gd name="connsiteY0" fmla="*/ 0 h 257442"/>
                <a:gd name="connsiteX1" fmla="*/ 3127268 w 3181989"/>
                <a:gd name="connsiteY1" fmla="*/ 257442 h 257442"/>
                <a:gd name="connsiteX2" fmla="*/ 1 w 3181989"/>
                <a:gd name="connsiteY2" fmla="*/ 257442 h 257442"/>
                <a:gd name="connsiteX3" fmla="*/ 0 w 3181989"/>
                <a:gd name="connsiteY3" fmla="*/ 0 h 257442"/>
                <a:gd name="connsiteX0" fmla="*/ 3350305 w 3350305"/>
                <a:gd name="connsiteY0" fmla="*/ 0 h 257442"/>
                <a:gd name="connsiteX1" fmla="*/ 3127268 w 3350305"/>
                <a:gd name="connsiteY1" fmla="*/ 257442 h 257442"/>
                <a:gd name="connsiteX2" fmla="*/ 1 w 3350305"/>
                <a:gd name="connsiteY2" fmla="*/ 257442 h 257442"/>
                <a:gd name="connsiteX3" fmla="*/ 0 w 3350305"/>
                <a:gd name="connsiteY3" fmla="*/ 0 h 257442"/>
                <a:gd name="connsiteX0" fmla="*/ 3350305 w 3350305"/>
                <a:gd name="connsiteY0" fmla="*/ 0 h 257442"/>
                <a:gd name="connsiteX1" fmla="*/ 3295584 w 3350305"/>
                <a:gd name="connsiteY1" fmla="*/ 257442 h 257442"/>
                <a:gd name="connsiteX2" fmla="*/ 1 w 3350305"/>
                <a:gd name="connsiteY2" fmla="*/ 257442 h 257442"/>
                <a:gd name="connsiteX3" fmla="*/ 0 w 3350305"/>
                <a:gd name="connsiteY3" fmla="*/ 0 h 257442"/>
                <a:gd name="connsiteX0" fmla="*/ 3350305 w 3350305"/>
                <a:gd name="connsiteY0" fmla="*/ 0 h 257442"/>
                <a:gd name="connsiteX1" fmla="*/ 3295584 w 3350305"/>
                <a:gd name="connsiteY1" fmla="*/ 257442 h 257442"/>
                <a:gd name="connsiteX2" fmla="*/ 1 w 3350305"/>
                <a:gd name="connsiteY2" fmla="*/ 257442 h 257442"/>
                <a:gd name="connsiteX3" fmla="*/ 0 w 3350305"/>
                <a:gd name="connsiteY3" fmla="*/ 0 h 257442"/>
                <a:gd name="connsiteX0" fmla="*/ 3350304 w 3350304"/>
                <a:gd name="connsiteY0" fmla="*/ 0 h 257442"/>
                <a:gd name="connsiteX1" fmla="*/ 3295583 w 3350304"/>
                <a:gd name="connsiteY1" fmla="*/ 257442 h 257442"/>
                <a:gd name="connsiteX2" fmla="*/ 0 w 3350304"/>
                <a:gd name="connsiteY2" fmla="*/ 257442 h 257442"/>
                <a:gd name="connsiteX3" fmla="*/ 0 w 3350304"/>
                <a:gd name="connsiteY3" fmla="*/ 0 h 257442"/>
                <a:gd name="connsiteX0" fmla="*/ 3502588 w 3502588"/>
                <a:gd name="connsiteY0" fmla="*/ 0 h 257442"/>
                <a:gd name="connsiteX1" fmla="*/ 3295583 w 3502588"/>
                <a:gd name="connsiteY1" fmla="*/ 257442 h 257442"/>
                <a:gd name="connsiteX2" fmla="*/ 0 w 3502588"/>
                <a:gd name="connsiteY2" fmla="*/ 257442 h 257442"/>
                <a:gd name="connsiteX3" fmla="*/ 0 w 3502588"/>
                <a:gd name="connsiteY3" fmla="*/ 0 h 257442"/>
                <a:gd name="connsiteX0" fmla="*/ 3502588 w 3502588"/>
                <a:gd name="connsiteY0" fmla="*/ 0 h 257442"/>
                <a:gd name="connsiteX1" fmla="*/ 3447867 w 3502588"/>
                <a:gd name="connsiteY1" fmla="*/ 257442 h 257442"/>
                <a:gd name="connsiteX2" fmla="*/ 0 w 3502588"/>
                <a:gd name="connsiteY2" fmla="*/ 257442 h 257442"/>
                <a:gd name="connsiteX3" fmla="*/ 0 w 3502588"/>
                <a:gd name="connsiteY3" fmla="*/ 0 h 257442"/>
                <a:gd name="connsiteX0" fmla="*/ 3502589 w 3502589"/>
                <a:gd name="connsiteY0" fmla="*/ 0 h 257442"/>
                <a:gd name="connsiteX1" fmla="*/ 3447868 w 3502589"/>
                <a:gd name="connsiteY1" fmla="*/ 257442 h 257442"/>
                <a:gd name="connsiteX2" fmla="*/ 0 w 3502589"/>
                <a:gd name="connsiteY2" fmla="*/ 257442 h 257442"/>
                <a:gd name="connsiteX3" fmla="*/ 1 w 3502589"/>
                <a:gd name="connsiteY3" fmla="*/ 0 h 257442"/>
                <a:gd name="connsiteX0" fmla="*/ 3502589 w 3502589"/>
                <a:gd name="connsiteY0" fmla="*/ 0 h 257442"/>
                <a:gd name="connsiteX1" fmla="*/ 3447868 w 3502589"/>
                <a:gd name="connsiteY1" fmla="*/ 257442 h 257442"/>
                <a:gd name="connsiteX2" fmla="*/ 0 w 3502589"/>
                <a:gd name="connsiteY2" fmla="*/ 257442 h 257442"/>
                <a:gd name="connsiteX3" fmla="*/ 1 w 3502589"/>
                <a:gd name="connsiteY3" fmla="*/ 0 h 257442"/>
                <a:gd name="connsiteX0" fmla="*/ 3603580 w 3603580"/>
                <a:gd name="connsiteY0" fmla="*/ 0 h 257442"/>
                <a:gd name="connsiteX1" fmla="*/ 3447868 w 3603580"/>
                <a:gd name="connsiteY1" fmla="*/ 257442 h 257442"/>
                <a:gd name="connsiteX2" fmla="*/ 0 w 3603580"/>
                <a:gd name="connsiteY2" fmla="*/ 257442 h 257442"/>
                <a:gd name="connsiteX3" fmla="*/ 1 w 3603580"/>
                <a:gd name="connsiteY3" fmla="*/ 0 h 257442"/>
                <a:gd name="connsiteX0" fmla="*/ 3603580 w 3603580"/>
                <a:gd name="connsiteY0" fmla="*/ 0 h 257442"/>
                <a:gd name="connsiteX1" fmla="*/ 3548858 w 3603580"/>
                <a:gd name="connsiteY1" fmla="*/ 257442 h 257442"/>
                <a:gd name="connsiteX2" fmla="*/ 0 w 3603580"/>
                <a:gd name="connsiteY2" fmla="*/ 257442 h 257442"/>
                <a:gd name="connsiteX3" fmla="*/ 1 w 3603580"/>
                <a:gd name="connsiteY3" fmla="*/ 0 h 257442"/>
                <a:gd name="connsiteX0" fmla="*/ 3603580 w 3603580"/>
                <a:gd name="connsiteY0" fmla="*/ 0 h 257442"/>
                <a:gd name="connsiteX1" fmla="*/ 3548858 w 3603580"/>
                <a:gd name="connsiteY1" fmla="*/ 257442 h 257442"/>
                <a:gd name="connsiteX2" fmla="*/ 0 w 3603580"/>
                <a:gd name="connsiteY2" fmla="*/ 257442 h 257442"/>
                <a:gd name="connsiteX3" fmla="*/ 1 w 3603580"/>
                <a:gd name="connsiteY3" fmla="*/ 0 h 257442"/>
                <a:gd name="connsiteX0" fmla="*/ 3603580 w 3603580"/>
                <a:gd name="connsiteY0" fmla="*/ 0 h 257442"/>
                <a:gd name="connsiteX1" fmla="*/ 3548858 w 3603580"/>
                <a:gd name="connsiteY1" fmla="*/ 257442 h 257442"/>
                <a:gd name="connsiteX2" fmla="*/ 0 w 3603580"/>
                <a:gd name="connsiteY2" fmla="*/ 257442 h 257442"/>
                <a:gd name="connsiteX3" fmla="*/ 0 w 3603580"/>
                <a:gd name="connsiteY3" fmla="*/ 0 h 257442"/>
                <a:gd name="connsiteX0" fmla="*/ 3771893 w 3771893"/>
                <a:gd name="connsiteY0" fmla="*/ 0 h 257442"/>
                <a:gd name="connsiteX1" fmla="*/ 3548858 w 3771893"/>
                <a:gd name="connsiteY1" fmla="*/ 257442 h 257442"/>
                <a:gd name="connsiteX2" fmla="*/ 0 w 3771893"/>
                <a:gd name="connsiteY2" fmla="*/ 257442 h 257442"/>
                <a:gd name="connsiteX3" fmla="*/ 0 w 3771893"/>
                <a:gd name="connsiteY3" fmla="*/ 0 h 257442"/>
                <a:gd name="connsiteX0" fmla="*/ 3771893 w 3771893"/>
                <a:gd name="connsiteY0" fmla="*/ 0 h 257442"/>
                <a:gd name="connsiteX1" fmla="*/ 3717172 w 3771893"/>
                <a:gd name="connsiteY1" fmla="*/ 257442 h 257442"/>
                <a:gd name="connsiteX2" fmla="*/ 0 w 3771893"/>
                <a:gd name="connsiteY2" fmla="*/ 257442 h 257442"/>
                <a:gd name="connsiteX3" fmla="*/ 0 w 3771893"/>
                <a:gd name="connsiteY3" fmla="*/ 0 h 257442"/>
                <a:gd name="connsiteX0" fmla="*/ 3771893 w 3771893"/>
                <a:gd name="connsiteY0" fmla="*/ 0 h 257442"/>
                <a:gd name="connsiteX1" fmla="*/ 3717172 w 3771893"/>
                <a:gd name="connsiteY1" fmla="*/ 257442 h 257442"/>
                <a:gd name="connsiteX2" fmla="*/ 0 w 3771893"/>
                <a:gd name="connsiteY2" fmla="*/ 257442 h 257442"/>
                <a:gd name="connsiteX3" fmla="*/ 0 w 3771893"/>
                <a:gd name="connsiteY3" fmla="*/ 0 h 257442"/>
                <a:gd name="connsiteX0" fmla="*/ 3771893 w 3771893"/>
                <a:gd name="connsiteY0" fmla="*/ 0 h 257442"/>
                <a:gd name="connsiteX1" fmla="*/ 3717172 w 3771893"/>
                <a:gd name="connsiteY1" fmla="*/ 257442 h 257442"/>
                <a:gd name="connsiteX2" fmla="*/ 0 w 3771893"/>
                <a:gd name="connsiteY2" fmla="*/ 257442 h 257442"/>
                <a:gd name="connsiteX3" fmla="*/ 0 w 3771893"/>
                <a:gd name="connsiteY3" fmla="*/ 0 h 257442"/>
                <a:gd name="connsiteX0" fmla="*/ 3949827 w 3949827"/>
                <a:gd name="connsiteY0" fmla="*/ 0 h 257442"/>
                <a:gd name="connsiteX1" fmla="*/ 3717172 w 3949827"/>
                <a:gd name="connsiteY1" fmla="*/ 257442 h 257442"/>
                <a:gd name="connsiteX2" fmla="*/ 0 w 3949827"/>
                <a:gd name="connsiteY2" fmla="*/ 257442 h 257442"/>
                <a:gd name="connsiteX3" fmla="*/ 0 w 3949827"/>
                <a:gd name="connsiteY3" fmla="*/ 0 h 257442"/>
                <a:gd name="connsiteX0" fmla="*/ 3949827 w 3949827"/>
                <a:gd name="connsiteY0" fmla="*/ 0 h 257442"/>
                <a:gd name="connsiteX1" fmla="*/ 3895106 w 3949827"/>
                <a:gd name="connsiteY1" fmla="*/ 257442 h 257442"/>
                <a:gd name="connsiteX2" fmla="*/ 0 w 3949827"/>
                <a:gd name="connsiteY2" fmla="*/ 257442 h 257442"/>
                <a:gd name="connsiteX3" fmla="*/ 0 w 3949827"/>
                <a:gd name="connsiteY3" fmla="*/ 0 h 257442"/>
                <a:gd name="connsiteX0" fmla="*/ 3949827 w 3949827"/>
                <a:gd name="connsiteY0" fmla="*/ 0 h 257442"/>
                <a:gd name="connsiteX1" fmla="*/ 3895106 w 3949827"/>
                <a:gd name="connsiteY1" fmla="*/ 257442 h 257442"/>
                <a:gd name="connsiteX2" fmla="*/ 0 w 3949827"/>
                <a:gd name="connsiteY2" fmla="*/ 257442 h 257442"/>
                <a:gd name="connsiteX3" fmla="*/ 0 w 3949827"/>
                <a:gd name="connsiteY3" fmla="*/ 0 h 257442"/>
                <a:gd name="connsiteX0" fmla="*/ 3949827 w 3949827"/>
                <a:gd name="connsiteY0" fmla="*/ 0 h 257442"/>
                <a:gd name="connsiteX1" fmla="*/ 3895106 w 3949827"/>
                <a:gd name="connsiteY1" fmla="*/ 257442 h 257442"/>
                <a:gd name="connsiteX2" fmla="*/ 0 w 3949827"/>
                <a:gd name="connsiteY2" fmla="*/ 257442 h 257442"/>
                <a:gd name="connsiteX3" fmla="*/ 0 w 3949827"/>
                <a:gd name="connsiteY3" fmla="*/ 0 h 257442"/>
                <a:gd name="connsiteX0" fmla="*/ 3771893 w 3895106"/>
                <a:gd name="connsiteY0" fmla="*/ 0 h 257442"/>
                <a:gd name="connsiteX1" fmla="*/ 3895106 w 3895106"/>
                <a:gd name="connsiteY1" fmla="*/ 257442 h 257442"/>
                <a:gd name="connsiteX2" fmla="*/ 0 w 3895106"/>
                <a:gd name="connsiteY2" fmla="*/ 257442 h 257442"/>
                <a:gd name="connsiteX3" fmla="*/ 0 w 3895106"/>
                <a:gd name="connsiteY3" fmla="*/ 0 h 257442"/>
                <a:gd name="connsiteX0" fmla="*/ 3771893 w 3771893"/>
                <a:gd name="connsiteY0" fmla="*/ 0 h 257442"/>
                <a:gd name="connsiteX1" fmla="*/ 3717172 w 3771893"/>
                <a:gd name="connsiteY1" fmla="*/ 257442 h 257442"/>
                <a:gd name="connsiteX2" fmla="*/ 0 w 3771893"/>
                <a:gd name="connsiteY2" fmla="*/ 257442 h 257442"/>
                <a:gd name="connsiteX3" fmla="*/ 0 w 3771893"/>
                <a:gd name="connsiteY3" fmla="*/ 0 h 257442"/>
                <a:gd name="connsiteX0" fmla="*/ 3771893 w 3771893"/>
                <a:gd name="connsiteY0" fmla="*/ 0 h 257442"/>
                <a:gd name="connsiteX1" fmla="*/ 3717172 w 3771893"/>
                <a:gd name="connsiteY1" fmla="*/ 257442 h 257442"/>
                <a:gd name="connsiteX2" fmla="*/ 1 w 3771893"/>
                <a:gd name="connsiteY2" fmla="*/ 257442 h 257442"/>
                <a:gd name="connsiteX3" fmla="*/ 0 w 3771893"/>
                <a:gd name="connsiteY3" fmla="*/ 0 h 257442"/>
                <a:gd name="connsiteX0" fmla="*/ 3771892 w 3771892"/>
                <a:gd name="connsiteY0" fmla="*/ 0 h 257442"/>
                <a:gd name="connsiteX1" fmla="*/ 3717171 w 3771892"/>
                <a:gd name="connsiteY1" fmla="*/ 257442 h 257442"/>
                <a:gd name="connsiteX2" fmla="*/ 0 w 3771892"/>
                <a:gd name="connsiteY2" fmla="*/ 257442 h 257442"/>
                <a:gd name="connsiteX3" fmla="*/ 0 w 3771892"/>
                <a:gd name="connsiteY3" fmla="*/ 0 h 257442"/>
                <a:gd name="connsiteX0" fmla="*/ 3880897 w 3880897"/>
                <a:gd name="connsiteY0" fmla="*/ 0 h 257442"/>
                <a:gd name="connsiteX1" fmla="*/ 3717171 w 3880897"/>
                <a:gd name="connsiteY1" fmla="*/ 257442 h 257442"/>
                <a:gd name="connsiteX2" fmla="*/ 0 w 3880897"/>
                <a:gd name="connsiteY2" fmla="*/ 257442 h 257442"/>
                <a:gd name="connsiteX3" fmla="*/ 0 w 3880897"/>
                <a:gd name="connsiteY3" fmla="*/ 0 h 257442"/>
                <a:gd name="connsiteX0" fmla="*/ 3880897 w 3880897"/>
                <a:gd name="connsiteY0" fmla="*/ 0 h 257442"/>
                <a:gd name="connsiteX1" fmla="*/ 3826176 w 3880897"/>
                <a:gd name="connsiteY1" fmla="*/ 257442 h 257442"/>
                <a:gd name="connsiteX2" fmla="*/ 0 w 3880897"/>
                <a:gd name="connsiteY2" fmla="*/ 257442 h 257442"/>
                <a:gd name="connsiteX3" fmla="*/ 0 w 3880897"/>
                <a:gd name="connsiteY3" fmla="*/ 0 h 257442"/>
                <a:gd name="connsiteX0" fmla="*/ 3880898 w 3880898"/>
                <a:gd name="connsiteY0" fmla="*/ 0 h 257442"/>
                <a:gd name="connsiteX1" fmla="*/ 3826177 w 3880898"/>
                <a:gd name="connsiteY1" fmla="*/ 257442 h 257442"/>
                <a:gd name="connsiteX2" fmla="*/ 0 w 3880898"/>
                <a:gd name="connsiteY2" fmla="*/ 257442 h 257442"/>
                <a:gd name="connsiteX3" fmla="*/ 1 w 3880898"/>
                <a:gd name="connsiteY3" fmla="*/ 0 h 257442"/>
                <a:gd name="connsiteX0" fmla="*/ 3880898 w 3880898"/>
                <a:gd name="connsiteY0" fmla="*/ 0 h 257442"/>
                <a:gd name="connsiteX1" fmla="*/ 3826177 w 3880898"/>
                <a:gd name="connsiteY1" fmla="*/ 257442 h 257442"/>
                <a:gd name="connsiteX2" fmla="*/ 0 w 3880898"/>
                <a:gd name="connsiteY2" fmla="*/ 257442 h 257442"/>
                <a:gd name="connsiteX3" fmla="*/ 0 w 3880898"/>
                <a:gd name="connsiteY3" fmla="*/ 0 h 257442"/>
                <a:gd name="connsiteX0" fmla="*/ 3603579 w 3826177"/>
                <a:gd name="connsiteY0" fmla="*/ 0 h 257442"/>
                <a:gd name="connsiteX1" fmla="*/ 3826177 w 3826177"/>
                <a:gd name="connsiteY1" fmla="*/ 257442 h 257442"/>
                <a:gd name="connsiteX2" fmla="*/ 0 w 3826177"/>
                <a:gd name="connsiteY2" fmla="*/ 257442 h 257442"/>
                <a:gd name="connsiteX3" fmla="*/ 0 w 3826177"/>
                <a:gd name="connsiteY3" fmla="*/ 0 h 257442"/>
                <a:gd name="connsiteX0" fmla="*/ 3603579 w 3603579"/>
                <a:gd name="connsiteY0" fmla="*/ 0 h 257442"/>
                <a:gd name="connsiteX1" fmla="*/ 3548859 w 3603579"/>
                <a:gd name="connsiteY1" fmla="*/ 257442 h 257442"/>
                <a:gd name="connsiteX2" fmla="*/ 0 w 3603579"/>
                <a:gd name="connsiteY2" fmla="*/ 257442 h 257442"/>
                <a:gd name="connsiteX3" fmla="*/ 0 w 3603579"/>
                <a:gd name="connsiteY3" fmla="*/ 0 h 257442"/>
                <a:gd name="connsiteX0" fmla="*/ 3603579 w 3603579"/>
                <a:gd name="connsiteY0" fmla="*/ 0 h 257442"/>
                <a:gd name="connsiteX1" fmla="*/ 3548859 w 3603579"/>
                <a:gd name="connsiteY1" fmla="*/ 257442 h 257442"/>
                <a:gd name="connsiteX2" fmla="*/ 1 w 3603579"/>
                <a:gd name="connsiteY2" fmla="*/ 257442 h 257442"/>
                <a:gd name="connsiteX3" fmla="*/ 0 w 3603579"/>
                <a:gd name="connsiteY3" fmla="*/ 0 h 257442"/>
                <a:gd name="connsiteX0" fmla="*/ 3603578 w 3603578"/>
                <a:gd name="connsiteY0" fmla="*/ 0 h 257442"/>
                <a:gd name="connsiteX1" fmla="*/ 3548858 w 3603578"/>
                <a:gd name="connsiteY1" fmla="*/ 257442 h 257442"/>
                <a:gd name="connsiteX2" fmla="*/ 0 w 3603578"/>
                <a:gd name="connsiteY2" fmla="*/ 257442 h 257442"/>
                <a:gd name="connsiteX3" fmla="*/ 0 w 3603578"/>
                <a:gd name="connsiteY3" fmla="*/ 0 h 257442"/>
                <a:gd name="connsiteX0" fmla="*/ 3350303 w 3548858"/>
                <a:gd name="connsiteY0" fmla="*/ 0 h 257442"/>
                <a:gd name="connsiteX1" fmla="*/ 3548858 w 3548858"/>
                <a:gd name="connsiteY1" fmla="*/ 257442 h 257442"/>
                <a:gd name="connsiteX2" fmla="*/ 0 w 3548858"/>
                <a:gd name="connsiteY2" fmla="*/ 257442 h 257442"/>
                <a:gd name="connsiteX3" fmla="*/ 0 w 3548858"/>
                <a:gd name="connsiteY3" fmla="*/ 0 h 257442"/>
                <a:gd name="connsiteX0" fmla="*/ 3350303 w 3350303"/>
                <a:gd name="connsiteY0" fmla="*/ 0 h 257442"/>
                <a:gd name="connsiteX1" fmla="*/ 3295582 w 3350303"/>
                <a:gd name="connsiteY1" fmla="*/ 257442 h 257442"/>
                <a:gd name="connsiteX2" fmla="*/ 0 w 3350303"/>
                <a:gd name="connsiteY2" fmla="*/ 257442 h 257442"/>
                <a:gd name="connsiteX3" fmla="*/ 0 w 3350303"/>
                <a:gd name="connsiteY3" fmla="*/ 0 h 257442"/>
                <a:gd name="connsiteX0" fmla="*/ 3350303 w 3350303"/>
                <a:gd name="connsiteY0" fmla="*/ 0 h 257442"/>
                <a:gd name="connsiteX1" fmla="*/ 3295582 w 3350303"/>
                <a:gd name="connsiteY1" fmla="*/ 257442 h 257442"/>
                <a:gd name="connsiteX2" fmla="*/ 0 w 3350303"/>
                <a:gd name="connsiteY2" fmla="*/ 257442 h 257442"/>
                <a:gd name="connsiteX3" fmla="*/ 0 w 3350303"/>
                <a:gd name="connsiteY3" fmla="*/ 0 h 257442"/>
                <a:gd name="connsiteX0" fmla="*/ 3350303 w 3350303"/>
                <a:gd name="connsiteY0" fmla="*/ 0 h 257442"/>
                <a:gd name="connsiteX1" fmla="*/ 3295582 w 3350303"/>
                <a:gd name="connsiteY1" fmla="*/ 257442 h 257442"/>
                <a:gd name="connsiteX2" fmla="*/ 0 w 3350303"/>
                <a:gd name="connsiteY2" fmla="*/ 257442 h 257442"/>
                <a:gd name="connsiteX3" fmla="*/ 0 w 3350303"/>
                <a:gd name="connsiteY3" fmla="*/ 0 h 257442"/>
                <a:gd name="connsiteX0" fmla="*/ 3181988 w 3295582"/>
                <a:gd name="connsiteY0" fmla="*/ 0 h 257442"/>
                <a:gd name="connsiteX1" fmla="*/ 3295582 w 3295582"/>
                <a:gd name="connsiteY1" fmla="*/ 257442 h 257442"/>
                <a:gd name="connsiteX2" fmla="*/ 0 w 3295582"/>
                <a:gd name="connsiteY2" fmla="*/ 257442 h 257442"/>
                <a:gd name="connsiteX3" fmla="*/ 0 w 3295582"/>
                <a:gd name="connsiteY3" fmla="*/ 0 h 257442"/>
                <a:gd name="connsiteX0" fmla="*/ 3181988 w 3181988"/>
                <a:gd name="connsiteY0" fmla="*/ 0 h 257442"/>
                <a:gd name="connsiteX1" fmla="*/ 3127267 w 3181988"/>
                <a:gd name="connsiteY1" fmla="*/ 257442 h 257442"/>
                <a:gd name="connsiteX2" fmla="*/ 0 w 3181988"/>
                <a:gd name="connsiteY2" fmla="*/ 257442 h 257442"/>
                <a:gd name="connsiteX3" fmla="*/ 0 w 3181988"/>
                <a:gd name="connsiteY3" fmla="*/ 0 h 257442"/>
                <a:gd name="connsiteX0" fmla="*/ 3181988 w 3181988"/>
                <a:gd name="connsiteY0" fmla="*/ 0 h 257442"/>
                <a:gd name="connsiteX1" fmla="*/ 3127267 w 3181988"/>
                <a:gd name="connsiteY1" fmla="*/ 257442 h 257442"/>
                <a:gd name="connsiteX2" fmla="*/ 0 w 3181988"/>
                <a:gd name="connsiteY2" fmla="*/ 257442 h 257442"/>
                <a:gd name="connsiteX3" fmla="*/ 0 w 3181988"/>
                <a:gd name="connsiteY3" fmla="*/ 0 h 257442"/>
                <a:gd name="connsiteX0" fmla="*/ 3181988 w 3181988"/>
                <a:gd name="connsiteY0" fmla="*/ 0 h 257442"/>
                <a:gd name="connsiteX1" fmla="*/ 3127267 w 3181988"/>
                <a:gd name="connsiteY1" fmla="*/ 257442 h 257442"/>
                <a:gd name="connsiteX2" fmla="*/ 0 w 3181988"/>
                <a:gd name="connsiteY2" fmla="*/ 257442 h 257442"/>
                <a:gd name="connsiteX3" fmla="*/ 0 w 3181988"/>
                <a:gd name="connsiteY3" fmla="*/ 0 h 257442"/>
                <a:gd name="connsiteX0" fmla="*/ 3004056 w 3127267"/>
                <a:gd name="connsiteY0" fmla="*/ 0 h 257442"/>
                <a:gd name="connsiteX1" fmla="*/ 3127267 w 3127267"/>
                <a:gd name="connsiteY1" fmla="*/ 257442 h 257442"/>
                <a:gd name="connsiteX2" fmla="*/ 0 w 3127267"/>
                <a:gd name="connsiteY2" fmla="*/ 257442 h 257442"/>
                <a:gd name="connsiteX3" fmla="*/ 0 w 3127267"/>
                <a:gd name="connsiteY3" fmla="*/ 0 h 257442"/>
                <a:gd name="connsiteX0" fmla="*/ 3004056 w 3004056"/>
                <a:gd name="connsiteY0" fmla="*/ 0 h 257442"/>
                <a:gd name="connsiteX1" fmla="*/ 2949336 w 3004056"/>
                <a:gd name="connsiteY1" fmla="*/ 257442 h 257442"/>
                <a:gd name="connsiteX2" fmla="*/ 0 w 3004056"/>
                <a:gd name="connsiteY2" fmla="*/ 257442 h 257442"/>
                <a:gd name="connsiteX3" fmla="*/ 0 w 3004056"/>
                <a:gd name="connsiteY3" fmla="*/ 0 h 257442"/>
                <a:gd name="connsiteX0" fmla="*/ 3004056 w 3004056"/>
                <a:gd name="connsiteY0" fmla="*/ 0 h 257442"/>
                <a:gd name="connsiteX1" fmla="*/ 2949336 w 3004056"/>
                <a:gd name="connsiteY1" fmla="*/ 257442 h 257442"/>
                <a:gd name="connsiteX2" fmla="*/ 1 w 3004056"/>
                <a:gd name="connsiteY2" fmla="*/ 257442 h 257442"/>
                <a:gd name="connsiteX3" fmla="*/ 0 w 3004056"/>
                <a:gd name="connsiteY3" fmla="*/ 0 h 257442"/>
                <a:gd name="connsiteX0" fmla="*/ 3004055 w 3004055"/>
                <a:gd name="connsiteY0" fmla="*/ 0 h 257442"/>
                <a:gd name="connsiteX1" fmla="*/ 2949335 w 3004055"/>
                <a:gd name="connsiteY1" fmla="*/ 257442 h 257442"/>
                <a:gd name="connsiteX2" fmla="*/ 0 w 3004055"/>
                <a:gd name="connsiteY2" fmla="*/ 257442 h 257442"/>
                <a:gd name="connsiteX3" fmla="*/ 0 w 3004055"/>
                <a:gd name="connsiteY3" fmla="*/ 0 h 257442"/>
                <a:gd name="connsiteX0" fmla="*/ 2843755 w 2949335"/>
                <a:gd name="connsiteY0" fmla="*/ 0 h 257442"/>
                <a:gd name="connsiteX1" fmla="*/ 2949335 w 2949335"/>
                <a:gd name="connsiteY1" fmla="*/ 257442 h 257442"/>
                <a:gd name="connsiteX2" fmla="*/ 0 w 2949335"/>
                <a:gd name="connsiteY2" fmla="*/ 257442 h 257442"/>
                <a:gd name="connsiteX3" fmla="*/ 0 w 2949335"/>
                <a:gd name="connsiteY3" fmla="*/ 0 h 257442"/>
                <a:gd name="connsiteX0" fmla="*/ 2843755 w 2843755"/>
                <a:gd name="connsiteY0" fmla="*/ 0 h 257442"/>
                <a:gd name="connsiteX1" fmla="*/ 2789034 w 2843755"/>
                <a:gd name="connsiteY1" fmla="*/ 257442 h 257442"/>
                <a:gd name="connsiteX2" fmla="*/ 0 w 2843755"/>
                <a:gd name="connsiteY2" fmla="*/ 257442 h 257442"/>
                <a:gd name="connsiteX3" fmla="*/ 0 w 2843755"/>
                <a:gd name="connsiteY3" fmla="*/ 0 h 257442"/>
                <a:gd name="connsiteX0" fmla="*/ 2843755 w 2843755"/>
                <a:gd name="connsiteY0" fmla="*/ 0 h 257442"/>
                <a:gd name="connsiteX1" fmla="*/ 2789034 w 2843755"/>
                <a:gd name="connsiteY1" fmla="*/ 257442 h 257442"/>
                <a:gd name="connsiteX2" fmla="*/ 0 w 2843755"/>
                <a:gd name="connsiteY2" fmla="*/ 257442 h 257442"/>
                <a:gd name="connsiteX3" fmla="*/ 0 w 2843755"/>
                <a:gd name="connsiteY3" fmla="*/ 0 h 257442"/>
                <a:gd name="connsiteX0" fmla="*/ 2843755 w 2843755"/>
                <a:gd name="connsiteY0" fmla="*/ 0 h 257442"/>
                <a:gd name="connsiteX1" fmla="*/ 2789034 w 2843755"/>
                <a:gd name="connsiteY1" fmla="*/ 257442 h 257442"/>
                <a:gd name="connsiteX2" fmla="*/ 0 w 2843755"/>
                <a:gd name="connsiteY2" fmla="*/ 257442 h 257442"/>
                <a:gd name="connsiteX3" fmla="*/ 0 w 2843755"/>
                <a:gd name="connsiteY3" fmla="*/ 0 h 257442"/>
                <a:gd name="connsiteX0" fmla="*/ 2683455 w 2789034"/>
                <a:gd name="connsiteY0" fmla="*/ 0 h 257442"/>
                <a:gd name="connsiteX1" fmla="*/ 2789034 w 2789034"/>
                <a:gd name="connsiteY1" fmla="*/ 257442 h 257442"/>
                <a:gd name="connsiteX2" fmla="*/ 0 w 2789034"/>
                <a:gd name="connsiteY2" fmla="*/ 257442 h 257442"/>
                <a:gd name="connsiteX3" fmla="*/ 0 w 2789034"/>
                <a:gd name="connsiteY3" fmla="*/ 0 h 257442"/>
                <a:gd name="connsiteX0" fmla="*/ 2683455 w 2683455"/>
                <a:gd name="connsiteY0" fmla="*/ 0 h 257442"/>
                <a:gd name="connsiteX1" fmla="*/ 2628734 w 2683455"/>
                <a:gd name="connsiteY1" fmla="*/ 257442 h 257442"/>
                <a:gd name="connsiteX2" fmla="*/ 0 w 2683455"/>
                <a:gd name="connsiteY2" fmla="*/ 257442 h 257442"/>
                <a:gd name="connsiteX3" fmla="*/ 0 w 2683455"/>
                <a:gd name="connsiteY3" fmla="*/ 0 h 257442"/>
                <a:gd name="connsiteX0" fmla="*/ 2683455 w 2683455"/>
                <a:gd name="connsiteY0" fmla="*/ 0 h 257442"/>
                <a:gd name="connsiteX1" fmla="*/ 2628734 w 2683455"/>
                <a:gd name="connsiteY1" fmla="*/ 257442 h 257442"/>
                <a:gd name="connsiteX2" fmla="*/ 1 w 2683455"/>
                <a:gd name="connsiteY2" fmla="*/ 257442 h 257442"/>
                <a:gd name="connsiteX3" fmla="*/ 0 w 2683455"/>
                <a:gd name="connsiteY3" fmla="*/ 0 h 257442"/>
                <a:gd name="connsiteX0" fmla="*/ 2683454 w 2683454"/>
                <a:gd name="connsiteY0" fmla="*/ 0 h 257442"/>
                <a:gd name="connsiteX1" fmla="*/ 2628733 w 2683454"/>
                <a:gd name="connsiteY1" fmla="*/ 257442 h 257442"/>
                <a:gd name="connsiteX2" fmla="*/ 0 w 2683454"/>
                <a:gd name="connsiteY2" fmla="*/ 257442 h 257442"/>
                <a:gd name="connsiteX3" fmla="*/ 0 w 2683454"/>
                <a:gd name="connsiteY3" fmla="*/ 0 h 257442"/>
                <a:gd name="connsiteX0" fmla="*/ 2515138 w 2628733"/>
                <a:gd name="connsiteY0" fmla="*/ 0 h 257442"/>
                <a:gd name="connsiteX1" fmla="*/ 2628733 w 2628733"/>
                <a:gd name="connsiteY1" fmla="*/ 257442 h 257442"/>
                <a:gd name="connsiteX2" fmla="*/ 0 w 2628733"/>
                <a:gd name="connsiteY2" fmla="*/ 257442 h 257442"/>
                <a:gd name="connsiteX3" fmla="*/ 0 w 2628733"/>
                <a:gd name="connsiteY3" fmla="*/ 0 h 257442"/>
                <a:gd name="connsiteX0" fmla="*/ 2515138 w 2515138"/>
                <a:gd name="connsiteY0" fmla="*/ 0 h 257442"/>
                <a:gd name="connsiteX1" fmla="*/ 2460418 w 2515138"/>
                <a:gd name="connsiteY1" fmla="*/ 257442 h 257442"/>
                <a:gd name="connsiteX2" fmla="*/ 0 w 2515138"/>
                <a:gd name="connsiteY2" fmla="*/ 257442 h 257442"/>
                <a:gd name="connsiteX3" fmla="*/ 0 w 2515138"/>
                <a:gd name="connsiteY3" fmla="*/ 0 h 257442"/>
                <a:gd name="connsiteX0" fmla="*/ 2515138 w 2515138"/>
                <a:gd name="connsiteY0" fmla="*/ 0 h 257442"/>
                <a:gd name="connsiteX1" fmla="*/ 2460418 w 2515138"/>
                <a:gd name="connsiteY1" fmla="*/ 257442 h 257442"/>
                <a:gd name="connsiteX2" fmla="*/ 0 w 2515138"/>
                <a:gd name="connsiteY2" fmla="*/ 257442 h 257442"/>
                <a:gd name="connsiteX3" fmla="*/ 0 w 2515138"/>
                <a:gd name="connsiteY3" fmla="*/ 0 h 257442"/>
                <a:gd name="connsiteX0" fmla="*/ 2515138 w 2515138"/>
                <a:gd name="connsiteY0" fmla="*/ 0 h 257442"/>
                <a:gd name="connsiteX1" fmla="*/ 2460418 w 2515138"/>
                <a:gd name="connsiteY1" fmla="*/ 257442 h 257442"/>
                <a:gd name="connsiteX2" fmla="*/ 0 w 2515138"/>
                <a:gd name="connsiteY2" fmla="*/ 257442 h 257442"/>
                <a:gd name="connsiteX3" fmla="*/ 0 w 2515138"/>
                <a:gd name="connsiteY3" fmla="*/ 0 h 257442"/>
                <a:gd name="connsiteX0" fmla="*/ 2416907 w 2460418"/>
                <a:gd name="connsiteY0" fmla="*/ 0 h 257442"/>
                <a:gd name="connsiteX1" fmla="*/ 2460418 w 2460418"/>
                <a:gd name="connsiteY1" fmla="*/ 257442 h 257442"/>
                <a:gd name="connsiteX2" fmla="*/ 0 w 2460418"/>
                <a:gd name="connsiteY2" fmla="*/ 257442 h 257442"/>
                <a:gd name="connsiteX3" fmla="*/ 0 w 2460418"/>
                <a:gd name="connsiteY3" fmla="*/ 0 h 257442"/>
                <a:gd name="connsiteX0" fmla="*/ 2416907 w 2416907"/>
                <a:gd name="connsiteY0" fmla="*/ 0 h 257442"/>
                <a:gd name="connsiteX1" fmla="*/ 2362186 w 2416907"/>
                <a:gd name="connsiteY1" fmla="*/ 257442 h 257442"/>
                <a:gd name="connsiteX2" fmla="*/ 0 w 2416907"/>
                <a:gd name="connsiteY2" fmla="*/ 257442 h 257442"/>
                <a:gd name="connsiteX3" fmla="*/ 0 w 2416907"/>
                <a:gd name="connsiteY3" fmla="*/ 0 h 257442"/>
                <a:gd name="connsiteX0" fmla="*/ 2416907 w 2416907"/>
                <a:gd name="connsiteY0" fmla="*/ 0 h 257442"/>
                <a:gd name="connsiteX1" fmla="*/ 2362186 w 2416907"/>
                <a:gd name="connsiteY1" fmla="*/ 257442 h 257442"/>
                <a:gd name="connsiteX2" fmla="*/ 1 w 2416907"/>
                <a:gd name="connsiteY2" fmla="*/ 257442 h 257442"/>
                <a:gd name="connsiteX3" fmla="*/ 0 w 2416907"/>
                <a:gd name="connsiteY3" fmla="*/ 0 h 257442"/>
                <a:gd name="connsiteX0" fmla="*/ 2416906 w 2416906"/>
                <a:gd name="connsiteY0" fmla="*/ 0 h 257442"/>
                <a:gd name="connsiteX1" fmla="*/ 2362185 w 2416906"/>
                <a:gd name="connsiteY1" fmla="*/ 257442 h 257442"/>
                <a:gd name="connsiteX2" fmla="*/ 0 w 2416906"/>
                <a:gd name="connsiteY2" fmla="*/ 257442 h 257442"/>
                <a:gd name="connsiteX3" fmla="*/ 0 w 2416906"/>
                <a:gd name="connsiteY3" fmla="*/ 0 h 257442"/>
                <a:gd name="connsiteX0" fmla="*/ 2262313 w 2362185"/>
                <a:gd name="connsiteY0" fmla="*/ 0 h 257442"/>
                <a:gd name="connsiteX1" fmla="*/ 2362185 w 2362185"/>
                <a:gd name="connsiteY1" fmla="*/ 257442 h 257442"/>
                <a:gd name="connsiteX2" fmla="*/ 0 w 2362185"/>
                <a:gd name="connsiteY2" fmla="*/ 257442 h 257442"/>
                <a:gd name="connsiteX3" fmla="*/ 0 w 2362185"/>
                <a:gd name="connsiteY3" fmla="*/ 0 h 257442"/>
                <a:gd name="connsiteX0" fmla="*/ 2262313 w 2262313"/>
                <a:gd name="connsiteY0" fmla="*/ 0 h 257442"/>
                <a:gd name="connsiteX1" fmla="*/ 2207593 w 2262313"/>
                <a:gd name="connsiteY1" fmla="*/ 257442 h 257442"/>
                <a:gd name="connsiteX2" fmla="*/ 0 w 2262313"/>
                <a:gd name="connsiteY2" fmla="*/ 257442 h 257442"/>
                <a:gd name="connsiteX3" fmla="*/ 0 w 2262313"/>
                <a:gd name="connsiteY3" fmla="*/ 0 h 257442"/>
                <a:gd name="connsiteX0" fmla="*/ 2262313 w 2262313"/>
                <a:gd name="connsiteY0" fmla="*/ 0 h 257442"/>
                <a:gd name="connsiteX1" fmla="*/ 2207593 w 2262313"/>
                <a:gd name="connsiteY1" fmla="*/ 257442 h 257442"/>
                <a:gd name="connsiteX2" fmla="*/ 0 w 2262313"/>
                <a:gd name="connsiteY2" fmla="*/ 257442 h 257442"/>
                <a:gd name="connsiteX3" fmla="*/ 0 w 2262313"/>
                <a:gd name="connsiteY3" fmla="*/ 0 h 257442"/>
                <a:gd name="connsiteX0" fmla="*/ 2262313 w 2262313"/>
                <a:gd name="connsiteY0" fmla="*/ 0 h 257442"/>
                <a:gd name="connsiteX1" fmla="*/ 2207593 w 2262313"/>
                <a:gd name="connsiteY1" fmla="*/ 257442 h 257442"/>
                <a:gd name="connsiteX2" fmla="*/ 0 w 2262313"/>
                <a:gd name="connsiteY2" fmla="*/ 257442 h 257442"/>
                <a:gd name="connsiteX3" fmla="*/ 0 w 2262313"/>
                <a:gd name="connsiteY3" fmla="*/ 0 h 257442"/>
                <a:gd name="connsiteX0" fmla="*/ 2093998 w 2207593"/>
                <a:gd name="connsiteY0" fmla="*/ 0 h 257442"/>
                <a:gd name="connsiteX1" fmla="*/ 2207593 w 2207593"/>
                <a:gd name="connsiteY1" fmla="*/ 257442 h 257442"/>
                <a:gd name="connsiteX2" fmla="*/ 0 w 2207593"/>
                <a:gd name="connsiteY2" fmla="*/ 257442 h 257442"/>
                <a:gd name="connsiteX3" fmla="*/ 0 w 2207593"/>
                <a:gd name="connsiteY3" fmla="*/ 0 h 257442"/>
                <a:gd name="connsiteX0" fmla="*/ 2093998 w 2093998"/>
                <a:gd name="connsiteY0" fmla="*/ 0 h 257442"/>
                <a:gd name="connsiteX1" fmla="*/ 2039277 w 2093998"/>
                <a:gd name="connsiteY1" fmla="*/ 257442 h 257442"/>
                <a:gd name="connsiteX2" fmla="*/ 0 w 2093998"/>
                <a:gd name="connsiteY2" fmla="*/ 257442 h 257442"/>
                <a:gd name="connsiteX3" fmla="*/ 0 w 2093998"/>
                <a:gd name="connsiteY3" fmla="*/ 0 h 257442"/>
                <a:gd name="connsiteX0" fmla="*/ 2093998 w 2093998"/>
                <a:gd name="connsiteY0" fmla="*/ 0 h 257442"/>
                <a:gd name="connsiteX1" fmla="*/ 2039277 w 2093998"/>
                <a:gd name="connsiteY1" fmla="*/ 257442 h 257442"/>
                <a:gd name="connsiteX2" fmla="*/ 0 w 2093998"/>
                <a:gd name="connsiteY2" fmla="*/ 257442 h 257442"/>
                <a:gd name="connsiteX3" fmla="*/ 0 w 2093998"/>
                <a:gd name="connsiteY3" fmla="*/ 0 h 257442"/>
                <a:gd name="connsiteX0" fmla="*/ 2093998 w 2093998"/>
                <a:gd name="connsiteY0" fmla="*/ 0 h 257442"/>
                <a:gd name="connsiteX1" fmla="*/ 2039277 w 2093998"/>
                <a:gd name="connsiteY1" fmla="*/ 257442 h 257442"/>
                <a:gd name="connsiteX2" fmla="*/ 0 w 2093998"/>
                <a:gd name="connsiteY2" fmla="*/ 257442 h 257442"/>
                <a:gd name="connsiteX3" fmla="*/ 0 w 2093998"/>
                <a:gd name="connsiteY3" fmla="*/ 0 h 257442"/>
                <a:gd name="connsiteX0" fmla="*/ 1918822 w 2039277"/>
                <a:gd name="connsiteY0" fmla="*/ 0 h 257442"/>
                <a:gd name="connsiteX1" fmla="*/ 2039277 w 2039277"/>
                <a:gd name="connsiteY1" fmla="*/ 257442 h 257442"/>
                <a:gd name="connsiteX2" fmla="*/ 0 w 2039277"/>
                <a:gd name="connsiteY2" fmla="*/ 257442 h 257442"/>
                <a:gd name="connsiteX3" fmla="*/ 0 w 2039277"/>
                <a:gd name="connsiteY3" fmla="*/ 0 h 257442"/>
                <a:gd name="connsiteX0" fmla="*/ 1918822 w 1918822"/>
                <a:gd name="connsiteY0" fmla="*/ 0 h 257442"/>
                <a:gd name="connsiteX1" fmla="*/ 1864102 w 1918822"/>
                <a:gd name="connsiteY1" fmla="*/ 257442 h 257442"/>
                <a:gd name="connsiteX2" fmla="*/ 0 w 1918822"/>
                <a:gd name="connsiteY2" fmla="*/ 257442 h 257442"/>
                <a:gd name="connsiteX3" fmla="*/ 0 w 1918822"/>
                <a:gd name="connsiteY3" fmla="*/ 0 h 257442"/>
                <a:gd name="connsiteX0" fmla="*/ 1918822 w 1918822"/>
                <a:gd name="connsiteY0" fmla="*/ 0 h 257442"/>
                <a:gd name="connsiteX1" fmla="*/ 1864102 w 1918822"/>
                <a:gd name="connsiteY1" fmla="*/ 257442 h 257442"/>
                <a:gd name="connsiteX2" fmla="*/ 1 w 1918822"/>
                <a:gd name="connsiteY2" fmla="*/ 257442 h 257442"/>
                <a:gd name="connsiteX3" fmla="*/ 0 w 1918822"/>
                <a:gd name="connsiteY3" fmla="*/ 0 h 257442"/>
                <a:gd name="connsiteX0" fmla="*/ 1918821 w 1918821"/>
                <a:gd name="connsiteY0" fmla="*/ 0 h 257442"/>
                <a:gd name="connsiteX1" fmla="*/ 1864101 w 1918821"/>
                <a:gd name="connsiteY1" fmla="*/ 257442 h 257442"/>
                <a:gd name="connsiteX2" fmla="*/ 0 w 1918821"/>
                <a:gd name="connsiteY2" fmla="*/ 257442 h 257442"/>
                <a:gd name="connsiteX3" fmla="*/ 0 w 1918821"/>
                <a:gd name="connsiteY3" fmla="*/ 0 h 257442"/>
                <a:gd name="connsiteX0" fmla="*/ 1777951 w 1864101"/>
                <a:gd name="connsiteY0" fmla="*/ 0 h 257442"/>
                <a:gd name="connsiteX1" fmla="*/ 1864101 w 1864101"/>
                <a:gd name="connsiteY1" fmla="*/ 257442 h 257442"/>
                <a:gd name="connsiteX2" fmla="*/ 0 w 1864101"/>
                <a:gd name="connsiteY2" fmla="*/ 257442 h 257442"/>
                <a:gd name="connsiteX3" fmla="*/ 0 w 1864101"/>
                <a:gd name="connsiteY3" fmla="*/ 0 h 257442"/>
                <a:gd name="connsiteX0" fmla="*/ 1777951 w 1777951"/>
                <a:gd name="connsiteY0" fmla="*/ 0 h 257442"/>
                <a:gd name="connsiteX1" fmla="*/ 1723230 w 1777951"/>
                <a:gd name="connsiteY1" fmla="*/ 257442 h 257442"/>
                <a:gd name="connsiteX2" fmla="*/ 0 w 1777951"/>
                <a:gd name="connsiteY2" fmla="*/ 257442 h 257442"/>
                <a:gd name="connsiteX3" fmla="*/ 0 w 1777951"/>
                <a:gd name="connsiteY3" fmla="*/ 0 h 257442"/>
                <a:gd name="connsiteX0" fmla="*/ 1777951 w 1777951"/>
                <a:gd name="connsiteY0" fmla="*/ 0 h 257442"/>
                <a:gd name="connsiteX1" fmla="*/ 1723230 w 1777951"/>
                <a:gd name="connsiteY1" fmla="*/ 257442 h 257442"/>
                <a:gd name="connsiteX2" fmla="*/ 0 w 1777951"/>
                <a:gd name="connsiteY2" fmla="*/ 257442 h 257442"/>
                <a:gd name="connsiteX3" fmla="*/ 0 w 1777951"/>
                <a:gd name="connsiteY3" fmla="*/ 0 h 257442"/>
                <a:gd name="connsiteX0" fmla="*/ 1777951 w 1777951"/>
                <a:gd name="connsiteY0" fmla="*/ 0 h 257442"/>
                <a:gd name="connsiteX1" fmla="*/ 1723230 w 1777951"/>
                <a:gd name="connsiteY1" fmla="*/ 257442 h 257442"/>
                <a:gd name="connsiteX2" fmla="*/ 0 w 1777951"/>
                <a:gd name="connsiteY2" fmla="*/ 257442 h 257442"/>
                <a:gd name="connsiteX3" fmla="*/ 0 w 1777951"/>
                <a:gd name="connsiteY3" fmla="*/ 0 h 257442"/>
                <a:gd name="connsiteX0" fmla="*/ 1609635 w 1723230"/>
                <a:gd name="connsiteY0" fmla="*/ 0 h 257442"/>
                <a:gd name="connsiteX1" fmla="*/ 1723230 w 1723230"/>
                <a:gd name="connsiteY1" fmla="*/ 257442 h 257442"/>
                <a:gd name="connsiteX2" fmla="*/ 0 w 1723230"/>
                <a:gd name="connsiteY2" fmla="*/ 257442 h 257442"/>
                <a:gd name="connsiteX3" fmla="*/ 0 w 1723230"/>
                <a:gd name="connsiteY3" fmla="*/ 0 h 257442"/>
                <a:gd name="connsiteX0" fmla="*/ 1609635 w 1609635"/>
                <a:gd name="connsiteY0" fmla="*/ 0 h 257442"/>
                <a:gd name="connsiteX1" fmla="*/ 1554914 w 1609635"/>
                <a:gd name="connsiteY1" fmla="*/ 257442 h 257442"/>
                <a:gd name="connsiteX2" fmla="*/ 0 w 1609635"/>
                <a:gd name="connsiteY2" fmla="*/ 257442 h 257442"/>
                <a:gd name="connsiteX3" fmla="*/ 0 w 1609635"/>
                <a:gd name="connsiteY3" fmla="*/ 0 h 257442"/>
                <a:gd name="connsiteX0" fmla="*/ 1609635 w 1609635"/>
                <a:gd name="connsiteY0" fmla="*/ 0 h 257442"/>
                <a:gd name="connsiteX1" fmla="*/ 1554914 w 1609635"/>
                <a:gd name="connsiteY1" fmla="*/ 257442 h 257442"/>
                <a:gd name="connsiteX2" fmla="*/ 1 w 1609635"/>
                <a:gd name="connsiteY2" fmla="*/ 257442 h 257442"/>
                <a:gd name="connsiteX3" fmla="*/ 0 w 1609635"/>
                <a:gd name="connsiteY3" fmla="*/ 0 h 257442"/>
                <a:gd name="connsiteX0" fmla="*/ 1609634 w 1609634"/>
                <a:gd name="connsiteY0" fmla="*/ 0 h 257442"/>
                <a:gd name="connsiteX1" fmla="*/ 1554913 w 1609634"/>
                <a:gd name="connsiteY1" fmla="*/ 257442 h 257442"/>
                <a:gd name="connsiteX2" fmla="*/ 0 w 1609634"/>
                <a:gd name="connsiteY2" fmla="*/ 257442 h 257442"/>
                <a:gd name="connsiteX3" fmla="*/ 0 w 1609634"/>
                <a:gd name="connsiteY3" fmla="*/ 0 h 257442"/>
                <a:gd name="connsiteX0" fmla="*/ 1457349 w 1554913"/>
                <a:gd name="connsiteY0" fmla="*/ 0 h 257442"/>
                <a:gd name="connsiteX1" fmla="*/ 1554913 w 1554913"/>
                <a:gd name="connsiteY1" fmla="*/ 257442 h 257442"/>
                <a:gd name="connsiteX2" fmla="*/ 0 w 1554913"/>
                <a:gd name="connsiteY2" fmla="*/ 257442 h 257442"/>
                <a:gd name="connsiteX3" fmla="*/ 0 w 1554913"/>
                <a:gd name="connsiteY3" fmla="*/ 0 h 257442"/>
                <a:gd name="connsiteX0" fmla="*/ 1457349 w 1457349"/>
                <a:gd name="connsiteY0" fmla="*/ 0 h 257442"/>
                <a:gd name="connsiteX1" fmla="*/ 1402629 w 1457349"/>
                <a:gd name="connsiteY1" fmla="*/ 257442 h 257442"/>
                <a:gd name="connsiteX2" fmla="*/ 0 w 1457349"/>
                <a:gd name="connsiteY2" fmla="*/ 257442 h 257442"/>
                <a:gd name="connsiteX3" fmla="*/ 0 w 1457349"/>
                <a:gd name="connsiteY3" fmla="*/ 0 h 257442"/>
                <a:gd name="connsiteX0" fmla="*/ 1457349 w 1457349"/>
                <a:gd name="connsiteY0" fmla="*/ 0 h 257442"/>
                <a:gd name="connsiteX1" fmla="*/ 1402629 w 1457349"/>
                <a:gd name="connsiteY1" fmla="*/ 257442 h 257442"/>
                <a:gd name="connsiteX2" fmla="*/ 0 w 1457349"/>
                <a:gd name="connsiteY2" fmla="*/ 257442 h 257442"/>
                <a:gd name="connsiteX3" fmla="*/ 0 w 1457349"/>
                <a:gd name="connsiteY3" fmla="*/ 0 h 257442"/>
                <a:gd name="connsiteX0" fmla="*/ 1457349 w 1457349"/>
                <a:gd name="connsiteY0" fmla="*/ 0 h 257442"/>
                <a:gd name="connsiteX1" fmla="*/ 1402629 w 1457349"/>
                <a:gd name="connsiteY1" fmla="*/ 257442 h 257442"/>
                <a:gd name="connsiteX2" fmla="*/ 0 w 1457349"/>
                <a:gd name="connsiteY2" fmla="*/ 257442 h 257442"/>
                <a:gd name="connsiteX3" fmla="*/ 0 w 1457349"/>
                <a:gd name="connsiteY3" fmla="*/ 0 h 257442"/>
                <a:gd name="connsiteX0" fmla="*/ 1289034 w 1402629"/>
                <a:gd name="connsiteY0" fmla="*/ 0 h 257442"/>
                <a:gd name="connsiteX1" fmla="*/ 1402629 w 1402629"/>
                <a:gd name="connsiteY1" fmla="*/ 257442 h 257442"/>
                <a:gd name="connsiteX2" fmla="*/ 0 w 1402629"/>
                <a:gd name="connsiteY2" fmla="*/ 257442 h 257442"/>
                <a:gd name="connsiteX3" fmla="*/ 0 w 1402629"/>
                <a:gd name="connsiteY3" fmla="*/ 0 h 257442"/>
                <a:gd name="connsiteX0" fmla="*/ 1289034 w 1289034"/>
                <a:gd name="connsiteY0" fmla="*/ 0 h 257442"/>
                <a:gd name="connsiteX1" fmla="*/ 1234313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289034 w 1289034"/>
                <a:gd name="connsiteY0" fmla="*/ 0 h 257442"/>
                <a:gd name="connsiteX1" fmla="*/ 1234313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289034 w 1289034"/>
                <a:gd name="connsiteY0" fmla="*/ 0 h 257442"/>
                <a:gd name="connsiteX1" fmla="*/ 1234313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111101 w 1234313"/>
                <a:gd name="connsiteY0" fmla="*/ 0 h 257442"/>
                <a:gd name="connsiteX1" fmla="*/ 1234313 w 1234313"/>
                <a:gd name="connsiteY1" fmla="*/ 257442 h 257442"/>
                <a:gd name="connsiteX2" fmla="*/ 0 w 1234313"/>
                <a:gd name="connsiteY2" fmla="*/ 257442 h 257442"/>
                <a:gd name="connsiteX3" fmla="*/ 0 w 1234313"/>
                <a:gd name="connsiteY3" fmla="*/ 0 h 257442"/>
                <a:gd name="connsiteX0" fmla="*/ 1111101 w 1111101"/>
                <a:gd name="connsiteY0" fmla="*/ 0 h 257442"/>
                <a:gd name="connsiteX1" fmla="*/ 1056381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1 w 1111101"/>
                <a:gd name="connsiteY1" fmla="*/ 257442 h 257442"/>
                <a:gd name="connsiteX2" fmla="*/ 1 w 1111101"/>
                <a:gd name="connsiteY2" fmla="*/ 257442 h 257442"/>
                <a:gd name="connsiteX3" fmla="*/ 0 w 1111101"/>
                <a:gd name="connsiteY3" fmla="*/ 0 h 257442"/>
                <a:gd name="connsiteX0" fmla="*/ 1111100 w 1111100"/>
                <a:gd name="connsiteY0" fmla="*/ 0 h 257442"/>
                <a:gd name="connsiteX1" fmla="*/ 1056380 w 1111100"/>
                <a:gd name="connsiteY1" fmla="*/ 257442 h 257442"/>
                <a:gd name="connsiteX2" fmla="*/ 0 w 1111100"/>
                <a:gd name="connsiteY2" fmla="*/ 257442 h 257442"/>
                <a:gd name="connsiteX3" fmla="*/ 0 w 1111100"/>
                <a:gd name="connsiteY3" fmla="*/ 0 h 257442"/>
                <a:gd name="connsiteX0" fmla="*/ 950800 w 1056380"/>
                <a:gd name="connsiteY0" fmla="*/ 0 h 257442"/>
                <a:gd name="connsiteX1" fmla="*/ 1056380 w 1056380"/>
                <a:gd name="connsiteY1" fmla="*/ 257442 h 257442"/>
                <a:gd name="connsiteX2" fmla="*/ 0 w 1056380"/>
                <a:gd name="connsiteY2" fmla="*/ 257442 h 257442"/>
                <a:gd name="connsiteX3" fmla="*/ 0 w 1056380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1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1 w 950801"/>
                <a:gd name="connsiteY3" fmla="*/ 0 h 257442"/>
                <a:gd name="connsiteX0" fmla="*/ 782551 w 896080"/>
                <a:gd name="connsiteY0" fmla="*/ 0 h 257442"/>
                <a:gd name="connsiteX1" fmla="*/ 896080 w 896080"/>
                <a:gd name="connsiteY1" fmla="*/ 257442 h 257442"/>
                <a:gd name="connsiteX2" fmla="*/ 0 w 896080"/>
                <a:gd name="connsiteY2" fmla="*/ 257442 h 257442"/>
                <a:gd name="connsiteX3" fmla="*/ 1 w 896080"/>
                <a:gd name="connsiteY3" fmla="*/ 0 h 257442"/>
                <a:gd name="connsiteX0" fmla="*/ 782551 w 782551"/>
                <a:gd name="connsiteY0" fmla="*/ 0 h 257442"/>
                <a:gd name="connsiteX1" fmla="*/ 727830 w 782551"/>
                <a:gd name="connsiteY1" fmla="*/ 257442 h 257442"/>
                <a:gd name="connsiteX2" fmla="*/ 0 w 782551"/>
                <a:gd name="connsiteY2" fmla="*/ 257442 h 257442"/>
                <a:gd name="connsiteX3" fmla="*/ 1 w 782551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1 w 782550"/>
                <a:gd name="connsiteY2" fmla="*/ 257442 h 257442"/>
                <a:gd name="connsiteX3" fmla="*/ 0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1 w 782550"/>
                <a:gd name="connsiteY2" fmla="*/ 257442 h 257442"/>
                <a:gd name="connsiteX3" fmla="*/ 0 w 782550"/>
                <a:gd name="connsiteY3" fmla="*/ 0 h 257442"/>
                <a:gd name="connsiteX0" fmla="*/ 942786 w 942786"/>
                <a:gd name="connsiteY0" fmla="*/ 0 h 257442"/>
                <a:gd name="connsiteX1" fmla="*/ 727829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1103086 w 1103086"/>
                <a:gd name="connsiteY0" fmla="*/ 0 h 257442"/>
                <a:gd name="connsiteX1" fmla="*/ 888065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281020 w 1281020"/>
                <a:gd name="connsiteY0" fmla="*/ 0 h 257442"/>
                <a:gd name="connsiteX1" fmla="*/ 1048365 w 1281020"/>
                <a:gd name="connsiteY1" fmla="*/ 257442 h 257442"/>
                <a:gd name="connsiteX2" fmla="*/ 0 w 1281020"/>
                <a:gd name="connsiteY2" fmla="*/ 257442 h 257442"/>
                <a:gd name="connsiteX3" fmla="*/ 0 w 1281020"/>
                <a:gd name="connsiteY3" fmla="*/ 0 h 257442"/>
                <a:gd name="connsiteX0" fmla="*/ 1281020 w 1281020"/>
                <a:gd name="connsiteY0" fmla="*/ 0 h 257442"/>
                <a:gd name="connsiteX1" fmla="*/ 1226299 w 1281020"/>
                <a:gd name="connsiteY1" fmla="*/ 257442 h 257442"/>
                <a:gd name="connsiteX2" fmla="*/ 0 w 1281020"/>
                <a:gd name="connsiteY2" fmla="*/ 257442 h 257442"/>
                <a:gd name="connsiteX3" fmla="*/ 0 w 1281020"/>
                <a:gd name="connsiteY3" fmla="*/ 0 h 257442"/>
                <a:gd name="connsiteX0" fmla="*/ 1281020 w 1281020"/>
                <a:gd name="connsiteY0" fmla="*/ 0 h 257442"/>
                <a:gd name="connsiteX1" fmla="*/ 1226299 w 1281020"/>
                <a:gd name="connsiteY1" fmla="*/ 257442 h 257442"/>
                <a:gd name="connsiteX2" fmla="*/ 0 w 1281020"/>
                <a:gd name="connsiteY2" fmla="*/ 257442 h 257442"/>
                <a:gd name="connsiteX3" fmla="*/ 0 w 1281020"/>
                <a:gd name="connsiteY3" fmla="*/ 0 h 257442"/>
                <a:gd name="connsiteX0" fmla="*/ 1281020 w 1281020"/>
                <a:gd name="connsiteY0" fmla="*/ 0 h 257442"/>
                <a:gd name="connsiteX1" fmla="*/ 1226299 w 1281020"/>
                <a:gd name="connsiteY1" fmla="*/ 257442 h 257442"/>
                <a:gd name="connsiteX2" fmla="*/ 0 w 1281020"/>
                <a:gd name="connsiteY2" fmla="*/ 257442 h 257442"/>
                <a:gd name="connsiteX3" fmla="*/ 0 w 1281020"/>
                <a:gd name="connsiteY3" fmla="*/ 0 h 257442"/>
                <a:gd name="connsiteX0" fmla="*/ 1382008 w 1382008"/>
                <a:gd name="connsiteY0" fmla="*/ 0 h 257442"/>
                <a:gd name="connsiteX1" fmla="*/ 1226299 w 1382008"/>
                <a:gd name="connsiteY1" fmla="*/ 257442 h 257442"/>
                <a:gd name="connsiteX2" fmla="*/ 0 w 1382008"/>
                <a:gd name="connsiteY2" fmla="*/ 257442 h 257442"/>
                <a:gd name="connsiteX3" fmla="*/ 0 w 1382008"/>
                <a:gd name="connsiteY3" fmla="*/ 0 h 257442"/>
                <a:gd name="connsiteX0" fmla="*/ 1382008 w 1382008"/>
                <a:gd name="connsiteY0" fmla="*/ 0 h 257442"/>
                <a:gd name="connsiteX1" fmla="*/ 1327287 w 1382008"/>
                <a:gd name="connsiteY1" fmla="*/ 257442 h 257442"/>
                <a:gd name="connsiteX2" fmla="*/ 0 w 1382008"/>
                <a:gd name="connsiteY2" fmla="*/ 257442 h 257442"/>
                <a:gd name="connsiteX3" fmla="*/ 0 w 1382008"/>
                <a:gd name="connsiteY3" fmla="*/ 0 h 257442"/>
                <a:gd name="connsiteX0" fmla="*/ 1382008 w 1382008"/>
                <a:gd name="connsiteY0" fmla="*/ 0 h 257442"/>
                <a:gd name="connsiteX1" fmla="*/ 1327287 w 1382008"/>
                <a:gd name="connsiteY1" fmla="*/ 257442 h 257442"/>
                <a:gd name="connsiteX2" fmla="*/ 0 w 1382008"/>
                <a:gd name="connsiteY2" fmla="*/ 257442 h 257442"/>
                <a:gd name="connsiteX3" fmla="*/ 0 w 1382008"/>
                <a:gd name="connsiteY3" fmla="*/ 0 h 257442"/>
                <a:gd name="connsiteX0" fmla="*/ 1382008 w 1382008"/>
                <a:gd name="connsiteY0" fmla="*/ 0 h 257442"/>
                <a:gd name="connsiteX1" fmla="*/ 1327287 w 1382008"/>
                <a:gd name="connsiteY1" fmla="*/ 257442 h 257442"/>
                <a:gd name="connsiteX2" fmla="*/ 0 w 1382008"/>
                <a:gd name="connsiteY2" fmla="*/ 257442 h 257442"/>
                <a:gd name="connsiteX3" fmla="*/ 0 w 1382008"/>
                <a:gd name="connsiteY3" fmla="*/ 0 h 257442"/>
                <a:gd name="connsiteX0" fmla="*/ 1281020 w 1327287"/>
                <a:gd name="connsiteY0" fmla="*/ 0 h 257442"/>
                <a:gd name="connsiteX1" fmla="*/ 1327287 w 1327287"/>
                <a:gd name="connsiteY1" fmla="*/ 257442 h 257442"/>
                <a:gd name="connsiteX2" fmla="*/ 0 w 1327287"/>
                <a:gd name="connsiteY2" fmla="*/ 257442 h 257442"/>
                <a:gd name="connsiteX3" fmla="*/ 0 w 1327287"/>
                <a:gd name="connsiteY3" fmla="*/ 0 h 257442"/>
                <a:gd name="connsiteX0" fmla="*/ 1281020 w 1281020"/>
                <a:gd name="connsiteY0" fmla="*/ 0 h 257442"/>
                <a:gd name="connsiteX1" fmla="*/ 1226300 w 1281020"/>
                <a:gd name="connsiteY1" fmla="*/ 257442 h 257442"/>
                <a:gd name="connsiteX2" fmla="*/ 0 w 1281020"/>
                <a:gd name="connsiteY2" fmla="*/ 257442 h 257442"/>
                <a:gd name="connsiteX3" fmla="*/ 0 w 1281020"/>
                <a:gd name="connsiteY3" fmla="*/ 0 h 257442"/>
                <a:gd name="connsiteX0" fmla="*/ 1281020 w 1281020"/>
                <a:gd name="connsiteY0" fmla="*/ 0 h 257442"/>
                <a:gd name="connsiteX1" fmla="*/ 1226300 w 1281020"/>
                <a:gd name="connsiteY1" fmla="*/ 257442 h 257442"/>
                <a:gd name="connsiteX2" fmla="*/ 1 w 1281020"/>
                <a:gd name="connsiteY2" fmla="*/ 257442 h 257442"/>
                <a:gd name="connsiteX3" fmla="*/ 0 w 1281020"/>
                <a:gd name="connsiteY3" fmla="*/ 0 h 257442"/>
                <a:gd name="connsiteX0" fmla="*/ 1281019 w 1281019"/>
                <a:gd name="connsiteY0" fmla="*/ 0 h 257442"/>
                <a:gd name="connsiteX1" fmla="*/ 1226299 w 1281019"/>
                <a:gd name="connsiteY1" fmla="*/ 257442 h 257442"/>
                <a:gd name="connsiteX2" fmla="*/ 0 w 1281019"/>
                <a:gd name="connsiteY2" fmla="*/ 257442 h 257442"/>
                <a:gd name="connsiteX3" fmla="*/ 0 w 1281019"/>
                <a:gd name="connsiteY3" fmla="*/ 0 h 257442"/>
                <a:gd name="connsiteX0" fmla="*/ 1103086 w 1226299"/>
                <a:gd name="connsiteY0" fmla="*/ 0 h 257442"/>
                <a:gd name="connsiteX1" fmla="*/ 1226299 w 1226299"/>
                <a:gd name="connsiteY1" fmla="*/ 257442 h 257442"/>
                <a:gd name="connsiteX2" fmla="*/ 0 w 1226299"/>
                <a:gd name="connsiteY2" fmla="*/ 257442 h 257442"/>
                <a:gd name="connsiteX3" fmla="*/ 0 w 1226299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281020 w 1281020"/>
                <a:gd name="connsiteY0" fmla="*/ 0 h 257442"/>
                <a:gd name="connsiteX1" fmla="*/ 1048365 w 1281020"/>
                <a:gd name="connsiteY1" fmla="*/ 257442 h 257442"/>
                <a:gd name="connsiteX2" fmla="*/ 0 w 1281020"/>
                <a:gd name="connsiteY2" fmla="*/ 257442 h 257442"/>
                <a:gd name="connsiteX3" fmla="*/ 0 w 1281020"/>
                <a:gd name="connsiteY3" fmla="*/ 0 h 257442"/>
                <a:gd name="connsiteX0" fmla="*/ 1281020 w 1281020"/>
                <a:gd name="connsiteY0" fmla="*/ 0 h 257442"/>
                <a:gd name="connsiteX1" fmla="*/ 1226299 w 1281020"/>
                <a:gd name="connsiteY1" fmla="*/ 257442 h 257442"/>
                <a:gd name="connsiteX2" fmla="*/ 0 w 1281020"/>
                <a:gd name="connsiteY2" fmla="*/ 257442 h 257442"/>
                <a:gd name="connsiteX3" fmla="*/ 0 w 1281020"/>
                <a:gd name="connsiteY3" fmla="*/ 0 h 257442"/>
                <a:gd name="connsiteX0" fmla="*/ 1281020 w 1281020"/>
                <a:gd name="connsiteY0" fmla="*/ 0 h 257442"/>
                <a:gd name="connsiteX1" fmla="*/ 1226299 w 1281020"/>
                <a:gd name="connsiteY1" fmla="*/ 257442 h 257442"/>
                <a:gd name="connsiteX2" fmla="*/ 0 w 1281020"/>
                <a:gd name="connsiteY2" fmla="*/ 257442 h 257442"/>
                <a:gd name="connsiteX3" fmla="*/ 0 w 1281020"/>
                <a:gd name="connsiteY3" fmla="*/ 0 h 257442"/>
                <a:gd name="connsiteX0" fmla="*/ 1281020 w 1281020"/>
                <a:gd name="connsiteY0" fmla="*/ 0 h 257442"/>
                <a:gd name="connsiteX1" fmla="*/ 1226299 w 1281020"/>
                <a:gd name="connsiteY1" fmla="*/ 257442 h 257442"/>
                <a:gd name="connsiteX2" fmla="*/ 0 w 1281020"/>
                <a:gd name="connsiteY2" fmla="*/ 257442 h 257442"/>
                <a:gd name="connsiteX3" fmla="*/ 0 w 1281020"/>
                <a:gd name="connsiteY3" fmla="*/ 0 h 257442"/>
                <a:gd name="connsiteX0" fmla="*/ 1382008 w 1382008"/>
                <a:gd name="connsiteY0" fmla="*/ 0 h 257442"/>
                <a:gd name="connsiteX1" fmla="*/ 1226299 w 1382008"/>
                <a:gd name="connsiteY1" fmla="*/ 257442 h 257442"/>
                <a:gd name="connsiteX2" fmla="*/ 0 w 1382008"/>
                <a:gd name="connsiteY2" fmla="*/ 257442 h 257442"/>
                <a:gd name="connsiteX3" fmla="*/ 0 w 1382008"/>
                <a:gd name="connsiteY3" fmla="*/ 0 h 257442"/>
                <a:gd name="connsiteX0" fmla="*/ 1382008 w 1382008"/>
                <a:gd name="connsiteY0" fmla="*/ 0 h 257442"/>
                <a:gd name="connsiteX1" fmla="*/ 1327287 w 1382008"/>
                <a:gd name="connsiteY1" fmla="*/ 257442 h 257442"/>
                <a:gd name="connsiteX2" fmla="*/ 0 w 1382008"/>
                <a:gd name="connsiteY2" fmla="*/ 257442 h 257442"/>
                <a:gd name="connsiteX3" fmla="*/ 0 w 1382008"/>
                <a:gd name="connsiteY3" fmla="*/ 0 h 257442"/>
                <a:gd name="connsiteX0" fmla="*/ 1382008 w 1382008"/>
                <a:gd name="connsiteY0" fmla="*/ 0 h 257442"/>
                <a:gd name="connsiteX1" fmla="*/ 1327287 w 1382008"/>
                <a:gd name="connsiteY1" fmla="*/ 257442 h 257442"/>
                <a:gd name="connsiteX2" fmla="*/ 0 w 1382008"/>
                <a:gd name="connsiteY2" fmla="*/ 257442 h 257442"/>
                <a:gd name="connsiteX3" fmla="*/ 0 w 1382008"/>
                <a:gd name="connsiteY3" fmla="*/ 0 h 257442"/>
                <a:gd name="connsiteX0" fmla="*/ 1382008 w 1382008"/>
                <a:gd name="connsiteY0" fmla="*/ 0 h 257442"/>
                <a:gd name="connsiteX1" fmla="*/ 1327287 w 1382008"/>
                <a:gd name="connsiteY1" fmla="*/ 257442 h 257442"/>
                <a:gd name="connsiteX2" fmla="*/ 0 w 1382008"/>
                <a:gd name="connsiteY2" fmla="*/ 257442 h 257442"/>
                <a:gd name="connsiteX3" fmla="*/ 0 w 1382008"/>
                <a:gd name="connsiteY3" fmla="*/ 0 h 257442"/>
                <a:gd name="connsiteX0" fmla="*/ 1550324 w 1550324"/>
                <a:gd name="connsiteY0" fmla="*/ 0 h 257442"/>
                <a:gd name="connsiteX1" fmla="*/ 1327287 w 1550324"/>
                <a:gd name="connsiteY1" fmla="*/ 257442 h 257442"/>
                <a:gd name="connsiteX2" fmla="*/ 0 w 1550324"/>
                <a:gd name="connsiteY2" fmla="*/ 257442 h 257442"/>
                <a:gd name="connsiteX3" fmla="*/ 0 w 1550324"/>
                <a:gd name="connsiteY3" fmla="*/ 0 h 257442"/>
                <a:gd name="connsiteX0" fmla="*/ 1550324 w 1550324"/>
                <a:gd name="connsiteY0" fmla="*/ 0 h 257442"/>
                <a:gd name="connsiteX1" fmla="*/ 1495603 w 1550324"/>
                <a:gd name="connsiteY1" fmla="*/ 257442 h 257442"/>
                <a:gd name="connsiteX2" fmla="*/ 0 w 1550324"/>
                <a:gd name="connsiteY2" fmla="*/ 257442 h 257442"/>
                <a:gd name="connsiteX3" fmla="*/ 0 w 1550324"/>
                <a:gd name="connsiteY3" fmla="*/ 0 h 257442"/>
                <a:gd name="connsiteX0" fmla="*/ 1550324 w 1550324"/>
                <a:gd name="connsiteY0" fmla="*/ 0 h 257442"/>
                <a:gd name="connsiteX1" fmla="*/ 1495603 w 1550324"/>
                <a:gd name="connsiteY1" fmla="*/ 257442 h 257442"/>
                <a:gd name="connsiteX2" fmla="*/ 0 w 1550324"/>
                <a:gd name="connsiteY2" fmla="*/ 257442 h 257442"/>
                <a:gd name="connsiteX3" fmla="*/ 0 w 1550324"/>
                <a:gd name="connsiteY3" fmla="*/ 0 h 257442"/>
                <a:gd name="connsiteX0" fmla="*/ 1550324 w 1550324"/>
                <a:gd name="connsiteY0" fmla="*/ 0 h 257442"/>
                <a:gd name="connsiteX1" fmla="*/ 1495603 w 1550324"/>
                <a:gd name="connsiteY1" fmla="*/ 257442 h 257442"/>
                <a:gd name="connsiteX2" fmla="*/ 0 w 1550324"/>
                <a:gd name="connsiteY2" fmla="*/ 257442 h 257442"/>
                <a:gd name="connsiteX3" fmla="*/ 0 w 1550324"/>
                <a:gd name="connsiteY3" fmla="*/ 0 h 257442"/>
                <a:gd name="connsiteX0" fmla="*/ 1710625 w 1710625"/>
                <a:gd name="connsiteY0" fmla="*/ 0 h 257442"/>
                <a:gd name="connsiteX1" fmla="*/ 1495603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870925 w 1870925"/>
                <a:gd name="connsiteY0" fmla="*/ 0 h 257442"/>
                <a:gd name="connsiteX1" fmla="*/ 1655904 w 1870925"/>
                <a:gd name="connsiteY1" fmla="*/ 257442 h 257442"/>
                <a:gd name="connsiteX2" fmla="*/ 0 w 1870925"/>
                <a:gd name="connsiteY2" fmla="*/ 257442 h 257442"/>
                <a:gd name="connsiteX3" fmla="*/ 0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0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0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0 w 1870925"/>
                <a:gd name="connsiteY3" fmla="*/ 0 h 257442"/>
                <a:gd name="connsiteX0" fmla="*/ 2048858 w 2048858"/>
                <a:gd name="connsiteY0" fmla="*/ 0 h 257442"/>
                <a:gd name="connsiteX1" fmla="*/ 1816204 w 2048858"/>
                <a:gd name="connsiteY1" fmla="*/ 257442 h 257442"/>
                <a:gd name="connsiteX2" fmla="*/ 0 w 2048858"/>
                <a:gd name="connsiteY2" fmla="*/ 257442 h 257442"/>
                <a:gd name="connsiteX3" fmla="*/ 0 w 2048858"/>
                <a:gd name="connsiteY3" fmla="*/ 0 h 257442"/>
                <a:gd name="connsiteX0" fmla="*/ 2048858 w 2048858"/>
                <a:gd name="connsiteY0" fmla="*/ 0 h 257442"/>
                <a:gd name="connsiteX1" fmla="*/ 1994136 w 2048858"/>
                <a:gd name="connsiteY1" fmla="*/ 257442 h 257442"/>
                <a:gd name="connsiteX2" fmla="*/ 0 w 2048858"/>
                <a:gd name="connsiteY2" fmla="*/ 257442 h 257442"/>
                <a:gd name="connsiteX3" fmla="*/ 0 w 2048858"/>
                <a:gd name="connsiteY3" fmla="*/ 0 h 257442"/>
                <a:gd name="connsiteX0" fmla="*/ 2048859 w 2048859"/>
                <a:gd name="connsiteY0" fmla="*/ 0 h 257442"/>
                <a:gd name="connsiteX1" fmla="*/ 1994137 w 2048859"/>
                <a:gd name="connsiteY1" fmla="*/ 257442 h 257442"/>
                <a:gd name="connsiteX2" fmla="*/ 0 w 2048859"/>
                <a:gd name="connsiteY2" fmla="*/ 257442 h 257442"/>
                <a:gd name="connsiteX3" fmla="*/ 1 w 2048859"/>
                <a:gd name="connsiteY3" fmla="*/ 0 h 257442"/>
                <a:gd name="connsiteX0" fmla="*/ 2048859 w 2048859"/>
                <a:gd name="connsiteY0" fmla="*/ 0 h 257442"/>
                <a:gd name="connsiteX1" fmla="*/ 1994137 w 2048859"/>
                <a:gd name="connsiteY1" fmla="*/ 257442 h 257442"/>
                <a:gd name="connsiteX2" fmla="*/ 0 w 2048859"/>
                <a:gd name="connsiteY2" fmla="*/ 257442 h 257442"/>
                <a:gd name="connsiteX3" fmla="*/ 1 w 2048859"/>
                <a:gd name="connsiteY3" fmla="*/ 0 h 257442"/>
                <a:gd name="connsiteX0" fmla="*/ 2217174 w 2217174"/>
                <a:gd name="connsiteY0" fmla="*/ 0 h 257442"/>
                <a:gd name="connsiteX1" fmla="*/ 1994137 w 2217174"/>
                <a:gd name="connsiteY1" fmla="*/ 257442 h 257442"/>
                <a:gd name="connsiteX2" fmla="*/ 0 w 2217174"/>
                <a:gd name="connsiteY2" fmla="*/ 257442 h 257442"/>
                <a:gd name="connsiteX3" fmla="*/ 1 w 2217174"/>
                <a:gd name="connsiteY3" fmla="*/ 0 h 257442"/>
                <a:gd name="connsiteX0" fmla="*/ 2217174 w 2217174"/>
                <a:gd name="connsiteY0" fmla="*/ 0 h 257442"/>
                <a:gd name="connsiteX1" fmla="*/ 2162452 w 2217174"/>
                <a:gd name="connsiteY1" fmla="*/ 257442 h 257442"/>
                <a:gd name="connsiteX2" fmla="*/ 0 w 2217174"/>
                <a:gd name="connsiteY2" fmla="*/ 257442 h 257442"/>
                <a:gd name="connsiteX3" fmla="*/ 1 w 2217174"/>
                <a:gd name="connsiteY3" fmla="*/ 0 h 257442"/>
                <a:gd name="connsiteX0" fmla="*/ 2217174 w 2217174"/>
                <a:gd name="connsiteY0" fmla="*/ 0 h 257442"/>
                <a:gd name="connsiteX1" fmla="*/ 2162452 w 2217174"/>
                <a:gd name="connsiteY1" fmla="*/ 257442 h 257442"/>
                <a:gd name="connsiteX2" fmla="*/ 0 w 2217174"/>
                <a:gd name="connsiteY2" fmla="*/ 257442 h 257442"/>
                <a:gd name="connsiteX3" fmla="*/ 1 w 2217174"/>
                <a:gd name="connsiteY3" fmla="*/ 0 h 257442"/>
                <a:gd name="connsiteX0" fmla="*/ 2217174 w 2217174"/>
                <a:gd name="connsiteY0" fmla="*/ 0 h 257442"/>
                <a:gd name="connsiteX1" fmla="*/ 2162452 w 2217174"/>
                <a:gd name="connsiteY1" fmla="*/ 257442 h 257442"/>
                <a:gd name="connsiteX2" fmla="*/ 0 w 2217174"/>
                <a:gd name="connsiteY2" fmla="*/ 257442 h 257442"/>
                <a:gd name="connsiteX3" fmla="*/ 0 w 2217174"/>
                <a:gd name="connsiteY3" fmla="*/ 0 h 257442"/>
                <a:gd name="connsiteX0" fmla="*/ 2369458 w 2369458"/>
                <a:gd name="connsiteY0" fmla="*/ 0 h 257442"/>
                <a:gd name="connsiteX1" fmla="*/ 2162452 w 2369458"/>
                <a:gd name="connsiteY1" fmla="*/ 257442 h 257442"/>
                <a:gd name="connsiteX2" fmla="*/ 0 w 2369458"/>
                <a:gd name="connsiteY2" fmla="*/ 257442 h 257442"/>
                <a:gd name="connsiteX3" fmla="*/ 0 w 2369458"/>
                <a:gd name="connsiteY3" fmla="*/ 0 h 257442"/>
                <a:gd name="connsiteX0" fmla="*/ 2369458 w 2369458"/>
                <a:gd name="connsiteY0" fmla="*/ 0 h 257442"/>
                <a:gd name="connsiteX1" fmla="*/ 2314737 w 2369458"/>
                <a:gd name="connsiteY1" fmla="*/ 257442 h 257442"/>
                <a:gd name="connsiteX2" fmla="*/ 0 w 2369458"/>
                <a:gd name="connsiteY2" fmla="*/ 257442 h 257442"/>
                <a:gd name="connsiteX3" fmla="*/ 0 w 2369458"/>
                <a:gd name="connsiteY3" fmla="*/ 0 h 257442"/>
                <a:gd name="connsiteX0" fmla="*/ 2369458 w 2369458"/>
                <a:gd name="connsiteY0" fmla="*/ 0 h 257442"/>
                <a:gd name="connsiteX1" fmla="*/ 2314737 w 2369458"/>
                <a:gd name="connsiteY1" fmla="*/ 257442 h 257442"/>
                <a:gd name="connsiteX2" fmla="*/ 0 w 2369458"/>
                <a:gd name="connsiteY2" fmla="*/ 257442 h 257442"/>
                <a:gd name="connsiteX3" fmla="*/ 0 w 2369458"/>
                <a:gd name="connsiteY3" fmla="*/ 0 h 257442"/>
                <a:gd name="connsiteX0" fmla="*/ 2369458 w 2369458"/>
                <a:gd name="connsiteY0" fmla="*/ 0 h 257442"/>
                <a:gd name="connsiteX1" fmla="*/ 2314737 w 2369458"/>
                <a:gd name="connsiteY1" fmla="*/ 257442 h 257442"/>
                <a:gd name="connsiteX2" fmla="*/ 0 w 2369458"/>
                <a:gd name="connsiteY2" fmla="*/ 257442 h 257442"/>
                <a:gd name="connsiteX3" fmla="*/ 0 w 2369458"/>
                <a:gd name="connsiteY3" fmla="*/ 0 h 257442"/>
                <a:gd name="connsiteX0" fmla="*/ 2470448 w 2470448"/>
                <a:gd name="connsiteY0" fmla="*/ 0 h 257442"/>
                <a:gd name="connsiteX1" fmla="*/ 2314737 w 2470448"/>
                <a:gd name="connsiteY1" fmla="*/ 257442 h 257442"/>
                <a:gd name="connsiteX2" fmla="*/ 0 w 2470448"/>
                <a:gd name="connsiteY2" fmla="*/ 257442 h 257442"/>
                <a:gd name="connsiteX3" fmla="*/ 0 w 2470448"/>
                <a:gd name="connsiteY3" fmla="*/ 0 h 257442"/>
                <a:gd name="connsiteX0" fmla="*/ 2470448 w 2470448"/>
                <a:gd name="connsiteY0" fmla="*/ 0 h 257442"/>
                <a:gd name="connsiteX1" fmla="*/ 2415727 w 2470448"/>
                <a:gd name="connsiteY1" fmla="*/ 257442 h 257442"/>
                <a:gd name="connsiteX2" fmla="*/ 0 w 2470448"/>
                <a:gd name="connsiteY2" fmla="*/ 257442 h 257442"/>
                <a:gd name="connsiteX3" fmla="*/ 0 w 2470448"/>
                <a:gd name="connsiteY3" fmla="*/ 0 h 257442"/>
                <a:gd name="connsiteX0" fmla="*/ 2470448 w 2470448"/>
                <a:gd name="connsiteY0" fmla="*/ 0 h 257442"/>
                <a:gd name="connsiteX1" fmla="*/ 2415727 w 2470448"/>
                <a:gd name="connsiteY1" fmla="*/ 257442 h 257442"/>
                <a:gd name="connsiteX2" fmla="*/ 0 w 2470448"/>
                <a:gd name="connsiteY2" fmla="*/ 257442 h 257442"/>
                <a:gd name="connsiteX3" fmla="*/ 0 w 2470448"/>
                <a:gd name="connsiteY3" fmla="*/ 0 h 257442"/>
                <a:gd name="connsiteX0" fmla="*/ 2470448 w 2470448"/>
                <a:gd name="connsiteY0" fmla="*/ 0 h 257442"/>
                <a:gd name="connsiteX1" fmla="*/ 2415727 w 2470448"/>
                <a:gd name="connsiteY1" fmla="*/ 257442 h 257442"/>
                <a:gd name="connsiteX2" fmla="*/ 0 w 2470448"/>
                <a:gd name="connsiteY2" fmla="*/ 257442 h 257442"/>
                <a:gd name="connsiteX3" fmla="*/ 0 w 2470448"/>
                <a:gd name="connsiteY3" fmla="*/ 0 h 257442"/>
                <a:gd name="connsiteX0" fmla="*/ 2638763 w 2638763"/>
                <a:gd name="connsiteY0" fmla="*/ 0 h 257442"/>
                <a:gd name="connsiteX1" fmla="*/ 2415727 w 2638763"/>
                <a:gd name="connsiteY1" fmla="*/ 257442 h 257442"/>
                <a:gd name="connsiteX2" fmla="*/ 0 w 2638763"/>
                <a:gd name="connsiteY2" fmla="*/ 257442 h 257442"/>
                <a:gd name="connsiteX3" fmla="*/ 0 w 2638763"/>
                <a:gd name="connsiteY3" fmla="*/ 0 h 257442"/>
                <a:gd name="connsiteX0" fmla="*/ 2638763 w 2638763"/>
                <a:gd name="connsiteY0" fmla="*/ 0 h 257442"/>
                <a:gd name="connsiteX1" fmla="*/ 2584042 w 2638763"/>
                <a:gd name="connsiteY1" fmla="*/ 257442 h 257442"/>
                <a:gd name="connsiteX2" fmla="*/ 0 w 2638763"/>
                <a:gd name="connsiteY2" fmla="*/ 257442 h 257442"/>
                <a:gd name="connsiteX3" fmla="*/ 0 w 2638763"/>
                <a:gd name="connsiteY3" fmla="*/ 0 h 257442"/>
                <a:gd name="connsiteX0" fmla="*/ 2638763 w 2638763"/>
                <a:gd name="connsiteY0" fmla="*/ 0 h 257442"/>
                <a:gd name="connsiteX1" fmla="*/ 2584042 w 2638763"/>
                <a:gd name="connsiteY1" fmla="*/ 257442 h 257442"/>
                <a:gd name="connsiteX2" fmla="*/ 0 w 2638763"/>
                <a:gd name="connsiteY2" fmla="*/ 257442 h 257442"/>
                <a:gd name="connsiteX3" fmla="*/ 0 w 2638763"/>
                <a:gd name="connsiteY3" fmla="*/ 0 h 257442"/>
                <a:gd name="connsiteX0" fmla="*/ 2638763 w 2638763"/>
                <a:gd name="connsiteY0" fmla="*/ 0 h 257442"/>
                <a:gd name="connsiteX1" fmla="*/ 2584042 w 2638763"/>
                <a:gd name="connsiteY1" fmla="*/ 257442 h 257442"/>
                <a:gd name="connsiteX2" fmla="*/ 0 w 2638763"/>
                <a:gd name="connsiteY2" fmla="*/ 257442 h 257442"/>
                <a:gd name="connsiteX3" fmla="*/ 0 w 2638763"/>
                <a:gd name="connsiteY3" fmla="*/ 0 h 257442"/>
                <a:gd name="connsiteX0" fmla="*/ 2816697 w 2816697"/>
                <a:gd name="connsiteY0" fmla="*/ 0 h 257442"/>
                <a:gd name="connsiteX1" fmla="*/ 2584042 w 2816697"/>
                <a:gd name="connsiteY1" fmla="*/ 257442 h 257442"/>
                <a:gd name="connsiteX2" fmla="*/ 0 w 2816697"/>
                <a:gd name="connsiteY2" fmla="*/ 257442 h 257442"/>
                <a:gd name="connsiteX3" fmla="*/ 0 w 2816697"/>
                <a:gd name="connsiteY3" fmla="*/ 0 h 257442"/>
                <a:gd name="connsiteX0" fmla="*/ 2816697 w 2816697"/>
                <a:gd name="connsiteY0" fmla="*/ 0 h 257442"/>
                <a:gd name="connsiteX1" fmla="*/ 2761976 w 2816697"/>
                <a:gd name="connsiteY1" fmla="*/ 257442 h 257442"/>
                <a:gd name="connsiteX2" fmla="*/ 0 w 2816697"/>
                <a:gd name="connsiteY2" fmla="*/ 257442 h 257442"/>
                <a:gd name="connsiteX3" fmla="*/ 0 w 2816697"/>
                <a:gd name="connsiteY3" fmla="*/ 0 h 257442"/>
                <a:gd name="connsiteX0" fmla="*/ 2816697 w 2816697"/>
                <a:gd name="connsiteY0" fmla="*/ 0 h 257442"/>
                <a:gd name="connsiteX1" fmla="*/ 2761976 w 2816697"/>
                <a:gd name="connsiteY1" fmla="*/ 257442 h 257442"/>
                <a:gd name="connsiteX2" fmla="*/ 0 w 2816697"/>
                <a:gd name="connsiteY2" fmla="*/ 257442 h 257442"/>
                <a:gd name="connsiteX3" fmla="*/ 0 w 2816697"/>
                <a:gd name="connsiteY3" fmla="*/ 0 h 257442"/>
                <a:gd name="connsiteX0" fmla="*/ 2816697 w 2816697"/>
                <a:gd name="connsiteY0" fmla="*/ 0 h 257442"/>
                <a:gd name="connsiteX1" fmla="*/ 2761976 w 2816697"/>
                <a:gd name="connsiteY1" fmla="*/ 257442 h 257442"/>
                <a:gd name="connsiteX2" fmla="*/ 0 w 2816697"/>
                <a:gd name="connsiteY2" fmla="*/ 257442 h 257442"/>
                <a:gd name="connsiteX3" fmla="*/ 0 w 2816697"/>
                <a:gd name="connsiteY3" fmla="*/ 0 h 257442"/>
                <a:gd name="connsiteX0" fmla="*/ 1281020 w 2761976"/>
                <a:gd name="connsiteY0" fmla="*/ 0 h 257442"/>
                <a:gd name="connsiteX1" fmla="*/ 2761976 w 2761976"/>
                <a:gd name="connsiteY1" fmla="*/ 257442 h 257442"/>
                <a:gd name="connsiteX2" fmla="*/ 0 w 2761976"/>
                <a:gd name="connsiteY2" fmla="*/ 257442 h 257442"/>
                <a:gd name="connsiteX3" fmla="*/ 0 w 2761976"/>
                <a:gd name="connsiteY3" fmla="*/ 0 h 257442"/>
                <a:gd name="connsiteX0" fmla="*/ 1281020 w 1281020"/>
                <a:gd name="connsiteY0" fmla="*/ 0 h 257442"/>
                <a:gd name="connsiteX1" fmla="*/ 1226299 w 1281020"/>
                <a:gd name="connsiteY1" fmla="*/ 257442 h 257442"/>
                <a:gd name="connsiteX2" fmla="*/ 0 w 1281020"/>
                <a:gd name="connsiteY2" fmla="*/ 257442 h 257442"/>
                <a:gd name="connsiteX3" fmla="*/ 0 w 1281020"/>
                <a:gd name="connsiteY3" fmla="*/ 0 h 257442"/>
                <a:gd name="connsiteX0" fmla="*/ 1281020 w 1281020"/>
                <a:gd name="connsiteY0" fmla="*/ 0 h 257442"/>
                <a:gd name="connsiteX1" fmla="*/ 1226299 w 1281020"/>
                <a:gd name="connsiteY1" fmla="*/ 257442 h 257442"/>
                <a:gd name="connsiteX2" fmla="*/ 0 w 1281020"/>
                <a:gd name="connsiteY2" fmla="*/ 257442 h 257442"/>
                <a:gd name="connsiteX3" fmla="*/ 0 w 1281020"/>
                <a:gd name="connsiteY3" fmla="*/ 0 h 257442"/>
                <a:gd name="connsiteX0" fmla="*/ 1281020 w 1281020"/>
                <a:gd name="connsiteY0" fmla="*/ 0 h 257442"/>
                <a:gd name="connsiteX1" fmla="*/ 1226299 w 1281020"/>
                <a:gd name="connsiteY1" fmla="*/ 257442 h 257442"/>
                <a:gd name="connsiteX2" fmla="*/ 0 w 1281020"/>
                <a:gd name="connsiteY2" fmla="*/ 257442 h 257442"/>
                <a:gd name="connsiteX3" fmla="*/ 0 w 1281020"/>
                <a:gd name="connsiteY3" fmla="*/ 0 h 257442"/>
                <a:gd name="connsiteX0" fmla="*/ 1382008 w 1382008"/>
                <a:gd name="connsiteY0" fmla="*/ 0 h 257442"/>
                <a:gd name="connsiteX1" fmla="*/ 1226299 w 1382008"/>
                <a:gd name="connsiteY1" fmla="*/ 257442 h 257442"/>
                <a:gd name="connsiteX2" fmla="*/ 0 w 1382008"/>
                <a:gd name="connsiteY2" fmla="*/ 257442 h 257442"/>
                <a:gd name="connsiteX3" fmla="*/ 0 w 1382008"/>
                <a:gd name="connsiteY3" fmla="*/ 0 h 257442"/>
                <a:gd name="connsiteX0" fmla="*/ 1382008 w 1382008"/>
                <a:gd name="connsiteY0" fmla="*/ 0 h 257442"/>
                <a:gd name="connsiteX1" fmla="*/ 1327287 w 1382008"/>
                <a:gd name="connsiteY1" fmla="*/ 257442 h 257442"/>
                <a:gd name="connsiteX2" fmla="*/ 0 w 1382008"/>
                <a:gd name="connsiteY2" fmla="*/ 257442 h 257442"/>
                <a:gd name="connsiteX3" fmla="*/ 0 w 1382008"/>
                <a:gd name="connsiteY3" fmla="*/ 0 h 257442"/>
                <a:gd name="connsiteX0" fmla="*/ 1382008 w 1382008"/>
                <a:gd name="connsiteY0" fmla="*/ 0 h 257442"/>
                <a:gd name="connsiteX1" fmla="*/ 1327287 w 1382008"/>
                <a:gd name="connsiteY1" fmla="*/ 257442 h 257442"/>
                <a:gd name="connsiteX2" fmla="*/ 0 w 1382008"/>
                <a:gd name="connsiteY2" fmla="*/ 257442 h 257442"/>
                <a:gd name="connsiteX3" fmla="*/ 0 w 1382008"/>
                <a:gd name="connsiteY3" fmla="*/ 0 h 257442"/>
                <a:gd name="connsiteX0" fmla="*/ 1382008 w 1382008"/>
                <a:gd name="connsiteY0" fmla="*/ 0 h 257442"/>
                <a:gd name="connsiteX1" fmla="*/ 1327287 w 1382008"/>
                <a:gd name="connsiteY1" fmla="*/ 257442 h 257442"/>
                <a:gd name="connsiteX2" fmla="*/ 0 w 1382008"/>
                <a:gd name="connsiteY2" fmla="*/ 257442 h 257442"/>
                <a:gd name="connsiteX3" fmla="*/ 0 w 1382008"/>
                <a:gd name="connsiteY3" fmla="*/ 0 h 257442"/>
                <a:gd name="connsiteX0" fmla="*/ 1542309 w 1542309"/>
                <a:gd name="connsiteY0" fmla="*/ 0 h 257442"/>
                <a:gd name="connsiteX1" fmla="*/ 1327287 w 1542309"/>
                <a:gd name="connsiteY1" fmla="*/ 257442 h 257442"/>
                <a:gd name="connsiteX2" fmla="*/ 0 w 1542309"/>
                <a:gd name="connsiteY2" fmla="*/ 257442 h 257442"/>
                <a:gd name="connsiteX3" fmla="*/ 0 w 1542309"/>
                <a:gd name="connsiteY3" fmla="*/ 0 h 257442"/>
                <a:gd name="connsiteX0" fmla="*/ 1542309 w 1542309"/>
                <a:gd name="connsiteY0" fmla="*/ 0 h 257442"/>
                <a:gd name="connsiteX1" fmla="*/ 1487588 w 1542309"/>
                <a:gd name="connsiteY1" fmla="*/ 257442 h 257442"/>
                <a:gd name="connsiteX2" fmla="*/ 0 w 1542309"/>
                <a:gd name="connsiteY2" fmla="*/ 257442 h 257442"/>
                <a:gd name="connsiteX3" fmla="*/ 0 w 1542309"/>
                <a:gd name="connsiteY3" fmla="*/ 0 h 257442"/>
                <a:gd name="connsiteX0" fmla="*/ 1542309 w 1542309"/>
                <a:gd name="connsiteY0" fmla="*/ 0 h 257442"/>
                <a:gd name="connsiteX1" fmla="*/ 1487588 w 1542309"/>
                <a:gd name="connsiteY1" fmla="*/ 257442 h 257442"/>
                <a:gd name="connsiteX2" fmla="*/ 0 w 1542309"/>
                <a:gd name="connsiteY2" fmla="*/ 257442 h 257442"/>
                <a:gd name="connsiteX3" fmla="*/ 0 w 1542309"/>
                <a:gd name="connsiteY3" fmla="*/ 0 h 257442"/>
                <a:gd name="connsiteX0" fmla="*/ 1542309 w 1542309"/>
                <a:gd name="connsiteY0" fmla="*/ 0 h 257442"/>
                <a:gd name="connsiteX1" fmla="*/ 1487588 w 1542309"/>
                <a:gd name="connsiteY1" fmla="*/ 257442 h 257442"/>
                <a:gd name="connsiteX2" fmla="*/ 0 w 1542309"/>
                <a:gd name="connsiteY2" fmla="*/ 257442 h 257442"/>
                <a:gd name="connsiteX3" fmla="*/ 0 w 1542309"/>
                <a:gd name="connsiteY3" fmla="*/ 0 h 257442"/>
                <a:gd name="connsiteX0" fmla="*/ 1720243 w 1720243"/>
                <a:gd name="connsiteY0" fmla="*/ 0 h 257442"/>
                <a:gd name="connsiteX1" fmla="*/ 1487588 w 1720243"/>
                <a:gd name="connsiteY1" fmla="*/ 257442 h 257442"/>
                <a:gd name="connsiteX2" fmla="*/ 0 w 1720243"/>
                <a:gd name="connsiteY2" fmla="*/ 257442 h 257442"/>
                <a:gd name="connsiteX3" fmla="*/ 0 w 1720243"/>
                <a:gd name="connsiteY3" fmla="*/ 0 h 257442"/>
                <a:gd name="connsiteX0" fmla="*/ 1720243 w 1720243"/>
                <a:gd name="connsiteY0" fmla="*/ 0 h 257442"/>
                <a:gd name="connsiteX1" fmla="*/ 1665522 w 1720243"/>
                <a:gd name="connsiteY1" fmla="*/ 257442 h 257442"/>
                <a:gd name="connsiteX2" fmla="*/ 0 w 1720243"/>
                <a:gd name="connsiteY2" fmla="*/ 257442 h 257442"/>
                <a:gd name="connsiteX3" fmla="*/ 0 w 1720243"/>
                <a:gd name="connsiteY3" fmla="*/ 0 h 257442"/>
                <a:gd name="connsiteX0" fmla="*/ 1720243 w 1720243"/>
                <a:gd name="connsiteY0" fmla="*/ 0 h 257442"/>
                <a:gd name="connsiteX1" fmla="*/ 1665522 w 1720243"/>
                <a:gd name="connsiteY1" fmla="*/ 257442 h 257442"/>
                <a:gd name="connsiteX2" fmla="*/ 0 w 1720243"/>
                <a:gd name="connsiteY2" fmla="*/ 257442 h 257442"/>
                <a:gd name="connsiteX3" fmla="*/ 0 w 1720243"/>
                <a:gd name="connsiteY3" fmla="*/ 0 h 257442"/>
                <a:gd name="connsiteX0" fmla="*/ 1720243 w 1720243"/>
                <a:gd name="connsiteY0" fmla="*/ 0 h 257442"/>
                <a:gd name="connsiteX1" fmla="*/ 1665522 w 1720243"/>
                <a:gd name="connsiteY1" fmla="*/ 257442 h 257442"/>
                <a:gd name="connsiteX2" fmla="*/ 0 w 1720243"/>
                <a:gd name="connsiteY2" fmla="*/ 257442 h 257442"/>
                <a:gd name="connsiteX3" fmla="*/ 0 w 1720243"/>
                <a:gd name="connsiteY3" fmla="*/ 0 h 257442"/>
                <a:gd name="connsiteX0" fmla="*/ 1872527 w 1872527"/>
                <a:gd name="connsiteY0" fmla="*/ 0 h 257442"/>
                <a:gd name="connsiteX1" fmla="*/ 1665522 w 1872527"/>
                <a:gd name="connsiteY1" fmla="*/ 257442 h 257442"/>
                <a:gd name="connsiteX2" fmla="*/ 0 w 1872527"/>
                <a:gd name="connsiteY2" fmla="*/ 257442 h 257442"/>
                <a:gd name="connsiteX3" fmla="*/ 0 w 1872527"/>
                <a:gd name="connsiteY3" fmla="*/ 0 h 257442"/>
                <a:gd name="connsiteX0" fmla="*/ 1872527 w 1872527"/>
                <a:gd name="connsiteY0" fmla="*/ 0 h 257442"/>
                <a:gd name="connsiteX1" fmla="*/ 1817806 w 1872527"/>
                <a:gd name="connsiteY1" fmla="*/ 257442 h 257442"/>
                <a:gd name="connsiteX2" fmla="*/ 0 w 1872527"/>
                <a:gd name="connsiteY2" fmla="*/ 257442 h 257442"/>
                <a:gd name="connsiteX3" fmla="*/ 0 w 1872527"/>
                <a:gd name="connsiteY3" fmla="*/ 0 h 257442"/>
                <a:gd name="connsiteX0" fmla="*/ 1872527 w 1872527"/>
                <a:gd name="connsiteY0" fmla="*/ 0 h 257442"/>
                <a:gd name="connsiteX1" fmla="*/ 1817806 w 1872527"/>
                <a:gd name="connsiteY1" fmla="*/ 257442 h 257442"/>
                <a:gd name="connsiteX2" fmla="*/ 0 w 1872527"/>
                <a:gd name="connsiteY2" fmla="*/ 257442 h 257442"/>
                <a:gd name="connsiteX3" fmla="*/ 0 w 1872527"/>
                <a:gd name="connsiteY3" fmla="*/ 0 h 257442"/>
                <a:gd name="connsiteX0" fmla="*/ 1872527 w 1872527"/>
                <a:gd name="connsiteY0" fmla="*/ 0 h 257442"/>
                <a:gd name="connsiteX1" fmla="*/ 1817806 w 1872527"/>
                <a:gd name="connsiteY1" fmla="*/ 257442 h 257442"/>
                <a:gd name="connsiteX2" fmla="*/ 0 w 1872527"/>
                <a:gd name="connsiteY2" fmla="*/ 257442 h 257442"/>
                <a:gd name="connsiteX3" fmla="*/ 0 w 1872527"/>
                <a:gd name="connsiteY3" fmla="*/ 0 h 257442"/>
                <a:gd name="connsiteX0" fmla="*/ 2024813 w 2024813"/>
                <a:gd name="connsiteY0" fmla="*/ 0 h 257442"/>
                <a:gd name="connsiteX1" fmla="*/ 1817806 w 2024813"/>
                <a:gd name="connsiteY1" fmla="*/ 257442 h 257442"/>
                <a:gd name="connsiteX2" fmla="*/ 0 w 2024813"/>
                <a:gd name="connsiteY2" fmla="*/ 257442 h 257442"/>
                <a:gd name="connsiteX3" fmla="*/ 0 w 2024813"/>
                <a:gd name="connsiteY3" fmla="*/ 0 h 257442"/>
                <a:gd name="connsiteX0" fmla="*/ 2024813 w 2024813"/>
                <a:gd name="connsiteY0" fmla="*/ 0 h 257442"/>
                <a:gd name="connsiteX1" fmla="*/ 1970092 w 2024813"/>
                <a:gd name="connsiteY1" fmla="*/ 257442 h 257442"/>
                <a:gd name="connsiteX2" fmla="*/ 0 w 2024813"/>
                <a:gd name="connsiteY2" fmla="*/ 257442 h 257442"/>
                <a:gd name="connsiteX3" fmla="*/ 0 w 2024813"/>
                <a:gd name="connsiteY3" fmla="*/ 0 h 257442"/>
                <a:gd name="connsiteX0" fmla="*/ 2024813 w 2024813"/>
                <a:gd name="connsiteY0" fmla="*/ 0 h 257442"/>
                <a:gd name="connsiteX1" fmla="*/ 1970092 w 2024813"/>
                <a:gd name="connsiteY1" fmla="*/ 257442 h 257442"/>
                <a:gd name="connsiteX2" fmla="*/ 0 w 2024813"/>
                <a:gd name="connsiteY2" fmla="*/ 257442 h 257442"/>
                <a:gd name="connsiteX3" fmla="*/ 0 w 2024813"/>
                <a:gd name="connsiteY3" fmla="*/ 0 h 257442"/>
                <a:gd name="connsiteX0" fmla="*/ 2024813 w 2024813"/>
                <a:gd name="connsiteY0" fmla="*/ 0 h 257442"/>
                <a:gd name="connsiteX1" fmla="*/ 1970092 w 2024813"/>
                <a:gd name="connsiteY1" fmla="*/ 257442 h 257442"/>
                <a:gd name="connsiteX2" fmla="*/ 0 w 2024813"/>
                <a:gd name="connsiteY2" fmla="*/ 257442 h 257442"/>
                <a:gd name="connsiteX3" fmla="*/ 0 w 2024813"/>
                <a:gd name="connsiteY3" fmla="*/ 0 h 257442"/>
                <a:gd name="connsiteX0" fmla="*/ 2228394 w 2228394"/>
                <a:gd name="connsiteY0" fmla="*/ 0 h 257442"/>
                <a:gd name="connsiteX1" fmla="*/ 1970092 w 2228394"/>
                <a:gd name="connsiteY1" fmla="*/ 257442 h 257442"/>
                <a:gd name="connsiteX2" fmla="*/ 0 w 2228394"/>
                <a:gd name="connsiteY2" fmla="*/ 257442 h 257442"/>
                <a:gd name="connsiteX3" fmla="*/ 0 w 2228394"/>
                <a:gd name="connsiteY3" fmla="*/ 0 h 257442"/>
                <a:gd name="connsiteX0" fmla="*/ 2228394 w 2228394"/>
                <a:gd name="connsiteY0" fmla="*/ 0 h 257442"/>
                <a:gd name="connsiteX1" fmla="*/ 2173672 w 2228394"/>
                <a:gd name="connsiteY1" fmla="*/ 257442 h 257442"/>
                <a:gd name="connsiteX2" fmla="*/ 0 w 2228394"/>
                <a:gd name="connsiteY2" fmla="*/ 257442 h 257442"/>
                <a:gd name="connsiteX3" fmla="*/ 0 w 2228394"/>
                <a:gd name="connsiteY3" fmla="*/ 0 h 257442"/>
                <a:gd name="connsiteX0" fmla="*/ 2228395 w 2228395"/>
                <a:gd name="connsiteY0" fmla="*/ 0 h 257442"/>
                <a:gd name="connsiteX1" fmla="*/ 2173673 w 2228395"/>
                <a:gd name="connsiteY1" fmla="*/ 257442 h 257442"/>
                <a:gd name="connsiteX2" fmla="*/ 0 w 2228395"/>
                <a:gd name="connsiteY2" fmla="*/ 257442 h 257442"/>
                <a:gd name="connsiteX3" fmla="*/ 1 w 2228395"/>
                <a:gd name="connsiteY3" fmla="*/ 0 h 257442"/>
                <a:gd name="connsiteX0" fmla="*/ 2228395 w 2228395"/>
                <a:gd name="connsiteY0" fmla="*/ 0 h 257442"/>
                <a:gd name="connsiteX1" fmla="*/ 2173673 w 2228395"/>
                <a:gd name="connsiteY1" fmla="*/ 257442 h 257442"/>
                <a:gd name="connsiteX2" fmla="*/ 0 w 2228395"/>
                <a:gd name="connsiteY2" fmla="*/ 257442 h 257442"/>
                <a:gd name="connsiteX3" fmla="*/ 1 w 2228395"/>
                <a:gd name="connsiteY3" fmla="*/ 0 h 257442"/>
                <a:gd name="connsiteX0" fmla="*/ 2388247 w 2388247"/>
                <a:gd name="connsiteY0" fmla="*/ 0 h 257442"/>
                <a:gd name="connsiteX1" fmla="*/ 2173673 w 2388247"/>
                <a:gd name="connsiteY1" fmla="*/ 257442 h 257442"/>
                <a:gd name="connsiteX2" fmla="*/ 0 w 2388247"/>
                <a:gd name="connsiteY2" fmla="*/ 257442 h 257442"/>
                <a:gd name="connsiteX3" fmla="*/ 1 w 2388247"/>
                <a:gd name="connsiteY3" fmla="*/ 0 h 257442"/>
                <a:gd name="connsiteX0" fmla="*/ 2388247 w 2388247"/>
                <a:gd name="connsiteY0" fmla="*/ 0 h 257442"/>
                <a:gd name="connsiteX1" fmla="*/ 2333526 w 2388247"/>
                <a:gd name="connsiteY1" fmla="*/ 257442 h 257442"/>
                <a:gd name="connsiteX2" fmla="*/ 0 w 2388247"/>
                <a:gd name="connsiteY2" fmla="*/ 257442 h 257442"/>
                <a:gd name="connsiteX3" fmla="*/ 1 w 2388247"/>
                <a:gd name="connsiteY3" fmla="*/ 0 h 257442"/>
                <a:gd name="connsiteX0" fmla="*/ 2388246 w 2388246"/>
                <a:gd name="connsiteY0" fmla="*/ 0 h 257442"/>
                <a:gd name="connsiteX1" fmla="*/ 2333525 w 2388246"/>
                <a:gd name="connsiteY1" fmla="*/ 257442 h 257442"/>
                <a:gd name="connsiteX2" fmla="*/ 0 w 2388246"/>
                <a:gd name="connsiteY2" fmla="*/ 257442 h 257442"/>
                <a:gd name="connsiteX3" fmla="*/ 0 w 2388246"/>
                <a:gd name="connsiteY3" fmla="*/ 0 h 257442"/>
                <a:gd name="connsiteX0" fmla="*/ 2388247 w 2388247"/>
                <a:gd name="connsiteY0" fmla="*/ 0 h 257442"/>
                <a:gd name="connsiteX1" fmla="*/ 2333526 w 2388247"/>
                <a:gd name="connsiteY1" fmla="*/ 257442 h 257442"/>
                <a:gd name="connsiteX2" fmla="*/ 1 w 2388247"/>
                <a:gd name="connsiteY2" fmla="*/ 257442 h 257442"/>
                <a:gd name="connsiteX3" fmla="*/ 0 w 2388247"/>
                <a:gd name="connsiteY3" fmla="*/ 0 h 257442"/>
                <a:gd name="connsiteX0" fmla="*/ 2556562 w 2556562"/>
                <a:gd name="connsiteY0" fmla="*/ 0 h 257442"/>
                <a:gd name="connsiteX1" fmla="*/ 2333526 w 2556562"/>
                <a:gd name="connsiteY1" fmla="*/ 257442 h 257442"/>
                <a:gd name="connsiteX2" fmla="*/ 1 w 2556562"/>
                <a:gd name="connsiteY2" fmla="*/ 257442 h 257442"/>
                <a:gd name="connsiteX3" fmla="*/ 0 w 2556562"/>
                <a:gd name="connsiteY3" fmla="*/ 0 h 257442"/>
                <a:gd name="connsiteX0" fmla="*/ 2556562 w 2556562"/>
                <a:gd name="connsiteY0" fmla="*/ 0 h 257442"/>
                <a:gd name="connsiteX1" fmla="*/ 2501840 w 2556562"/>
                <a:gd name="connsiteY1" fmla="*/ 257442 h 257442"/>
                <a:gd name="connsiteX2" fmla="*/ 1 w 2556562"/>
                <a:gd name="connsiteY2" fmla="*/ 257442 h 257442"/>
                <a:gd name="connsiteX3" fmla="*/ 0 w 2556562"/>
                <a:gd name="connsiteY3" fmla="*/ 0 h 257442"/>
                <a:gd name="connsiteX0" fmla="*/ 2556562 w 2556562"/>
                <a:gd name="connsiteY0" fmla="*/ 0 h 257442"/>
                <a:gd name="connsiteX1" fmla="*/ 2501840 w 2556562"/>
                <a:gd name="connsiteY1" fmla="*/ 257442 h 257442"/>
                <a:gd name="connsiteX2" fmla="*/ 0 w 2556562"/>
                <a:gd name="connsiteY2" fmla="*/ 257442 h 257442"/>
                <a:gd name="connsiteX3" fmla="*/ 0 w 2556562"/>
                <a:gd name="connsiteY3" fmla="*/ 0 h 257442"/>
                <a:gd name="connsiteX0" fmla="*/ 2556562 w 2556562"/>
                <a:gd name="connsiteY0" fmla="*/ 0 h 257442"/>
                <a:gd name="connsiteX1" fmla="*/ 2501840 w 2556562"/>
                <a:gd name="connsiteY1" fmla="*/ 257442 h 257442"/>
                <a:gd name="connsiteX2" fmla="*/ 0 w 2556562"/>
                <a:gd name="connsiteY2" fmla="*/ 257442 h 257442"/>
                <a:gd name="connsiteX3" fmla="*/ 0 w 2556562"/>
                <a:gd name="connsiteY3" fmla="*/ 0 h 257442"/>
                <a:gd name="connsiteX0" fmla="*/ 2716861 w 2716861"/>
                <a:gd name="connsiteY0" fmla="*/ 0 h 257442"/>
                <a:gd name="connsiteX1" fmla="*/ 2501840 w 2716861"/>
                <a:gd name="connsiteY1" fmla="*/ 257442 h 257442"/>
                <a:gd name="connsiteX2" fmla="*/ 0 w 2716861"/>
                <a:gd name="connsiteY2" fmla="*/ 257442 h 257442"/>
                <a:gd name="connsiteX3" fmla="*/ 0 w 2716861"/>
                <a:gd name="connsiteY3" fmla="*/ 0 h 257442"/>
                <a:gd name="connsiteX0" fmla="*/ 2716861 w 2716861"/>
                <a:gd name="connsiteY0" fmla="*/ 0 h 257442"/>
                <a:gd name="connsiteX1" fmla="*/ 2662140 w 2716861"/>
                <a:gd name="connsiteY1" fmla="*/ 257442 h 257442"/>
                <a:gd name="connsiteX2" fmla="*/ 0 w 2716861"/>
                <a:gd name="connsiteY2" fmla="*/ 257442 h 257442"/>
                <a:gd name="connsiteX3" fmla="*/ 0 w 2716861"/>
                <a:gd name="connsiteY3" fmla="*/ 0 h 257442"/>
                <a:gd name="connsiteX0" fmla="*/ 2716861 w 2716861"/>
                <a:gd name="connsiteY0" fmla="*/ 0 h 257442"/>
                <a:gd name="connsiteX1" fmla="*/ 2662140 w 2716861"/>
                <a:gd name="connsiteY1" fmla="*/ 257442 h 257442"/>
                <a:gd name="connsiteX2" fmla="*/ 0 w 2716861"/>
                <a:gd name="connsiteY2" fmla="*/ 257442 h 257442"/>
                <a:gd name="connsiteX3" fmla="*/ 0 w 2716861"/>
                <a:gd name="connsiteY3" fmla="*/ 0 h 257442"/>
                <a:gd name="connsiteX0" fmla="*/ 2716861 w 2716861"/>
                <a:gd name="connsiteY0" fmla="*/ 0 h 257442"/>
                <a:gd name="connsiteX1" fmla="*/ 2662140 w 2716861"/>
                <a:gd name="connsiteY1" fmla="*/ 257442 h 257442"/>
                <a:gd name="connsiteX2" fmla="*/ 0 w 2716861"/>
                <a:gd name="connsiteY2" fmla="*/ 257442 h 257442"/>
                <a:gd name="connsiteX3" fmla="*/ 0 w 2716861"/>
                <a:gd name="connsiteY3" fmla="*/ 0 h 257442"/>
                <a:gd name="connsiteX0" fmla="*/ 942786 w 2662140"/>
                <a:gd name="connsiteY0" fmla="*/ 0 h 257442"/>
                <a:gd name="connsiteX1" fmla="*/ 2662140 w 2662140"/>
                <a:gd name="connsiteY1" fmla="*/ 257442 h 257442"/>
                <a:gd name="connsiteX2" fmla="*/ 0 w 2662140"/>
                <a:gd name="connsiteY2" fmla="*/ 257442 h 257442"/>
                <a:gd name="connsiteX3" fmla="*/ 0 w 2662140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1103086 w 1103086"/>
                <a:gd name="connsiteY0" fmla="*/ 0 h 257442"/>
                <a:gd name="connsiteX1" fmla="*/ 888065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263386 w 1263386"/>
                <a:gd name="connsiteY0" fmla="*/ 0 h 257442"/>
                <a:gd name="connsiteX1" fmla="*/ 1048365 w 1263386"/>
                <a:gd name="connsiteY1" fmla="*/ 257442 h 257442"/>
                <a:gd name="connsiteX2" fmla="*/ 0 w 1263386"/>
                <a:gd name="connsiteY2" fmla="*/ 257442 h 257442"/>
                <a:gd name="connsiteX3" fmla="*/ 0 w 1263386"/>
                <a:gd name="connsiteY3" fmla="*/ 0 h 257442"/>
                <a:gd name="connsiteX0" fmla="*/ 1263386 w 1263386"/>
                <a:gd name="connsiteY0" fmla="*/ 0 h 257442"/>
                <a:gd name="connsiteX1" fmla="*/ 1208665 w 1263386"/>
                <a:gd name="connsiteY1" fmla="*/ 257442 h 257442"/>
                <a:gd name="connsiteX2" fmla="*/ 0 w 1263386"/>
                <a:gd name="connsiteY2" fmla="*/ 257442 h 257442"/>
                <a:gd name="connsiteX3" fmla="*/ 0 w 1263386"/>
                <a:gd name="connsiteY3" fmla="*/ 0 h 257442"/>
                <a:gd name="connsiteX0" fmla="*/ 1263386 w 1263386"/>
                <a:gd name="connsiteY0" fmla="*/ 0 h 257442"/>
                <a:gd name="connsiteX1" fmla="*/ 1208665 w 1263386"/>
                <a:gd name="connsiteY1" fmla="*/ 257442 h 257442"/>
                <a:gd name="connsiteX2" fmla="*/ 0 w 1263386"/>
                <a:gd name="connsiteY2" fmla="*/ 257442 h 257442"/>
                <a:gd name="connsiteX3" fmla="*/ 0 w 1263386"/>
                <a:gd name="connsiteY3" fmla="*/ 0 h 257442"/>
                <a:gd name="connsiteX0" fmla="*/ 1263386 w 1263386"/>
                <a:gd name="connsiteY0" fmla="*/ 0 h 257442"/>
                <a:gd name="connsiteX1" fmla="*/ 1208665 w 1263386"/>
                <a:gd name="connsiteY1" fmla="*/ 257442 h 257442"/>
                <a:gd name="connsiteX2" fmla="*/ 0 w 1263386"/>
                <a:gd name="connsiteY2" fmla="*/ 257442 h 257442"/>
                <a:gd name="connsiteX3" fmla="*/ 0 w 1263386"/>
                <a:gd name="connsiteY3" fmla="*/ 0 h 257442"/>
                <a:gd name="connsiteX0" fmla="*/ 1431702 w 1431702"/>
                <a:gd name="connsiteY0" fmla="*/ 0 h 257442"/>
                <a:gd name="connsiteX1" fmla="*/ 1208665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600017 w 1600017"/>
                <a:gd name="connsiteY0" fmla="*/ 0 h 257442"/>
                <a:gd name="connsiteX1" fmla="*/ 1376981 w 1600017"/>
                <a:gd name="connsiteY1" fmla="*/ 257442 h 257442"/>
                <a:gd name="connsiteX2" fmla="*/ 0 w 1600017"/>
                <a:gd name="connsiteY2" fmla="*/ 257442 h 257442"/>
                <a:gd name="connsiteX3" fmla="*/ 0 w 1600017"/>
                <a:gd name="connsiteY3" fmla="*/ 0 h 257442"/>
                <a:gd name="connsiteX0" fmla="*/ 1600017 w 1600017"/>
                <a:gd name="connsiteY0" fmla="*/ 0 h 257442"/>
                <a:gd name="connsiteX1" fmla="*/ 1545296 w 1600017"/>
                <a:gd name="connsiteY1" fmla="*/ 257442 h 257442"/>
                <a:gd name="connsiteX2" fmla="*/ 0 w 1600017"/>
                <a:gd name="connsiteY2" fmla="*/ 257442 h 257442"/>
                <a:gd name="connsiteX3" fmla="*/ 0 w 1600017"/>
                <a:gd name="connsiteY3" fmla="*/ 0 h 257442"/>
                <a:gd name="connsiteX0" fmla="*/ 1600017 w 1600017"/>
                <a:gd name="connsiteY0" fmla="*/ 0 h 257442"/>
                <a:gd name="connsiteX1" fmla="*/ 1545296 w 1600017"/>
                <a:gd name="connsiteY1" fmla="*/ 257442 h 257442"/>
                <a:gd name="connsiteX2" fmla="*/ 0 w 1600017"/>
                <a:gd name="connsiteY2" fmla="*/ 257442 h 257442"/>
                <a:gd name="connsiteX3" fmla="*/ 0 w 1600017"/>
                <a:gd name="connsiteY3" fmla="*/ 0 h 257442"/>
                <a:gd name="connsiteX0" fmla="*/ 1600017 w 1600017"/>
                <a:gd name="connsiteY0" fmla="*/ 0 h 257442"/>
                <a:gd name="connsiteX1" fmla="*/ 1545296 w 1600017"/>
                <a:gd name="connsiteY1" fmla="*/ 257442 h 257442"/>
                <a:gd name="connsiteX2" fmla="*/ 0 w 1600017"/>
                <a:gd name="connsiteY2" fmla="*/ 257442 h 257442"/>
                <a:gd name="connsiteX3" fmla="*/ 0 w 1600017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00017" h="257442">
                  <a:moveTo>
                    <a:pt x="1600017" y="0"/>
                  </a:moveTo>
                  <a:lnTo>
                    <a:pt x="1545296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" name="btfpRunningAgenda2LevelTextLeft770509">
              <a:extLst>
                <a:ext uri="{FF2B5EF4-FFF2-40B4-BE49-F238E27FC236}">
                  <a16:creationId xmlns:a16="http://schemas.microsoft.com/office/drawing/2014/main" id="{E061DEA9-5465-4DFB-9D13-B600BFE7A178}"/>
                </a:ext>
              </a:extLst>
            </p:cNvPr>
            <p:cNvSpPr txBox="1"/>
            <p:nvPr/>
          </p:nvSpPr>
          <p:spPr bwMode="gray">
            <a:xfrm>
              <a:off x="0" y="876300"/>
              <a:ext cx="1545296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pend</a:t>
              </a:r>
              <a:endParaRPr kumimoji="0" lang="en-US" sz="1200" b="1" i="0" u="none" strike="noStrike" kern="1200" cap="all" spc="4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79" name="btfpColumnHeaderBox397298">
            <a:extLst>
              <a:ext uri="{FF2B5EF4-FFF2-40B4-BE49-F238E27FC236}">
                <a16:creationId xmlns:a16="http://schemas.microsoft.com/office/drawing/2014/main" id="{7D7898FB-AA46-4DB9-802B-1215A335C375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8378296" y="1510756"/>
            <a:ext cx="3483504" cy="318997"/>
            <a:chOff x="8378296" y="1270000"/>
            <a:chExt cx="3483504" cy="318997"/>
          </a:xfrm>
        </p:grpSpPr>
        <p:sp>
          <p:nvSpPr>
            <p:cNvPr id="80" name="btfpColumnHeaderBoxText397298">
              <a:extLst>
                <a:ext uri="{FF2B5EF4-FFF2-40B4-BE49-F238E27FC236}">
                  <a16:creationId xmlns:a16="http://schemas.microsoft.com/office/drawing/2014/main" id="{715437E4-9BA2-41DC-80BD-B0D6227F5A65}"/>
                </a:ext>
              </a:extLst>
            </p:cNvPr>
            <p:cNvSpPr txBox="1"/>
            <p:nvPr/>
          </p:nvSpPr>
          <p:spPr bwMode="gray">
            <a:xfrm>
              <a:off x="8378296" y="1270000"/>
              <a:ext cx="3483504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mmentary</a:t>
              </a:r>
            </a:p>
          </p:txBody>
        </p:sp>
        <p:cxnSp>
          <p:nvCxnSpPr>
            <p:cNvPr id="81" name="btfpColumnHeaderBoxLine397298">
              <a:extLst>
                <a:ext uri="{FF2B5EF4-FFF2-40B4-BE49-F238E27FC236}">
                  <a16:creationId xmlns:a16="http://schemas.microsoft.com/office/drawing/2014/main" id="{DE1F230C-4977-4B44-8952-6853E235556F}"/>
                </a:ext>
              </a:extLst>
            </p:cNvPr>
            <p:cNvCxnSpPr/>
            <p:nvPr/>
          </p:nvCxnSpPr>
          <p:spPr bwMode="gray">
            <a:xfrm>
              <a:off x="8378296" y="1588997"/>
              <a:ext cx="3483504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4" name="btfpColumnHeaderBox889335">
            <a:extLst>
              <a:ext uri="{FF2B5EF4-FFF2-40B4-BE49-F238E27FC236}">
                <a16:creationId xmlns:a16="http://schemas.microsoft.com/office/drawing/2014/main" id="{2047ACE4-AD4F-43D8-800F-214782BF5A24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352106" y="1261449"/>
            <a:ext cx="3590719" cy="568302"/>
            <a:chOff x="330200" y="1084241"/>
            <a:chExt cx="5495528" cy="362343"/>
          </a:xfrm>
        </p:grpSpPr>
        <p:sp>
          <p:nvSpPr>
            <p:cNvPr id="95" name="btfpColumnHeaderBoxText889335">
              <a:extLst>
                <a:ext uri="{FF2B5EF4-FFF2-40B4-BE49-F238E27FC236}">
                  <a16:creationId xmlns:a16="http://schemas.microsoft.com/office/drawing/2014/main" id="{28C03A7B-1977-4F9C-8F7C-9D385D6EF007}"/>
                </a:ext>
              </a:extLst>
            </p:cNvPr>
            <p:cNvSpPr txBox="1"/>
            <p:nvPr/>
          </p:nvSpPr>
          <p:spPr bwMode="gray">
            <a:xfrm>
              <a:off x="330200" y="1084241"/>
              <a:ext cx="5495528" cy="35689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pend increase rate expected to increase in near future</a:t>
              </a:r>
            </a:p>
          </p:txBody>
        </p:sp>
        <p:cxnSp>
          <p:nvCxnSpPr>
            <p:cNvPr id="96" name="btfpColumnHeaderBoxLine889335">
              <a:extLst>
                <a:ext uri="{FF2B5EF4-FFF2-40B4-BE49-F238E27FC236}">
                  <a16:creationId xmlns:a16="http://schemas.microsoft.com/office/drawing/2014/main" id="{65BC5AC1-D869-4ECA-848C-3513B0CB4903}"/>
                </a:ext>
              </a:extLst>
            </p:cNvPr>
            <p:cNvCxnSpPr/>
            <p:nvPr/>
          </p:nvCxnSpPr>
          <p:spPr bwMode="gray">
            <a:xfrm>
              <a:off x="330200" y="1446584"/>
              <a:ext cx="549552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1" name="Rectangle 60">
            <a:extLst>
              <a:ext uri="{FF2B5EF4-FFF2-40B4-BE49-F238E27FC236}">
                <a16:creationId xmlns:a16="http://schemas.microsoft.com/office/drawing/2014/main" id="{B278C5EC-81B0-4124-8C03-E1228949D2AD}"/>
              </a:ext>
            </a:extLst>
          </p:cNvPr>
          <p:cNvSpPr/>
          <p:nvPr/>
        </p:nvSpPr>
        <p:spPr bwMode="gray">
          <a:xfrm>
            <a:off x="8108024" y="1351814"/>
            <a:ext cx="3749013" cy="4812760"/>
          </a:xfrm>
          <a:prstGeom prst="rect">
            <a:avLst/>
          </a:prstGeom>
          <a:solidFill>
            <a:schemeClr val="bg1">
              <a:alpha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ank – not updated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5422718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btfpColumnIndicatorGroup2">
            <a:extLst>
              <a:ext uri="{FF2B5EF4-FFF2-40B4-BE49-F238E27FC236}">
                <a16:creationId xmlns:a16="http://schemas.microsoft.com/office/drawing/2014/main" id="{A241D1FA-921C-46CD-838B-2AD0CB11E6B4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44" name="btfpColumnGapBlocker591208">
              <a:extLst>
                <a:ext uri="{FF2B5EF4-FFF2-40B4-BE49-F238E27FC236}">
                  <a16:creationId xmlns:a16="http://schemas.microsoft.com/office/drawing/2014/main" id="{48E6976A-9924-4C5F-B352-E9FCAB373A7F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3" name="btfpColumnGapBlocker148576">
              <a:extLst>
                <a:ext uri="{FF2B5EF4-FFF2-40B4-BE49-F238E27FC236}">
                  <a16:creationId xmlns:a16="http://schemas.microsoft.com/office/drawing/2014/main" id="{6358364C-6458-4251-814D-B3DDAE5BC017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1" name="btfpColumnIndicator295604">
              <a:extLst>
                <a:ext uri="{FF2B5EF4-FFF2-40B4-BE49-F238E27FC236}">
                  <a16:creationId xmlns:a16="http://schemas.microsoft.com/office/drawing/2014/main" id="{DCBE6DE9-A9EC-4D62-9C0B-832FD6331C7B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btfpColumnIndicator527986">
              <a:extLst>
                <a:ext uri="{FF2B5EF4-FFF2-40B4-BE49-F238E27FC236}">
                  <a16:creationId xmlns:a16="http://schemas.microsoft.com/office/drawing/2014/main" id="{E63D49EF-ADF2-45A9-ABF3-318FF19744F3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btfpColumnGapBlocker369987">
              <a:extLst>
                <a:ext uri="{FF2B5EF4-FFF2-40B4-BE49-F238E27FC236}">
                  <a16:creationId xmlns:a16="http://schemas.microsoft.com/office/drawing/2014/main" id="{CC22BE33-E57C-4B15-A52F-B5427F8CF07C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5" name="btfpColumnIndicator176182">
              <a:extLst>
                <a:ext uri="{FF2B5EF4-FFF2-40B4-BE49-F238E27FC236}">
                  <a16:creationId xmlns:a16="http://schemas.microsoft.com/office/drawing/2014/main" id="{360B18F4-7584-4827-99DF-76FC3AF86227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btfpColumnIndicator687718">
              <a:extLst>
                <a:ext uri="{FF2B5EF4-FFF2-40B4-BE49-F238E27FC236}">
                  <a16:creationId xmlns:a16="http://schemas.microsoft.com/office/drawing/2014/main" id="{EC4267A8-8A09-4B10-9AAC-B5FD06EA8D9F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btfpColumnGapBlocker276110">
              <a:extLst>
                <a:ext uri="{FF2B5EF4-FFF2-40B4-BE49-F238E27FC236}">
                  <a16:creationId xmlns:a16="http://schemas.microsoft.com/office/drawing/2014/main" id="{C56EB3D3-2CBB-4BE5-B043-B0DE5594E3C7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9" name="btfpColumnIndicator352272">
              <a:extLst>
                <a:ext uri="{FF2B5EF4-FFF2-40B4-BE49-F238E27FC236}">
                  <a16:creationId xmlns:a16="http://schemas.microsoft.com/office/drawing/2014/main" id="{A40DD41D-2710-412E-B48B-ED6A6BD9E9F7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btfpColumnIndicator808296">
              <a:extLst>
                <a:ext uri="{FF2B5EF4-FFF2-40B4-BE49-F238E27FC236}">
                  <a16:creationId xmlns:a16="http://schemas.microsoft.com/office/drawing/2014/main" id="{42CEE032-3C4C-4CC6-B13E-2E1276BAB28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5" name="btfpColumnIndicatorGroup1">
            <a:extLst>
              <a:ext uri="{FF2B5EF4-FFF2-40B4-BE49-F238E27FC236}">
                <a16:creationId xmlns:a16="http://schemas.microsoft.com/office/drawing/2014/main" id="{3FC060CF-EC56-4FCA-AC1D-941334999ADE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34" name="btfpColumnGapBlocker139977">
              <a:extLst>
                <a:ext uri="{FF2B5EF4-FFF2-40B4-BE49-F238E27FC236}">
                  <a16:creationId xmlns:a16="http://schemas.microsoft.com/office/drawing/2014/main" id="{479143E9-190D-4E40-93CA-E68865749F04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2" name="btfpColumnGapBlocker134204">
              <a:extLst>
                <a:ext uri="{FF2B5EF4-FFF2-40B4-BE49-F238E27FC236}">
                  <a16:creationId xmlns:a16="http://schemas.microsoft.com/office/drawing/2014/main" id="{993D4079-6275-4AE5-8F6C-C1069FE157F4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0" name="btfpColumnIndicator532293">
              <a:extLst>
                <a:ext uri="{FF2B5EF4-FFF2-40B4-BE49-F238E27FC236}">
                  <a16:creationId xmlns:a16="http://schemas.microsoft.com/office/drawing/2014/main" id="{7CCE7181-83EA-4F1D-A313-92801C9333E6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btfpColumnIndicator418896">
              <a:extLst>
                <a:ext uri="{FF2B5EF4-FFF2-40B4-BE49-F238E27FC236}">
                  <a16:creationId xmlns:a16="http://schemas.microsoft.com/office/drawing/2014/main" id="{14536CBD-A836-4789-96BF-E9F20DE42CE7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btfpColumnGapBlocker296579">
              <a:extLst>
                <a:ext uri="{FF2B5EF4-FFF2-40B4-BE49-F238E27FC236}">
                  <a16:creationId xmlns:a16="http://schemas.microsoft.com/office/drawing/2014/main" id="{7F3CC811-F6FC-4EDE-A6E8-9F8265166882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4" name="btfpColumnIndicator735166">
              <a:extLst>
                <a:ext uri="{FF2B5EF4-FFF2-40B4-BE49-F238E27FC236}">
                  <a16:creationId xmlns:a16="http://schemas.microsoft.com/office/drawing/2014/main" id="{8E1D8315-C23C-4CD4-B984-0549413B5EC8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btfpColumnIndicator727167">
              <a:extLst>
                <a:ext uri="{FF2B5EF4-FFF2-40B4-BE49-F238E27FC236}">
                  <a16:creationId xmlns:a16="http://schemas.microsoft.com/office/drawing/2014/main" id="{66EF6969-D6BA-4FEE-B975-69CD589C9440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btfpColumnGapBlocker428726">
              <a:extLst>
                <a:ext uri="{FF2B5EF4-FFF2-40B4-BE49-F238E27FC236}">
                  <a16:creationId xmlns:a16="http://schemas.microsoft.com/office/drawing/2014/main" id="{5ECCC2FE-84FA-4732-B563-8AAE60ACCB91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8" name="btfpColumnIndicator998706">
              <a:extLst>
                <a:ext uri="{FF2B5EF4-FFF2-40B4-BE49-F238E27FC236}">
                  <a16:creationId xmlns:a16="http://schemas.microsoft.com/office/drawing/2014/main" id="{06EDBB39-BE32-4B36-A39C-BF779A717AD6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btfpColumnIndicator361342">
              <a:extLst>
                <a:ext uri="{FF2B5EF4-FFF2-40B4-BE49-F238E27FC236}">
                  <a16:creationId xmlns:a16="http://schemas.microsoft.com/office/drawing/2014/main" id="{CD508538-C15D-4543-85AF-EB19870D407C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8CB9CF2A-D366-4F7D-9BC2-4E6D914FAB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/>
              <a:t>Future Spend: </a:t>
            </a:r>
            <a:r>
              <a:rPr lang="en-GB"/>
              <a:t>~</a:t>
            </a:r>
            <a:r>
              <a:rPr lang="pl-PL"/>
              <a:t>x</a:t>
            </a:r>
            <a:r>
              <a:rPr lang="en-GB"/>
              <a:t>% </a:t>
            </a:r>
            <a:r>
              <a:rPr lang="pl-PL"/>
              <a:t>of X </a:t>
            </a:r>
            <a:r>
              <a:rPr lang="en-GB"/>
              <a:t>customers have increased spend over past 3 years driven </a:t>
            </a:r>
            <a:r>
              <a:rPr lang="pl-PL"/>
              <a:t>by y and z</a:t>
            </a:r>
            <a:endParaRPr lang="en-GB"/>
          </a:p>
        </p:txBody>
      </p:sp>
      <p:grpSp>
        <p:nvGrpSpPr>
          <p:cNvPr id="37" name="btfpColumnHeaderBox540953">
            <a:extLst>
              <a:ext uri="{FF2B5EF4-FFF2-40B4-BE49-F238E27FC236}">
                <a16:creationId xmlns:a16="http://schemas.microsoft.com/office/drawing/2014/main" id="{3F3E471C-A856-4EFD-A440-298C3C22C9D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8378296" y="1270000"/>
            <a:ext cx="3483504" cy="318997"/>
            <a:chOff x="8378296" y="1270000"/>
            <a:chExt cx="3483504" cy="318997"/>
          </a:xfrm>
        </p:grpSpPr>
        <p:sp>
          <p:nvSpPr>
            <p:cNvPr id="35" name="btfpColumnHeaderBoxText540953">
              <a:extLst>
                <a:ext uri="{FF2B5EF4-FFF2-40B4-BE49-F238E27FC236}">
                  <a16:creationId xmlns:a16="http://schemas.microsoft.com/office/drawing/2014/main" id="{897E03C6-429D-428F-A716-93F79B1D24A8}"/>
                </a:ext>
              </a:extLst>
            </p:cNvPr>
            <p:cNvSpPr txBox="1"/>
            <p:nvPr/>
          </p:nvSpPr>
          <p:spPr bwMode="gray">
            <a:xfrm>
              <a:off x="8378296" y="1270000"/>
              <a:ext cx="3483504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asons for spend increase</a:t>
              </a:r>
            </a:p>
          </p:txBody>
        </p:sp>
        <p:cxnSp>
          <p:nvCxnSpPr>
            <p:cNvPr id="36" name="btfpColumnHeaderBoxLine540953">
              <a:extLst>
                <a:ext uri="{FF2B5EF4-FFF2-40B4-BE49-F238E27FC236}">
                  <a16:creationId xmlns:a16="http://schemas.microsoft.com/office/drawing/2014/main" id="{AFFC453C-BE1D-44E7-9C8E-7EF60F488A84}"/>
                </a:ext>
              </a:extLst>
            </p:cNvPr>
            <p:cNvCxnSpPr/>
            <p:nvPr/>
          </p:nvCxnSpPr>
          <p:spPr bwMode="gray">
            <a:xfrm>
              <a:off x="8378296" y="1588997"/>
              <a:ext cx="3483504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btfpColumnHeaderBox661944">
            <a:extLst>
              <a:ext uri="{FF2B5EF4-FFF2-40B4-BE49-F238E27FC236}">
                <a16:creationId xmlns:a16="http://schemas.microsoft.com/office/drawing/2014/main" id="{2D7EE323-843F-497A-B4E9-027657A934AE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354248" y="1270000"/>
            <a:ext cx="3483505" cy="318997"/>
            <a:chOff x="4354248" y="1270000"/>
            <a:chExt cx="3483505" cy="318997"/>
          </a:xfrm>
        </p:grpSpPr>
        <p:sp>
          <p:nvSpPr>
            <p:cNvPr id="38" name="btfpColumnHeaderBoxText661944">
              <a:extLst>
                <a:ext uri="{FF2B5EF4-FFF2-40B4-BE49-F238E27FC236}">
                  <a16:creationId xmlns:a16="http://schemas.microsoft.com/office/drawing/2014/main" id="{0615115A-0E1F-4DF8-87C1-A233260125DB}"/>
                </a:ext>
              </a:extLst>
            </p:cNvPr>
            <p:cNvSpPr txBox="1"/>
            <p:nvPr/>
          </p:nvSpPr>
          <p:spPr bwMode="gray">
            <a:xfrm>
              <a:off x="4354248" y="1270000"/>
              <a:ext cx="3483504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hange in spend</a:t>
              </a:r>
            </a:p>
          </p:txBody>
        </p:sp>
        <p:cxnSp>
          <p:nvCxnSpPr>
            <p:cNvPr id="39" name="btfpColumnHeaderBoxLine661944">
              <a:extLst>
                <a:ext uri="{FF2B5EF4-FFF2-40B4-BE49-F238E27FC236}">
                  <a16:creationId xmlns:a16="http://schemas.microsoft.com/office/drawing/2014/main" id="{4B2E6DD1-87C5-4CFC-B34A-2439B9509DFF}"/>
                </a:ext>
              </a:extLst>
            </p:cNvPr>
            <p:cNvCxnSpPr/>
            <p:nvPr/>
          </p:nvCxnSpPr>
          <p:spPr bwMode="gray">
            <a:xfrm>
              <a:off x="4354248" y="1588997"/>
              <a:ext cx="348350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3" name="btfpColumnHeaderBox469352">
            <a:extLst>
              <a:ext uri="{FF2B5EF4-FFF2-40B4-BE49-F238E27FC236}">
                <a16:creationId xmlns:a16="http://schemas.microsoft.com/office/drawing/2014/main" id="{44C6321C-12C7-4736-9720-39E652C9C75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330200" y="1270000"/>
            <a:ext cx="3483504" cy="318997"/>
            <a:chOff x="330200" y="1270000"/>
            <a:chExt cx="3483504" cy="318997"/>
          </a:xfrm>
        </p:grpSpPr>
        <p:sp>
          <p:nvSpPr>
            <p:cNvPr id="41" name="btfpColumnHeaderBoxText469352">
              <a:extLst>
                <a:ext uri="{FF2B5EF4-FFF2-40B4-BE49-F238E27FC236}">
                  <a16:creationId xmlns:a16="http://schemas.microsoft.com/office/drawing/2014/main" id="{AF7525A0-F91D-4F76-8321-22024CAFD3E6}"/>
                </a:ext>
              </a:extLst>
            </p:cNvPr>
            <p:cNvSpPr txBox="1"/>
            <p:nvPr/>
          </p:nvSpPr>
          <p:spPr bwMode="gray">
            <a:xfrm>
              <a:off x="330200" y="1270000"/>
              <a:ext cx="3483504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asons for spend decrease</a:t>
              </a:r>
            </a:p>
          </p:txBody>
        </p:sp>
        <p:cxnSp>
          <p:nvCxnSpPr>
            <p:cNvPr id="42" name="btfpColumnHeaderBoxLine469352">
              <a:extLst>
                <a:ext uri="{FF2B5EF4-FFF2-40B4-BE49-F238E27FC236}">
                  <a16:creationId xmlns:a16="http://schemas.microsoft.com/office/drawing/2014/main" id="{5A08B3F5-88D0-4D51-89E0-87E3B7429D07}"/>
                </a:ext>
              </a:extLst>
            </p:cNvPr>
            <p:cNvCxnSpPr/>
            <p:nvPr/>
          </p:nvCxnSpPr>
          <p:spPr bwMode="gray">
            <a:xfrm>
              <a:off x="330200" y="1588997"/>
              <a:ext cx="3483504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9" name="Rectangle 48">
            <a:extLst>
              <a:ext uri="{FF2B5EF4-FFF2-40B4-BE49-F238E27FC236}">
                <a16:creationId xmlns:a16="http://schemas.microsoft.com/office/drawing/2014/main" id="{FEC675C1-8328-45B9-8727-626B61F4043E}"/>
              </a:ext>
            </a:extLst>
          </p:cNvPr>
          <p:cNvSpPr/>
          <p:nvPr/>
        </p:nvSpPr>
        <p:spPr bwMode="gray">
          <a:xfrm>
            <a:off x="4354248" y="1675281"/>
            <a:ext cx="3483504" cy="62293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</a:t>
            </a:r>
            <a:r>
              <a:rPr kumimoji="0" lang="pl-PL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You mentioned that you use </a:t>
            </a:r>
            <a:r>
              <a:rPr kumimoji="0" lang="pl-PL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X 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 how has </a:t>
            </a: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our spend changed with them over the past 3 years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 Please express your answer as an average percentage change per annum (p.a.)</a:t>
            </a:r>
          </a:p>
        </p:txBody>
      </p:sp>
      <p:sp>
        <p:nvSpPr>
          <p:cNvPr id="57" name="btfpMGChart760504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z2dD7pS103gZfJ6l4USC3jqtWOPR/ue0umjYEY9KlLthURXCUyUuZbmGDPUXB2idlVQc+R1c0j6vNnMaKvr/AhH9HB8/LZ855JfBD99YdmKGekwtu9yX7l3g2IqhHppPUeJ2kp3jtNEry+0FqG5DpxShlyOhroc173mohSSY6yd9b+kTk9fiibtialVKCL2LppoEyY6dT76orkuQR3IRjXONL8TC0wSddYREjSlrWusafRbQ4SVWKSFI8xfa/0nsCGiJ+3KAhXqV7skz8QnrKu3Qr/QQ413HiEnbbZFR9uicKISIzv/wMWpxGdQ+temUWNP7Byn/O7Mw5hyxYC0oRtJGxoXrRD1SjZhyHVzDaQK7/2Q2FfwifxrhEikLS7KVSUoKIVno2gKBPyQolx3v+NPQU6Q/hm64tsWvrtk2WvemX3R1i30epLY+Gvs/Bk9H7SvI+l86HnzJphtKa+2gVBliR1UB7wpAR8BTu//viV1dRXSbVvIidOuxVZWzXBoQ75zemztbVkmTW2/fRaYKe0Qf43blYygBLSISG4OzZ3mXsB1Wh4d68x2fSkeyPQek9XLqLR0ZkGaVo0i9M5DHPeQXhubgVVJHVs1/boEt1x/VxPgLqq2gAqOme7x6gqOo/uTxCvoBOxYI5KOz73YH2WVOPFZw9H1gJgYAqblhbnJO9PEJbuRiRtMy4973tXU+JnYDhHLA90fDe3+oP3aEj33102D40w1RgHW38BB7Y2xNnE97IhgdUi9DPdD+weH+Kn4yzH0JLIqQgoyTOQiYAXeZ2yamw/1QDtLDnq8TLhzXYkkfT4SIUtWah8kzW6Oo1e1VwmD2Zf/cXyMT0miMAe8TTxPpzLd3b4CTryiS+RD1IoQv8iAk0FpqIie7JXtXXyDY0dRArE94bBibmPA/A9iiJ6xs1iRyKkoEDzbWX3DnpIHa0YwPogC4Ex1QcMBSRHDhdRPEdhL9KE8biBUzk2QQjWhZfXR+Ft9UdbW+kJ2HzMdL6n/VXbaTTJEQ+8l1BRXLB1ARX5f+9px9/LObAQx3xLeCkZ62BZTxYWZRZHL7KkLusYfLkCq52WMDbNOukumawmoMUorx4sLkiuV2/C1k8A3LO/2I7vpS//Ju4yWeYQ4tL3k84SfIxYPBPXQAzQpAscalewbdYbr9DuWjIpuUOI3THSjBtKoP2u+i7h4hVFpZRSElTrLCxQvgExijPxFoDVWiNylapD22+KZ2MH1xGOyZwsrn84MvPzLOw/pByWgwCCvD9u++fJ2oTrKczEuTJJDlDAhXKn3uRNWJS1CfRd+NtU95tKhD7bHYM61wCGS5UOBTZXggDAKNiK0bpXiAiyP0WfEAKxTlfKshNEeAE5CtujtjuuPjelb3OEOZLtLHiSrIiHNq1GYQQPn5sDEZgVvAyhGS3isER+RecAv73WA/USo+2IJlZ5hCMzmx1MqyZOeAylQvtKgBdMY4KKB4sP7pApIsVYmWgeWKLiJmle2PP06ig2efi5k/hgvGtYfOBOhxWfc/EG+uTFMhkHw0dlkgWdY9fTPYdMdQyKQ6d4+eFatYRV75lEMcRk5lWVu6FcPjIa2gmf8VMQUVHs/3j4Q3julAUbt+E7i2oJWOOdfQJRSqHysfzYo2PJTIeRPyVaV12s7omVbJFt6TqRMDkDo/27fh0foQS9/kjfC0q6Y2fOZ6TqXBLoseT1VlNpiBaei9IzhtNM8f88AhNygwe74or9hLMVdiBrVWPYyxggRfkUdhXm/B9qry+dwQcyDcdfFAYciBoo7hvsmu/1KptPAu/tktnYFOldTskhYtqKs9d9S1rf3ZAKiEyRCASCGbjzzY2IefCpfSDjNcg2m/LgAo+kBqQQPMh+hlHeYAoFh61kUTeRQMSTF/XhIhdBYCQYlY4JKAFxe3OxNGKcnZkK6P/bqAF3Muu30FTUQ1yiH/RG+/Y7MDPMonbaJEAvlYcw3tKzkWiMzoVXxT0s/RMOueOWHlmQcYWOcc40IB8eYsuIgnpye1+QWRslZo1yaCopONbKBbeJ7xR1ipUuDgsxC2FTbU0aIS9am+7diOREJrDQ1xyF0pP/zc2SKqJEYH6RQfb/jhgnXELOOf7RY10W9J01mrKoSywbSEpjNzMVXzJodN2CZoIN5wQDr0NczFI2ShTlDEaWDQLnd2OvI9Cy/zNGH0AFrhwkw2OznIUGFLk7n3/sCxfAts5cHp/pyL5uISRQ6Q4Ra5ais8x5ruj6b1Yx6oGrEWBnzJhOVZIYqn2fB484IjQhn/WiYs66tzda5hgnjtoNpryWCCyIzOf0Y3B6jX8s65yhbAaxqn8g8ie2LlA7jwIts6VTOCfoZnxXT2h1xBVRIu6wGP87DJNTJ+6NQxwT/O0lidAXE2V+KzkJ/UfdXY+qG2Oc0wUj3d71F1tiYKmsQa8YMsNrsTthCB/k4r8J4kjL9qjHNgLlr6bf4MhGI5xWUnekSkiOeUxuyzv2te1ZFjBAVklEra+QL75N6y/xfC0kCNAx6RBOqg3nhet4r47ZI8prg5sDJXUrN1b0m49dSVRwm546BySsCmaAwK9e5LlnRMboRjITOiT6E6cE4mJN2bihbTM4gcsoMac/FTdqYGLhsv7/kcwbsiGFeE3Ga6PSjv9yLZtIW0cgPCijbvQ4JTbwR2jviRPA0Jw7C3vZFwnLu9jNcrFTtp63aMwgVK/uzFy6RWJwsLMG3HcglDl74EBldbg01XpuHm+1b7AOVOJGjSksK1dhv3rKBPiLi+JpKxvlyoE6rUKCNEPu7G+flBhg5u1AmFoLZmxclOqpVS04OGTtoCGcW2+VpVKdyIesZxoskZ6RTf5RhvaLTGvtnjx+0lrJxtY6sSWYucbYEvvFkVd0Es8jsmSe78HmgONSLbJS9QQ0SZTW0WQYrhQQM3wBbmdjsKqrGWFDAIDI90VGWqiIi/3ZP1L0EU1EJymcm8+o10K3wXqvbENcFh4M5k4s9sIo74lGe5c7I9rjMpIX6Jtjwd0MpYi643TwjSFKvqUk1yl0GVLqrES2GYrZqZv6/+/txGCo0wVSd8LUaVWPky35q6hOLZ7g+YhV+yvqcKQiFSkJTTTWepK6Mfd9YDfxsmIm5k4z5KyVZ1c8j0Gk61wU4UYOHbKgGvz6s/Sbba9W1e3KA1rNVDiIsfMX1qoZEKnrHVeTwyD/nIBLvBv66pEO2q0K+44BxbknZ2BJkfw0kR/h8i0qYfW/OpbHP+xf0mztIXSolKAhz9PiHVjaVlpQy57f5IQjWFuQ44Ne6hkX0CR283RKB4m1R7l8IBnu60cefMVaMjmWTruEcpBPuoX70o8cQgkBDK4Lt5w1dpLdGNgvKZxZVbTqvW8N2edgBE1udAGPrQJz3jRvTTZ1LR+8X8PzZEwJ3jUwiQU1fFJY6+pTFsjMnNVovji3KmrucnKz+l62njIZBhjBY3tKR4QeAN+Ve3LtNips3xdcxPn0j/LLYwkrnH+Wi7wT35W1VpHFr5WoR06uICl6D862thCK2SSjCAEq/t0KdS2RePCaVjAhJC97SmeKSksUla9wb83tjj8mtztT6BvsLSYztaQZLwrFQFBafZzQ8hy+1OqhuPEbJ7oSY2YHl8Fi5cxuyQCEqpsAvgaCLisySum2QPLmbkpEeJ2sWN2F0YaT4jW8Xh03zQfk6mHRChHJitZIEp6G2la9ZzBKqzg43fSCq4U+um3NlWNuHsANkb2aVtfZmGGx269va4H25jU8xCbXAaq7djt1TxZruEZQCHFn11zGUFalgh2n2TORB8Hg0PvIMz3x44up+uZ20kogjgxUln3XkB0zaQ5Cr5vbXfPAtYkzAAFL5JVInJtHnHw2w4q37rBQlzHY0Bm5P9x/dSSxyirNmic+PVy6RP7H6S8xJE94gADOIShXsqwvSZDt5CSueps8fl+qf5nAhjLi4p4wL3+HVEwGWTaoeFVn+niaytHNOol2VdH2Rmy2c19KswbQSEnvzPDNA1t5YFBqE8BeOZizKmpjNSiXHbH2e8ojyT7FCULAZ6srePivsjGWi6EtAf/5KGBzF9tYctqTPqPjHlYhRvbSf/QOAZkEwsKvQ4m1Wu2UkKIlcrlne6+bE8ekzvUVaYj975lFPViJARLZBfhdz4pGZCml5SzNr04dKuUll36AoPskMxJoQClM2CNxXLfAGVtxA4qa42rc6IWhk1ES6i0GQ1jgG1UfNUkN8H5d9Wg48nmBGGyL6s4uSJ2K154S5mb1zUBbnr8nslazVrRsvkvxaIRoIUt63lcPTUnntunB2tNLkNA7FVr3vMULvZQ0/C8wkP9EbV9UEr5/E7G70ccOI6VN8WKd0DqDYbBkbecGiTooj0KCDzdF+WZSkmBqtnOELwN8AGWvQOf6yQFkw68X/mUXPrJGgfzcuGnUcu9xpvbh84+YMVGIXcZh7L5JP9iGEgFyrBwXxPVTLtYQts5a+GMm6ahYRyjk/LrZs89dqhXFA75nXAJfS+YUnPElFWVJyxCgC/zIyRxRY+T7q2xgO7AK4JQyprW9XjzLHGUyK1Ne0str7onLf6bh6j8T3cf97zLqSFWHenhTyyu/rulcRm/pbpXBRixBF4HExwX8MzxDb3BcjQSX9R7aFQaFSyEIJcofAlmDZVXtbhRpqNAnjQYimG91S07d5gsaqZl0RXbLdbjMbavgNyRx7xxrZzZfNfY92PMukv38aYm3K/Na/DSRbj1wVtbb2nzwnevGZQcQgOdMj2OOct3BJ0ncy7SCPchfKHoj1xcs9Z8QWjxEr8Deiu9V7sFjMAVK9ciUkjbyRc0Nwn5rLqoTDBgOOQmYm13Gy4YxVmsSqlwV0/za9n5bzeKkl24ypWMsEHK34t2GWKOa0SvN1zeO1zfJiOnLp1/YelI+hm2nWnWCVvNJQFRXtdfKpJnw1E27nYNXkqJVVcGHo4uZksdfuSXOoZah9IQIV2FgOuPUzwKXN3mb9oo4lN+0sc+c5Izr14zsN2XMSrzxJqGUy5XVtLDAf2i+TRHkutPBcH0LAu3JoJKPioJE8DsCJXj8DlwOIYNiZjeDfv4LZsMLCddcP3+03VHAz03Hy0RM/WOiaU7MRt6KoRJYk8LsOsu+kcy1w7W5zu8SndbY1iW0B2gJ86m+FlAUyrZRBe4493w9Bzkyzxjx2v1y+2jcBKKyM7Jm5ZmxWBhUJuKsfLEqfE1cY9DCkdfg27Fur/RIUhlI/xedroW+12csZR7DRhLAB1hCt71zS5jwGGvt3s/3RtDEJdItJ1LJ7DDbVcsCvDryB/WpC3l+n1uRiOdLGxDKP4GC4uYbU5piX9PsQo3WciUPEbX9xHj0NKEfAzHCopHphMbGj/4rt7BGeeipvcP07gEeJaMoxjbVNEcb0HpJrwJ9OYWIIOEFmW5Su8KYW/DF2AuAp5DN4DSKpOs8/CyC5nq/cQxqCQqm/nQKbSp0cmZ0ThupS66vWRvOupIpdR4TBjErSyIqLJ2Mp6BB62qA7zkF3YJQteO97JFj7wjcHaQFK4KD6f2vzfyE9c/GP1BgRs8sg/rYXD2g1QPBOGBTdkTRFB2KlIqQSgyVSuAiNaYKPgXcd/QHxFaoe+xo648JrUUwWDHN+BDXYKWAV77N8K29vwVOkoV+98TomkMUQMPU/Wb3qHbiWRPGxTqQ0SqHrv7VNOoXOg9uOsaXBoOzpqSslXJA45N4ZAQeFrcqi201YWP2MLMVk+c8xASSsaxQUcItRA4e0YgwVOJEwSq3rNmAA5wnbqNwXgosod7Bg/OLXdlYl0wjR8KcBChzRv0QEoyIsYmC8BoSO8pexsaWpAzeyNFGW7WCTRyNv1K9ZUO7TetXfXMYawwvjczRvOEpbSf51aEBxBXOhL+xYKDDZ8KVZScl5+MSl9sFe7vw2hYdCw79TYe7tJRBU+yL3fW9pa7Itaug967n2acZ/HeX0nvBdYZYRWvvthkjMTM8/4QePhLrjPoj6CFp2npPecKrYFOXGPM+OHZJb3AqsPfIEVtP/N5iQA0JwAZIL1CSqjHHdcFPuwf2tXrnYwCOgFxO8C76uV1wu3kSRtb0FejAjunoOozYvkHkQsjJGW4RZPsmGVhBKpw9OdcFtDswL1BnWZ2VhMlw36fVfa/Fsg7Ss7prk1ROAfFE2iI2pQR406DsoloSVz5W93UwjzPUUx2EVBq/mDncOOHMDydxMRClmywH3uxYI0aszjOjzskNH8vHGOL3BlFX6po1MVA3yO0X7v3Sb3zFEew+uaYuTXc+H5Nn9wAIITAqC/ZKwkwd5ypegZKQfyaikGWAMhlRvpDSddAiizQ8g+q/dCJMKIeIGR6U/yE9tmogHimwwVCwI3kowDt0wRqqq/yhKJ4XPxmUeU6uhHTapmYXzeISG9XJ7TvE1CWeV1jyruiFahB9JrIYENYomyKLEsFBW6Uh3sK/JUtg0m5pq3JDW1NicNNS98rbsZo9dy2wvcNS7g3y4mEQ+PC9Q27l4elbjILssaELjxsreOJs49iUEeEGLo0dWzBafTYOp3K6aSmt+edYus//39bZWrsesCu6d8AzGd/klik+sLDR9Rkzelm/0xgjT2p2skohOOqDdWu7Hk4oamDyyL6L3GQmJPOBNYKRv1Wl90cLJs/595iHmwgpJfAHRQ3BPqRtopJuwjkGZEH4fnlNuSvatuXrNW23E9mAJv6IUf+amfuoE/O3GqWtanNPy9iSzR88FGJpDJ+rUx8XIh48s+XfDeWq8tST/IiSldmIZ0RSH8fJAkBt9yWAP/fGFUb+AQl2cCNDe6uFV11nYV7nZZgPUKtl3ZROj2rmpWg/tlgKmO1FrzviKia4uQ5P78eAs8aW63KUaYBNttxWQNbmZv8wweAlnD7E+gzUCEdm/D/tvh4UXOQ0ExgZUyIV9j3RSTG3eDlCKy4AZrjvM5dvrPIifsjmOMtwgVI93qYT00TUIID7OWeJpw5HqyFp3UxkVsNEysqQxBDxcROqoAw7v7pKIRlVHXK4LkVOV7pd8uMP/uAL+HVNDrJ5qczyfxNeCgcWwX1SP7yuKZcl5f9ba+mhzOr6izmGKHH1chQu2diHUzo5xDNw7K+fNKE9k0FC0oBCpDrtRajunLRbqDZMVa8dknkc5ATLHvTHjKxv8dPuRrkeELMQZTImOmZod1GHKK3v4zjf3F4PqTJtrb+oAn5NxZ3nV6WadbmVmD9tA8XHQFfXIoShIMj1VH+OoI8LzIKFMc3jvQCIWT0au3syNvRu1rzFohxZ6jm/Cz4f0tOcawh2dHvFXyRfpumAqHg0fGBeGAbTLr/rmmr+yRl1TjfE8dSU8sADuqI3zj5Pr1mKJ/LXckV/F0lwYkaPts5C4okDqbzSM2NL3SmQ+f4u4D/uI5W9gQaQFLLxF+lRRf8CLKmFuIeSDzWp09hwjxy1tTPj8biAFp/j/X279KmmSNgZlx11x6QBm30UxsQY2PkUchkFdPs4oVn19vEJHtHd4/dJHhEI6Zim9ZbnUzPdDU8QRSg0zWgkZyiOiFO4r+OwW9yYXzctwGcpgaFczDptVcazCsP+eR4OtmUqjpSroeh9nFKI9A3dkWw4YO3Ufm/Mwkvk+VtVkuVOVH2gw9JiS/2vxtR7Mfjfb35529JQ/hfCyDFfNdZScc0bO52P4hLG9MXxPneeNx4uNarFlQC03yFQebddcJgB9wiCLYy3wRFWcE15o9L6aFv84AY0zGAPewW+15qLhGMMH7Qb9BRu/KaVjT9LwciOdtuZ4zlZJoUnbbgAHwLax79Nm9bdeNBp4aU27EJQ5K+rfEHvUWMbwLERYrQNXyiv6hZORINw8lHXiW3e8kzUqSEaAwkCJ1Wu0cp3zsmGeV8ptsP2cioqbkeM/QEPBrX49RcwG+WwHUfhJscB3UKHsOqrMHTnRQKJQlpof3H2yMc9VFbDjBItu1hlcphx9b52lcCMuuFO+qXXx45kakvoYpezf2cocHgQv0ET1pllsOl6aJtUB/n8J6QipFeNvx+08bBTakwLMT0mhLq/aXCnxsAktx6jDNtpT70epVI3EqaEJM5xIYYSL+JlYG6BrAQJovYk6w70xs1uuO7mYDDq3ix0B+Ls+XgVGTkEr9kjzJojRVEk8m+Ycr8V1aH/WNA5og6gyZm/1SGDDIO+7ZmnN1wCck4CYi78f2BHjMwZJ7D5e7sorpWbJzaRI+24Xy6S8/+4GytxTRzV3RJ+hOCbNruiGar+Pmx2twlhNUetcfRCq8yUMMbTWbJb+KkzLnnHuDH9yk/uZ+beKVakuZ4kbeB8HYUf72xUFeztiZb8jDiSQtxCIFyILXcf/7THTzRvliavAy9MZg0HG7FdB2bV9XWS34GGAMLWaZbZPsHxORAkm49KCsfQeQTq6xQLp2KCkpnLY5XP+5QN9Y0V9B/wppSHliMpKng/x4Q71QkOkwDWeU4riZoi183zfRbjNF9fuWpfYwIFLC/cNirANsNjyprk6zHQwKqDefkqPEI6ixSiNfj9QoUXN4xpu6YN74u/GCiztMvbx2LKdi30Bz8uEFrcG/QQYTNW/DncD8LUh4SmaBMbCih+gc5r6jEKJ9stipuLZSGgdkjuKl4+yloX0auIxdcuDAl11o8ql2t8515v1yrdh5eppqgCOmNDlgPoXe4rcgAwYJpABf3sVMcLjjClGkB4Nm/NTzGIp50L+kzsE0iM53wkvUe9Kwsz9dDX9FLbsRGu3qY99CGLTYX7JqlZGErxKjvqU/BQClEAep+4gAbpJLEdWpvwtKeNc8QxKrWwIY90ts3cQ90uhDDz+clAGI7oU/N6TwZ330jDVFMichqLPUIkt0/6LVCLP+OG7GOr71/DVNznNeaoLNA+LezmezfmVwFW5V9BzvqXeiODLfXzyI1jm/RZcPOdN2EiA3Ychk57V77uzRlcztXiuSkBQfJPBMpfmFaXt/j2p+ctPAxRtsb2/d0Q2P8cRIxCsI7c6dAOpIiEqN2l4mnIkSoT1goI8yKJ9qTwusKX/PJz/xcIBU5LiZyCrFvxqjSxdWd8W7zGQHcfAZ4jP6bGXYUKJ0gzfaDZtr7hzZRX5pKNsTXgQA3zTXgRPzSgIhkN7+zX2Hz+lU+JlCjg2EvYzRwFsbxKQke5BIsjxT0Y3LxfBCdehMQ3UktRgM+D2NW8JmyzWu62Qc4nLUfISDFcNePDhB8/sNVplwS9rkHH5MimUzTNGVan8XCqkXRx/K+beH+xT9W/UnBeq426Y3QjHnL2nj+LfkWq5DWRRZud8joWwPAzw5G6Y0AV7Zvls4LPkAsEGbYVCoOA1vzZMf12tApwrpUfW80oZIaUR8X4o/fydggoUoXToRY2CeAuScYJTokaxMF/UEaxfpzvJfZqfIAw6bpeDlEWvovyHOTgoVXvuUn+usw00hQfObKUzO6mz4e1r9R2JbKAgD+Mf8Pi7L4VczYMnANby0VykzRtd+8VPPwpnDISDBy38VS45YxT6+fB+W2j9QnvAPNF7UK2iLRDRAfyub9zF2zXls+ATMBaguH1OSMnK2T9xRrpCl1xj33kencIjqmalY/s6z+80KHdEctj8E9JTmzigEyL10AOKQ3gFcAnGCGu20Kuy9Xxvn7s1OYO5+hG7YizCWeLfrVJz57alitwCjRi2uejzaUjwhQFKuLDH7WKDnTM/KhEI1QggSjjQv1/V7wuzzkUvju31/qfUKnxCVHIhRdnIn+INIAEjqRLsTuyJMzPvS2vSSvhHPdU+3UCbPMBr3WaLCQWnK71XaFg6Cv7rJlBk4mUjpw3Cf70ulzvRq4RwXh5N1J4R1CPSlsF+a2X3MEiZnfFEITlUV9hHUrlROiwYJAaK+6jkso95395PgBqnYirDt7UeRZnKJNbF2QmKYEE4iB95oah4wy16BlG0vwgSjB6puB3gJE0GvB4Wikl8b1SDkyE4EoMlIvwjt2HSrv6HxpLN8urjqN6pv4uvyDcW8icAKGSuILNXZ9idAl+x11CUe830Y7UqouyzBl5OZj9ftW/hGv7cieMkLU3IzKVnVFC9Q33ro0HJpnYsjphr6biJ/Iv+Jw+Wvt6gOl/LLJsXWK/CogUMTs3BvnDrHrJuEzGqmC6iJOyRCuDw44N7t+7lyTUxrymshQhsQgF3LfgGeVDGEAu/KQOSXYr8wz51kOi0gN3DOeduZVoaeSy4vfTcY5AWcqAdW43Ll/7tvD/wCPocBQCZpcQb+KFTNqvCHiBzHi/F/NxXiReCks7LCvooXR6LHMxb1IqcVLvF7liGdweByo5ynN/a/kSnmEy1teTKgpTIphk3xpG2lmkiL5Zqy3QCBPCc8T1W7+/wsXyvjUSHgWKuYmYwVjMZkPD6W+fZ2eLu9ueNUS2PovweKhufSYDPJeHfIPdjafddWlCbgDTzH5FIKmB5QL+kG4oiDTTn9pzAQIMRK498erEy4vU+5+tyL52Y0JqUgs9Y2jMda4JlVMTd3s8Tz7ZQ85qfK5aOtgkNCFg3oNJs9Uhy7RJM8X9+2kJM8Mi22wWfm+fwkGtUpRMI1CYB6Ww7yyDyw/no4oI7loctVLR6D4tyPgmz2n24LlX5YXpMhFv9PLHyULE0HijCpcJyNFIgQy39rSYjMvhjPIYgxmXMhoMIfwnU6e/yo+pP5CiMmEY23rd4xqHtpfu7RMW/OGaI1sXqOQ9lq9Ojq2puIgadzM4h+ucsQMCfLlVaknSQqhXMDCZe9Y7smcQIsFNXNL3G3s/KmX+YxHgv3zls0e0FZ2j1DvXHJ+k2I1o6K4jRCAfACTCOHBGsWx0b/j9VbynHditcZpp+YckdOWpQ5OAGbyfBC4xwgcHKCKaOB7QQLPKw2r0hNeJZNW6HP3R6cNPJkrb01eYTo6F3ktdISUjTqJq0PAAJ0jFrLquMzizN+01p7qKWOAQ6g9Gq1poLRg8CEb6+aiFTJvAR4C2S4Vc1Jwr4rDbGqIMr1i8UVLt8fyJAmTgF3gzq0sW9VNZP7WilBstQxdjMSybu12SLgmU7QnMxvOQBpK3ZAAXuXTkZY+uMdi5cYtHdj5VKAeWTFE0wGQn79k7EbkAVagB60pwehnTMUt4yTzY3LXuAaU+dbHpKi2/WpuXWXsxLaqDxECbKCNDUnuC00Nebr7n2JWvwhG+dWHvbijYYTbaRGApsKPpdB0paG1Ks34jy701jvOAck8oodWNci3vbGHO4Drzd0oHPSfjMNRB5Z+4XLlMHy0Ic4fl++ux3hj/zlA4w+FjrQN1PyEeoXaoZqfo1RzkOFKDIbBThKJejE8dNVtTpRcro5C2FJb93LEFfPh/NeO4otzePKq1v8b4MWGh3aEgv9EZLeTVYVM7K1wNtnrRU7zkm1kzChdc3ZfX1EXEvVjzdlwe1hzRaR/F0fgKe3/A5YBdsqTHogkA3EBEAOZG/j5Ca57Ck2CW4PM03yIM8YrRSZiCAKNwYCYJkymkFsPiwOkdhrcJn+fkyYfEpaaVoBgyCqIKmsFvr/twaDa0LL2JfkgYjxFcW9aT/bUcfnhoRsVHXZWTS0cc5iVN2T67HCEfIU61RpCoD/fF5f/9Qch0GPpUSMokBjpFmHyZvcBk5tRi0hA4oKM7Y/OIq/5Q9JJofrT2a+eaCwqQDSo7mRcEpACub7VK1gnaajjjh/+G7EiUqvD96aw48Ic7SG5ewLAR97n5pIMJ93igsQs2TTbIxmeNzEDNys/yBzLwOHifCX6r//zFkKtDFOCXtTowFZU8DiO065AvOsTqIrmYMI/KY06WqSZug8OjpuUvtBo43+fH3B7CZJ+svP1JL70TPUcd1L5GkVhQmmWSpxBhZj9GPdC4KPtoxz2FrAwpR5AkhrIQ4JF95Z/mDu+moIBet+E23FLEP9isGjxvga2b3sj5/RJivvzt+/K6IL3DMCHwyH599u59z84uA0yyVjfmsO7na85plT8T1MC1keJjrvPB/kGYF3/rlbgiEu7mTRi6HDj3e3SWkJVOicQDKrLcLkM8FQRW+iLx+/cGj2AmiX721bofqdQDogPwKD4xliBmDKwuhljUJv/bOCLJJv0CGhW6OH1PnUsAQ2PjgTmkJVCr0LswozhxBnWAivXfZ7SvleqtoqOBNHihx+E9Fi/4fZyKZ5/KcifHvrl2Wzab7Q7jPH6cZTQgDVS6ideGtZmSvpDM4XqCmcbapZQWTJViWPOT5lZjPQ9SUQctUpbKxKJ7KXu3N0LO04HEWkddycvzZpaW2N5Uk70l8fSR8qg++tOwcjnGs9irmF/awF5O90eeBaTf6pZ9c5Z0ygXCf5iMvO2S5t7vdyQzPPAyExQrjP11eN9SLZc5TsM4zTZUTedyAJ21pDHhtm3SkpU1hIm+meNs/7FrrHF05JzHWmczM8B/48bM/Jvnp0uMFW90c2m6z6aeNSWRtqb1hfCa/N/BMOQMQWR13/3NzpAbTlkOoIPPUzzb95AFoeXlN9R3LEwKDJXelTemOcCBLdheIWf+EF7DHp26RvGjeWrsviXll/5LJ+JV+HYhdG3B+u/uQQ8JoM3CaHThxlgM9/z/JGJjGX28NncZmYZIhWS9dY3HGt/UOP5oSS4wjqyZvpgw8jECqbvw/NO7SXXoIG45QYhK+KWBHX/ytRoNaLjMtP+lr6IRU2fc4WF5xhRd40bGmFoRLdtYx8eXv8P9jp6o+HwItOZFD2NQvsdQq8ak1etaoTOxghkC/ESHkEwdn3VZ2SFVW1bR0SQqdVvHPzCFVvTWchFddfi1Zzb/KSO9YCiJqrWNSsOE+5CffcwQFk70YFa1Vu0rodpAYdIepLYe/8WIa7TvS2dsmNMMXweMxnPayV/CYLiynIOQ+BKtBbLtKqQFx31MMeTiAzQU8yGwFYuELCba7wNWQl1eIoed+0gKuGCskwVUuGUxhRVJJJmS3VYSlT2VEZfcYInFFaatSj6J+yF3aFLXhTlLAlS95Gc06Y1gIsUf7PWnPcj35YWfeKqDCaFFJPikmcaCtT7wxE4xeCU7lcOP7ZS71N1frJdshOOJwxZz+Z8Wt34IuOwEXvf2GZRXM5o5vqQo5Cl4oYy11zH6DtGBLXlPDfisVHAuB5gCZf4Dca63q7IF2yM6ngnLPKG5gDRsbEGirc+GNJ7GftJt2pYPV5GJhMPNlf83zgZe25iToIxUEDj0LjkV+X7E2f+3sHn7rg5Alw8sz8RbBIWsjxC6XZZZjIlZKgk7a5rtbrXfvADw3rU5z0u6g2D8ouHYSkWGK6g9IzGYnFCZiu/PmywUakMDITpKe92gs+gQo2B7WHhJVR6YmkiuK2NhW7T0FgpkvvL2VJ15CRGgW5ym7j4K/n3enWfflA5GOxCzdOsTb06Z+5SUhRoqTyHAHZaiO/znQNSseGAE6c1GDUK6ZBhdo5rSxmevdrYF3JIv6fFzGwEmWzur9faAzC/5ZIkiMp/IbA+aNqm0g+WOucNfzf9KDzAnEVD304VDGhzGt14bjkMDf9BHMBtKEoTL/YHCjvYowqIoXKiKjbyDN5dqSaSNMG7C7Phz9WRJFH5gJ74WrzxvDQj1EUNXUYK39MhZWx3+/E9xD6AJuwTfhHXexfmzPMzB+LCWgESHWtzMk1++42JdWY+7iuU3jYV3BEmA6NiC3PbTMOCWpkEBDjUHrLZgZMZZGNwwNWX3F77SOqbedGbLqc9/sPrxYcOJFE8loYE+SFFXOyyU6UMvJ7hNfoAG/DFZaYc0CXAE9z2sj3FoHpDeYnMZudhXbN/iyxowjnn1WOOAY1IUFwurz8oECIUNEL4/zIcYpHM3T4wIT98hG33uQ6L6X8Y59h3xtZhFkmRoA8uw1clHTQjtk4wUvcGTTf6AwFwA3gcrrv8hn1ZLh99x8+XZrZL1ORXpr5u/KoHSl7xka6NY8HpnyfkEoo961F9nfW9/m+bOxc59e4RijgZTs9pvKUbJLFDVF17A6y+gZJCTgABWcVEJbmWcrUO97iofvVirPwhd9AB3Zj4wpb6FDIq8HkjEeyAh27v0xFb9swbU9K1rj3R8jN+4oXFmMMWVlwkv+D49cLH2QmK3NdEEqxFtRn28D6DG6uHtvBVf4pwm5jtcdtgJbL8oXyKkWPbsMjpvsSM/T9L7D0q0ESET53N0Q5h84pOhsZmxxohOXx3FBvPMSsrLFsSUiADyZSDtdtGEM2o/ki3nPUYqPowMTnVG8d98od+nlIvtHYdg7Nos6UZyWWCZNjpG/IV9Evp9LuPdSbxk/U6Ir4V44nN/wvocNXvMQ8rv3dTKK8DmYr1IzrT9JLUDhepF4kax1yLefgqkxkO1rVHyg/hTnbJ/CB659eyNJcrOc2eCtfdTI4fKv+4o6Fn/5TyO5FKc/dG5ogcouim4YPrzt1lDOxCyJyWrPEMj6WgwFidEQ07G2Qbd/WR505SYNytxiVYPvyh9mBHMLuUmWt3WwexwReC1jAMU1qbUAgQEFEZNd/vLF/GxeH+ns/IfwxhykFHqngw1vkyKLFEB7JOqUiEh/13yCauBIssc54ByMYDbvOXVAkRLp6ENdbdFTRO9pJ4iiLJ7FSQ7pZckwwKKBfyP25MrXIiRbzw8rhh4y6WIg0ljDzRnkS8dOomrQ5wf+N8W++A6ledoIqgqxm1fWPCXiu+81hDRclN3pIRHqhLSZGcfo4auY8G0egpGRM4P0GMHom4AOa6O0NmIzu7daxBF3H2KtNBzZaklQiEOwC0g7zU08CFW550nDGzgai4xUiuBdrs9JmtQZHwDIukNQBMaPspj3q0KN3B7V5UPlDg5S5UMveLAY9vCchfX9D/Y92ciNWwpaxiHwtXngUFFo6cWnI14XaMOC9s/NjCqnks+reHTOdnuOSy2rO8k6sP8L/NK3Gulpb5aptg1M0Qs7QM+j7btVEsp8SaKq1n4B8zIjUDPEod7NNdxjtMt600VzaOOfGAyJZAQhnyfG7SzJ99+PxyhEOPrIWQNBDVwMvCcZIfngKFok/mXdhKQbidUUQpDBtX06WdTIv9zq3w27LgbPZIixCD3WwKeIa0vtwdiHuhUl0tSnx7vGXWX4G9A2ldYIzC4j982zPja/Bf04XxR9NvNPqMHD60/sePIupv32Xjc+/AyJQcrta1CmcCOcPFhUWIb1FwqU0Jy9ZoMzZL/MEr4ST/C60maoUxhxYAb8tEu3PPNWTG6Lo813t5IgxeTnES5BgPRh+Oj3tFgW+SzBKxPnTwDHj7FGX89kqp5zbYHrFRqifEXp+wKi/bpKKcgyhL2VTFsEv7flO2WsN5XSZFKwrei2iUAEevRWiMbzMJZNlKcicXe98V9qtZwuUhaysDS6wqxtnn8ykx7lduUXRDut5ke/5f1WYtJLXhYOC9S/DhAOtNdcUFg51xnQ2cGc4Ws9iW33Sibv/FlOkL/X9DK7uSCxHygo6z4vPqXlN5ejXoPpaG30TSoWx/hEpPHJgii4EtMVB2I2GsXGJ9eLmtIexgowy17BgoAw3Q75gNhyaiNvZPylfeUir9/fhLVEl5ot6QTmAOdiEXgzzX7apdkOkAU+v/e0rghrKYfvh73pDKeImfz8xUxePWIZ5QRGWXqexAL6HhPagjhCjuQoGd/91YqbjgIaMfVwVvuDI1kSUCwCo9iDCGPiipuE7qwNoA+g+ik/KHzFR35KSjlv5OW/ap0dPiNhJXQb02GOyertXOekADpwo7z3hT4MdyxwaXYetLIgW6Tcegrxmk/qqJtOvakfbB2YZ2ZKqo8A76qn4p54yw6qHStZD9A1rqGHo6iKNNuQTwhoz2gGz+dHqGgcXmp3XO2hQT0voe87rbWGxvrO4hzlaXUxef+6UHxd/dOOgrEKC7ZGYUDWljV+Kms059fRNwCdJ6V5eM4fsYrXvVLkTlBkV3pKgL9h217ERmTUgBew1HEKNWATaoh7ljbCWuFrLZgINC6BgCCh4hYyDOm0jjMZE5XlomY4GCZFfpckloY47ufGCDcx3/MtXqXiJ1Dg4TFR6JpO5hspKCI3IzJ1RS27r/N5v/5chVjS7mwPQ+QbTxPpXuFzLNvbiSDkvZcKbYnHHTltYf9UnbA4lv2dYIPe0ZMYAdp827rt1oWzGrQBfiiJVtbCNw7SDUU4a+PANpepsX1AeY8QpCBR9rUNCFvIoKqXJb5f6CXok87/sdKOrMEsQCgM1+2GZnNz/nKIoiqv6X0CnFuVf+EokLWtYDSjz+tTkHGLhdJJVt3JOxfs2QtgeXf/mID8fRilIB/6gmTU0t7mev53zJcLOSyqHN7awlCOhM6jCO9kkQxhaALzwgMtkRJT79UN5/SqFYDs6a/Oh5A6gj2uAS3LO3V663TI16ERSsZByfQNOaMkGo11q5zD9/s2BXJUIyQXdbftAVAGzqZ1MDdJitI6Id9/dytEaV59r3+OZiciY4P9YVepNUvykp0SLxECsctEDW/8Yu5Bxbii9sr6Lvt92HHC+Lns8dSsrzmuTKo8mQ74Bilx6mgjMWfbtgO3p/rwifMRmBQftGsY0QFvDQcCZ3mXgm5faPKB8wnCXwHknp8h7ucVWahwD2Mj/tiOKN0/QLJQVwSVjlKian3TVY6SNRh/odnsaTpNXszZubRCP7kLH+lGm7H8qfZ4TjmBiRX1JX/9ed/T+ZbtIdTQOftO6YIVy/iBDO2Tgc8eemRNnhocXSV0aNDfemulkyt9rNnBnNMHwhha4js8tkLkFxS50CdoS3pTsXkWAtKhTV/0jGfAXV+FlXSXdD2QyP3kU9cMpL3VJ5bg1KGA47/2V6Pgg8U6hJ66qQxrRrEtlqwY3asvYOPdCi/1IKfxo1xMbf53AGiFB/c0lS8h6P7Ki+okxpzYyaBDYGHmRpQqul7Ia7U5DKpQRGAdzcKWCiig2NVn3IzD8pFyfMrl1TtiorcddX9ezDzdS2mory9niU/URqIStTROy9s6UbdkbaNQZDQm3XvnkfnaxEEIabhaJ7bGS61bh8QbS8ro5nsPEiHFyb450YlS5IfZq0fXMfOdMV5OIf2ybM0D4Ghdicm7DmZGaKV6hK8VKQusyCYdLPKvi4X+bz/2BG5N/nFlyuYFo9EGPIxYzCL9bC/6lQRULORvNvPru6yXT45Wn67hyxj3S7SO33A7wqJ6hx8DPIlpSRtTCTECy2ui91eNCSh2hSKorW07nT+CwmCKgZrgkPuXdLLknJDHmQ2XLVIn15DHI6nhMQ8jBfP4Lj511/M4VoooARKjqKSsMHdFFIfZFR7x7inlpLLMYp2z/5j5LxbAVijJh8Y7vvf+4EqFW2Gp+UzHmiqXYydj6TqEfc2aiRFnQ9kAa2+SUdSwaSr1z88KXslUFLH41griqBOuzwGKwwFQqDXp+IoxZk6UbtmAcBTTQpGrSM7P4yGmtmSH+bsqxp+liP9Dr12kiOjzALmWCaMbbTLpZ3HYAzH3QbbSAY1fHdfr/UOCXH7T38SzHEedRze0Ys+XG1oD+JklP1Axk9+JnDhki/EVG4hIYqnv1Q6ICdv773cF3GAkystBMWZ0xmI46M6BeIMRq4RpcIg48TUIm0Hug8pVTJnRxR3gHYDG/+bxj30m0glLVEg2mzvzrOdroPq2I9kst7q7WWd7MpPUcxot2ZmhbdpqQ2Eor12PDyvH+ARqs7jHAHn9Rl+9v/7SuYOHMf8Orupnx7YMKo58ZKLXpUyvXLnjFuTiw52jVdJXeyT7uiPsW4szlOeC3eW9C7L9WrVlek2H8XSkertWvulc3BHgE7vp+deGhQ8qXlSGXOIvm4sVe/LmgU+TghdJBK93r6sXQRGYzq+peyb3LH0m2P7468wSdUYFLCw6aOsX62jcQA9tCQCuBD7yNaKtypaLFVI8X3ubG5EDG/N9Kd+v/u9ihormFYGQawRAtVo/EYcXYrdeCdO5dCzFYTeFzyJ31h1J2smBv/f508YFQBf56o13w9l/coJeDIC6EZjH0UOOcFMQnOwfbfezO40dZRc1IufsBpzFpiqdZ0AG4+XWNm9u5w6WmtF/6sE52DAJMISZNrEBFjO8qJAx7LZjPb58JTmDRnAZdL7yEk7+dNn5T8U+m0qM7UC48+SDyDOD6JRHRvJUEidxDdu9xJmID4CMEHR/xsmLmPM07Z/UC/wRj2N9hBEz+pMOxczt8OT+/wj/nHSJtSeQL8huZdVMSIODLEpX2la6FfJhgJsG6nqM37cdvRzVM5xzFkOLbRVxpiOLI3/eorsg2F4VircvUGjaSUs8IKE+W/mTRkQYmBUzzjTdb7CLMn3GG90skTlUZ/8Gqt+iFo5ifyTgk8EVF9lMHSNJVzedad5ciPSews5S/ctKXsuJNBkHjsT7Xwns6my4luEYw08EhNmgtsOSCPmhSXdF3rl1E6/l9pY280GKhSLQwq96CyewamLW6F8UajQRXscbj5UN7nonn56MDlVmAY+J2/1w1l4oaprZ/OhMyJowNObC+/cdZJq9zRidfPg2JPZo3bn2WytIe0u6otvr6Cl8k4Yhp7hi9ao4JREZKevFtpH6T3Vu4w9JsClW8T8xxujVAAx0VYLii5+D6Ur62W/Uc+K4T110NufgUmyCUVR4/w7/ycBvZRMIn0tez0yLkzty7wZpZ38sIuqzeH4px4UPBgk6AZtUpZREcUGVye6/PU80rfTtmSz4fLmuSqrV/kprJ8Hq0hTL+ZtfsIr1bjiYMkXCLYkHp4SCcfUUedJVGJ38HFfEe1mFHoPZuQcZ9m+syXL2MqDYdz6CefaD6yHd6q5q2HbO4K78V7MJbOAz4M0WPNiYW+TUNnawui53DnJ5i7YdFFn3biUw9exaKEeU80IszE+dFIETZAvmN2KvY4uGIGKKTzFkFXdk0GOhwVEPSlPJVl25lWrQ9rpVd5h0ECBUDJTpzLMGms2XTm12jnfH50s5GqKDc+xjNijeYlH82CU6DEojxbdIpoKUS8uZ8JLd8JGX1mPLBwyUcS2ycfLh0ADOycnXMVem4DQ8R+nc05x7XjehKae/UrFvW7uCZnx6syrQoB2VTttLRtAtmdgU0UyXoY12ZDNx6c7sg3PGSu3yrzYIJDtvUSd24iqR6ZJS2MYyRhmLcy4Sd4ESarqOaUnbN3x/Gcp6zkBPTuani2+pfVrYoHCwuTQJBRb3oA6EYBRtBeBo4Qt7BtyT2imcP7fMYR2KCgUmsRpwsqIni+XLB2u+QoLfL8dNTi3qp1npaFBeA+c4DuI2sNez1ynlzqAd2b1FbY9kf6eFktIC+xan7VRW6uDREtsckvUMUQm004Bf+rzAXkEWoKc7BrGctoC+uwtSHaE+dkWxNMruGN0/qp6oG1gNRaaIlnXwnWBte86IaaLVr63TDEAn5EyyZKKCSMnAGFHJqO6xyQHitMzXjZ/RMpAMEun+50LWZ9GLRxo6MmzePRC8uvIC4D0A4JMhJlvvM7DzDuYisR6OsHbS0npySleAmsNDfFLf9QVaAa4Oi9su050KwlTA3bka40MNp1flwoHLfdnVl9yVxK3D7ZPWspTo9q5BMZ+H8rn4vdeISMgSrDrxSj//wW44AAFLmwNzWH8bpNLU4s6uvjHZ7UeMa7VXTCulLmTxrbN+834lK7AGytjvlmxGWHS/8jv9wh3AKyOGEHivqKrO54ZgRN8STwjINBiizB0MiyhMpakx7D+HLdEcqaWOtvpAlL57UwCIPrGLcMBcZ+IwFwbsoT293lfJzgSqQBYGeSwph6aP3oWuV1kVNjpDUvF5CI8pwM6SWetw0bMBm3I7rQOC/HeUwr2gBiUZrq/PjRNxefrhRessoHYNT+PGGLZFSBySiwFJlHBJjpN3XfbJpOOHvy1+HfmgJrTftbuu50EJb8BCBJQvp3gquz2TcWf/8IFEQDcd2lOEE3hjzWeqey1lbCo91MOlyrxnJZ76a+PHBH4O73Oz92caaF8nKGOZ4gtxPKX71RjlVtKwR75JOtYzjZFYV25Wau6IbqXuKV7bj+z2xIsEb6JdHyKKz18VCZ3cAg26FnYkhqJCHzwKqtwqSuXg3ZbcPMdbc0eTucQzaw5GGcUwdZ9r4t6baPgP8pLoxburCFdxJMnKBGRRMgX1BeQH7sPMFq7IlikqSLsl8/IrTFZOwvndxZ2QR2SpXx9yf9vIrBE2OiGABDm7IekvLiYOUeeOfYT2JwSNnhPJoR2meVlIDDyaSjuDpoHOimMqKnmc4pYWZGM7O6GaKXDz+12DqIumk++wV7zh1rSgAKAvDCJUl4lh1W8jDZbtkLYJ12FEtnQiEkz36CMjA2V4k3wkqodt+qSDj71Ff2HmflskatM8WC/i2QnZlarPkuWPq3IfpCAAil9fq/2ZpixKKKwz4NIgZ/Wy3xpMatPWbglqJbhmblMYC6B/i+vNUpipGg5gk4xnDEGzyWmkUnDjFRDyGMcNH8qprNRk+wK4tJpOIVqxQoVW1kgxZju8+D5jAzanarRzSp+WTr3r3bIrf9oIc0fLTUj3OuqTbw3py/D9tNaQ+334sZ/sG2X9BykMgD631gc7qgnlgq7OBRM5ufz7l1IzH+UueyN4z/CKtofU1bxrb6f4Bhv2PRitATdN3VAfMXalMcNOH3ty5Bx1Natie+1oaEalIGtP70KtKid6i4nVqH9pYtdjksYs1iSnG8TUTehnbw9qdSSI7uUpHqLMCww6h3q29cnqsst5EAD4R592DLnPWRpX4QuVEtLyl78OCPjqns2bLC+pBazXSLGGywkxDcKm3D8uEMTLITVElz9Pb8u9vCXM1ZvhlNwzYCctqlcMimhiMWVndtXs7/4iYUggGgTKLD/5lAP/YCkUlSDWWzc4o0JyPFTv04CcmKcz2Y/6dsdPdMM9O2DW+OCMKp5s42oW05RGFMqH0dtoY0/Q2Ydw5l2Yw0rIxbJD6xETmqw8BDG5/4S8DyS0L4X7gw6mMpW7kN3tZEBnU4GUodMAhbSnNMeQDlqUXx3xsMqv0LaGZdt6KeVcDSBgo5l59MczJBF9SEwCx7pb4aPZCHjDpTE6grtKDcNfZvMa8G9DF7NcAYf2U1c1+T8f13ckCTqEfuid2OmymHo3j5/sA5f5TWWlBu5L1dYSqUFw940+WzpKOp9fsan37MEYwdLvKqSv5ExhXnUABRsTIWnhWsT8/Xgh81RSYIQHHf1+N4EtcpWy5+mc10FuUSmmRlFEky9lho/c9uzWeBwF4YcRf0N5j+pHXFyGAs3SqcSM9e+gendXZN8pjCp8tskvtaMR+m93yFZWCuAQwzm9cdj4XhHTMVEOB7tr9uamFX07W5XZdl5wgZI4L12X+mhUbvbPXHJR11qnl3TuJi5IjtPTRSyMiufYuq+dVOI/VdcWem40SJxk7OY5JqY865ffohX9c1D6aYxv0TlYB/7/mlEEsKo5k8ThRkVZ4zjiZvQoKJcIm3+3HM11NwyoNhefexbeXPZpJVhpMPpgv7nqFgsuccedhwSe6fVGLvu7DgtcvIAi/TuyXa38Zcsrk2ua6uMTJbWQa8TrIu1fGuYlUOeh/bAfxqFru0iLIwyIMCFbrFfLaFDw11B7+TriUsjZjspBxPbkAtQW1y2ue4ZA2qUPCbvkFS7ynwyt8Hf3WA7PnaHeeS9iKRujn1m1m4N7LHN8kO7MtW0emG33BNYM2G/u/brbHKQwP47dh6utyn2ydJ+Bqzm87eqgH3sKCE0xcD+CN5qHfaaCkdoLRpNTnoU9jRs5Wz8YjrwZzri3zwVGfQrHPpk/8T5zbZECL8dAamLTogwhPlg4pyc4dJVcOp3+kVDA5Tp4eVANuLiuPo6+DvBFLmFYumTYTFQdhJaLHdpLyfC/nPwL25uvEu72BBxzNSyeFgskZdhfiWR/RIVXBGN8wtQtnsBC72IB5obKa1HYnOs2q57jCJKBVATuDCAsUiTQ3HoLX6safnAKm/xnAE+H7AcMjW0zOU33Sqo/RcYVhIU+uB+WHzCUt2nTtaDSNYBpAnGXMH9EnEI3+kKyY2B07deHksXXCorMdB4DarkREzj86dtLT8TFWxD1UViKdC8rdKBtad2P5WBIHnTgoz5Wx900pTLkKgsxbfI584I1BLRLBHSZXo/s/6NYd2QmyxxQUZyqExTF4N1fT8Fow8I70w8yBNE/6zdsC+U+G0jJWJZlQE1TgatE6U+v9Tj+thpmp8k6iCLDmbH+GOplRk8f2VcAcPCSuAe6u75IQh4JL/n71H6dK+y5Y9NfcZStqH8C+uXjDtjagiaXgMVwlGtQuuJxz4ZlEBHT0d5B1x7KBa9wYg5yj4kQTbezzOiBhQ43Ehe+efEH5OrQF6g5hKxAMRC2W/cQ2x53tMOlP4rdcQaWtuJhfTRHWJGuby8rn3wxn+MYDR63exYZ2YFtFVvbjDar//PfVC1KLQkUyio+IHBpcGMUuqbCsUY/nVp5FZwRzxgr+DJvHT4V7OW/z5+L+8ZXx+vAnduWT7LgcmBd7LrIGzptPH/uAQQa42GdYtdE74mJUZtrWTZrv8IkdGVxTSrH9oMz3VlDxjZXHSTYIxCi2zk7MfDAflC7NdLkjJD9gtWjpprDHrR3BAPtDG7o/TdPEXS85clmcWyMq+J8JSB/NghgflJXwXY0otb7uNZd7oxIu2i9FAihz8OzGRLlK0W7csQYm4l+U39kn5RjwUeNFdGwxwCWwFGDm5rEU9omQnC28B6dNIVz//hh6WSeuv1sK8n6vYOnWQjvS8ZPjSt1eRug9sM2Fb5O1gYX721qHUaK59wjIi8H72zYHHPBVAVrZ5WFuB6kPZDLtyZipljH1TpYAOD1Kez0TijaeXv0EZgPyU5YzV3rmJMkjyyAuatHiAmDAJVak2mEgOGyD2EBDcjf1GiEZHRmQUUBoLiGX2JxUeOQl5UG8/D1EleZlGgxkb0sjFKoby8b3hV062gGkmZtQ8eRinZP7ta1T2dTcJz+5dtmXH21GdmPNIEa5GU+DAuo5XGUCqYLno1V/kot0gfbXT9NA7E0I9IrubL+tajEbSDiVwQWOqnq2XXO8ChSCPu3qrKU5hltPEgaYPuMw0U8Vl4y0UaaDR7+dE1XVeGRPAwtCjwsXUerZlh/QGj9APXVIigMMY92ayIaU4Vk4ffx3LqrPUZHGnO0T8PW4OH8N96/v6tD/dYbhSp01KNDSjpr1grjZCr8OMEJ6Ki888xqkLpYfjtcktp0+SYBmbRE0TDARJZrakBzEBpf+JRTX5U+6HnoWhzOcyBDyIPyaN8q8g9Cgeqs6VQJDns/QCOrrzUBnicTjspPszqPawyUbq15Keoa9Tdk3jU2yNuQ/CxNDYaLz0/4qCqqjryTBSshX9Rd1VZUeCdcbKR7C6DS5tCkZSqVJNj6BfR8OpcDASmpHmxp1mEPCvmcEAln8QVHDf/tZO4tZi/8PjVnZNfi9jHYGVL7iqqTokDjxww/pPwlOg5M+75OMa5L6xkDdsRFijFVzCmeOxfIJm2D8vyBvJDxYxWVAcWIXsDwqp7+5Clf0jlQicOSDzjZvKQ2YVfAVlL1a89GCTaLrRFpxGpookNJuhl1UY9UJqbXeiFIEZ4Tw3a1A/49kne74odnIevds2zznmDmnOqNLkgFxAjUevD0gAHyZQRChojIEFzVWLGEyEYDefc5UMFjJYjwAtTKeuJppjZm8psPAIEHKoW+Y4BEmkUAAWWiQWQdrohQ2kv6FUUTqKb2VX3VwhmYn0/eLum5S0fAvYAgH+Eg1vs5wdpmM4YYZznOmb+KgGjr/OYCtXtH1h54+xHqD+1fU9HXmXT0nBoJWRNTLrUaLj+GMOonLDLf27G6HQmMGFfj4SACTdISPJdJ2Jg5IV8gtiAiyt05jNR1gHL5MjPAou95r5kxFQYPoqho/aPaF864cIEOYOrh6U32BvJScHbBIwf5uquP6J/ju8b9YVms82xcRdpGi+Jx/bhCXIeC78PBtyCq/jxIX+e8e4CT0zPGMRNXcOY0Vi6PDNYVDhi/0Gg0L3r3FImms5WW0KZwyNQuO8Wn3+PNwmuHkvrNHQANxaeQkS7KOZzMVk0DUWTEEAGIleERFdWkZ0Jx5Mj4/2RRWaUcE1Wfqrbz4lMFiSTaNl4SvpDKgpjMyg3dRa2HEJYwG767PhYb/uQodtN2VDsChCnCgpgmXYZ2WtFIQ/PFDpeXhKf0pRxoyrdK7nEV4B2pD/MdQeD8iZRPiRMukCntrCEXwoLFP436xWO3cQg+ORkKraIquvroNmJTSfI4epnUbtxre/GfXdmJgdPnGt+PpGKApPmHAhHzv0wBzoR9dskrdosZjA3Hz0jUEfEgcJLsdjvRBcAh6nZYL0Dut9RDGfrtofdrm9gQjEbSKmhxpnZnjTMZiIQ47fO5hUwK7+yqX3zqJ2YN8h23Gl1BZTYD9jpGpAx0TX8prNwzshx6TEKflpfoP++qj+qdrB7w9b8buViYZzBulJv4JJel2HKufs5+w3OCV9nUI646uCck1jXtkcwOIqsNmdBEnwkOGictb6QW6jF6hGpNyDOfIZtgz/dLcqWneQR+cCRix71DwUdRDW24U79AgRmgO+u2qtv2I5P2zCh++lXmGmjKnQCo0zWpy/7Rsog17SR/IdrBAVeOzaZ7r+wo+LqzIXxJrBSDxBWqGJeXrAila+d0jok66h0JYprasdeepTLl6BCOZQ2IZga9NGFwWwNrkdvg+gGd7c+H7EBMT0lv95XvUvhhAi9JSQQ3N4gg2e9mpn6CYpTjgCSbevIN0595D2NrU0y+R7Y5sA9MoQ7V6BpqhnLS8aqZmwVwQ65jaI3nBJj4hMVgI8FA/koGYZKzJh+VCPkLMjD4xlkSzJ1wg6COKz2EKMo3dBbVACQtOxNFnM7TYG2fAL/X9e3ahG4AVFOXIyZ6gfH/Y6oTT46ENXcDD59fnbTtZuookKgqzokv64ryEQhdEQJpgNnxI+KwPvbSD1k9qMIpsGS1pBAfvfavbK/S3h0M69STX01QgRXFIrZJZFkCFyhem+Eah9V4XRcUePAnsXMe6yB3DYVB11+tbYAYh05jyqjcH8dTGPyGRxyye83r6izvwetI5LLvhq/g6Zi2aZPP7DzePD17CbvR+WNTE+AbW2COpuduNTO/aA0PqeoYr/OV752sbvzaWswHIIL2gHoBI69xk8GbMFJkEXvomIPOdhq3oOIMwcitbDriDUwJdGu+Zhj9mE2lr7/OqIl7gxxF0DwWgNJJ+VwCWw3S2EqOC+o864QeW24DBVDrHTf3WLN0rg9rYsSvcBjuBT1/jSc3v/Xs2cU/KKchVG7Q4NBm9G3uVla5jgHgKFHrsw5ryGPfH9zpkCwepqC3O7EqRK4aTximHPhcGZlqpOi1tnySdfHnKwrLlpxDWySvDOsJyJA/f/F8KBjn/1HsQSbGgx2FrRLGK+m32NHw56zLjSIUF97vujBHFc2YDfJPsBNn4XaVKk0NmC0jyF5apGThVfuMVz5hhZq8SVV5+TdnCo3hcbBtKQDjqv/KqduA9/CiBf9eoLtYVGuwbMBAQR8UY4C/BhRmR9K//72eivYtU+KfjoTDwYky1KMAyfJPsE6qMlF5WYtUirmlZ5PBoqliYijTDNnnVVuma/qaVt0K80gTSFnXQkYPSBwoYFIsWNr1MkLBY/X2egw5agYRsu8Qe9P4Gc1+A+Nybz8nQhUcR+qLgqQ4Wv1r5bSciFxhx83v0hrn2xjCjule/TxMVFddoxwRg3fmQ6lBYfMIr7izoxjXv+CaO8co72anpfp++30oSaeP6xk+dy3rrQGJXAthxAzjXzaoXpk90tqBzCubPlryOZtagyIkxa/Nb9ITsatSA4Le31uGlDpUmyCeptj2t/LGxeC6NhhSjMqAhYtCyKOE0KAsH8qmBmLGvZQEJeF3fPUCvwFGA1wPpzSVkFNq9T/HQy8djcMKOJCyEdA6Gg8FySqoOwtvuDGorxSsMoEEzKyK566L+EHOUfn8TW1ebBsKM0/dR1OugsWSlwZu7NCoAol/1PKHNuElrWdLxL67cAB2sV0uvKRdKCY+23Nr5nhBRXu9KkdtNSqEP9pYXssuOXwxLcbOUVTnlKzFO4zSAT/ePyJKNuYuyyg93xieI94o750QRvAVwPfNMfCM9dTzH/mw4NEwY4XphY5bHPeXbDCF8EE+ofzyLNGo/x1DhiMm2fHJmNMOwIN6hbuw1O9DMSWTakoifAA93vAtwAXj8HJ8GewSpeFt/hzHW6JyIfVYHNMRcCCLHthzwosKAUIThbCcmm5YTcRGqKPyDBkAAkmCwIuFcEDINqs8M+uleKNAQtvcLYxKXXC/lX+HfiignYruPcxo/JhY7/8/9SGOaL+EgZ27z3B6re6hwSwuB4ZwXjXE1KSqROwUzdc9kCgQSlA2bbfBJnF0BqO79p4wTFO4DdCvQjZgHsxzT5Fz0gnyarl2EZwisSpi8JD6ViZxBN9bvMhhL0KXHDwpn7DNUrO/opx1EznzQHGvAeqXSN7XZcEhflg2IVUv6c/A+1zBGc1jhVN0FlxXQcTnKXwdMMT+rZD9TatRMg4mwXYrYrpf8bASIuCscwkkAQ7HVkXjd9smuvo59apDaRwsT0hlWuqD+i4eNN9yS00/6CRIakVE0kSI7DZeTbC32AxOK2OXBCB2OadJ1Lpn1dtHu6eFth/O3ETeO2vHD9fkKTbB+A6GBtf+X3DOy3NooWWD2Ron3ZwP1Swj+dmYnDKmWK/W7b25Aj58fN/q6SeXcdtGWZaXCaUqbkdwYTzghflRHEc76oxcnQVNLPPeqz/9YFWN1q0qoDfs/j1wAa/ksIKU1ti+w+WNivC2QMNmaZEc8NWBpDA1H3mLrQk+4hUcch+8rjJ+L6Jpy+9gu4JNTRUiudq5JNqeU47ZjuzGdItjPVB7vfXvhFLTuyp7s8zmf7RlV7GL2EApgVvCPYRwjFl0VUZ00dX2MoatBd0TZtksvOAREMg3z+t7u6XBY/nJcqEEle/seU453gxLGZeyU7Gczq79sF+SeO0EFa+AG4g7+n4ifcQOcQekJQNpEUncMSbSfXykouRGHi/IAgFTGomw+xhCTQx43lcxRx1JtvGmdyaPcrQkXecJ9Tj9Hiyhuqi+hjgWDIVrCL6X4pKeMzkl3J5KU4W4VYG9S+srLLkPcDF552D/v/DiRe5d9EQV9wKZ9udZmRyLkbTjsDTpq/jWuOmc8+mq+FdsX2+BDfZFzam22ihRXZekIC5BXgPCShLtrr27Hykqmcg1MoR4LOoeQfRXNMsNGELTlTUriGYukaUdU1oYmNMh2gg2QxedVcFwpgE1EE/0G473W4D/JBlcSvLojYSMLns4qqyY9uUYuQTRt//sF1Lf6OepVKa6XMpgjQ2M9zhwXgMWfm5s37RkGYCR33/HHaHbsc6vd07NYwl410MxirqxLzGvSAiqbiKP6AsDYTHr2zivyi4LOPt5ie889IF58Q9nZJ8dVCEq0H5TB8Pi8m9A2F/wBS+7lw1xosUXF6opY+TMyl2aF9op3VIQIlE3TNPDmynh8d+ZrFIRZnDCcS6srh8Emmwc2EAdqxGsA357N3JHkGuQEa/HT5aT3SO1vKf5zXKlDGwTgZDdFQpWyEDjVbSZv2avSYwHfvMIevJuFOwJ5gUC1H8+Y2NSdPIF1/IMmv/aOsLd0Cn5OGEF9+D3oRdefEtKE9oy9xBF6yPn/c8Z8Z0EjvblPOcZcYy8xTwF3YkJ7jFS4MytIl0GwYzS6W7wBNAXQpNTHFi4xq2RzHR6BdvGiq9CwuvdMN7xIn1z+LvVeogYJd9W1182yq5kVN09HISolpi0tvDV53NMzRXX2pvCR3F3XsU85He7IlHjtN9FV4di3rSq4rf6kAeQUQcvOJbbQs3moBx3O5NeS2b0lmzr5VBAi0HnxdS+PWG5D92YKFzFUn6HwQiEVVesf1NxggD17vTpC/R2cu33klazvcSvQj8kDCTT0HBuAzFViv0gXmO8t6rYBHFgZxEa0fegPFuWvnht075WaXaWCM/kRPeSbB8CrxEBwp5zLFPKSkhiBDCL0C+QHE6TRLajZgYpCF0HgIWzmqBl2lysKbIWnxcqsWkFta6RO/9ZS2e3FA6aNcr2ko02525/W5OkltSEsMhf/V5QYWr8hL+KtnSqe2amOJbw6wwhDEip1tXJf72BPTa5iuxdz0Gcd86PdV2N/wZsXa0yIerlwh28IISR6Dn5XSDxlT5RTRb0MXJSIy09Su3JSU/PRIZC3DGj8yXC/jBkFZF3fG64GjfdyT4H6Qjh7Cnpbz0amOMAPiWv6JHpVl7iLsNJ6YMO/YdvLgcubkdBubZjouMIUqPXVvQRqxE1/cVI+aABF8xXUNo5oxdUMto5flO5YHaUpNKlV2vIbs2ZvZcyLSi+fTaycS+mjLumUmndhVRQUVzfg/1w7iRzscgw+JI8wboZT271J+CSWbf/imJ5zTHpr2JI1XOhuffLQORtMouX22d/ZSmnmizb43agigMj/b4Lo9llrsFh1UfBcFRPT5qWWCFuTWd5XHSsnDSEZLCna8WIu6s6Ci4MElbWLqeal9EkI8R9cOjxBP1DEGZMpDkE0tYQ+U3BSKFUttgDQ5Vj9P3mY9E8HwYmYin3pI+6Lw4Er57g77+g5y/n+gDjZtx4vTT6CI3uNuU6frFKzQk/fJ2QhsAAccHpVzCvHZIQVaCI/Rk2WhSdIy1BST5QP+iup8B1joVvoiNOGM+F1mY4FJINf5tMArbzg52turCHQlLBE34B4Wq0FcDd4SoLrp0LArZKIx6n86zmM74upS0yaExNpdtpqGgSCjiDPSi0PbqdBNVgIncl8DRcHp35lw1jPY9LpMpZq/c9DyJlgU0GCq94IhJlkukovVyvPneP3eddcCpY+rpuI+4vu5aC71vVbngLF4nyUYfIib1FMIQUYEXp6P0Sje2PAGXp6USLe3Mv2FWQB/yQKbXxaEgRDS5MGF+P/9aR7IAatWF94vmzJmWyR7uOGGmbrIrcGaKFg8RI14zW3JHUsjZprHXC8NE+oFwUOfpRhSCETgABb0rH+FPZXLgSIyLudU+7dd+i6wtkRYsf4JpOXrs0b/EVU7yXGmr7XDvBbEJYUmj+/lpHeAaCGNL3B7oS+xkvem+XF7GmnMWBkoecIj8HM622311V/Gl5G4UA1QLjwC1zihL3Qe9CaJS6Ho8Gfc7t4iYn1kCaMscDWe7NtfXYt5SKeqeGCVfx6XxNfeKP9ooy3zPpWpdoi5j5iN1LfpJ2akLQZaFerIRfPVCtF1OrkegISCtL72lrwkIHdEu6c6NwS/Ja9oF3iFvUx2fGyIC3f7ebf7nsODfjNBpftwhSc0Os135r6uG2IHTJsuaNIvcm7eqGAofYA/LxZhQQvscsET87zEnwVsHHOVGvLF5kQG00sXACXVJ502AIlNsvDHu6XgAkEG0y36YmshZ4bp/xUzvPv2Acxst8IzDv0Lj5g1bsMGNXygvZKDlkC8nZL7azNvQubpOViiLFzIXKg1tfrV8bY3boUl3CahKpttqRWWqbub4f5q0BLE7sv0hQyL08jK05FFZ6+1g72r/1PvTc7fVTwNaXYE+MV85Zb3gQMr8hqeOLVUWmOsz8Z2qQl9Sa/rXLN7CES2w6VhyjWQC/oeICF7LmYLQ6ZY7/Aqv8thfp/2PeWH2DxytTng+V4FwxM14u5ekBmOm4VoaT8KtiOMFbvapeZHAU7B7Ke/K/zX9QG/K7XpYkmZfM8z45zN25j8eVwaU/OnXMY7ikKLUFd/Yi88K5iP1JOJ6CmuCM31qZqzVK3uuZH2c3XQnspdTQG7WOVKt7k+LEyiLm5irN55eY2ZfBJsXdxjtv+wmBBeB3C5kWJNM9kmPuip0uCZEjU06D9Gs06cgcWySHOXr2AMqBnXwiVzIZVnh/8gCmBQcHoxfWqoTIMFh0kEAsvgslorALIkpadHFRXhfodRjdTo3EZwzSYyh7uqVMDF97GQk6J/4chIejZesSvT4wmp+wHJFjaHUb+Gy3k+ObcMKNsCo2d9qJKeSG5QpOWm6pPpjy+ROtqwZ5W3iTA4BeGftnRqHWr7clf8eSaaSeWzvVcnrimTNYTX6qwPsHVHfkLvJcSpEOyhP/pDsoeAhrf+nDDWKdd8RyTb3yREoc7muWmcIFIGgR0bT8iKOSW7D1XfWlk09kFx7BKHOIDYwsfNciIjL5czg1n0n+R42ghnvoiGSjK+KYrdLK0KJ4p6DXj1Dtn1XkuM9D/Hk/7x2OluSAhdNosP21yVUz0xdrem0lHOFLo49fd/BHxPjiyrMe9suils9FygG8SZzd2THBLie0eWM2O+VXlnBpFX+yMaiLMl1t1CIomLJ2nMNEc3VWNF8P/NIeTxhxBHE/iX6Xm3ATdkh3yP5BcIlMlKHu2Xt6gZ3wrc5eYVg1xLjSnSSB1eD/LPCkU5whB28KgrOoeY8HSmvlEn9w+fC7u+ElNdWuQmFISSuLo9Fod36hj4whVlV+SpVMyDt/5WAQBW3QU4QMrPJmfLKP9/dKBBUMpPLlaVdVy/hAJy9waAf2O6egvuzblC9OUsREACyFJ4rydlHiXt3OEKDN3olefe3GYbaLc7SM2NhrxQUl5l6GD8rqBYSEJ0fHUrwLHIJmR6PmtuJxgANAYVS0e5Kxx6g+whhTwMDb3QClaUSRY/d6Jj+SansebLpN0GhgxTQVQeWtzPDzNeqL4puGvQyQbkloaiyEPNU+dCKej+IrtEl1jxy6SJlcGWEzbAP1gU+pGlqEJ8At12MkBMiqIG3K2OLBj+c5TN2kIqpAfvDwpEZ/GvaMy9eGxs0CfUjZtMfUBJciNTVHQy4dzC7QwVIatLTq2sffO4a3q4SadJr7b0F6eptAYQpt106nhMAyiEArx5IX2PLivLXQkFZ4pmoe0sC0EarHmwyF3aN6OlpttqX/ptPqQDzQi+FdBGuEbJPKr6cSGlFgHs+wuxgb0vujeWpIUXrCyZ9KhQuL+XrjNgqAzyFq+1dldpT8N1BrBTvbpuNtGLMFglSj3fiBAh8wH80mbOiItvym9F9EZ+QCHqmVuXuk9B5iqTD57zYM6YbDCuYJ3cKid8EOqlLAAy30VDfXcrkI/o3SEc8PXcpTtUYlhKmoKAfOEP5OoWAybzcr9LxK9WqHASBlPLP0ot6lw3PjFHFdaDQt9+2KepjEPHigSKahSB5BpQmnJ8rQi/w8sfD5QNxM2RgMf5gQCJlqhz9TsE+iprCnkAieikBDFvaBqvja/uVSrGNkD3UTFRu+kbYz0sfiVA/4Qm17PRBgTrKUWPJPVOde5rX62HieJ5WPTqUB7B4MrTkZTWN9cdNGpIsnOqurZbEQ681/ujRmdijBPt8Zcn4c1jfT5oE/fN16bf6KWxLvLrI4Jl+K8IZMHU2ujG9M3Xsyq6rexwQ7JmtUENHu5zCmbhCTDksPkm33/PjYxXZN9huxtav6VQ2Yap/Mnr3dFWvvzja8aZUx55qeYvGTxw1FXouMnnRDYG3qyAxdHg42uxszzdTnoDI4LjBh5n/5lD+qyuSC7hroz4/ZOuBc5V/vOLlCZ1Ae4KmEb6qlYoP7FbRIm7ol4jtmdGSaxNsL+szcsbQ1o6916YhTSZ/uGkhratoFLIVqoEAIEfMUB7Wux5F+RT6vEIraXTFsMzDEJpG1SvhK/62baIguQh42C7cHkMZMxMN+WPduf+u2k58LDm6ehX6Y8BhS0egZL1hv2ccP+JCqbTjNVV5Ut6IBsT67fTR0+IDGLKtNBaOqnZ/nibIogvonb6h0ZxFCkTSrbxF9SZRud0Km2uiUsfy3uTjTTytYm0vZM293FS72mkesjaLE1NVKc05JjHAb838pcygGc9297HV9lNLtnsKCI1eUwRQl+Cx2KxMEisbBcdGZ5EGInHtp8nxstrAPLflYZ13U2Wl7mJDrcKQv8sm/uFtmuvuJLkEo1lw9M/RvTGlUUxo2FFpXHMOLMdS46lzOy4IcG97PjfDGECEQYSubM8EkgS9O2ba2aiynLm4IrSPc8i+TlZitF3LdZqrRnZAa0pCH5hfjCIUKlGSP9LJpem7X8lSHQ69dOQ3x2f4Ron60vCnarAoumnwRubY64L8fa+dDO9e9xYAms/yrK2xxxVDpvrGrEKtYCcKGxZVMDs+kHPZA4qQLObAWGgwj5zoYVnHAM602BGaD3165yW9E/1TLD8gnxUneL804eP4zA5dmG5JU3iMpmarAfqJXYatfaSs66gh13duZhJH0LR7U0A3vkKEK5bdK2hJnBFngmQ3ebYnwZyDgbOko0zby3sLtieyzh30F59R03fT+jH/viMwClQH4mNTnhV3HhJgFWPJewVZ16hzbJhiaw8gENqwtYT9Ah4QUCwIVkOp50J0oLog2PSRYYBfFG0u3/sw5caVKehuzwEQUX7Bu/zpGkwHhUDvNGFACxDUZVYKn/ez72zU8ooEdx/U20f0J+c2uSDVmCIOo87V9aZ24oRRvAmw2SpAxeLxPaUG7Py1ZrPgUC4FcBJxhK404QH/ZBfGhXEhGQFjA4152/SIaAiRYlLqdYKZQVzRTurnjJQtJl2AeC0Z0DVLmOFh8kRJyJVHWaVtv69YKGemsvpsiqhGOtJsqHuO1DPjFYX0+wRqgETPY9PfAbFeDjRMtfZ9lAxRaKlSl2YHehxS9Py4ieokiTyJ+lb12PBS29HeUBopAmOK1NhYoKUzGogNOCyCyQuMs0URoXLVSt1lA+q3TyFsujV3JIySWgY1dJdL5Teie+xN+WLF6dypPHqkd5RT5n+QHRTsMwMWn1iB0oGWz1kdauJHY5BJa7iGMiaKju5qTqrfoOsxWG0l2TX5ZT4S/ifCTdutTZ9r27gq4+L35Y7qo25oQie/sZ7POL+0x1vixPxLca73eozbSr4W93xs0WjgOCQFucLwx+HGi0/kIDq1/b/bMWr0uQ8ru7akkdKBkDhTkGq9ez3Z7FedRFErTG5JCLoBFgQ1uRa1mnzFHMgHsIfAH5X+wPZz1UzOWpUqUmf4uhTrKV6HQJw+yVajDyfnC+YwpfsyYkZds66wEUJOaN+r+ETokb5vy+ZsZHkX3LWZvRJalvANIHqQvgz+KXLMp8oyx2R83f0PFLzMGzjAtNDvC3wMAzQ69VVgOq2Pu2NhSb57rfYX0xP9wFmfD+db4qfdLWjjgsPCo4QO4hO7lit/rd/OqU02Z0aSqLeRlRJ3iep0dNF1KUmALWvvTrDvH2tcfLcg6iqjoj8kyl0QAq5LPYLIU7P4/tLgNREr+CTtYC+7ut2W745DWptzSP7oN/behJKSkKLKl1LAs8bPTiTh9EV44oTCkLrjT3YRPJuu6TzKpN22w0bL4efc+YKrYcfo6NoR0h0GtXvLIIVYYwlJkPd3A28rNre8FHvSW9b5XeSGD9MM6wgduy2j4YzR1pCkyPDxsRymUkVmh5q+nkHUjVfRQinNGttOJbbRIelwi1qYurLWj97s+LyHXgIq0lHzOFE11O2u/f8ddTiJd2Q4GigvYIy02qOjuDZYmriwdJ/qKgjogKpJnNMi9a8gQC+7KBlEVrRMhpuEefWwzcR3LR3hmLz/g8G7AXTY9ZvPJdIs4Db3jTHy5IPsFeLmgqqEuim71gISGDzLWnzm0GHBx0r0QHyJMrZjDyP298CKbAmNrJ1lppbY96p6h29t5gb+aodSc2P3ZXqmphvtE+F1zoLLVvhIc7hSwSPN86LJA6o12y2vi3s6ksA1C20e9nAoKpcdnlCkkAeBPBKab+QrUYFasvpLbNzWWsOAXs1mxkBZddlFVzBKvAFNMBE+7oR6Bui4ief7kFQRAnOoLqYScMz7dRFKJyX2kjXFc8SGUoBQGx6uplx2moq42/umsJrTxFkSKskd3rHc3LDz+kjAG20t5bFX0Eengmyd+6sIXRsDiTuAhdqt7oFyh97bf4vmHmKOSzhjVKrYBKh8OgDnaNl2ntQABFU3xP/dawX+HyjYKHhGKMQC3sNKTEuYPsDUr4bex2C7b0E57GiBoKsR53YF+SLm+JqOqdt0I3ZObWtvFgCstHR6P4V9ugKpOwisxwbDgjveM4Dk/JqFCQ6jgtJ5S2C6gbUzv+y1AqOf9nnHGIWvL4LPCM9+aXXTTLkGl4x69jaQX8NJt22OihJclTiSFnD29mbTzgs1nr2LT38bGttAWfyppCD5WeSwi9XxCJJ5jiUkRbUuZH3zJaPe1rZNFa/iVZu5ULgYrWvyl171nV0JvyhLM0QvxBo3QmgqBi5O5eHj8OtePv2YsZ8CSqgC34q11oHxl62VKkes9NOz8W/qN1sQ2TDeObzHuZ089stsbyzszh0iIIstIs+VBr7LWE87I56fDek9O6ArDvRdhG+4DcNPqPI1yL9lNmrs7D1+QFUeP7DaG2jE51KGUjq0AiNtbjcBtfP7zsUGJGZ7FrAFLPWAM8Q0MmpxTpwGrJE43ED7ecwyZ9Tpr5hsx5cUj6+CN5GabEvseLuJjmD5AzwXwNq24ukIZOv7J3Df7zAUIwZmoAZE2qFunpaGXXBXRx0Q6YprOoxcvsF05Cg7eaCSTKmpq344iNP2++opzfytRmZ9X8VO8BsOAKAf6BVA4UinrxL+1Vqt1SeiTA7fMFHpa3tMHwJ2fFzA7l2fVoKRqRiK14VgbMqKVym8sX96C9r61vExfmnas+0b3ZRNPabG5yIFJmA5F+Zo3B/jUlL2E7ZaiYqNEBKjsLI6j6l5RGNwaFh67vAesZqKGKl2Jc1JLIan6yN8223xlC+N72Xl1JN1uaCq9LEX0Fzy/hVQGoc8s0OvhZ+JflPDGkYqRRkBFXl+cVwWuFgV1T1nwXfILfRXfW7aS2oh50jtX2hOLBwppUaPq+tXk9myETRaRDi2fQWiSpsX2ecWAnKbT+8alhgzIU50jIRe4ux0YEIawv8swrJsmbp3wDbJMr86fYMaqPJdx80H2AYCE7doyAYQIJ694CFKuvB8DmlUU9ILvflbbPY9sbktnaF88vINK6NF+OTs4+UEcp7POeUok5yj03300Vtb5Hb1A9c8bW/+j5tiLR7ke9hdp9i97FxuZYswUMiKFw1omkqnidYzzBXbsIWg3ZZmJEu71kMAWfcLrF6lmwebtCigMG9H15yw/PyUnzXr3FSyE8fHreuzWMA8F1mkYhMjPSbJ7tSil7hog1LanYRs7uDb4fIX0WGsOR+zDsTvPZiGF8Z46CpcnlTWbYigrXc73goh1iF1t0HBLfAtO7YMiSIzDnTO62VnMBS27k7BiSk8zEUlIcwp6ZsFBXWEEvQcWJSAsPa3JCKxb0iZVGXycOp9yo1khI7vN2qgccGYFgT7WF0h8fOExc5hoGU+ecKUl7CDirGpqdq6fE0+dTp0zAo/C13JG/q7P2dpUeK+2N64FfXxuUZnSQRa9w6KKnylFVQyUPZqFCqBtqgCl7DBJLjzIuDzLH9phksUJV/GUf+jcqjhtDAUXCq6ZQQV5SO+wtEPlx+jLtpQsvpju/MYLTVhboxjYvK7snjaSvq/31/2qryAzBjEmyNImJ63YkmhOPGgYaYAoblm2/84UxxhpDjekE9MUwO5bg1JlAPlFBVhiUzFFtiBVFjQ38XloGPlfx7HfLcXgyXQ3fJHKF7AIEpRtsxgH5+obsdUn6e9Yucy/ACMbe31C52Cy0n5xlDO4KVXsyHV7jWSuYMOFTMKJV+o+ldwRAnZUMTwV33SkT0CV7iBrVJXkFo7wFpfRke/4KZtZrbUtdQuJ4Xo6Mws87/NWKLsjU7zswwUutD7uzx3AR0hXA+FMewymCe0Cqg9ek2h6yEjDK+N6MizEfIzCkTUXNcoN+PBP47skz8lbJ6RqTi5+M3FFBQTB1HNgb6JhAHb1/uGghB+rbmJnRrrjA46yhgSiyVuoZioIhfbj2FrmNpxaBkE1TR2d6z/oqJnt45QMgEyhdCzfasifUHPqkCGQyIuhCNfHYP+HElckYRx9VUcTxBB3kUCIzy371NCm4atVosRrnyGu5AcNhOrDFyIvU1XRqkyyOEYWnvs4cNFFrgMxEmP3/1cgyrspn6Q/WgI1PbrUJ2YYUrx185gxhUpXgyL2D64qaojoW8JFf3tsI0DrdPABnsocwJjEZ4Q0qjqqSJOwTk/Gio68G7ZHChsFLEmeyYJfpnoPa//39BlVt3JPxiawEWbob6RX6RpKrCoPvmOHk3ZLLt3eiActpz6J2YNWQJ0zigmd7SmFnVbZ96x9pf1Bz/QP+IKcbFCfpbe8FUCbKSppxO6jjMogcC1a+QsY0TtPlitOm086nZ//t1J7LhoecaPwVHUgDjx3ZnwtszGqlIb+XSQUbmjg6ViNkVZJETezCQ6d4CwEDvO2iAOkBF6H0qh7LJapJgE21Bq68SOxkj+Ldw3Q17azr12T1YcxyMoB80SLB1ZHS2VcZ1EXHBHnTm2JePfqCbTufMWxVoLAPeTkpew5tupkOv9KTiblo0phKs7+Y6BEowAZl2aoyCAC9W0OUnuHWziJc8M5pbfh952QFG0GpD3auecqxliqat0wOG1sVgPqsaa83gdxYBR5upocbeXyLJ+jAWomsz3iywwV5MjiLyra6TFqVelJLCY76hCRN/I9Kpd1QZ6mZVk+iRUwPIoUCb4n8uIAatsP2wMUGAO5EY0uKVwZvs48RpzAY8VaHZU9kvLtQ4NdQ49tVkT3sOhZfGNC/5XL0JKLQKJJcg7fjvpZ3f0e2SoBzZ2/S2UvCp4VGJr+270WGLa9mFhSYE/5CbMUwdyjkCTOqzB30fHOuD89/45U10KgN71w9/sRd5xD7j3dzHcI0rAnIhfm2Ohv8CWoOAvr9Ar8aHTR+AL2pB2JknVp5j811NpOi7+6IbVD75CanqhQVdCW+F364B4mbuK0G+tscGKBflhGeOB8ErhZftct1cajlF7MczSgc0w5HaDNlmgwCZ4/uYV1xzF2rXpUo3a5Y10u6Bf57eaPYiMRizwPrSW0wp3Fzu9DUrDXto+F8fSSz8Va/Pc29d3/ZKYqzIQ8jNG9IYJNPwGO/l9nb5Hf2h3oJckS53VGu1pr5irlY7hnvFVwGaXzjuV7s6Uew9xe0+5xq545klD7MZ2ba0TsWsbAUwZtZ2UBqRJ9OQImWThvsxEhaxI8cxA9OZteNbCu4EhJd6ia+VMYErmf9syzQyb5sQyEFRvWJ2ruvagx7hg0KGKVSUsFFJrIIct73Yu+6akCNw9iG30qH+U7GozkVr1WtLCL522sHw2mTifVnyvS6DjYflNnpy0UJEITjOlyM3h5MXUEcI7ls5KkmPZiMVaz3Zer0tBPer5Irf62cpgYbN1fQRArHLG1zRS3+JUVqQ26K1+QPFfNDBtSloFfKDG4N8pNuvHsX/AMTl+2MZWeR4U8EuAOUFqC7nlF21Mvs/OtmHa19eK12tpqCQLE5DCutQQCTbX7LIIeR573KYSXCcpAnDVOwC9OAYP7GmY68Pv4o+IrFPVdogx+wdXxVWL5EEN0AXhIR6V3f2T9HfBjkMA4ladFDIpJxQl/j8JIdPE5M/dP/1vlL1XQAi5WKZl8A+57ewre83CPCEtd1kYKDsd/NdVjEcO3ll4i05M6hpZWwJNRRCmEIR8DMv6eri99xJSbfv3tl0Zp+jrA42ngsKlxBvU6I3xCwCyN0hPBjL0hz9PEglqAaQbsP3Rys6eKI5dmjkw/bHiBlAJk8MlK0FPx51pmdNdE1VKO8orngP1xFhzZNrHJZtZx09qQ+v/h6ZQba+R5RpWiDGQ1b0PivezheLC4WPpvrT8VU6fiXPI0eRkg9yHhgSlpGsCZinsL8gfSs9WxO5krku99EJIILH1M4CHAq+yS9jqdk+j77YX8uI780guI6fcuYoCg1jPRCSU4AgUOZzhmQB6DEE1opaj5Nlp8pcW2FnAcbrE/SDqrKnAON8fxnS1RYpMJ4ywelYgc=">
            <a:extLst>
              <a:ext uri="{FF2B5EF4-FFF2-40B4-BE49-F238E27FC236}">
                <a16:creationId xmlns:a16="http://schemas.microsoft.com/office/drawing/2014/main" id="{175B284C-CC6D-45CB-9E07-A8828865EFE7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 bwMode="gray">
          <a:xfrm>
            <a:off x="333383" y="2381311"/>
            <a:ext cx="3476712" cy="3895823"/>
          </a:xfrm>
          <a:prstGeom prst="rect">
            <a:avLst/>
          </a:prstGeom>
          <a:blipFill>
            <a:blip r:embed="rId13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btfpMGChart760504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z2dD7pS103gZfJ6l4USC3jqtWOPR/ue0umjYEY9KlLthURXCUyUuZbmGDPUXB2idlVQc+R1c0j6vNnMaKvr/AhH9HB8/LZ855JfBD99YdmKGekwtu9yX7l3g2IqhHppPUeJ2kp3jtNEry+0FqG5DpxShlyOhroc173mohSSY6yd9b+kTk9fiibtialVKCL2LppoEyY6dT76orkuQR3IRjXONL8TC0wSddYREjSlrWusafRbQ4SVWKSFI8xfa/0nsCGiJ+3KAhXqV7skz8QnrKu3Qr/QQ413HiEnbbZFR9uicKISIzv/wMWpxGdQ+temUWNP7Byn/O7Mw5hyxYC0oRtJGxoXrRD1SjZhyHVzDaQK7/2Q2FfwifxrhEikLS7KVzuDDlv/D1mPHXBOaXKeEBRg6kSj5XReR9wmn1qN5XdMYrQwHkanzhgMhD9J0TJwJawxK8H3Af6Kti9EQ/WYh+vpzqJvvZuFIuIIsyZHGV8Rp2i9FY71YjwVYHShWi420EmP8GjxnuiviVfUlLa4cB7B3Ds1NGAjd124D++3FVD/4ylNiq7Lh7NDKz24+b1423slCo2Db8WNOAafCCkb9uqXm3dOyKNGzsESRDvezsem372pAN6QCTchxPiToxSkjEehBsckDemCCi1Jvf9sIFkbK207vqotdWrxlOuzkJgvyc84atllN84krFe5ENjwENnMqwjsd4YbUwNqpB+XBkkKxcPuXMb//EfQkkm7+2BETcByTWTrJvXBBB7xnZnUikfOgLGveeFTQjJ6ITeud6C4wBD2TWztgSU8FY+WoufZy4cC3fVJdzH7NXQfC8Khra0H/fGpLmr1u6/LXiVyBwP0AH9PWGER/NFGk3efUBFQm1n0vH7GMrWJnKmciwchMZVEiWDlGZHRCyJRjWoEBab24ub8g5rfC0Hw9VTREL1AQvA6bVxrxza/luim5I7zW54TFZOhYINnwzQ2wOIJHQo1ZlVCbfWJiPepnjKepVO5lYGFnMXmSitDITIhg6Xoy2IAkLlQ/Gr656wsG+B932x64Ll8vM2neord/3Xc/WiMTRQGN8PXdSJACA6FWfxZpmziAPQtjT8JLFYLbgVxfpF7XNWW1UpZVk8AXvnP7KMSPz1j/x45wNFfvzHShPiInOmydUc+NYBlUXWdrGyetq5q65O25BpZUeKf3m8ZMkzMgEEDcridQSWEhTIZJtQnKjAA7EsyDZb7I/FUMhUWTL2YEFEKXsVJ2L5fRZA07WWsQStOePMexd1AhVNqnA6zqSTq7xWkUYqEB1LUSefzyZInJEbILuvrm6GOj1rSrA1+iFiZfhhvgK+FnTgyXknvlD4w7BIF5+pAOOxnWDXdwWFcklVSAbvxiApE1dN12ZaiNX79cFnD13DF08XE+NhVhrFxN5jB0F7vNo3/n0KEBq+zIV8taI536tVgQjnBPJpZbWFce8pF+P4JHPgYiVJJtfiBMQKozyXy8wk71lVSY4x7qddGXshtK9r4LyPb1iEiWrSNLnvuD4jzE4WA+apxJs51hxl5mZmRjczkUtDritYAxoWqBmDIoOaG+rY1Qkhmo1r0Y7adlHfxUzCQRG2J/NaMDd2yjMTtKBjvPtnE7UwrierKRMs2kI8FWOF0O3AHb4gWoDzyRvbolDHAF7dLktSD7Lv/fcVuoVxjiRVYs1NxyMryMBPhkRidavENLYG07JsAqtSXBk7ChFKhYNFfwzeMZMpQmllzC5BnNxXsj4YclczAvdZtOD2BdNJsQqeI/FmSCz8X8XwRP/cjxZMBVWqsMgMr/72kg7Svqo7s+xkANZCbWiprcnqyX0n9Qf4o5rnPu3yrTwwjB+OWndu/oJVidxJyN0Ctl6tnqPTDe3YG1ttfs0n2ikQ+Mcuw9rKbYBYRnykmtCravlElo+zK3/MaVV+Tw6iF8AEsBczUAUQkHSGn4F60YI8amK7PhIjj6LRE7Tv412jjFQEv4F6HVr/75cxIJ1uZQLE9c6zqi7NvQBYhKL0A96VOFPhEWSd9FDgkpDfTsYmVQVd5sv11oy0F8UuYZNiMupOrix1QUbg8j7ySnOkqsKPaFb1m5Fd6yR7xInK6dNWBkYteP0gXy8cO+XzetQ4I4Te0hWK8dDGaj3RC6ngd8kDBGaGraqXGHcSE6hA7umV3wJfERkB4hDqso4rzPpazF13MCsIXounS7Q6PCQlVidlhlFfvP9a1ZeQVacqDFY2T8zpfIJ+aARw3LbsDuBOGTgaLpslMaB/yN8xNU2UWr5GUCCa5WvF8TXI2Sudwzb0kaBUGrUcFDEL8n3o0jNqQkfvqxdq5YULpxPDkxTlg978bssZ/H/zwfDmMwDmiIUZbSc+NPoGe0c5p9ASXcGYHbhLMdDgLK02FNFNPsxnnzYIHn/wjEPvhiQHEN2W/tRKBiHJxNgsnuVPnQbDRGoQ8QsU/UO+xD5Xib+kZ/2fuHxj4d/NRC9rbnfsLPbzRst7eM9BpOMtHUUUPOsNa3Bheci5TgPWZcw10mRf5Pqztg3OwqGFvItMThTE/mIk5rEK4m4EFr02slNmCaIw1RfhQ8Gkq0gVFpw3VWhkXecCWuudXzWWL/CSrmXcmxQjsYA8U624sETu2LAuYCevnBaFS6VRMH9zy3hGQKIoOBdFIu1wH76FeaKnGBMskrPadfFYFgShs6ua6TH24oknHhjQjhVU0Tostu/g8rGOTUdZPN2SmwY4jS6YQolYSvLdkFuDRK629ypwBwytg6c9NIK46CViMYFO8lWnAU0TnIoVDk97UQvBWbH3eSI5wWSfiH4xMZ95jeYr+vBdZW9/ECTn3JFWW08Hf4yH2AVdfWzas02h3k+dZGcIk2s/XVFjHUE+KBiQmhI1jgA8++uB7XjxKL3C5263OiIGymxHh9950m5KiysHGyzALajvSZlz5hdV2ByvDTTT0SF3zhGSZIuCS0eYXVwFiMvxA6lOTYenx9ZJpMF41wBou6a5FXrW/OIhvM7GH+jkFmszGv3KB2giXI5UcZcXvzqfOUDFO4odRY99HErHMlyZCuZQ+kyScMD3Ngu7uPobApX18vhy01f+udQGsKKRWoHGq+CjGjn80WEE67+Lb+0D4Kzkl2x+5EbAXAbk0P/ud7b7l/Pmw82U+CeIFfBFFD/jVrKLv5Ocsg6nxGOfXGHz/mdCCw9uBqhwbx3Uz/hVr9FZBTAsUDL3srkyg5EHa9NKvMcZdnNkAFcwpLqHpA0qI8toqc4wE4yMC68tI8sXRuiDCb/6Jc7aTf3aaYRC4ejVjEUHDDIquapM/n1tbb0CqRaLNzOFM4cdbVYMHDfbpSONKtcrvgXDHs3px8O5vcdZWWUtiIAQyRoG+71CeuviAdOOYm5ksgz3MVYCI83wE8cl2e958IpIIY9TIelGLONF6AhtYnviOJ9zn/P64zMC0SQoMF1sX0uTi9IECpYmtKHyfygZWPdhl9WEe/nyEdHPCE9osJdtmyspY7iWTKIL8UozrRM9goIiDLWzJeIoNor8nbSOvC+kqaZWhfCNgNJEVzyTWC4DvtSyZqmPVEpmJWMJWBeSN3jZiKedgEG6skuhAmQrEd2jIiOYZwHJdVeYA1VmAcZ/qTyzaXmRh9qqGWK/T6G3Mvj93arzl4/VXcaRDIhoYTLI5Q9wvngAgiH0ZBfqneuhnJVTjiSbVW3qS3u45vKQ5KjxGDsVli6lieVxESpe5rcPDPfeQVv0OJOihPLnWKk9XOayzshlz3x6u7mByJglNOk3sLMWreX/+ycpWWibCIwJTneWMJCbTZhP+fsFo5p6kX1J931/8LxE4NSuBmo7eS00sG2aZh2MsImKmZnrebRfFI4JJOYrOKstYRZaWmADGU8ozduengSBjH4CD63K1bajr9l9V+Qyl8D1jVactjMDuaDqMlC8HdcPCcv2jFUBWhuMYxaCBl2gv5mwrQ0Jy4i4hY9ZnDxBhWREymjLVvZh9AR2nYTXldBMLJUtaASGLEEz/3Ms0o606yAW83xhJOR1xDHl6NYBBXQrXpC/kam5qQuZn5FrknBehp+MNGWnbk4ST6ACZVQCuvniw0vX/Tatzxkc8g6tGMC82MRkaHfpBmmqpal/0TNHy0R7WoC1IfGPTiLtsHtZ4SnLooXVmf21KBiJpDj+xqeLKWMXIqzoExPS2q5yygHiK/8nrxzyXrXQlL8XNypJg0HLk6R4gMIqhnX32TxxAhzPwYNBs4BkDLSVv2g2hKC3RsujX/5cZ4zUnjiQ/xEM08zsLgf9X7PStQvL5BEk8KUU7ncEHAvu5rc8eiRm56mFzu9MqERd4K1VUwfBw5XtLo9rX6pGH3R384EoWRZxVZ1pBd8Bz1wHX61+Jyd1pW5xmMNQir3y+H73+6CbN7NxUp3PUzXIYODR7GCQjqVJVWDVjAgaNMkSpjDt6WR2eKQnOxxMgj6LaQxaY6J4/3fn0SlvX3FBuPMjzOun8UuYt5zvFm49rBNz9WRxYyNvVNWvOkm/Go1eg6iDuqO1dh5EhmOyD8jQaNJjTgcR2iEK3b/Xhe3goxyatqg6mUc3OBriutOdOojvrZcq7+VlxlAqe7ejx51/KXkvXLRLop5Ugz7JZ+JyComzmHiXDPBwUr1OOOF0f382qRwqD/h7sXntrxqW6G0DqzQ9XTkdKp8V+HeBWvlLfghu5/b7hwz0kKLurEsvO1qtwWicKaHv1Bzfv4bGau1lt1RYJnueJJVCsebmT1kfUb4PFj7DhCbriHp/mzatLzKKDyJp9Y8LidCaeeddmPANGlYOeiK5VXXZHGQGyHFh/WbQPst27WjN1GpFtVSGWj4n8zyaLZVUABlkk0USj45LlHGqRLP3HF2MCIcU8xLRC84oeJv2gpKrYeHTavMY1GuXdGU3PMRr5dKHH9HAxuBNpArMeQ66gIZHueQrC2cD2iR4lIV+/pLxBDv8cKO7CBYXOit/1U5Ahjky1z/jahABo3upGETE6dGMPoA8YdgVTZ+F1rvV/GlhQ8P/oL1g3KdoBqXvSUVy+40SeXZNjcAGRV0eE78OczuQ3DTIgICyoBZVKJElhRhTCvCBpyiBIz9dbJ5+Gy4CVdZlItQtl5YbEmg6fUbLGcrOrZbJKxX9iKGv68Ym97o7m3H3yq4+rMopuj4q55yzfbGztBoREIPHi2jYPQLNJpRFs+EMeqpHr6N2m0LLJIRR+EhpiYQPrvLtkWVIPGlkEdqjfvXATdRuym6JfZ0/nbucWDS6WjZW9HLFHXBeOoEY/xT88vWFUi3lxJUe8yVDrH75IR9O4cCgppvt29DsiATy5iz71Lo2YtEPB99Gdi2jYNluGIXzfTBgUYJfWvUKq0AnYW1weivu96j8b3k55Rcn5XbGQk6Mw0nF/cfQphZgeHNcfk9kD7LWfBqbwbfuqU9cqegT/WOrXYhOYXgVORF5ZlzyNhnfVihPqxyHHw/qnaNd5oIG4x6TroRQx1d6wXAWjOKs9fTDTJZdE07Vmf7AYAh6Nhkcuo/wbgz8V/XDW8PXeh6+aw7VKiCe3Hf1d9lhaUI9GvrstD4yxu3m+Sjg8rAMN/BqWONgDPSC//9LvuGj2xIpYkCburuVZ1P6wVmDpbEXIB+3CZQsSOP3sEvOOxfrRf4oB/kd5hVcKabnSYFHYn+ZwxuNGcwxSw2teiTCITNdddgn0SFUo9QLhL7bXzcNshtMRgXYsXUIdBp6pJM0b47Fu+jhdmabarQx9xmNzr5HuYfc3Vt7SELKaZ7CHiN+AX5wlTh3Iu9obQedQ4zUhjSezib9W5nSjKJZaXTkZVPeQaA1/eqBcOtmyG+h07HJbfteGPjShBRAqX0yWo5ueo6iw0e6kUY3y6RqNTm1FeMm37s9aEvamfdXOESWgvq7im/Jxfrmw05kmiEya+oD8inon2pHonXCelg2I/fawcxUYPZKcQvR5+I3BHzZcY+jPvk2huxnJ+NLFeVBaqjRzMCWtNWNLq1lTcAvKsaLnpzWmaGe6IzVM8x6lkDKuwkeqf+cYDwLl3Y/fjt2symZaWZhowCcfjsCadhK3ffoDmLwO+UqJTGljnKRT3mtqegXlFKAANYwI2D8SP2rTj2/k83ZZuZDulrLRBeVUPtZovXTqoTjPIDYg7IXa+z30JzTsfue3pE6TxHjvpXuxPWVv4e4I3QTwhHRReMXG8gV11zVZhdr50qiqy02uXgotq/ystfTo1rkb2SV48n/wIH8LI1RXwKvq2jw29Wl8nUbm0vJwdfTwHchbXytmX/9VgC8NR2UADGNXFU065w0/4QUrbL8ge5/hpK93zFYfd3NXYxnBAjTZnutDZ2f303BWeU6P/GKK0yD9UPuIzWdghplHk1X94fJ8M5ugz7rUkkKlZYQU1XracvrftaUkhy59FeiwRIuoseYewadQQZIlcbVG9zrs5YRtzhjYl4mI+kN+dTllbyu5Cza141NMov8vuqZQ3CBuidma9tFqxs7oI1lQIL7nRkUf61IhPNfuZy+eCDGDgZh4bI6ACERsC4vxh5R36kQl2/c2SpqIymPjY4tSjydT3FmoO4myIRcndSddEETU8ZGs31QqiJCYmjTH20QAMK6bPHVRQ4knWAnIQ/uFtW2KhWGLVPFgJ4qz8cS8I8Z4+R58J5d8x34Ggg9QY5PYR8yEc2YQHXb3aYqwz9GOla+7asKWpRI3d/op3QO2YY5wsS/SFvhFiYGMcm+itn3Ilhp3i3V4r0lMo5SqDBZJYSZSj00QMpiVkHvYTq0lZvjEKTj6dW3YkIb91anbSDdsU6+uOmNOCPLdsbk3TmQvfPvYs7CGOhtEyzGAAsbRxHCoqmeLHzkucSuZIQwsxG9o4/8pzdsJiSlD8m9suel1ONZHuO3YPyR+ySMalLOlydsale4z3lzZeztvlHAbWHKC8GK3GcFRpQ5kMtZZ/sV7CR4OdEe8CZ3rbcgqG7TKqvBSA88ibW/lBjLHzLpZzDOOBZiYneMh0DBt3sUjZNq+Ihra0XoXnz11ua3WKYLHR9mm/YmgfLKWk2iaLmHtPDsopla6STQDUmgQYQKuWlILv2cck2bjhiOIc6/ifppzmCnPue0D7gXy2a9mvxwEPyCuhXDOZpAV5Md1p/ep3r8GVFSmZCIcH0LVcCxz5cd+DDuqcamRYWtW7kppW3lVOrygsI4tC7GBla0j4CSk1gQLMV46IP28zmII2YC0DcUFsbwQy46VmW4cgOcxPe5Maq2FIqOLRUnUD9vgG2hfEtIuD81J60S54uXS9iWv1sfDE50u3N68VnFb4Z2I9T6yZxoTm+gmcmBFifjBG/ZqXKtsLZ0botexrp5n5rnYIhnMMtUQEQ54aslrNlKcWvtjAYlrKnCK2pVyo89URh1w2I2eJO9kiUaDVHbMxVc5Ku504wj97+THt55BrHjLCsZQX4UVJaiSxiYU090jjcL+wxNK36YQ3jHRLmq66WYWNcmSL4NrjDfucrSXafrKnmpCKbGK4R/N5f+fDtuuEbG32YMcr1ehI8anLp2YIkBQJqWct0JnLpW6eqHfg/Pytkiw0FOonvBNnPiVfDV9WB+oFRKJkY+iq6v8H1jYEmyJ4dqHvjSXb02AheqInw8XEraxTYFSnrY0aD6SDKEmDE960ZFcRB/3rx4SAedDr+79UBDoECoed9wTrPZea9IK9dBIQ+8YBgXs7Pr3jQc5NwtHsH/cZTtIyBrTfFkragoZ2JoyS+LSKVtqg1Lx6TGImpqFstkx21SMPhUEm53LjPwIjkCUVu2JfUVQfoHu8bO0FXwq8Jxt715AsvT94WM5AVjd9SjkosYxdolFQgNLQSmPQYdJpXopu9uj1vgbt8cT8VF6V44xxsFyXO9xnw4v4+2vzhVYHkv4LUa437e6qMlGBrA+jkiC9ii6QkzrSLQtpMtWzbF19e/z94WQ2msrl+ILN7ShPniCCagX6qzR4YeWL08S/u90QlwRT1nwd+iWm2Z+c1NYvZWnCO2s/53x/iObWr6kIn4ydRFZ8itMpXoTAuaC1szKOlL7AXnOz301yREkIH9dyqv7m6+MH2sCRWU2qiEVF2Y1R9HmBcjgeOzpetLnC5+ElInaLVtX5qb5CxVkflbCH0E+6MiT1bXnGURY/EbzIw8zxyWo7Dx0QQ6+VKQcHxFRiVd1IcJAMYaUBKjyKJ28ysMw70PpRLaxLPaP2hNA6OaslbR1AGYINVGDWgCMOGDi/eOwqCgb6v1zBm+FjYlBRkVvtrLxud4fn3e9yI+cuBF2w4GZJ7xG1AHAUCruIIwaMHe5hFhDLXjlTfy2undWv7hyiY18ZO+Wy9wbsJhyfqvNN2nHX0GckwZ9OMgmxP9f/V5fTI/GfBby14wflO86mNstTDJexC3j2KYJQG4yw/Apymy/WX+/rMEiqRhsZGEvlmn05z2s/Z2szpD6NyTBIcftGWKdcNjZ5G7gGR45DHK6/yN2MBhcNPBc/ol/95Q5N5Io6jVmEYC8j0iQhgp8wHj/8EcDnpXWxUOmRN+djPvqC6gvbRjj5b8cetimRQe8D+cp9fC5anrxqzCPYHUKZtExiCgZoIk3CbICxQ0fTMDsje+3teN1XjUfZ+h9D6WHSP4LESHy71WHit/Ikx0aIUR/j+CHMB7lAD7ocQitM91R/DcQCRlSivS3qTUXaqpu4iRtTgSYJwiP3Qzit3yt0IrqBHQxgkLqsuYQshXDsCmehd17TwqJA2qdwQnTZw4wXveE3lj4RgYg4tlzLlYQjmYAnDKbbcOH3Ta6Xe1Zo3U9+7mjTAJrG91fvm7xz4dPShIt4UobZk9UHdHzptuKFH5PXmGjMOp86b9kQkfCIALk+awKi/Rc+2MRv496kUqbDJHFsBl23NL1r3Bw4Ee+aLhCO2y8gtRcAoby5Ox9y6slVbSvLOOdelgaS806NuLMHi55Hap7jwRyBSPcwpy2iHJdzrngRE7nTXzcMzho9QOgIrqRnZtIn25Y+kaJ4RLW0CFS1yKlx6QpN8C1UOV3SIWXZsXa4qgKhkani7ceUk7fCmUbrOqVwcd1OG0o85lnrOJh07mnaMOKecgmMFLlZgCVMlneUO9Cn/oMkN7m/nxNSrjgUNuROGJbnnhTtEXu5zLTAsQUNWKKJmHdV5h6JIi6RDSkVhyDZ9mxYEflvqnbDhijtsNxRVeSyDcEmh84QKbxZRot4Ilo2nfUroGHR9ncnhtM8tl5hYdGzf9nuv7njbj12zU6mFZy8Eaib1XXS/MBKzfVPFHwj8PQDG9eCDSURHaCs122CvP/XFWidEyiJekmaGqEghvg2eDmLT6HPD6npAbf4yLIUpnhBOhlJr/DunyjrIhMqRlssXAX6tc9V7V1XzS9QIndzFMwRTez0ymMyTnliGs8RABZog9nA9H3cqFb7s3ZOTNk/9gfGSs4PHE7+ZWoANGhbtv0l8265XtQcu4lHfkOP3MJRSkT1hkVCO61AWU5GCpr4Vj0usJwdN0D5NsxY5In6xhZhpfcVCD8+5X5tA1c1jlM9auqH88HsYwrhvua9RszaQd7Tn8y9qKY2no5Nmolf5MIB+AkciiJeNYjmCYF/TIlrBQVTtB6Bx+sAWFLcIVRLeW844lhPX3f+Dyu2iM12gSE6nlpmF5dSzUBgxSqCDsV52gUP0wrpU2UcuDG1Fc5iDEOBfqOcki8NYlEt+fILROq8KJEiUYJWdqzd5ZhHYU5E8LiZlYKqeHbLY6GItJ3PX/Q3P/vDxkaIv+KvQPwc80sy1gfhs0KJWT0bgVI3eoF9nTa9PzPSQ6JJfXm3A2yvsZw7Yql7WcQe84tPa/uAQdWl91TJGzjMuOQZmQbAhj0vbtn3Vdz6voiCerf7FxuoZoG8cQ0NZKkH+BiUFOf1P7cSsinuzXo+4HEEnaC4hKO2c9ua3nbON8NinGJiv6iky2E6SAmRn/H7F1EjElrRgD1o5QBZUidlPxuT4WZlyGDZGUYBNtBMVf86B9uA0JFXoDcTTu7eVG92moCdmtw5qJ4zki3sBZU3fQ1NiN20/gx4646lYPsn8f+JUgaQ54hS3FWKdO1db2fipoGQsgch+D75bOS1VRux/fpSj+Tf04TJtapW4vGnhLvwQFxBqYdZo7HpptCoFZQRBYhjQ2ih8wAwQK1nQUrGNLOECULT4AtpaHwDOB9q4jZLmN6XfM3N8+8o+sl50Wv6tznEoYZ6wjCpe6aMgNOOFejgsjcfvndWCsrG74dslOAmYN90M/ryfXVvDG20kpIJqz8L8gbKSLvp1JBgqS1KXteoCg3YpTI1ZU4AXS2luZHi9GtKENjsitsDT6irEQr4BvDW6m4LqLAlSOVMwAHwqcyHpfIAarca7pVWGCyXKHHgq3wyhXYyk1fQzJSXzj93swla97iUBsxFAMxBvhrYuM6kl+oeslaali+OXXOTsKAgZ4zfbMitUcfOnM5POQgngsRDlBzZRaRV5Fs72guyWhfY7LpbyBH3h0ygg5Sp4SOtGsanXPp8/zU61lyUabAhLYHvwCu3giZozPSEZQ32A43CFiq4VAqmfmSERZ+LCK1RU2m8qQwdRGGtTgZAv5+W3yn8CS//bR77ye/D4CQAKoknHYt52cu9r9Tes3ktaXudQMxo2mPrc/hDmaHjZGCQcZpcd0xBT8ZNJlg95pgyhkut+lVv892fG7vQ73QEhNM9Pp4+t8DaIhMenBf+FZ0utqCihaEwUxaaecAoGUbp/0IRJEsEC6XF8MCrcf2k74OWvrWyYW91kcW+v2+JJlHt0Ohi8WlbfNuSM7xBjpdGICd9W2Mg0xhLmbg6sZfqlvU1UbXypI3oh1J5xhNbqxs38umHpHHLgmQv1aWK9sdl/dvuXHCj47fBZQiXPrZMUUKD3lCXhfBLZbVsFP3LTb0dMDzUCoYJI5VUZWN0TAeKMgmYUcFUz73TeZSQPHr0toRy9nOdT17yxw/s2myppBWBXIUtxJB6f28d8S3VfVMcv0MBCzgJ4lrnmmsF5URiLFK8m5qR0TZENwkNYqJmeqcTXGBFIULqYvhMvUPjt76DD0kEF/7duxx9BFcoCP0psfI5/i8pq3i4J4PZ9dyb0gSnZ/4eRIlVo4pkeZ6H7BPjaVtaPEJaONbinnDS2u6AaksY4nHHtOObZk8JMpLcLlh/4jnpDVyrCmL3fK/brloPVcknCq3A0O8KZ0jB6Q0qJEZgFRn1yIM16mrx59kHtM/CqFkgPtdcFRj8A5QKoCZ1NwaqQ4QNGSnIz/3xvyOFbizlKP+U2J7kr7Qj5Qkdn9dThX9/p8CqOYFb+HneRun7bg24ghPiCZ0Ygw+1/72A7iuc0oCvTCoDlRLH4fM3qfuzyZmi9S3Zezddql2eo3AKTjQABorZqOnsy8zXvk2P/ZxBGcz7cLC47ljsKLqH793DbtwGnS4NrBLEfGU82FgDcJAnCsI8I5d5nar+7WW68dCzJnv722G4fj0sfgDTzSaRA7ow3VWY9oKee5lU3lCCmzkN0IaGLnQfV/rNY8n+qSTlQ6HfRND+UMbmNRJKSir2/7R1Fjn0/tPPUgNXrEVMz2HLMRlc9Hty+IyLXssgdwBOhZTMDI/h2sl8sKzGfmFo4b4Q7IWEQr+MBsAiJpcmApVbj5XRmnOHoQ9ex2pQz70qTdAhKCrgL7zHPeqJclpa3v9ARM3GxsgYqdGgUK1aJj0BW8nVY8GjWl3+hj0ALjNlAtllCmYpCtbDroOk35W6PxgkCVyz8QhVmwXZQSgqb51pfNC6iM8L7YsbCTMLIqjQmGe7dFkz+I4W4IytxdQDnQlautMQoxejud9YZQ683UlS16RtQQaodd4qKv/geGjrYjf/F4+5Baca3upl9BGiNEo+/SQf9vdHNy6DHqEoUou0qtowjgR+v73oFLT1OIwa1VcjRaHoeorev8OadWzzhgB2noyp126KYnVZZu/qF9cSKk3ELOulV7mWeNB6APTfu20qyK2ytpVhoiu8ZFqBCqivRPzYb84+K+nor414npYThgsTwmGn+5u88SCctF+yJtiMJFqX9n1klar6On997XDLeNOMlngW58kfmfyO1k/ykRlqOWn+K0ldnXHubWOf6p2azXHD4pVVlrNoq09QOVChByHl1O6v5YYKvNn2rW9niRW/0ciEG9XD/RsHTEKsLBkkkVYt8l7asOTpQtqtaS53GFB1AO8l5LqBXzT1KpihCQto84J/c6j7ttUAAi63bpfQmrs6p0VeplGG3+5MeJ+AZx+f0es6kx1xehQRy+Wb5dF5OfD0s7/MFaHAvMCgYm2mmEdJtwnm5Vx6wG/L+Be71faNFMCYlJuKOzpm7KByF0rVTQoerLrIi4BGYkabVoCcpndbHDrTZ4+ewdQpPorqnd6dx6VDcVS6iggsKl4s9KYsAaGRU07XAgqIvDb8iy5rybMyr5oGCDdAPUi4+lTT9ZZhNe3HY5H97xuXQBxiiljk5o72deI6TzZEnS9T0YenaJqliJRPtyX/RTdGnIJwWneu6NXQreVT5KReGf3Twug2SDXDB5h7G4TptuO5OB5Zj5ZBu2MkRmUTTOMdPJb2xbwrC/9NjDudQhSoreopVoaaWJDgwQ+2Ib2VNjfEjp2FpOc9p2Xgb9ghcppbRgrCX7rgKU7LUdeZbxAYWXNQxejhMYzFK/0jw6ghP1ro4JUtpbe85IScqBNxOB4opnXx/EJps2774rglGeGLA+nMfTD6vzNKZqyy1+kv2togo2/dnCSsDzZsMCgUzwoPQerXlUNEYx1KL2voV5LCBZigjmL8g3/n2vdZU3KHqmE9w1yX45v2z1H0EB9PsdWWhCpF0rhooAeAoSh95kcQLr7IJxcEZBNxW9BBooQgHURbgsr6L11/gHa9hjGhKNB4jWll5M2gHHYXkXbrA4YFW+AjhFMz15UQX5GoR2OPhpV9uanXmhaqG5H6DA3+xcfciGfTKSy/bSmgKkuycIZBHbicz0JtA8udo5Cf3lR248PSBn6T1IxegQtZVDkUDo/H0gdqpPJ/wOOoxdQiezgbDoNNWODbZo7iUMYLvdIUhIBCl1GznNp5Jsqni44jLtjZwPty6NbCf002AmqCDvJgkNfmdPTQ8xuliRlR9wwpAuydEJXmO0OFogYxW7NBd9jZyKf8/W71dqgA9t4gnHUVNHFhcadiJPsSQ4C8jhbf5OQJ7g0lwPVkrcsK5wCCqjtIC3UpZw40CPQEhaY9Biquj5rjmiSUuqXqBYkTVh3k+Ps1qFU3B5ADG+MIqRhAN1Q24ngJg+y5gYicZx0GUgnrcHMLBY8aHngG/Ed9qwaw421roj8BUQiGlsJ/EM7MIL5EjK2UfWLkmb97c9CgdSm7HGMJlj6bhYqyAr6RuZXc4A+oVjjKAJEf5PQU4bJhl0T8HcFatQ5j9qqeiI+VerbIC3fFfkYxntgKV3hfr5lFXRvTkxh+nFQG2N51QZmNoeCL3pcwW1gI5EWc9DuKcjWCbO7X8GgrzKrUBGnzhbEb4a07Xtit0yl61RvfhmMmM15F1CYcuCC2jpVM76vHqtnBdJV5FV7LRqgxqGH8Z0YZ69juzmiHNFz3XXHOJtf/ghxOrfgVs/YtlQSH5lHus0soBKRa3HTEWXYH6COAUDxYJn4RVZV/a2lUKKshpEbhnMvA/AfvlfJE+gnzkvlI4nIvlZZrt6g8LUyn23XVkbriitlfK7FjuAsNOzU+RGJ7WzjsrlgC0cHshQ03TxeXt7ZuNN6hdih6ZxJd+iPCyK+Ty86zffpCmuerC387uYqgJiMPY0J7ky+XKUEprtORj07soi9VaqGsb+1hWhcVN9LmeUqe+5xL5/h0qSGy6IgDG9zQ0G6KUxtxyPVUN2axtZ29E/Bue6OsIRnT2wjrWsJFHWMTCP71UBb2819LLB/PBgyCI4LQIW9WoM0rsIvMFwBmbsmmJF6A/KZfEm0bhYftWQKMCOaCdfsVn9QL81fB910OhPSo9ZvrfmKVzLBJOmQix3XRoNhbm5rrmYjEtMeUK08zJPVnAwXCMt64qQfKV033FtQSIergsSWpHOX06y+tzd7Gp3Rr4sUd7Y2OHtTAI0hqp1FJzBTR3iR4ts+xoghUCAQ75FtCYxaarHFgxa5YUHtEUGnDzEQzH5WhccTMMDE8eeHGEkcxd9dmOFk0EJTX13d/XuhqJ59MUtLcnWVLtAo2jVMIvitZozD1RhUpa4EqAIe8PEeGnw823NFI/TmO8T83lpLJ9yaxIaDykI7vPLEQX54I0BFVdQ3VBixQrMlFfZWwV5hKwNvNhQtPn/EGCYR+DjhLamnvrQGtB8Zndy2pniT6KdtswqGTG+PcJrhGRFY6XHL4iynlAFG+RTEX6yTysXVOtKnXrgQLTwjU5l4csWjKhQSDwH4ctY7prQ5ILepVeeb4spmZSvHDXanbCSEX9G4Ss0jWhs1UdSEr8whe+ldu95TQCgHZhO7K/i5hhxPLcwE1SVA6jf3Rfurjsru4UOG2XKM2iZXAJgzcYBt82G3T21uZuqJN9jbxplvr+qpc+XHatrCpqmT2xxxgrxWAPDeHZsv6HHsYp0ZVn1dUJHZby5w4WsXche96LJJY6mNYytFQQNCAmcqP5+9yW61/1V3iZr4pyYZyrSoW4KVdMOLlDq6ElqVs10FR8pB4IToztBVjjUQTupqz1WFnxs9eeqeX0gkhvopnWuD02OehLZBNYGyzCAbxW0GQsNv1qF0Z4Mcqhh+BCJrUCBa882KKsjdaVQYU3a5D1DG+Vkar44dGoSwLt4WwLdpk2U/BUq/vjxEO25kHJQD1XjirvHmkVG5uMuB+OdX48X8PIZEOeDuxzbjZkkjo0FreHLP67FzoYpp3bQ/p3LM9nwyrG3cvaEgtT2hin1QnL3AHjx2yZCeoCTm1tjT6FcAkyRCu4qRtAoU2lFttuBarQ12a+1gVNgY08HscDLy1EN40uEEFZBB18S0sm8WNN49v7oV4BJRAIQdMupAduqtJvKYds2f/SrK0W8Sv/RaoNiSVl4PW41+VSHgwhocJt6ulR/XnlhtbWdHDNr4HJEXjE6Js6EX1YHTlf1y6x45qmjIK3pitJ+ngMcgUMn3vta3RghDLmhLZI+O+HEV3jFG7V3OG+SiF/5z17mpuZ7PwljlNnrOBQLOZ+ulZPULSPkVKqkzYkRjrab8X5cbdLYEtrnayJRhHlQbRN9uARkFIlGoz6ICp4dsvhmtDv0td3C4lynbOk1sfTLD4gs+X4HChv+pxWR5PZ+BrMFIrADXkN9EvCpzp1ChLziEP/fb82iZXUSCYOogUIr9UGs3p2NTHhb0mVQNYbuzq09cLIn0mVRMOtINvp52Oy1ztLIbItYvM54Kse24fIu39VgNRW966vsFs71ZaF/kTYSfmjTsTVmbHaPa9ZSTrTChTOk9Hx50XKxFV2exEZmruPB1KRe3DWimLrBpsY864is//NV0++SspfNYrSJ7+0BM92LlJS3tW0xyjtnq7wQ32UMLvKNQIgqvX60Sv5CENu1FktQ+zdKcYb7d/SyUr0qsMNKi3iWzzrlTaNFIfa8DV1+cneql64NzR2FjXRir6dmQtHevqSpTP6ye27Le06DCo0QmVCFgRHsCoRfOzVPrQ7TQ6J6qUqL4V7Scic/r24JQY0WDFNvbzO+zFBOeyAxFGNk/WgoW0+3KiUCbeZqGOlGtftJCQaH1uw8OcnRnwyoKhukpEiVAkUqIgzGVjWLiJD114tbs/ZWAsZcShw5neSLQwxMtOXUBw1m10TG70iz6Ca0sNEG1DGWfyOQ/ynczIJ+iVAFM8aYn2P5Lz2P/9IBkrm2cDm+/6wXQq1U8k3uTl4UGoS9qA4wSLdrrQn6xRGxx0G/F5WqSrgm2j0mcN7HS31VLkn+dVrgq26ezEdqBe64HAbxYXST6teCF4vcuMU3F9slzqB1ParD0wiKrzbzmkoET432spJAS/toqoKxG6+ExlzABI5RJ1aX5beIGkF0g7zicneDcIVCsc6PcQXYNruYMOnoJivda6JPJOuPprC6TTYdRFfp4+OBkWA58ks6uqIFaunMiDFIuyskJ1AlUb0Fj0b2qqHtPZagT0IKTvdp/Hn8dNEuhdn4ggf936niSHfREPNHzP7sU8AsG6s5+2PqpdN96IP6LUNvCq8mlZ63lOgwM+uPThM+sIhD447hQQcY+vBDM0yym8MS29o/Ry1TmaIAyAFB7QS4m5SoBs5HYuhEXgVuHMywdmLT4/1uhBgGoun/fHjK1SL6f2hlU52wnixZFtR+CP0HHgmtII0An6pGy4Xr4qBZqju7IAjGJIfQKZU0YB34KdnzmYfQMVfguReTQjxnV16fcgwWJYEj/hJMOkBjAucOdWcH0+fvUO+JhJWT8JTtUexceWRNvgP6cpExsakmi0xQa/o7OEbuVpWA26yfCDYG4D+yhrj/Uic2LbcZ0dyW8MVqFzH2KV45bn1gbdO/c5WxXk9KiyIjrJfW4E+BtKTGu4Gai4dWIqZ1Px/Ia9uQxeC0N0OeAOW6icxR+UclQNr5gNfGE1Ij0hlhgI01CMxvtFaB+VcFu1c3ffVWYA+QHKzhc1vmX90IiM1tObPC1inmCJbHhRXYuYatKBpcxUg9t0E7twGKXowdbK9qaJT53yNfp7DXsD3+V8hZveUrpDBLqlYmXmX907v8nthtYkNmoF2oPYF0ZSbF5KCfiepa3S7yFio+loJjKrN7jBb7XLKHifImecGQuJg14zSSjH3NJD7xur16FYBJHTeTQwMx6EbBpykb8p8f02pOilbGug0SFtVdRYPlvOzzpQPGde+ZSp12mQ+2vsjtERQCXD9HxgOwOS9+YN4wBXJIk5mWYo+Uv8SjplUnvdz22SfTLYFD2DZAvMrbXYv/ioJiJREE25xov1g/NT7sqD4laIayMmHC/lyf3bR4U+PvjkaSbfBITZ88UAsDynkTndPydeIf/UkRUNNYg3vHLdA86b3ZmRSE9fWNYB5wJ0HZUp+pWWmX+Y8vo3Hg9gHwz9iW6mLF7UvmsINUIrwVLh6/uqdrzI18BuZmlSr6WglX6oj3jizWIpChN0EgJqJEcaL6eSt3LCehYk+wq6w0IljJK78o+hi4HvFr5KI4UjuUQqaz7qdBVWE6AfuXPaD8o6PL9Cm5MDUhL2v4wPcBJJ6osilbfNpmzbqk77g0Nk8hfiyHY3WHcEB7umh7xki3wkVy2NiBxw7gsU+H4wAo5mFBoEafBFw5J7ztyfAvIRmLolIidxSgrjo7cpSXjATvCUsZPXGXiTsG5sjUIeXNsbRGBi5DIsZ8kn90LrR7uhCfKa0dcFO3p2cieuF2n0OEl8cnc3UDW07KWDLd0S4bsc0OPhdcDN68SA7d58edYtNeHYnkd158+cGe6+Izhx9qhDRoA0Stg5g/H2F7p3QMBlPRbjNNKKrhEOFnnv1PimMW/n/92u7D4VBtJ28ZSrxtM2343L+ad61BKetwSLQzUNz3HycdF5/EXIu3jAVeB/X3b4qGWGgBYWk0foZK8bMTcLZGgnekKwPr4I/1E3tj1bHDn8Ir8jah5IIHly2v9mQTIZ2rINY/vuqoMP8SD/3eet4UyAPOiTY6YAiucfm0Sa0mk5l+LXEUSKrje+v5RUnfBA3Z89HvYcFTyXHqIMsTmNbqQKVg4NazU5Tr6jLEVB+88s1ie8KY1Tt06y0cI7WX5o1hGh6orVrlQpA2uvjOliv9u1ONDbqS5X9fOv0TFxNDa5n6+a6C9min0sIPe81XmzaHSl8Onv0LmEJLkuva/qONOSJ5uTR0Pm3o/6dsmgnT9oa8wLBmRlMEN9hYbdWdO2VspSFfLlpoP0lfWpCuJYByR5OyYvMClZu63Gwy7PnCsPj9WuvAtZT6SAeadinF8qfGk3gQ5tdOvsOkgdQhydqvG8ML41m/cwJ35L7WTiWssXyVNj+RDjKvMes9SULj15Ym58GBrTyJPlix7Dlb7AJ8wJP/dWcm8jOBdUp/CPrSjTdtwaIxR2IW0bxoGRLWPQQaKPOrJhqlphOkcwnKGDGzXBlyFiPZP1wSEDSrp/ZKImtS6uYs/nUw/D1umn+KfMe4qvHvSjzil/Kf87aWBlnL+HUm0dmY+du24HbXlNnwLKqnDnqwN+uUoOBqI9aEPsVQdrfufZDIUY4RJ+ETpsu13Px/uxiGUbWQ81W6/hCKCYMw/uMxSn3IucibkH2lKx/3JolmK8gyu9FqRq7oWyflb9IzQbz6Xag3hhgqmAGwmf47nXj0LyEa8o6FhJXq8k2H/6+Lk7tt/yx0PeUQXA+5BIxWiWGyojvAmrTlAUzsJuyKyCkJD2AMgUr0aSA3EYUioRI7iWRC79/MMz/kfQhckAmGoIQ/iz/lxDH+GgdXxvWX8CUPEBkko7OVWVw8ytkUTgXhZSzzwuqjXijjdHzY7TbpELoTzSfROednNdBIDud3AvJT6URTUbRgmx4GDqPZR8X+9ZZ5NZDf8clerj03auvmOkPfYbrOjyByQkDkFHpFrsE47hHsxsqPGChTnWVQdrc8+u2UFTtVCTnBslzdUV6nLf5LDwO2RwXhWojYLPfuPP3CY9zg7PAXB8HgPXzFQq2oXeiOd8jLGLx5Ej8efCW+djBs7BMhBF8aayFF2eLxDMy8g8KAfnx0+1KMNvNXub+ybWwbO+3AO1BktIThRXcj4ppfVm/EPZZoEu+2sA6KqPx0AD0kANAolXBUIcbJB5w0NY0g2BshixU7E5v1NJshsZ6pysLd0c8rkh2NCjk8g87QCZMa9x7Z8+Q+c0EHhl4lAOAb1j2IkXkWMNm7MG2e5vlj/6o8Hfj8+L2o6j6KHQYIqq2C95TfYnWIFKjpquE95wdcsMoQI0NWhpLI31aUk5gcGdXWGet6KZ5pIabvj51T0PgY0M0Ym/IGrJ1Y9HOqHg2CeG6T9i0rYgo0BHVbDdBe3p6bTCRemGVMQPy9akxvBefKmdvQ3gRm347oG76s2EWAcqUol8ojHKN7gW+kQnPgzhj+q/09xVwEePJa8GUEqFUcfVbO2rWVq+pbM4TAcnQOOenuRBLp39diFcQp6rEXn7lwZqciYLdnopms14h8v7MF8/odnW3x217DEgXG72/tN4P/tEuQje/pDqO34d6iWq7rDr1Mw7SGDxuFfbA4EavasmJVVhaGMAzM7F+lFoqA/4clOIcv1gx/Jbew9/hiMinfvubQguOlx5qRoZw1CpOjgCegN9yUaFLKbcC7kvMhbNlbB7nMFFi8RFE7bBfXIh/p5aFzNiJNi8UJrTpa5o8UePtYCdr4khVYToUXyyapd+Wf8YWczxivk7T5++HyvCx69XgbgqgnOqWp/PocXY+JjqnPyYJjFAxf4TFfOS5rWtTMLZFUb0+TV56U7+V6wMv1mO2UHcoTVwAT8YlfD1pYvr4Lzhk1192MMa3/wcYgNS0ZYkAqcKl49zwPulV2/sEtukSdmPq4ztLsQBQg4mtOP4rweNpYvY+dA2Gb/bdVPFeYsoOQCJ75lKfae12/s8eHbJUMRdgehdo2B1ggB5NoJlZ9nWq0m77yb9qVnqM+GNa/hsMg9Q4Vuw0jv12JbQnAe0POKzxBQ7dH9juYjAPN9FwDQXAVrgZpRiUEz/AegUT6GFkmAbghEXgniJdese/0D/ajY9XuuzL8nlew63+zGstHYOnwyfm7gIVBqu7dqHGc/6/V2kYP2aPbkdBbmV5HK3KRqyRK39zfbGgfXkTptYGkEW8l4bOXZqbxajlYVkzojc8lPskxzGcfS1YUU0drDnGepnD2j0eyEXrl3sNl53R6qMUYCAvbB0MBXzfyMr0wUWHXzRcolJnUP5FSi6D7kZhoUOD0l9wlvtUil8TGFHM00JbsziwIbTnulE+G2I+pz/kukcl0eN7imrowaMehWrCe0LeMKh4xepLcOCeGvgWb2f03amVPpFRzvzDNJXWDJ41HmCRA0fkJWuEMriBKb/Hy47Yq1qAgbcngsjRv5r6C7ElqQJHzgpCqtd2TWUaM1aqI0CyHhEutjSRaAYv3a1Xozu4NrAnoVg9ti79dCR00/OE61yVO9/+TI8V2GBpJpaTR+1Lu2wux69ABqu7u5374pX2aHEA66QIQpgtVEYQ9Yhma/oc3sQv0M+tCfVCb7xDTCj/XiM+/KTZ/YFkaNLGZyfl3pH4g2cOv31teOO5hBljPceAXpj6j6G7PTgM/a/4uVvJ/IXWSXWsr/B7zKNwg1QdD9D4PsepxO85YtwJfxcBtayo2oqdCfsjeIOyksmxMm3hEY5SIfym5BAUxsofgvcECjlrXhmnCxLdcSv+U57nvn0z7eZO3DbK2sc3soSCJ0nV9GWRZOrF28B2zzuK7hZ3Ec52OIGUw5qNalZezn7aBiOwf7aia0xO6rp/jLoqVGzCs5mFhKirrSHkTKZBcDyh4xeRWNlmaj7vRrDPy5swr8ksvc7zLryzawiS6ZxPREnU8Fd/EY3NrnECOUR1tlpcPGngI1LeVPOX7nBCP1NvHDAVxlcIyxoMjO1NiKHiyLAjYNH/KymCwU5D9UMtXua0rJukoaiSaz0rbQxhUIjHGBAS3cb9xQQ/qaBswtEbGb4jg9fiIZ3kRdvK2YdAeMig1tg0+sormoULrFABg8Ev1FWBjq1z1MZYdrx5gBfv03tiGH/Cv5NBQImg/tsIRo5swR6sJuuXMiH/sBBTumZw7OCGTJl5Tl/WdwgEQyS+ngnZMsFLBZUcEllhMRdxAcxuLpqU33KKJGKkXGOyGy9o2al3z/mhbifxZh2gDdY0ps7F68kPIdW6JRDsxxkwv+NSHq0A9KV8IHTqe7BDFBsJsTtIwNpwKfc2h/r+I48Wt6VmMxPE0I0UddHnanFY1wLaKpova+zF4O0Q+Qppi8rA3OwRYCqIcDYfK4RMnwk3cE+gPRa8HuOtj976Kb60WEjQoLU2kmTm9PwYkdHtRjXhzMc4xlm/fAZzbNw8fVlhf9bL7ekECRP4sbKES2FYerv97/c87op7qMjcMtmswvhfaKhdeuBg/ShFD6y2Sd2WYHwkIze9jKIwKlhqqGPE3/e/0xqATsMvWVNFyBQU3Ioa+qdKbKJ4CgGD9XLPaJFxQcRD/IQLbA+UUfpz3zl1+vO0VV33hUAuCZXz2Z8dAoqFDHQkT6ZHryN0+hi2IVi/IlXzrnLtxc5En5kLY5bBYsceDcXThUr+NcRJ3CkcoFJpAVMXzdrulcwxhVxLCrmG1YsI3W9RVgacRUri5vTbSVPk//7SteBYXzz/ur8wzO5Nmuk0GOMUb7byNRSdqd9uV73VUln8B+A6a1ZE/HQdrI2lN+uwc2v6h6/ZTZtyMX+HasngQfDMXQLBQFOf3GyXmGWNr0oXNHyTotNQs+sb6nzmdAk+TtJbBqeEyoyfGPA4TLf5KDMficw46nni4EO0qoWu3jr2lZV684EqkDgNaW5AIsWsFUdsvTkeElzAEk0XVueLok0GHFa9G+vIWHqlBLI5QPwgjT6lHG4cpjzlzz3pRICHng7nZoggZUL1rtBReRslkVTb6wY+xRfdI9lmg/K1jvkC8FfbTO83OCVcfVuFlhkrVc6M8Y/AKJFmB0aFYJReOPU2Af7ZLKvoNzWm7mnAQZdKxz4CctKRd013XiS8DiCxTgOkF5balDRG+e4bvTPAGf46Rc6jZoHz16Wsn8ungwkEqdpwxHbct6sJDlAoVxOcZp1sGZsZ79SD4wqZbU6ABphPoP++KWzpbczUjKpOPTwVsA7CM9yIdRvqokaegdxID64IbmNd0ZyagGNJ9mLJT4QrPce1Wsp5ZYJsbuGNArxFK3JH7io0Ld3y/IHghgq+hDRSjRzLTTArCdb1cReorMx6N+HZbaeNX01+YfjvU4IV5VZ+tv2m6+9K1DlWvEncGyrCdsosooYHPO+G15SXOhPBXwjWkNaFEvLC7R5KK3lvifne1M54/r54hBksDyQxeEuaOHRKGGt+BLjXxj1E6fuKU8cr6a/9yGAKIgogbJhcKmu/b6tj8ZEDSbegrYgR9uwqGnCM5ckgQwJDEdOIXqpJi2sRqvkEstgietTotkkWASerd4MoWeLz19AzqOwaWDvQVd4+iGIlIzM7SZRxjoBToy5gQPctUQvyHiIqPW/bI+V5NBbrwRLwxs4UGNiv7DYFRb39DBnMzF0BZWxEMIGvwfuBNO7LeNnQMFvb89zg/vHxz4zPF6/BL4GZu5RZWjBrtIziQl9s+RqS6lIEUu1YDc7XbAiPL7JI0XBwbrAbxTVKjbuBXnjxp++MAnzuVmsOFluGKVpU5NiQAK2pGu78mdjWWA5Gmrn1G3PGg//B6j8Na4O8FYMiXmcFESjkz3qmAAdfhFcGwlKNEOiyr/2gjgc427AVsCjdzkyd8SwQubEMcfIGzw3eh2zzNGUL9O6adXE2zobrdXAitEgUtelBraFmHMfzwROKfjO09UcTplRX9d3hEVr3RFSI+MXf8DL5DzVQTfB3mXjESil9l4eCa1UGALiE+NoNoVIeMJCBGrfBn/M+CalUQMzr/EbdafC+tEl3eTF8qWxlug1UaoSzvgx59JcTQdGJHzdtyN25SS9k/gRuQJANE5eCS0vCL1L5f+SaN1g1b5upYwE+Gn5epwuoFESKDelgg/4++6jgO5pmjdyBLN6OD7UyrCpU4ERlh285Biqrt/DWRVHt4/00A7bUxeHUtLfOgkKZ5QpeNnmVxeZGqQchu/S5ZXls2U6R9zg4rgDvDHz9rcS670+xAy5ILuzBeqxUhi/F0+17gUEEGDijUM6LfUJkNpEnoIbSUI45GuKnTvB0/WrJYSs2j1U1+ySKvLYt+VzOBEMqnJJmqAVuMwPVkY/+nxJMTdZ/Spf/3UlD8x3pZVBwF/h5Ho+V98l5CY5cJJeWF8YD4bMQW1pEJjrIejef80Z7U0tPwhZlUBjxdnQ1Y8WSh0ADbqp+ZdgHM03djjnSd2tluK2cRTFN5eHfaOyHZN2WvF/A47MbbhCLz27GaUWR5X3UQYdFz/EJup3PwzyUqGyHnWy3mf+Ijo6Y5mRYswdoyHZbsZzJ1MkwV3AG19beMU5MVJDtKex1SaWms4TEjCUqDvT4vVGaWReqP3pt8C2vinWxyN8mlhkEUeuY7A7NED8zoGud5xlS1lywGu5gq1F97voUWIBhAvbQcMNIvdxbBlo7WoOjDF/vCZ5WdL6gefMU1lzjnxbo66EXAJKLU+tfu+NBvsFualMiygaauURazsPLfl8K7vxOirocUGUBqyzHeRg5H4k9rKcYpq4eKTxpEkgPZEjF3aB2+rcr1VkTImMSPgnExSaqmxRgBjk+0oQ20RiFXIPPKsX30ZaYpm6fQ2qdMZEIsWtlPx+DUR0+E42SrGCupIG2n8E7A/3ElFmc5YgUX8nTF0hASbRvXBYQp+f5ul5PmKpUtOTySbvBU1edK293LJS0CC1rBE/RFnJ2WqSIq4uNIyySqxOVX7HWLmz88L+LDYmqoRdz6IXNYH7putPN1R7VOUVij1kujwlCZ7aHhSbe0OgU2RvODjqwyEWG6La6f/4uDI3BPoZrHTd4g6JAayADYUg6G07wFcw2Q6ftmo85PIx6sguXd5JPb4PuSK0WX2T6GyP5B2DiHRG9nK6bkuGJE5O284uT90RvubzW8BuVqUmfOTCI9ty3ZA79+Iowa7vmJH9NFFhG8kDp1xjGdhXZN8JI8EahCWjDYRxpvjnkLD8OCvpR5pwBBYFjbwQHSAMd56BZcSi1um2lUjjoON6e62F54p+/9vfUTvzTCB6inHb4p0BBiYTHqxiJH4XI5Lz9liJJI6/TBRV6fmztlXAkIdNcyMO0TjREiLUdAGgzmKPtxASfvwonS6wscgM6hdMfDhVMhPopF2R4tbQQg11pOUaKKtSXqXUCYZj/b1HL83uzkTea80HATQEg9T8HDiLgPcj8N9lOHthterqQi70C9ErTZiixznMELfZbLqOehb8Z6WCeIUSMLovY0xtX7RqaMnX35Wop6kAwMpldMqQBK3R0IS1Xn/XX2FhyPCq4yvtAdgyC+YveVXFHT9SmWVLBYCscJQDRTjovWW+up2XvlkmgHTXp1lyX6pZI9zQ/POdB9hgFvOrStSRMiDcciQ+aNkU6SERJQcGB2PiY/4uXJLAsCsK+Fz+oOUyoJv21n3mW83at2Bbiwpv7m0/4zsdlgiF5V8zU47CHQkqiqbKSQqtRCjUjkIZJnnSdtFKoD8y2V0d0VXiDkqVy8mYpJwSsaj4KZ+4ivrRuCZWdenX7bNJJkoK9aop9Qh9oMFNS5dJbOSBgiZZ5IiRC77bJY2dUTdzB7Nhg4sraft4rfeFvA2KX8CNSdll/+3EhguY0CuhSZ/95PaOkcmhHiGfvp2w1ku/Qxc+mu9dXq5RoYIvUNoSugV/ib2v7TNKlgRow16Uyg8qF7QKIEBhjtwa9paSSOg+5ZpFqbari/DFYaFHPDKwcSkmqjTDXMYpzLWNSzT361BjhP/592NOu13OCtLHozb7ojwH2aSmTFdTw/CzjWVUsffHyog2lSdgw9zszhc1jM/pURzRuzW9QSw7lzfccKkxpHI0oE20yEIJLGgtZ5LAe/dduRX6jFjG3l9/MqR91cVPhD4mmy/RZBSJRojwWkso5zrolRab3Zh8Nr+9+j8wYFOl9ouHuLxMZi5S1VHyXBZPiFqDuqO0c6d2Zp4miP43q9/Px1FSJtBQl91ly3VxCYa4d6Kxta9IATY/sTyrGTqusIwynemx3HiRIsFQHG1JsxpDGex1RAB/81fb3BVe2VBA1J0ezdoA7ljhHJO43X8YU0M9hT5ofh5BpdUjIrVvLupIJEOvGSaSajavsKqqaKtlPjzkBAGcPlQp0EDGv8NPvvNgnKZ2y9lr7xDUI6xN2NBEE2j1mPDMF6OIcjKWbkomb2nZWmmAVvqrRdPn3lzQze/wjUPPALDof/N1+uHtWdmtQ7eM1hng7uyhH7wv5iWZ4BjNBJVY21FaCQ3bZbGSch6KHi/KepT9sWftlg0HsrRZqViULdx0gPTgumgIDyN6rQ2jw4ZZrC2jeacyUsNWDRsD97td1qI4RDKB3urIARcpAzOzs1T94nohVS8bFaq/IY1GjqVRZB56JWzC9W8dnladMWqIz1xU+bk6beQL+y3E9ySINI0xhDvI+BTfdKGWNwF/EWG4+EqF/aTM2EXUMQjIGjpOplC0O9o0K05LLGqxHGZdDJJIX8xO6X3cHe1lJ9CgpUKPHr2diZ6Up343fubJPFVszGjyMQFN2AxQR0MilWbwAGm5726hPaDGdiQ4cNtG2YKXBkOVYHZGYzlkjh0jrGDumAAmzbTVxiC1KvL7dn4Rmcs2ci2zu89ZNeYRGIReQQW6rpPCa1HkD+uzaYs0QzISg4aDsaqKnW7bEj4UyraWkJpkN4UlByrJD/W1ketpvfhodwEvCE5Z99FGvgsqU0BuShIOW1NIxbvKC4I6+Pp4dhITz+3ZPoYRoRryNR0Lou4guyXjm2+JxVOu9vwm1ZLMzD5QnPhpkY+BquPiRYbnac/t9LpmXbArcYgGKao+jvd/Zsp/L3ww6B+P0GCzJzOAaQT7WQq3Nlr+knKcpSMB12x0+7pjMGuciV/mSwaHxX8wC5rO+GI9gZCoIXBjtFp9J9nBodbCct/sct/68P7yg6kB//h3+b6YFt6/r4h/MwD68zDkX64jp25w/dSBRwOY0oZtlxqDMPNTJr7BrZ03tG09fgbgAbfsvgVF3Jbpt1Ueznwd9tRnVVDWAX7zrT+OQnbPDyqtOfepBec5iP7g16WTn91hswLferxPHzIOzptnDBJmnZkK6ToFy/3dwf3ATkfcoqT0gXhZ2lEk3cqyVKNlQ7cKrEOpHofbt0PBecEH1EFfFu19lbPlwTyjyt0Lj/WuB8+8uB2xB2tEOBt0bEzFbHxUGTP/xB77JjXvb5MpR3GbQP91AnOH7eGldvgdcmTV1XWlEcSQiOcbfNKPsuA4uN6H3VfxvIEU67kTvFmigk1b/HV4zBZPP9xYm/YwMDxmwEtVvP0UwofY7ggtfA8hfimEmGjrqp+xUBpC7CGSS0hbiSyi8wpyqQ2Fnr8Px+jIo8Z/u2B0jWjQHNB2jtdNFH1S+cYIkaAI/Q4fK9PkZdn683k1S6WggYiaJ3579y5+z5lXlVL45In8+svMw0MjX4mIZrqltfRMRvZRDX8LBwD8/FQt/1bHXnRP3EgbhF5T1D3ViHLOfmrA3+NzyeZoTBn4yO0fZ2UJGtxntcoaSNJOya2s62oqeLjtU3REXYe3Ko3lBrKNLcb9yTcGtNtaNAy0v7cmdL5xc/a6r+Ej+J2rC6HHHMXe8Lr9uwmrpJVgCOhdeTe9+FZ1Ofh2SDEQK249nsL0gaMtdDVhXx+RMDPnDTIVnlMoBfx+Rpa+9YntS+rzrtVsHH7/ovQGFgS6mBwLfDaihJJglTnYuJl9GfAXSLf4P2Fd920g+Uutd/siupVxol0ocPUyta2EVHuK0hxKfZ63iAl3qPxbe9I0K0HIPC65PzkrY5Zqre3pmeTQoqIHrDb1BP4iQtuDoXPdlm5Ty58+SXB7lB21Qw9UBI8UEWkk4KCaKSt3xlp6k5SoNvMu6hM3W63IuBlgNr0zPTMywVfzKFm+EGKiCW4J6T6mVla1uM6fWzZQv14Xary5plCg6WSOJ/JkT5seAJGWBQN6NpmnuTO5UhpSoXxsGuXUo3ykkreGC7Cn0+bsxWaxlMqFw4ateOTUXRnbN4S1aMoaLWp+C/oadFJZVRVRKBU9imzBlNRwqrr1NFzGpSbIrk55sZN37nUX0syR/A29t0UifG9tMdm4UsYusdPMuH3Rdh04yfglDLMSCyIhxJcu/d2DfNm3JohE2YANZPSKyqAeugcA9POWiImvBJI+R/p7Pmz6Frdaymm441h3yBIpR/G4f8OtqCr+7I0DkHmRe3uuYs17ZWgytK6lC3IzQqvfy6/TKztiU5+RGA6tHp5oHsv2a3GE+bV1gFBKA8um2TXaJXlu7JxO6mqZZ57KzS1MvNhHQuGiYf/JN0nF/TgKgCAKU45E5QPdpotnmf1K5RIkx0AhG0AThG50m3kYb1hDvLvY3PyLhw6awUuRpn6OBSNX5PDLJ2zD8b2Twm1r938RTYgm81DzBfBI0semAf117l5KA1n8ipMDcaGNwmMR64NWwgPy2VOcAS7yiSoOjAmCEsJdlcVQvKYLPv6Z5ygXMADEEIh9MhYZz+0tsIgZaH+LjSsOa/QKwXdqHoav/BjDvlZ+BZO5F6HwMZbpl9dj1Gnat1AXLw8EY+yEzPe3GY5cypbYo8ZL8nx8K5olzgaJ5mVIONElwHKFmgJQC4DsmLScSrHyL31B6ixprETHMLfjZd4314Hd45LnlZRPWx48s8UZZWwbNVk2tF5H5M63bm16crDRyJUyIwqa2VPS4PIostSg8uyTm2thiVidfsMRWNJHhsvSc+ebPRRZEVk3S7dmu7V3oi6d7yB2nivzjSit3vjHVLkFm8ZZude73cygO3uFC0226gcjPwxME6kznl/FPbF/Zk0ybipNzCJMN3JGwZhcsp0cxe1ZnDZKzZJ2gtxs7FzKv7NWXLzuOkk4YxCQMJenEoGMV1itrPLKbEOQbXo+VefhnIymXi0jMcDrrvrkHdEKWsG8D32SM0eWR5tvJsuZt7DQpWq2Jotj0DPWIV3dx4sk8eK6FWJsq5dmkWbHolhI6iVJR237d6EYDBxPINMB1DhNe8AeBkqaZGpmup6zYdwnCmJGHFj/NEz3wtd4q8mwUQgYhyuCxjZDoUdkIxalKRY0aW0YGJ+kLfBh2qTMxFtG83ivm41A3ktabMyZuihWaozRBs7ggT/iImqa9kbbyNI2lb73WBnmU+A9m5sQP4vnAwF8j7Do+A3lgTFlBeThxxdb7+bjEMiHvUhsWEdW9CA3/aVx2sjPo9GXE3VONskk9EyWO3yZdoS5AtG8P3y0b9iWreAdWUh1t/Cb8iZ19BB5D56ZLAugTz5mJACvqb6P6EhhamcDtPKOuDi/OMlZM8OpoiT0P5c6p0gSUQcdLTTX4p5WqURwwzyfqLUzW9snOn9/29Us9KQhQCWiB1wE1yn/FXPNuiMeWdx5bbsNZDkj1X15o9WCpJr5jp+m4qKD9vW86PbZc8M2cFsVhQhol59sGyVEVd2yEJCfIZ48/kqwr7x38YkQyQ9x8qUL5LhWlZTNrsA8BrpSgVMe0sHz/h7jPp6jIzWpJfvELmQSpb4strM2136+A1Iy+37fPO4dzEJCeD1rolSQds+XoobldLJEOvffijW777FNqeaEtlRnzmr5Q2n0Br84pJ8zfSFDzGKkH/oyxEnqIacs8WAcK8aR3s9bx9y/11wdL/mFvvMZRdaiNBfqtmavsNFr+eZUDjyc3WFlrfVBLpN1xKfcIktHuyddhqGwMKxGhzhnNL5VDJso2EWuEvV4cuqZ7wVd86qdfqrcIK0TTMNtmSOYLP8x4VR/BpPvDRREccLLfiIp0DQ5FjakMBwobmR7V3lsIViXQKKNR8VmSTffyYdujQxD1tSf9G/UgL5AcjKefYVq7/4m/DOU2EF6xPsvY/gTbT59XV1tcVurAnL5h2lvAt0F1MIiph4NAC9attrURwY5W7JeliXj1K6shBV59t4aW8kKcRemOTg68mlBRWey7J/Px1iry60lUIDYWkrosjRLuxjLqArw6z2Fds//5tiVGs+dZVuIyr2lfhMXPlPip4BmdIcVSm7nq4UCYEopeCOgVUOX1dpxB8w+XfGAH5k6dbX8tMmF7EWX4uKosSLEnlOrlKplEQmxGKSexs8KzpnNQZyFzNIsOEBSPJa6cdgCyIMc+puNpuuVocMxka0r+voEQkUvPKoEni/fO/ppfgUQsU3tMLc5tCj7gTndhEwjrFtyHBynK8fJ+VWeDUJ21zBLWeRLC8TGy4xd6ffcoLi9MFtSTqJAp2BJwVpdVJ0PfMWjHizRqgScsyQ2/lA2SV4Bf/mXAOZ14nM+VecSAZ98LJah8JFfI0+m0Np7gY/t8JQPIaTQX8yaU1r4Fq+NcHctncOJn6PlKGX6Jf/AeRVW2ZqmYnXltk9ABicdMJ0jvUU5890ULFZq3PW6RyPjINMb1eVsW15FOGAorL3WrQkITywuCri7HHh5l6QsY66afRnFr+6vY5Nhf8ccs6rm/53wSvzulAL+Yz7gc2BQWnp4K9T05xW2ZMClFSt6mqeRwOSMnPvRUFeNegkUzD7NjN1jHeu6XlR6zreDLxtTe4QkbZFgP4Wr40uhhh7oNGu5I8ODa2z9YJf3nZgwL+GnYUMAPIYc7FjvATEfTM+VT1aXqE8I8AI0VNFngyAgCTsmZP2B9sX3lkcKDcwPPh+WZ9zYXz3fLxfrDr7Tm2E6jYzbaViR8qxanwBxS0icY4ipfXJCqLtdjKKvyIKHeXySI8GYwJjp1VVjBwSvRM6dFDHLmrV0wYmV9loLDVFR6NFKiQJVhX4uQ8HUHKiLqEFHAnG/BKp4xM99gg/vRHhIWPA8U8S7IGSi4vSlD4LnMOaznxW7+8A6bb9UF8juoCZjdFkoZjGts2dFZezX/CPB8hOmMdWMQhN4KjUHQrDHiOVTT4NIVwIW1ZCng3ExNMhIThudLS1KVGko/TBrlgjX26eRnRRf2uA8zBkodHtE7YruSTusuw6V6WHULvfea7fTRmyLmWb6NhkuwZnr8/KAxl4ICbfyCqOZvCgj4xcfrq2GqZ2u9JqM+6KMrVkKox3i92X3XNyKcDVZQ1Aux5jxUPu6IiahzJ8pP/ij3p9wZsngcCSfuWey1sruQ6MFYmM5tTjpJ24Bredahlz98jZ2c6dhvfjU4ubaP7wDk4jTHAsq6lGF174Tvt2P+phd/h2NO/bQedGhbzZICVZ1HH63x08NpFyUm6q+D8fM+YijVSMtWIxRa+IQsRUw6IAIGTAN8OOFTQzYGmBkOfPA4rUatfOTpri6obX35lt/UTjNbSqpept/7Jf03+earmxq+kZSQI7vg7M4f4WWjjQQLxCdzaw2Ug15aS1zQz9dabak1ZrPCxt7w5w+3rAIM4DnpS29WuEh/eetvorHoZqMHAGSI9L+6skwIb3xaYdxx23qXW8dW43CP61VRoL0M0wnycwkyAjwZ0bdnO9QxDlNRYLbnfmn9ojHuHLRPE6UncMiV7z0lMPyvZdRQKiDfvzzEiV5i3MhnVPHXTWop0w3LYSRoRJhCKacZ9+AZTD09X3FjPIeSPWRWc5LLbJ5P4fpf/fI29AsoktnIIvBGxXOlnW+Om9RULeAE8dH2lrkCkVQNYsqOyDdS06W3/VwPCW3Tnb7l3zEPJ0UZVCQqpPPlr6EfGXRA5fuNTj5QhKP0Yt+RjeMOiVWX/Hr9ssTutfun8TRa79qW/ose16laT/EhSSe73kAahbIZeqwFfdOSyd4kdewn1gOAW/loC73lq0BRHpG2Ui0TgWbhP43zc4Vjv1sjaIpYBFxx/OF4GxZXnTcFf+uEO/ybxkhIApjAvIt2+sV2e+hSG9mE08rk7oOt1DRBpaJn1yokOURwdY5e9ziIBkICn/a3HB9/++epuKNQLQx9+P7gWO+EDJcAppns2Xdxgcb+Rcc2dcPMZkbP/4zw3H9aroAq8eqfSPlTtVnHqN7Khywd6RYqIdSM3zs2MUyo1/N8K0ipzbMSuO8a0knDWGoKVMjM8wAJQ2Ns+fJLyH4NM+sc76/LZeKBEwCCPIiUVE5vx5bLciysNEBauwhlHot+mXWYU2eXVKiZcILPd3TEaZhUYO9ioFfm76/NLSf5DTeouWC/zTYzuZz6DhsDlgRk673Lptyrvc1fI+J1D4hzKjm51lGeBjxThWq+ltCZrvDKcE7VMOWPlDsj5dMOWNFCjzZpNkRypcPNM1WLMQ+cxvlRF2G2V8nmrbDtAtORKIl74woKNcpvxqlENx+VQIFFIMd8d8S/4uhWjLAC/QAvrWe250or/S2QDsvSxdi5JJ5BG7/M0V6P1swE/Dm6XLLm+92R2ZvhvExqEV0dDnrTd1ROkZoQM4OldJdTQuPYyFC+p3us2pd4mS6bi89Ms+FpQAfnonY8W+oX81RsVUTtOkDr6TK1lIf2lAWQ5rKI3wAODxtrnrvBZwaH24q2i+2WdZyR928nBtf2GwSHKZZAVCqsb79azWWtS/J6ODYWb6dBA2SHri+fBadgIgM44O0Q1UzH7knzRHigrzSlbEcw5l+FMcS9nPiBNgqZBNPOESCE6/eBKZcYPjwkjnO70OmEjwVzQJYFPUrUh3xmPWwRvHg3rQNojvDV2psi5GAk13OPHroSxJ66OBuS5pub/YnYkCU2S/fkeLK6f7yCLJNSWVR0Sg1P2JASCr/Uonc8LlyW9bNLd47RdC9ttUxtY82Sv5hL2bSf2RiYIqKMxjEskPN5VssoL99sZRffTi6LAwvCFzYkP6Lxw9guGBmMP8rtpY0XeebKyU79D+elQ2QSBNciAdHRdbtXFq5ixRacNG6os/DNF0w9oomh4Sg1pdpvdO+MnxFq3yUfPLpghkAPqHMJwll5SfES5sma5UqHoZWcctEWVsDr322JLgEOTPyJeDZQNcjB2kbOoLvFG2X83+/ubTU/UsRSoMw0j+imXKrI2T6YoGo2gM4KsI3YFCEmVYTJ5Ol7ABVIcHf5sjad7t8SukiNp80NOYALcuM8Tu6khDezZH6iALza/246xAIhxtw93KDQ5xaIJgymcxRFUavMjqOgBV1/Nex/LKvLznAZRkFEv/fZHutl90Jirmi4ytfgJ/oA+P0Wmb5D7ZQ+jaOkV/BXlGGb/t2lj+w63KrKxLGQ5WKigRmNqBQuW0wcwzyXlWAbQkEsX/OUc9EjrvW2HMztnkszk4h6wtgoB1SEZTBkFgUwwrAfS95rbq++uVoU8C/kEh8Wi8uM06JA0BtThlufRhb1Gt1xyYVJH9nyfmQLMm2o024DCwd0dYKvBX6P4InocBVcub0Wk5dXt/MoXVha+EOnpRrWRDT6x9p9ld8vFM63GwrDrGAjvYlmIhnjriAMslXWAizCuKHYSe7dYIzka4SYlwCy6LAWMtSL3ZoO68XdEpK1eMRrp/E7cmUxgG/I5qLb68lyRd19ymVYce2SEtAnz539Bf1Dco7z7B6IZehPA08zYnjiSuEDViQ8Sus8ftesxCXDulvneDuDLnpQglTDAFINWts8xZyDeXg6WWA+L5nvx4Hl+c0QKFJjBkInOChwFvDPhbzymhn88ZGKT6or4SZKF8Q6wa6REntjrHPwAj7VqiA94V9G8OY+gyR3YfDKLlEmVjKY2BMjLB1E2Bu/WO/GOxEMQwDk4kgk2buusHWjRO2WAqJI6gxPtUzGlAQr++hO8RRZZwQ+Njhbz5/Wc4kyaD34urrwslwmj7dTNP5a1yLYDdkHmzJQ4Somocz0WVPgJeDvmetPl8DldscJgSbmh7suaPzze3b5ETuqdPCZvJqz37k27MVwTqD4m8IgWRkJ7dL/n9CoV8qbOl7a0GrhkZfF7xT8ySoUc2emP75xUQo1f3Rgizo5JhuSlzrXMDokzyIG4jlvKrNbH0L75IWRQAhfo2AZiVbw+hWa/MzqJWsABmASd3hpEP3jSbuCwUzVh/CMEqfvHYK055gyqDOiEGz4rqvQoM2jx3FBoK8YyzfK2yKWktbfTi52VFPS/ITyGqhzhE67lwQTWXn6tdgP0rhg92PNyWyHytLITzvvh4rb95LEcX64OS3//AfII7hAVlfgq70PNNnzPs72g6XHB9n8lrGwlW3E0GfO5X+iBfWa0Zh0/KUDM8Cq9wKyG0m/URPw62JTkJOKkWKAoll9CZGwihRhxDjJVV6DbtyhK/QG+rUu/envb5THzn/w1IhOmsCLpsFioKm5cNBSzROGmRk9WXtJpDlDjLIyq1FhqqOocSbeQLMJYioOsOXThNX20wuKk3QBsd72qJFO1ZA7SJhbjA2h5uwsExmru4Jul1HZWTSJFAKFrwfGYnqG5s7RXITEl+xGPH7icJcf44h+T5/Rl0g/ahTTkbQwAu1NI9f+qQftSZQpK9+nSWiLYXisFWQ9SewivVS1CvsrWInwAeP8kbF4aNFsRL7vGD3bF1JY8YOIpG2c174grpVZ5JVCfKwABPGPuqS9/Q7J4DSlr/2s6YqFMfJoXfAGDaOAU4ixui7dXCO2URuBbuaXfQY6e0rE67UeKNz/xKicca74TS1Bn3nrHBj1DpYEaSZW5LDxc3mzc4jeH8IE6kQ/C9ZyLtcO+ou9RpvDWkrFCpeQN4Dnkp1mgxSNlS/0TPWo2xKMekf6/YbCMEuUjNPxB0VoxXrQ8nGUGzhBx2DuLHGLSGCOHR8QPXkdR1UEuR49/Mzp3/Ha8yId/sg2YpT0PXBYu3YhY0LsaQT/AGpqvlyLkloSfZITJ2xkIvlhiyewqBIrUXyPD3UND2LoQyskKQUs5PKzumozZKDeAtASBu5RslWaDglNOoxZflUTFuiSDr1L8jD7OboJhgMpQ65wbek8zMMK0bMNG2zzm9lERd+ACn80bWd/WJ/YxHA/ApiUJznJvBgUwYzBCSdoRt5eHojpHIeSbeQBoWtrSxCyYJZRnIQ3Owd+40PQmZTOlBPiote0SnIOQjyJuxTUcUhNFRHNs3NBgGHrt1U8WjLedmdRo9EzVBYaCuCqLnIuwIr059TrWVGXJyPkviZa3VvKvA7s77bkBZwPcw+9hI6nUs8mO5M9JQQGh1B5mGXf9vxgq62tSis1g5R2KNB+Xk1+f3GjOTUbh2JeovLoWvOvmQhyb0L9fWkdNYP/LnpZ2x5pHpItUO+K31pZlMIOAmyOX6L0bYQEmqSUZhxWTiGn67ZglLdTeSunP2bCuXhiqp7NvP5hVNlrNMD+uPAzRZuDSO5wQ6GcGpuz/7wGMyecYvt7bEkWOnW9osQI7UYLdszAqhIj7WgvwdceVHaQtObWq7wij0iNGgAPzLuUMG8K29nxN8Xja0ydJ9n+5sqwea97EVpDt9uLS/nRdAjVeiFn/aQcMtA4kKzSQdAWf6kksYE03JOIj83LZaRg9vJsL/5t7PpoZWyEGySvQ5rte8B4ycoTP1MY7Pv7/ZZQrafBNwk4P8bxy33Aby1pjjDtzE6bVpFq558SFKD4UieALmEcjZCpXyCCKB/rbBUfZLT4P+U9b22fKexBCe61pV9bneAGUn/tL0AKyaIFlSv5nxmIEj0Fvg9dEmxBmLuxJ4=">
            <a:extLst>
              <a:ext uri="{FF2B5EF4-FFF2-40B4-BE49-F238E27FC236}">
                <a16:creationId xmlns:a16="http://schemas.microsoft.com/office/drawing/2014/main" id="{1C61AC81-A12F-45FE-A198-47D4F2F9A6AA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 bwMode="gray">
          <a:xfrm>
            <a:off x="8382210" y="2381310"/>
            <a:ext cx="3476712" cy="4000600"/>
          </a:xfrm>
          <a:prstGeom prst="rect">
            <a:avLst/>
          </a:prstGeom>
          <a:blipFill>
            <a:blip r:embed="rId14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9" name="btfpMGChart734235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qE4+dkl4wQfaKhVGXQ4wkQjGZ/xta7m3ltcuh7MXcW6UUzr7PWDqYilW+uaB2ctcN6p0flIHsYAqXlnQrEKYDY4LJsj7tjj99GIk/Ks5dj1i8z9ZdqK7LU+ZIUzphvXnx/nTTm4AsYmQXiKJAHwRn7ZM/VuurtC6Fy0EDC831Y+5vH4ma4BI3ueHT+s4OmSHcqyb05l+Plu4rrz8KycXliz8aDmIsT+IBYUURpRBnJJaKWjcKqU24QxhLIP7QO3Dz7It41Y51poU5emZ/WLgamnooFqVMu6L1rEQ9lEjMt92AW8GRXwbxMd/6jGPZCFbtCCgQQDnABnwjZ8MINsDqcKX76v57j1hdNaNqOHtmtT9aR9IbmLPdDFNzPiWoaPQRLVbefdFMqjhoGK+HR71s/aFAhqKpZhGHpVkO9u6a3hOrHG7rS0PzJyoX4WTtUvr3zjzefXZTG9Y0Nvx0BqLlDeve4XMHS4TN1sM5d9y5ttfv2wTYnD/RkYqnGyMgMsBFGbGmGKhJsE2UYQmRWU0DnKmWK8iNa92hApz7xVe2BBOndEa0eV61l3q6dMsr5JP3ugCF6RKWpnuS4hftXGq1rf8MuPNrf+eVJbDrc+oJpRWpr6lEk071y1vu3az1fI7qyILPRG1Q7pDkTYl+K2fZqlaXzcuMb3ufseDxUzyCLhbFpc0rhRYdWF2lqWSwqaGjgpRLAOOJT0Xa8QfCEteKgxfWaak6US4Mu/jKN0Q60am472BEzJxG+f0rsGUo8oBe2VEsqajsJ+0LwDZ8SkxVezS6y5Ta3XbGNrvC9ZvKAksRZMMOd/uQLS7jCqpQS04uSBd4FQZSxrMUZ1UCcdYtecMkW9fSlkkCxbm2Yu8IaoFhMpJrcdk/1YXFhmaiN7CSTuPVuP02Xuauh74JdeBCSvOq1OTDkYDYtQQ0XLfI2h9EQfW3GUuuJCqtrf/8zSVp3Kw2lseftRsc7pvb0yePtYX4Hg/hq19Er1LrnzeBrSZskIoaLodiVAumRDhTXgzW8XJD84u0TxefsebIjd64bvAXnaga3QISF8bxadcEcLbVqQYI/WLcaWDczV4C5b3m5/jzhRnUF8Xg2L0m5DjRJJTsoHwELB41y6/kv6NV1vlW7kGebvQwyVrroQVVq7I16oIyZWHHwvRwXEuOj/6xrX/ozRqP7yhSFawE7uTuVqJGV2CSR7lU9EDn/yca3cbo1S/s5XzzpjT6DI2mhmL92hO8ieF+U5nA80ek1mYssTEq0papobvZWyz7urP2fnqhpHSGs7iHauBViqKLEL/8j+gvOAH9RqBzZcDiyfZ4m79Ja7UeR18QuXL10j4dsvLNP0nq5tY2JzwZh/wy0ZMxLtIb74R1NzskGUnDGvgXK1tu2pdBE1fsk/KTE6yJoiyBFKTQC1qVW9hpuAk5eeGx8z961R20LygMGca661m+AxiUxvooUmpeFDU8Mt/TBZWuCf7K2zDFJVG3CZay+83IJly9MYyi2TTOPmCYLuaf7lNzaU929Bad9keDWfNSk+AOEHtZJ6hBACeLH/4Ufalf77toW7Z39IjZJLsctdRk9prnEmd5zIoyzhJRC70TVUMKgstVQYxqANqIZIswrRA6zoISY7foh5TvjrWBjtaPEhhAmR+I7e7k1ZpeUJXV8QMpdjuJEncZQ7ECqYeAqsKX5XeI5t+2uAaFhZPqo5jGVojLVoPR1jLuHjDzJAR+nBHQ6oeQpuMYsd+Jtlr2I3z9PPDOrrzSoaQG583+q+tSuTDK3kxL1kOSECL0E/HBmy20xBxlg5sPSeEyi+j5F1nnitbu59gh1PqO5HJPps5Vdy25eGQ1hfnvvup379l2MYY9Rq/0+qWEcOJim7c5A/S5d+1HUtp0kAWvq3RLL8ZKMJejh8nQE87yleBP/6xiyk/Vsw3swCwPptv/a8q0P1JfHw4sGNrLNoGMjZxwwUgNbuEMUTx3UUrBwWqBVQ9B67/0+IWKSIqHQF3IFaSGjmbKllnO2dZ9wr0sgBKtH8FdpmnE+htbPFXa9AEo5ExcrFiHIHPBl1qjeWNJdFyHSrov1YnyHiAwCLwd1KsGcgZRuE8TNirw4o7UU1mgmyEoflIMI8YCiGgRg3jS6mxEal28GBFyVzueCRRKEKR19CUxxtXirzECPrCcVGvN+BbredboJE7otsXxx/7i6fI3/5XdJO5YixxXS9sOdlfahU5LaYuJ1CKDkD4VDflyg64xGyMWtwenis7Cs0v5doO2GbzmeC4cFr/JqdUzBeSYVCjh8/J/4RKR7yCkczLfEN8os7nxAhOGN9ArAGvABa0IydyX0wewWHMs+Z1kEBP2idvZrkArB6Ni1fYqwpj1YP13SFMV/waG9c+hPxU/d5CshJBdoJ/v1Iwq5QSmrdP7QK8LXM3hqHtXd14Tv0T0e1jWQrUTcXkynRSnFiFbqD5jZjln/fSdwHfMjOrTMPRwoRQ5pPDuqQYJyJx3mcZbxOyAvKLOkVyeS7LXwJjqRVfeqdVYb6tklK/P1LB1ByOh/yKIbvPzwP10X5PmmAUpYJn5za7DD6bEBx9iD32BC8cA9T1hYwlJhk7ZGBTj8wlS3Q/QtEu4BZ8fgVlWBhesSzY3zYKYwXCwDaYgwHHVqK2qASvFo21sClc9eDcUMlXWpLAykG9U6xrKf8czQle0o3egQZkbjHkffzpOoNuyi+e9a8s51Z5q/NpJnATbPlAaZGOZAE76WtU3PY+k/4Ozbfk8bnYqI3XSYSb6pfNhZIHZcbCePE+7nP4UKy66aZU82xBmpD1YPxGjlWOgVEG7SfUZCS1zo6l79X0TDoRx/l1QxqGLkb/YV9d5eBxJjpm3bjxPA1mKM6NJ3EHlVAGAKynnb2QyKKA4h/U7tXze1baucTVK15sSQA01z4Qjv06FndKwtcDPs/gFIhXSsKFxRQmvpTyIIHcBn+qKpPUjMt3s5sn+X8LiGe0c43vc8qxDYrGJj9F9jfJf0gPz+BOSkYte8HQWSlB5kmSwMbgFaGxbT8hD7QjROmgl1ji38UmqRYlGtp8JtgIgxMTrf5RlHZY2NVcXggEZuAkGlvnlIsdmjpiL6ixF+spJjq7Ra2bAN5eocFYxDUuvPcDl/SBMIXk25CF8YIY+a23OWAlHv3CgnDtn1Esf4TwvrQDHxyrKDNiiLSHQhBAZLpJuO95Vtx2OkcaYS6EjMb/saPF5E3x2z4w0R5QH0jrJ3LHq3XdVrKeRaP23nYO9UzmRjOrPubD0UkkJJ48FbKPE84C4SZ90sjPCZ+wX/2VeZGkF00SB0LmmSztx6JFd98JsI1Nynk+BM2vzsjAssoV7C/zM23YPyanPGwIWd945XcLTtiynAhjq5Mg0gdRRurZG6e8HcnS0WGGneMeBMAjjxZ99IXDwC6URteawJJ8/m9QlKblfiW0IYZhNWKHYGbPGqV5TO9ZhiwLwRSqyvP/hMna8nNPQVD8MrZhypycLEzbX80en4e2OuLLUPqEuQz08zkFreRuqOXElgPyUfr8C8Enn+9Pb4lWGWMr1ElrYWwWwawKd/Hnn/CzBt64VtxL5ycH9QczZHCUHtgRmrNv0Hn0k4JdltgGod+Ow5aqjj8+BCUY8UdIH1JyhRNMczyNGMcnsUlXz8GiRhGeun560vZF36vJ5Au1jpmYpgozj49ozvOFKeyFzwCaT87+dB7sGD3AJj868LhlRk3WPYuyGdkuUX2AmjCjgHhRRIOZBSeFVg4V7GUu6Bzi43biknHkdIAnr5k25SU4TwbJJWF4eQ8CgIGIrhly1HoQPaS0TjIHGQ8ge5ONjqiQC5xs/ueesjW6bB8ZN9XI+kf6nVjY8CH2lCGtIsPRjN9WJNPPqWuQEZuhrhEk39lxtCvr6qY+7R56c1Af7jM1R71jr11K0HhjaenuxK+MEmbZ9ZZfnL8iMvTSUsqplnQSJ/mydbOZre/8o3tFsRdBMjcuQiEHcsIi7eU6uo48tvJw/sZyytlAYxkieLAePk/6zGK40MyB73jCvtyFgd6rpcMDxieuweWuKEyhd1NHN69S2Xt1vtuHvqaqcU1Nf6q6bd02QJMzJlO4P3ICcsNTwPDJfB66Dz2Ra3yYwmTKfZsUU5kajbQM4Ckd5hVCtYCpzDtpTQ+ZkXwey1/ZcCwyXFhMZvHlQaBXoid8rLHLBy03RswGEpBq+aWM7LW3wTowH6iI3E+R6Dx4hT3mo6HKlou25sorVasGiJunIjBYbFroBnak1E1sfAXmpBLdW98F2chbsh+9GLVL0YurEJWC/YyWWYYUOWAs2Fsf5Guks2J2yB6HORuYPYiTAMo7gVkAxuHEUjznycH6pIEq8yrlyAAZKPHGIoKLdNvVWcH9eLCygXcsl7uXIKnNaP7YhulSEkW0VsMm2vhe1bx4Gg1j8SWh7LVKeoSXXWkM+kMd94Fz420lZrfpUq7PiqwRKgmAH6cKnhe5bD6tmZTY/18G/3qr/DKBSVR/zUmE+6ZWaL0Emr6LgTSkKeL7GO0g3Or5wvW+UOJ5ZW+nHCO4E8/q0jXwRkaJdeE07O2Uq7XqFzegMd13nlOMOePnmB5Rox0P2zdYeKmoe9cAlljak382FC8QYTs46wFij4fHb6tnDijzieKxLu/Jp797KJQNp0HD4i81ECyC/eI2L5hiWZjMCda/qAGZO8rQR2MYOg303quS+LAQH0a1IXXGper6nX0tTAtJNAbpp8u12Hyxl5bflk0e/ozUKd4+dOr7IWiWq+b72NLGvzLU63m9fqqTZMV5/eYy44HjoFzqw09e+il61PP5z4KwW2R5tcT2GgdA/8UH+S6vXE96b2OabF8nCfIfWhmsYpfv/5ysZ2hGanwmMyA96IK006OmaeaLrQ8xoM4VjVSk22c83lQKSZECIHIwcXCCQbRGW4y/m28QWsf4z3fBf5ujcpgUEO3szVWTTIbi9Wr6yvRaOYH9V08qGAX0iyWVUO0kl7BclDqU2Sr4SpKv7YWEHFBH71mC1ojOszk8VcAMN3HAdlDQ07L+DNWA8pgIRnieaQdgXInZyOHSK23XC8OQBE0ykZizTzFoaj+oeWvryZ7H3fPDLRDQppMX2jfxYeM+KyWpPzHyZ2x2XcbbBOSc8KAEuB2T6hDbWgeGtplMcX5Zy9SPz4RYjtSGBGfZaDRDzg+5kSwNOGkdnlJxlQArQnQ4H9NHZpUD/mR1PVuR9K2ExiIeq7Kep0YFaK5qpYeSdrHh1Mh2ge1UyDhwu/oQm1KH5bGNUzrJkiFUFo5qGc9Bk/C5642S+3wPCS85GqEBnjfJy+NL7ofnXIqK2AqcRFeZRLhdQWecNOSCN402FEm2IwVDGnJW4MU5zOIvitBYnAHT/Nq+gTVyowarSztqQCXtxTz9gUTZfORkZgM/Wdam8lnE4rXTpuu8XbPREqwdTA3xOR1zpCvASF/eA7ppzFGRY1qB5g2yzZMrlXcjrh2LNkzUMGbl55+UiRcCjWIyFlNYAdwWF3P11cj5cocNv2STvbkQv93M9S1rnWJpSiZC/94hXL53HBBJKw+FHekz3+EYXZJawXsCR8kiIANpnAjxGrCUmxsoNh7TSr60Bo3uTkD4zokzyTb1wlG3WYGzSGQmw3eRp7gt4rwsZjp2nYdkESpg657Hp3FJKf9hWXlkfKrzpN417POXRB3AdxcwLBVcczNZuBGWUT7QiEjClgUTaPpvyRvImg4al9C2MWj+SdFKtqGDOD6ZQWrkMkDcE5+3a6EgvpvqMso+IuLbCL0Mw7ALo0n8tdvZr+IrTnHkYLfpeN6a0v3ZRBVf6Km3cA6T1ynphkf+XSbdFWnqKauLBwxaQ9jiOxQu0wHvTkQyDZR+Tml2Iz2NEei5Cu6lzoohTCJ6HdFYCa5KY9rnu0I0phsA30fzB/yU1hFr5ZJk9K1bADg5uZ1m3VXY5VMMDxKgrV3f7kOe2jlmfKUqHsfx88UB8aR+iKcwR1wfemvegADC9A1MmmrgSNi0DHOcPkalmMr4IsCXYe+hxabLP4Xh2m0IYekro5PQ8ljv5P9C9GQ3dAVkAWhu2ExpBAyBFOgvOdkFTnc0dV3dJ0xY12X2ra/zQ2NCmA5hcFhxjUavxtmTvJsN2EhW+PRbL3F16FytS2Ck0ZnWyT4tNKLjknm7J+Pm8jTen1iIqoKd01LwBxEvsATitVQc/6GUju4QJoOVKpNDZ+I+Z/EDj25M6AsbRDQLVzqFNptfmAzlf0SZBeNz3qxOFPlOkEt71td7H5Zew++nb1q6BXDLnPHpPS5BJaxgxMaGLk7pO/rOLvO6UcRU9u8+8dAx0CfaSHxihe1HuBBSTd77L2W9OedHwdvoac4RpVeiWFOwrXV86E+OVranlSXqKKbyNj7m/v+qUeSdYZp39lf6v0A5p9oOkR51KW8eHauOzimWw1+tTtTffpzX1Be1rrngIG2kCoq6AbeOCdmXdIqnhstofyGnUBc4zLHmt7j0vpegm+ojre4wPYimG4XD9W9cVZkAL89bIfPPDU/Bs7gtV8Kgh6FuGxqkNFctJCCInZ7M0ml6BsdtNhZ9dFbjab4WoVBRd+kvBCP+CHtvR06xeKoAPReIWB5z3889OzXOP5jNsqsIjYwqNfmtVMiLyQkP0O9Ne0qAs2nXjAWC5hQhoMUyixBF90FVw6SC5+rj9ggPyqav2rKh6aRD3CnE8antKySVC1z+Ag6lKdq3XRdq0ArAhdAIp1jMWttLPBMcfNp7WQEwRArUcMOxR/858iCCi18kO64jY0Nzkon59Gg2isJUSFDBFmItjhfLFxSSWlakbld8cIp7RMaZuAb9fCQAfCU//6gpWYb2XaCHEswoxwJgFfVfS69+oqiqmbClix/WHdcrFt2P32Ai+6skvNgO1x3u2IptaXaMfAoNg1Oz/3fsU664femuUBzEAp5eoAiSkJmUo7Dn54W8rfOwJHhCcujh5GEEEcaz8zlIUeLBxjTNmwPiw8bHhhM+4WR6NY0fWIxsLIZpmdCN1mCdHTdOnRhJ/GrabxnFxjSeR7iJEVUpnCeB0JqsjPPHIVW1ReyYkLtGcnAsgYAd653p0iLgJXGaNBaOgsnNpClsAFnmv1SgUARspSjlwTtB6zsm2+PpF6/InuLiK2yBJHqe0KmIzAE12w9nKrJLarJ9FAyo3JZ9MFTABauBeco89HiUwwsXrct48YzsU/q19k9D2oqiL1s38srNeZ4KVq/1Nhqq40NljK8lp6GRw9tQENBKp9SHd7B/YJWM6XAdddA1khCYDFPVQxKmyiAsocBoiQmqBUllHo0eFA/sIdlkGjU7wsV0D4kdQXbKQaJAJv2XQIyUzOsY7xJ7UKhwBFUwlMqZpF4bUo9XrWqezHXwiMdA9pUv6Q6u6H+siuTzImvp8eaGEaPwQo/iLCGH1pDUlmIjZOT8uQkxVaethNJ9y/shjcRpEkW5ndY3leED4PfCK8M2ofbNHdNTZVX8aQ02ptPgrqijIIXSGu27JTG/z+b2pH2SLkvlwrFePE1EDJrHPtYKjLpesyN04apV4FIuw8ZEy4E4Nd/FXp15ieDPpCiPWgz/+y4WS3XNYg6fUdB6UczX6GCzyjwYzaQSQlpE9L+WF8BELJ6vzI1vPUDxo0WoU0h6QPw8p1BDbuiWzs6dxM3QSMNjXlzksHf8I83w55TZJ5JJ0JlXGQCBFw/hpXePY8ZSPBPSAnZQdqef6UFWDEZjxqZRoftWNslXDGgC0VVMo6sp0PAZOxSMFuXow2gtuwr5vp4dS8LDofmJclb8QMZlGZ9k52ESyGgD1k8CxnbliXk+eUDVV48bcP3nEX99QaBbjcVfTvAirc0OchEF/m1AAqbGVKcQUohha+nRT3B8z1E07ORaaToTAR8JHnBDmunmd5FuMpS5CfazZ/21EpvSM8oXF8Y+UL9TRGgCuqCd/9OcIhZw7ZP25WniVTA5Z+ZP1aiWU9cXJt7XN53gh87Xq52VxSDTUdS9DS2XCNX7gb1WAfWI2VyUNnVJkp7oEzkFCA+ZEqy2DW4yZxnOC+IcOcsFpUrmGjY5GXoKy70pwJXmGvyQ0Q5yJkvyxnRmRe+srIHWfF9KAPF4WKv+2JaZA1sAQIl/PliGRu7f+VaMJ5vlXzgMl7q26os2EXka+MIDqv+2Q1DOt3uZ7LeIS46fT0vPyaFPzwVeIx0pX8agU/4rBQQWWdbXKdO8yEh+ExNt4gp7gdv/qv4jRNFamyLIfY/QDSmH5TjVsKA92og2eJBFQgyEQHP9+VEbcZLhAN5sgmZTseiZxsVWn6OolRHZ+RFR1KVBdcTh3vG9xBQYk9dtcl8WzrIViv2LcOFLRC7gsh/OQdJwQV2AghPbwnLnuSx2FVmRCxarb9mhGdvRu+ymBqELB+pdhXGr14SQVnwZag6e+B276uvYFmGkFH71YZQrtI+5cVBAuLO3XMxIN6A2SWD9KNa6BR7t+tkJHe0DtOnYyh6FrgKYymix/dA+GJ1JF1OqTKPbKzvfDBxrvtMzbIrFXu76ykClRoPZ8FxKG+iUhEyHnQ+b6iYtQLhZc5l3y4nE2AquPEbfW5MMkTHakUgkNPeB5hlKhsbH/YyDiofde436JnkuYNny8ivbPsvRQ4f+C7gmkxh069EdXBbNdwA+wWSVighvnqWtS++x8lTo4sEbLUOvs2c5NhhDBEeFk3fTyyht49j54uqYBTeJ5wJVQpS8Fi7q8FBJRdJKi5Y7aITEvVwm6K24KaniyD3Xch2sH/rhkNNh0sa2wnUC43DSDQIDC0PVg6u18QWzPzxWZrQK/fXXhQMPX0oZBN2VAKaWAIp6S4UUFokmvd0/ijaOe4V3x8SgbXrMk7KVubSARj6+6L9BfpXPXdMhftP4Js7aK+Ljtpbt4pBxkNK9TKjgcsWdWvui7KwKSEy5RikDywfOwqSWhHDihkQqSm09tm+B25Ln9BeZoofFOnPD9gd1bpCLKrRpUhjrk5wt8+HvjNMOlO6nk9N1lhM2/Ah2Y8+L0uWc41+kqygREGAC/BWYaKNV63eaJfl6IRp10RvpFb+xLUfUdBqyzAK48AsbZQEL8Pub8N2td9ZlwDuh+DRMlnyBYerx42uztb49nG7IYlreGV+vsZbO5ur85uPME180H3jk0AIvnOzKYrjrA4aVhmGC9sf8VpqraxE79wM59Jl9c3kUWk95NO3a7c7jj7G6fpHqY49VsLiiUUJMpR0Tz28BXKvsWgaHPGQAURj+dGT0N3IYya53k9NUfHAWJIRmWbTZMbRBbL2Z66PSD8XmmuFkGoX3k9ZBj+B9vkcJ0Q4xhmyEVxQE7IuCOSbRq0iCiOGhqMktFk7bP8wS8lVdAbF0cbdhZq5gzhlu5UixmFZsliFTLG4datf7XQOObmgLT0q07OEpvnDWDdQXhSg3nzRbI5QvpB59hpuA+uDhGOBclfftZFkIaf+XS/N69h+/qJ91c18LnN33hxMAFxT0yCPMHt5wthJgUzd8LNad8hkjTGzSg4uxdkFgReDg4AamZ3sU8sFug9IXwXkRuaB3n3h53AR2H+RdAx+1oYybB/25eZjScRItYEhvpsjb65Sp3vLviiSGTvHvI0w8Jv5jQgJVnOWYgwkuCbERcCVhO4Q/iN+XOSbuCRL/fv2iInCpTjitj2NtF2P774AlrPFNiWkY5Civ/EvYvGwe7cRsdgxr4Rfdd2+sDp4i9GQ0ObWox9cn9+/2hp3sZ9VHCKWMrim7SlNyD+xRQZIxxoWdrfflRv/XfH9X4b8PFsyGPYNjRUdnHrewUV7d4jomP1Qr9xArXXeMoMGzi+GComtfZlQeGdG3OITbS1E7YaK6C/JuvSACZNg9/iL9yXvoAcbRrsupjD9W50P6v8Ei/XBxwBLO8taeLSskJ6YiFSykA/S3+eiQwBGqFuA9IN16m85hQJ8t0dxxYJgf5dN9Kiudu+M7nEpJmWsv9746vDpsMPg0gf8DSgAjLrebEjL4oSy/IDM+dVdRsMmB725nrv1QXXBRN/q96uz+j2g9Rl2ZLehnWSX0bSQdZIECNWBYYoK0zGyHJZXQfgqeebXsFpji3UHq35Grean8xrEykZet+zOBHjSdfyb27Y4C25aYVcc9D67G+0LR4Z23wnV4Wg2UU/RtWGivKH+HBMtkhg2uJzY6IkKQ4zw4ejWAjP9aQvno67+ggeekUY8CGIpDixjOoROnOZhgLVpYzcfbuUEo08nHpQu/RzeQAY11Um+acDUssUl5mmau0Q5KxcsRbrhPeHd8Zi75U+GqpWZtVp1TWdA6J0H0eVtCYWxDjDZ3wrAwyCTgMx/jrf0grP3e0Ki10YSQcvfg/T5IJ+y0EfVkHZWddwcyoWNvbn618q/UYOtcnUAnNA32qQhcaL1Mp/Apojqn0JKFUbE2MIC6Vl/exO0yor9WsU4JAejMh6AOsrcAguZrGSetyar5Y7JgjC6Uo03D+gFHPbAL4ycBmq3wxLjiEvk2YK+HkEY+CMv6nqAJjMJ4xYoZS8azZqfJhk2KiMlamR35kBHKsMHDNq6zwW+xvQAQdeNp34MvlbnHcBnPO7mZlIZA3J2fAGVUQuhdgzYCTqAqDkxP197w41xlDgZlNsuGqXoKpWr4js+MZFUN8uOUaJN4nIUmr++WhYMNd7sk0PPSm+3ZDXMD2a90276PlaOWHuf0yW7/air4V40HHu/znSEKH/c1oP9vyvrtxV5ZzQ3XASV4oU+RIpNw2jiWa2ExetUq9jVCIQPmoYFl9FREysJ60XEA43zxLB6LYxxxRPJK5+7u1wjFHhM1rQQtZPzpGaoGOniBhGh+btm6+IMbZr9WJjGOy7t+UssvnOTpC6PpS5bHVlykqtl2sjLOaaMZnAQIVIa7D2jYGqJMNCAqv02/V/rjlzjD+re8j1zXCGTnb6M+GTOKUxvq698Z2hKsl8Z8fvdbgY7YqnM45RxxaJW1fiafm9wgZHMI6EbNCA1hSQMhE6oI/EzBVwOe6lFihDEVodt1b8/22tOkZejl35rSt0BDsekl1ooM9LfQCXQQNA/VadlIlA30gEevsdUclyx+VjAf6C/Y9IuWpGCSOJE3t4zLfblyrvk5H2c6834Cc0yHcM8cWAIZu/1v8n65N4Cz2Jr6FRNdSEVBhc5DUESNThaQ1Tl2iRS6Qjhs1PzxfBbl9YiMNawak+6FikUFjIEdb5G17aVDYCK4lxoWjjuLVDHLLFfdK+v7DqgBdSB46hZ+qrj9WeEf1Zmg4cvh+hPKgjOO0Zk/Mr89DD9mDIVGR106D+ac5+rJFohdX0HmmipnOxWCSA2iX8tbo3YBlTG/xK+U/YX+aIUmMXGFVBzw/0JF4ogqzj1VkvFpOYzsPt3GsL9dkVx1MId5S+t7s5h8WEdtYPdaqvJ5bjqz5zSr/I5r+A11p7aW66w4ln79F9f+mzcsThQ1OCIJBEvTfbitMAICp/+dR6XOX8h3zHhohIihLPkOb+yLDEpExHt9OxgAkc7M3l0x0LkrOJP9hE4hkQpju1uY2dWDDoXvmEtKGAtE8gKKjBg8ECQl5KI6g9AZp+qjiNlGH+8gHubwyj7RsJlkHp0AlTQN2oAs9gm3UOeNwpANfiTjF+bgMb1xQwxF+viGgdJVGAOfdlYxy3P3QmTrGyX5Bn+0nYp7vZqpzwzTja9SkS4qxz69lVid63whaDkQB+c4bVt9PPFfLx7qZbrbCqh7GvmpNB27bJu6j0L2ED5SNclQoulIYNJ7FIiWi7Tg+IhYorxnFgiUjnTC7M6N8KxqgteoCyxLF+c5Gy0QP8zVl6ySfBHrOy0xMj1qa02aA+9O6lVk0IULvnbdDYy8NLz4PQ+UPY9Ly860aMnLRMu6NZg4IBooBwTtmIMyDWI3Xht1WtTs48RsreEMrIkNvU/l77cLUahveH8HeCIIXhALxSOIZEnNH5wntgwFwg3SqG6S1TVzgnvk1RnD/0RNh5NiFdbHVJqNWUgmznidpjkxBb5qoKhWVkfGgOn4NiCRDACg0Kgse5ejF4iCMb4Fo2eQ/K1QNiwW4WT0SHcN999NuJBIlwakeivC6NJ0wCssAzSUsNz67Qd6e1B/qAxQwJaDvxuPAJIaXoHfTsQyPD1fkvH45pVuybdS7QWKfzOfqaJOoXEGISdU95ncVbqDha5FJWNOd0ghErsEiyBBXawUfxOwMKexlw1OTqVenqLUpedDJoXB2kMtvNbrrrSN1pEjtp3zI3pE1wIew90JcvYIxYpVdRWiTS59XArjferKPZi8Sy1BlkQDgHazEhV5M6Xl388BkxPgPdP1sEz1atKkoVgqTsD1TJG3ua/sSfb4tkrPLLIaOo8UA0h863eRSb7eM9jZNVI5Ggr/qZRrnmQNs5xQR/Jc710HhaaUyQ3rdMet5OOaxVmidG2jqZ7d3i4JEe4hPx3YNedt5UPeAUl00IH9P4Hu9K2Po+Z8dYwWXx9YK+6qhKnnhJXwjj3YCFmMMxW8hca71nOJ8GSoAjz+t/9kpMr7vMIIR1ZwQOM9EcXCkrCyM0mYHbhh9Gi97nzfrABNhVTREhKFrMv0CulNgV91LFL488iiwqaEbhwwFZmvxZ1Y6wCpe+j9CQo+znFit6NJB42rEzn0+ns0H3f3kYpX9E+Qef2cIUPRCu6MPRQf5SEzIzus+YLyw9das9N7csiSPkE9d9KsYTIAdU0Aa797S72odTJEELULQU6+6J3TnPjbSCdcKA+0v9CqYQMzVH53hr7S+ycwhS8/dPPBhUlL7FYFPMdtMkcQAdKdtJCBjLTBAsFlObzJO18EXsiSkRDhUEZzxA4R/onxFh0v0Ty+RibxCS7V5/PJtAJ/PmD6XauvCrGApQxJ6Zu+jYNh+4evyrEO1I5kK8NfA/CVAOJ1H9boPgqAyMkdBgDe89TvTQzpOIl/XJXEfCUX6Karmetx4SoXgLCRPGlgiCod+KgRNvlgT71sIejv3m7oi/l7aLxYeAYJRel6AIrWZWtd1LCMiZg1ihsFdMZK5BytXgEniwi3glAZBxQ/yLIxT+/d3D+oB3oqeGINTOJ4rI5VSeBgyducJrys0f1qRaHxK8XRgZ3Wj5l+p5WIPfxYIWME94DyEuu+O6vBZJjNsBh+6HWiJF3rPWa/yDDlcWhNeNzkGXvY/mV2bAqIZhUmC+bPF2wIJUh8waddIiAvEUnHnLujmm08aVK1+O9bZCU299YKivox9GlXKf4dB/fRyTwrmXlyb1H7VRWcegNkLoZrm6TQOWhQuiUSaGJnjPtJiWkWblo26gY3TRNwQdhmL0RgGWDQDgbkGtwGYR0N/Jop5aFR3MsRLoao2yHCaa9NSg/tzythmGt7IGGls15MzTfLoA3YMvK8Ojd9xSJaK3OQAAcF2qmtjE0zTDQPG8IwtNQo4BGOnzmaP8Mb3lLr2SaN2um3ERnVteSvZQvK94dCj1LSJ0Y5zTYnjW1LVtTHVZ388GaJ0w7a5Rx6NiLh/Mj1zDoWZPEK2HcmwRi0EO6OfFSo1ei2a/QDy9om8sh9O2CMNpXKbr7qJiyxYYNUxAk2b9V5yuVfaDGR5Jzj9lCx5pMhJguksNY2e/zCuU11X7EzWqMQ+B9hiQLwHOqa8Z1bW/IvzHiuAEbkg6fHi3NncZUgHb2OgTaAs4okvGDFPOszDw4QoRS5Ve70Do/gLJ8m/JzXK4S1bKphi8CvcIAtXD+2q8uAkRv5zxB8Bs1ygZug9igSeHsvRj4B6sz4/5d+UMp3XAPzOnkrmWkil2BnibASXPVw1QnV/3ntZ5pwGscg+GUnshVSgTrylf3HO0vMMVSBZv3qF0BnI5Tqlks+L+5T6tLI7/rmRZqqJk6Y5Efsbt2wcK+uuDog+OgCJY++CLsZxKb5JWfsSE0QGqu3hJv3992fyt0sCWTW2aplMOgPdEbtmU7wx644JbU8EmWauAikx4VtfuwY2K5/Wf88n8fVzS2czPAydiCrh7sJBX2IfKPOMXHDxU9IfWeorV7RezLYJFIhz+1HuOX7Szr8cyOS8NotYLUkjRy4xRjqCjYCsMkPDuieiadifyBbW5GyMc/A0sZovb8Uw4AfC9bHAZBRvm8TF29kFfecX1W6iSEWVcqaLYB7a1sVljaXgD8Z1vO4GTL63DDn3jS8E167HSvi7ILOlbcvTsR+07qhjT2JWrqFEgZeU76i6zMpCOXEUG3AKmQdD8LbRunbl06CkwTL8GcioH2cIifLhACYM3GH7V2nEdJgFCt5fOB10r1lQfHrw0i+jt/RrFzF7bodWqYiM1ETpsV3hSz+WwSNvhbporb4TJcd2ixbtNztQ/+42RM81SrOaa+FaR4AVLSMZxnSVHAq+m5g1VuuhkkaD11kh42UDyZ1OvUShQ6ewMXe4+0ot0MHWhJa5qb0OtaQgFukhR1KeraaCzDkBxLyHJ6uPsuvl6es7GcrSRgcb+7bIh8U44+yQ9vIgbW7+w8UBiKIQ1psgnbhxk3Onie3tx3/q9koEBZi9Q5WGXFpUJN8Xrx/rTmraVYsyxp7cwPaHJa+tJDgjBtJzH1M0BW5hFGRQUoXxpqtF4K33SHeaQqdzDYqRUqVXz9FK+OdfQKjaT9RZj+ZFY1//F/uHBgoiT1KV1hSVpbCK5Wa7RehZrG2vys+He6t6oNWJaKjcpjsm9bD6EuDhWHGW5d7RCg8HpVgn5oJfHMDAANR9bMGaAHOs+LZhd/LcHlhlkGHrhKkjYuyqMSiQaONLB2NFBsJKZ+Pbx/BqmxAT5c0F+bsdZB4rPQRutE0ui1Sie0CzN9EfNdV7agSyRnC2bfps4yPCZveSi/25UerLPJUYDwMnNOTusErtzKi81Habkn1RlpI+WXbcAVJlUpuuwYAnysD7uq9evrKDUPMa+UdLlb8Yrp58dKKTPwOQ0lN9rcOjo90VCe9kwDsIdPj2EXPNapHOfHFrrh/8guYAXdXPeOBJWtnERXa+urcxkuiJShtuZYE7WahlkjvDoIPuHo4IbfnMqOoY6vBx+AgMOY0jFwk8eVMXHTMnD+RN8NTMTXqIAOQi73+DVPMQsPxCR+IOomvhb3ccff1s5bjpblHUVzvKxJlQlTiLxEGKDSd4mRnhl7HP6sStqfcTfBnBFtISRWhOJo8TlV++o+9iyq4oBObTtBX0rPKq+8/ahnXTEALzFa6QRQ9BHs9+/P4H2S8fEQXkdyX22No9FPDYVClr0mPOXTcnld/JZKgBWQQdmlcRAUH4c6dr8/102cPsn1zENjV6RdgEMBPGSwFOA/raFk6iDhmLIMPv4lBV/iKFQlMsJ2yAcY9Re3Z3+MfZ2PRKtAcbU49QsZw+Ofi55FHm0crC7bfx2Qm5OisALXSd8B4fak6RV4og6E9YkHxqaA6vKVloW6RameQAejLQDwcFvIqn9iEnCozGSwf4BxP4hQE5Boh/J2m8oVZGhrk6zzOxmOVCwCBRAhEFSezPeW5pGRW6kxhWmX6kyUKOoJY7UH8Y/QBOPNtg/X4J6z4o/btDdUmBP1gOW1UGXMjbcZfVcWdg3h3SKzIy23TWrXT76xrnbbFLNIxCRQi/JBhKikAA9BGZPGd4+jR7UhrA7vST+vDp8kENySO00NdwlJANCXvsh6TWGTHDTButa2fPOtpCDq53A24AfYhlLS8oV9iL5gDOeWKK8mfObWkDopYfTpiX0tPXa5hZrhbPZcXoFHFpAOWQ1dBZLUx8eiUhjTkzCTp0FExdrQVTMMp1EHi/6qqSRLOyDEmD7Ejb1rtE1m3uBqoKyR67W4cfmg9tPqMkl92j7yl89Faqe1UgddgwGVEhdOuAVMLLmmXb1L1lc2FNZY0ibN8UYnIZRJsBvL1P9hgG+icpB7m6SXaivMdmufct4d7OvPsuq4HIeEp81OsT6zObvVW8UogcHOsj0j200AJHj2JJuYdGI/BP5Ov/vBBvXvg4ZQOQlSPradVJfq2cnva5iTQpfupwBy/n4X8JKS7lAYkEhKy7OLJKECRm6tlp+/iuFaC1h93ASL9bbZyyo3rN3YdwBHKGY6XSjSh80yMldwf8tFtcg1pwW8d+zvFEmTwL8ldS62vbrqUkgzATVJwe+9xDPKlMWq9p6xV+m2IXzMrVHlWD7eG+HzUxYX2sM6Nbby69+3ROfvAm+X3dbvPRynI+m4CFqGpM5sS8cG4L+/KrsSZvp6Vcpz3Uf/JYmodsiEtDzfXgb4rQbUkHVwMCQwDrXbrXOraoLxus3Py8GCiNXM/xlyZgcYm7rC41HZjEBxvPnySKQM2SZTxfybmNPjMRarcvav1q2mG3GXrQJh6MgG5tJyXWWMbauQYuOJqruXdfkljV9eXh5zch+TFkfG0EFbbGENiEWh/CCQxiIvR7OX96IFW8CQziz6h+SPZD9bfBwJxd3VvkY6T7AIy9Y1gk47/Bt/27uMTvBQzdHQotKMOtwdJd/c6UYAHtzpIhJLTZUXyPFO1F08356gyTBMTXQrVmHnRH3AlbADjDCmNprvXuncqVCpJT1BtAAIqGHvNN4GlkzQ4pZXPTdI4vTCEAYspwsDIe25Zme2SnyVrckP4vIJnoFo057KK+GXW8mTbitewBjsVZjedOdgA+CFd5zwJ7FFPScwzH0vq+wq2WTSBNpWhaIMx1cYCn/4gvAP5c4kDK/Q5bEjVC0/c7LL2fW/8TzlIMviAc/yXDJUkYON+1rkUkyRedfdKafvu0ze0SPcdcm2mM0FXWVoiUmbffSBgyMVwyxCNRo+xhMG+7Y4tigXagbN6w0pM+kyH1EPX/cRQEwCC+TZQ5ee/sHmZSevRmpxMBGLwBWvq5j3pG26F1jpaf3pCttMMLx8nVdQBNbCG624SW8ORHZTscKgixSV1iT1ig2tsYrNz7E//6o4771dPsUetNMkVXYC/DwQW6R44tI5HEkvgrKUJOsbjehRrAOqUZv3+fcDN/LHcvtxNhSj3VGWC5D/PQ7nSd5rpznuC63N1bbn4gJ5KdyBN9JaYSPRLfqimmLeHHa6/t54LpqzECsm/g0/KMuu9mCA9wvpFIpQR/VTBeR/b4MD0RmgbHrzDXhdvSdevS7NZ6KcxTJX20tXfnH1vgoKcHF5YvYhbqxiPFzYnt6T/OIiFGeM3GFg5UG7J1bj1uQS6WDRo/9kucesGbPfUcREZoFoMN8iOAOlVZ8pByTdA6DvXZegYWTER5RQ+sjp4B5K5HyDehUZmai07zHrgktRw0m0I4AgQkNZ45sGbKx9NML9W9UxO4JA2Y8T6NOS/rPw6eYfUO1OE7KFmvkaSLvKq2e7S+ZvVSxNI4TZMzEZIJ0P7LiobUwuekG0vn9f+Ixhrpt2jdHBWDeq4+nq9SacCfCELfSKMTDJKM4apm8yxan87mHbpg5OrDUFkD6bbNDWp/VEpOMPy8PCLjrjrzjZ1V/KsriyXFRs+cZlPi/zKbWQFluXE9/0iFgVPuC9g2kAkr2FPdFn5idG8QPtsJs8DQi+erfJARtgiZnznHNVPDB/OfjJrk9hWF2f/JAoHG5Yq04PLx5qdX9sFmbr4LFE26nPe1quRJY0qzZaOuGkBX13phbrDpG+9butRiE61zPieHAsR26YYG+eFreaGQ2HB4ZwGl/A1v8wvB3zV2/QzuhntrZDayLGWxn5TcyAIkeFPd9ycDU3w30bX/aPkGM8e8zCIde9CTRIk8Xb6ePlqKSiDBNK0ZrM3QYXzYtE2pHhJZH1eHq8DUFZ+vTBkhTWOHZ9yzGqgpbu9ZzTHDPTahcfsZmeQLzcQexGxQ9t8yEHt69PZ4IOnxEHuK1sUcNNUPoqwfbpE/an+4Xq2FEFfD/xqdPkq+OIIbeaNhELx7zw3oCdd99G9H2Px/x+24WNGRA+WADtVk0wuabRmRX2rnv1tu3JqvzWXC5cMxUn/7tyIEQCK5hwtj1sS1Q5jEurUs8JBgYpoxVkZ5T1kT6zV7AcYx6FkIDrXSNmsOldqkGxK/eIhk+8b020VipitkTnHix+Myke0l67cmaT9rQPOJc5rr/4ig2w5J3+0gH4aELi7BHRZhYy3278bJKphyDIppAfKYP6HPYG/qY/BPjzWo2rq2XtBZZ//Y8vfbKifyhuhAURZrosnO0texXYNvrzY9l/SY+mWobYS3LLj/gjAaPLJeko9wxNkb/GYyU3VwFr8wkYnlE63WNw1Ij4noleT2IU1qQCtBXiZVnLHD97Y4H0U5OiOn4i3QvOde9U+2HGKW5y6olk6+JikxLu8wp524/7QKbUE4UJbBch11mDE07ke8lxFxW45tskAIkuYhKyOa5t75OIzlt87/q2wULJiAYSgswbssvqg6xNd322BIDUJz8JmnPLEwSwtviaHqTq8mmD4JaHoER1J8xyEHkOLnW0mvMnjpyOTe0iTNJSSHYXrCZ+ubFohGCEBOYLmue9T/aJkNXiopOkV0iLZxRomBhl8lwNGGP/cIXJAGMsoXG3c1U7hk3sMKlAYSybVU1Amr2uu6yi+cp0aom05zCXQi4sXOikfxpL7Ib/cF7CcL1IdfOb6wtIrkBwc9xmfcBfH4NqXk3p9OgdjW/PZNzsfuUo52JMk7kvyn5vNP5sR96x8Z6Tl/NWDJM0IQSfZna2/tz7cuHP8lQFJ+pOyjy43eLfpK0CBfLMG7RzgYocbA7IqoB/LYhN1hD33lCPIy+kOEqE+Xyj/maEQnp1jZyRB1QothldSa/F17PGNv0ybKIki9bOkcrBhKdGDOWTndX4Q371MQIx49Kt5UbPFFCZMYWTtk5cUNgcan1pzm4FxWA8Nk9SOFf5JnFq3WsIUOQfCJs2Y+y8m7ivDlEjQfvZaFpHjvzT0oxEFFRbEJOu4CPqwKG3/fNCSOmymx0Cm+v7/YhaiDeVU3VEb2MBoo2xG/rzC9NBor0Nf7za6y1ULJ9rmrgBBYrmJDryQsHjawfBpAXsKTDMuWo/40XvMXXEM8fbs3g4JtUtkq16XzVwo3FxuFZGZopxVTCrXzVF9iRnpA5wiVsB1u3sKnIHZBMELZBSbTXgDbQsA8yTurbg2pRJXEL+bD2dBqJeYW0QV/bCs1OoHBgQx9nOUP3Y7CKzCZNGfNs5sKcPrSJTSlMZhlmltiKYYHDhRX2lNyDHAequ9bL/Cp095QkawAOpJ09MqR2Q5O5oV/9t20m9p1Kfd9qp92CYB6oocDtWwpA12aJrVK9QyWqh2Rcj4h2reCHqzvLX1i9P8OohXKRd+Qw7bwD158rXhSyqCMTZXu5PFv0orPGVC4FheV9y/lN7MQ/9T5qFVL6fnHVddVOuhL3y63qMJrGEVUDlFZavEba8fB6z/TE+ZRUcWXacM83sdQy7K28lHf/ZkLkGbNaHpPuSww2B5Ysd6mSQJq8XSHkK1K4fOjJmZ1sElMyufGY4bmSj7b8WO5PNXLTfKd3lb2CxUtwSxggLtcw/tZQUxXj23+mJopDsJSQAwaU+QI0x6Ag8lq2Nc52kONLMZInpwOss1OjYoeotLTpwohrt1TvWTx2692vdpD34/oKtJxz3HLhU/X+CYBlqLtxHjYickwJitxS5NFmzCP1oCT/OqoLoszkO3ECF1UJHGp+Vt6HwOK4D9JPCx8+Xadp1DRO+4RbRxqlu6XSODfT7MG64amrPD+BkNFfDRurSpqEgsHMsedcKFiCBPUzzofXMAmAxO2xvuibzD1mIvL5f8E51rdplZQ+Xs+nZHOGCYK6Foslp6RRJu53k7rwNSki7tsYGdtMDisB3kNm66bgjEX5KNdx60iuihbn64IkGNatBuJuZAEpXiElEp4bg6M1efyULHpu8S0X87DaqKx7+zw5AXKfuj3WDOk/xqf132ysnvKlqIG+R48quQReuc6VT7Hd4ldpaHBPuL5eAAwH4Nex+WDexIOZwtvEL1K6X7BIdetA42R2AeEwap+AE+fOaXJJz+WnwJ+H6VN09ZEiw0Qo79Oos1ySRN2t+Abc/5KOMOIAPZYgcPDj+kXRtXdwjXvwvl9Z7mUC9VX+lPlp87S3LigoGdtr2511jPWbsq8g7Kth5K7AnsySHmXlWNC9aJRJMru+uafw0S1Ej29OIAa/e2zeiepONJSCONo7n0DyWOM/96wy8Q9mrrNMX/wV+ZKeCKTa9one2/FM2z2RpFFNahLrxuipV61OV3IofeVmhffM7Gh9/ez08BDHurTeh4Gqs9D4sm+MOREPLMrln+MQ7lniENuqS1Xic/T4PuXT20YIPjBPylMbBbtsjVwKDtAGyv4gXawI1dYrs+Yl6mw4x81s9fHdLN/pkODGo+0GT5bqajU6h/QTdSsYMYm7ZZZy6qX6wO/UAHqUSABSOQbk8gNV1jehdIvoC0NPhkvK8bayt6xB4mxlGtFP2jok3954hZCZ+aOkHcAp0/7gTmm7uj+4D5s70s8fqiNE1Yt6Fyy+L35jeF+OOTIWzRFjwiKjRh09J3sJv32ZWqsgJCS+ngXxWtEYwi1HmJhAfXC1NqNv45pPKF4T55EwKAQQumoFHah2YuHZlZ9CnCalZLNJeE4xLasgEcOWA6qHM1TA0BPLzQ5wUq5+asKCDcHJZnrEITPhy5KrUWWn3Bz08cnytdjXVtRIhQUqMha0ZM4gd3DOWsw+Aa1ZmioA8y9NUFi7UarA/WyxxQlse2bSMKtc4Z7h1blStuv8YSS90n40Xi0aH7sGI7WgkCBflDgvHlzkduEo6Wy2f5Z1/h9jbpWgZCpcmnu4Gej02ogWx2l0wEyPfEM/X/0AM6QyrDkodnMtszzkW9HbBIu2dQsZOAlXNw2iUPog+euUyrsXWsjT1eJgFNGiSu4b+3i4JTRKCEN/WrNFkIkl7T87PGQhVJydwWqCsfoiUOveWorKYP5Y2Obo43TlIXM0qJPVc+XUu0MD3lCx3NAsn6zw7zm9aR9iLtf0qo/AN5JZYiwRWaR63BEZ40QxVzIe5WA9nL+FItt9JKfVouBk0YTsZOIPA9s5FqvpTJipQTPH4C4jNi5fLuEjiJnfdBKak1rGw1ANQ6xKLlRUYnshglGe56xEgt5X7A8TURAi4jSUhR3NzQ4708KPQ1Cfb3pbbI6VqxBSFgx8FsXGvoXjdEIadBxDTV0nXQ9ixjEed7iQ4egyu1EPr4I2ctBSyfELWJyX2ALQxWUPEW/WdgiR9lrZ9vsCslP608jzklY3H41bpZLJ6IxJnvmoEQUrIuf6Wyhtq0ueDrv2tfbeK2b93v81VgsZVimXY0+NbkfkPV7ddpLZVZqmuHmreBFGaWV/f8UUA9AVa72mLlZvx8YTAMUA3xL9TM/Rr8757uRq+LOiRsRsmZ15UyO6SBdODEJSg/pgKogqsBewCL1V2LnyNytQ/yEjjUzfIJnr6r2Zrt6+mT0KWQcq058BeqRk2IISLTo8mtdO1LJ8QUGalOo0C6AjGbY7RXLywLBfmZ4h1GwsSiLc3vWTCrfDtrdcwz9OvSjE/lPSv+Ib5OIkNKKjWiTuvWonAI1Um8XvDJi+ueV2h705HT3CfHyLqLtAF6upIBn0iK/8L3tmHXnSwxhbC/pSotMLVhtLuBuzPysCt3CbyFetntjD/Cb7S3s2YQ2gryWLKDIlhzJ/07G6IrX1g2MuH2UfBkJR+R74oAbEWDBf5yAMnBklqF90UxKiBesjC7iwej0ASn5IHArYahaymSA40ohnuYXWEa848ptmcvQugk1VbgTiHblGd5s/s2/e26RI81QoG1ct+mcHJ81Blhv2pCrytglmulSpCGiGBHZOZRI1OnXkqxirgcEIi5l8pdrP+YLEU1zNDjdcmlLXkd2/0Sv77TtGWs6Dha1+eyrz+s/RRTsOpVFrA3+3gxVum+ulDF54o2RG2pIMbZilSMK/VaLe34Pc4KCsu+FhLgvB2gLnWaB/za3vtyRtFK/iWwRsYY+N3Y33QPhMPNsfxLFhYhat8KiCuNiqAGOtXredo9Be6XQgdicihHhyxOodbxfchQiv5dQqbXoLvf1XAm0Wyh6b5DbZgh8VACx3HkSYEoaibMhitcNlAwtoIir8thWkMwe7AdAkIL4f1JEyCV7e6eh03u6mGLBy2oUNtjwS+qD9Y1jghplPDDZPMCPQjkuW6uYGIx+x7HOJ2PrBkuPe6jrPGJu0U6BVFQNuUAFvPrH+V1PIE2YJ/6/FXpR+73WqC8AXLyLfJAAVhSsoWe7O3Qr4Vctt+97ee2bLItawt9zZa3ElhFnx3wWF5EdycH6RfPoEypmm0iPiRA1ksYK9vFVSbPMWfmrWxZqu3utb0e1R5EC/gQdzgd8YVaLzdZZa6ggxuLZvuPOj797ojrWsDcXVi1X+95KY8S5qULl+OboR61gmL8R94GIB8VlGHSaG6XY+dbZopTJnAPKzloNWH8q5JmuARi/B18JiX0p0H2/b0EnOqusuphDp/uHXDa5D/yoAnPKOXQQHzA/NUhy0Yec/duc7QPu3f6NbaTIvnH6mBGsLn7oOd5KjDU9SJD8K4eDrtHgv0kjPePP/f+Ao6CpfAmbgX2GiYctvy/+PlUK8ZXe4FiJuhCQ1U0dd710zxbK0noZxXG3svN5thy0dYAJFfk66Yr/0EYhGpzSsR/PYQDwIN1qpeU6q/WZ9mgsslnlx0wJl34q7uRd8SEb6dVhJ3sgBo7kmhBIxB+N10TH8BIXSiZRh7r7ziINAR2K+EGyJc4pC7zPU5Kk6bs5MevPgeM0zpBVgiApn3p6bjVaI6XJlpJDPf6NHJzWMT0mEzGxVW57pqQIeXcnUVxta4WhR3gtNokFIsU4jArQScoPUjyWOhTFmx1E8QLe3zVkFHvlLXs6Qz8oj74VnkXuPBclshkZGh7oLvmCI/R+iw6hCnGKLP2N92cYfnQVVfC3t/GKffcA6deJijJMsWFkGIjQnHSqE8QhbbRRp9p92raMOZxfKvJFoXgFhtsJL01d7XrH2mqZzeW4BQGwWOzP+uBtH6pg0cK8A9DDTW6vHFSql3D3WbK8aK9rsgRKU077j0HB7ag72hDR+EjeiUGIavU5IfOCNTjkM6VYbQ+9WYYm9E8WEvpcwZsaYtSAs/9rH3ZbveAr/91vWNGcmtXsYTA1fRCA15CSmL+vy5fSHIHUDhLeN3VugtXCCAdIAFKgTJ4YQyIA+W5MmiaSIDhZDfjd5Bj+jhoaersnKqrbAJei+/TPMtdJ7AAKTbr//oaj41pGbUILAlUEf8qbP+uGKVgdlKfgwWYZfS3O+tZs7KNdTYXy0mb0JqwAX0jmToFAgt1p3078gya7k8lWdIlUfQHY0NKk67ab2PiRtFByWsYYvweTVEXCgrhEVYL+o0YWGS8JADUhqk45tX7h/FasPcfxXg4K0YGyKRf/QSZ8AB/h/BQ4+w4Csa7Dh9VLhbfG2tpuCnjegnoMm6Ufvl5+twsrS4T4NHqxatO1zI8V6Z2TywP+lCOS/82Or+2rjZYrF7EDMg0L6kqUOiJkbb98iyO1138Lvxf27Do3HdngW+SpYNMse6GjvSBwkam6wMVbbSnv/CnQS7bLiVZ33XwEFEwsojlv+WQPMYTcHkBXmiSGGmwV9swAafGqQ+MeFZtCCefSWTNOf5RChtyODGgntqvH+J+Pjqq1C5+JHcIIxxZwiCfNCTmdhHtoif9PNGXHeb7shTMzU5l6MbmM/e303QOKObM+deb49R/uIy+DMbpPg0GlawB6+nWoVChknGFdFBASMx3Jyj+PgkL1ZHdp/MHnyrl70no8MIi05mQIt6Q5KGCHiavBVqVAksh+j6D8REszjPb5jw3DzXFf4vkHtHVAnEfftSGyVrJB3626+Gv3mPvS2lfLEmVJSIVucqDBrVPMoEXIF7u4yI6eAEc7IetwRB02Pk1p4A5rqQxrWazEvmNkbvG5DXMMlWpcxF74alpJhPTbiDugR517QFJs4WGK01d5+FQDNfsgM6UayGcuhIo7DiDkl/t4WHeWrFIQa5NYtXpw3HVXL0pDDh4u0ztvfVLNjfK8PL9KkMbv1hpC1uFVpTgPZUJ+DiROPX8EPqhH23bgQDcokBkfU0WPzmbyfZMpjb/q+vBAgTRLmEcerAJOPLT9Pzxd8jvv1eMKiDXy82RSE0Tsn9zIZqPOoPtdX4n+NXyTGjIEZI/6naxF6cmBEbcy2VVTayCyhNPkhbd8njnHFBAYSAhI1egcmzJIwNX89Mpdip1EYLxQYmG3TPDlcKhO7O4Mn8x6VmgVgncXM4fmfFkqAGyDbqvgNLMtZ4ICH/hkXOBQcK2TAP+0Xoje/s5+mmsq7iF7FvColTu2tGnreFWaroVGFXs1H1VRJMYvzFtQZUe0hC9Xbt0HV2Vc52ayu1i93zShUDcjYxIrCK903ovbF6njODdnpLMfa4o9LKniUSOI9W7csZ1nnfb0av+318N1le7vxvuWUp9voa59hJj+C7pUPVvaLS2/vbn+uBrxpUoIVuJDEdsXx7FOwdZWPLR7H+RmOQevs1iY4TEi4ugCGdSdo5CTu/tfkR113NKnylrAQkBGWRc08tQGHYbWpWHdB0L11XxMqQ7UYguWO6/gg/oZ1MpVcoTxqmlOliZnJXuQAK7WE/qUtLH0U66w9LZ7QKEEe/szlsaQm9xr0CAHHUjUpP/piAvlXyO4ikSzA0e5/Cl20Wmtto7LPdqkoRHxQ++t5cJb6PW+AHoY9JgiBVzbixEHzVx4GbeznZiovfCNbLMRlO74Ku5boPDoYifHdsck8qrIIB55XV0OZGB8VrNzrDXIUCoQ9FvYMg0D2vxg7ZxEnvdQXPe09Dhb1EIiTC5F+/HfruPdXnmj6i5Poxnw/ulrhBEuUwZq8aXkm2b3cQk4//GVjEHy5T1Uj087CZm/z1Uqh9GoMQJOao4310QUcEb2gjz+qoDXvF9eNS1v8JZ86e6nSvxuywUl/BSJX1onBHVSivq+xmdIYgZOjbT0fNf0hL3ZEc00cQItkGcdzvQuZVE6rc909ol+VR1+wLvHHCJlD7eBSbQDwpFlY4oybo9NkLuCEFUr5ZuD9CKULl1GFQ5LrQf3DfkrcKvr5sJy/7P9g/rfoiZ7yCtgcOByQ/HYT3OAVPogIGj8D24hZ5XH6A33Z7W2H+LJqeFuBISLl7NPkGNPFJutR9hROJkOI85FyL/GisU5615b4v++0nHAHxkSOPEPErziRbUP06TjxMm2EsoAHYDDuEWScTMOuK78D69BFeE+5Ijc8oqFlzO2qshFT4QDalPH3Cp/bY5yRjpb2C1tzuwhlrxMPA2Cu3xlNjxiiKk1tNkPrGOkjrB3xgK8p1tPU2+bVDW4LSViBMhY0Gzn5YFXAl/ousc57tHL7EKnZ6hic+AdFB/KfuztqKZ4UntXHjDq+Q4+Y7D1X1zYSBRC3ZnP7uFIJrTWh6alxRBQJDG0NGG0YCH1CCI5H8rxrOltNw+adPLaw8hBrIfmU+6EWibzKjZv5gBRuaF+Ir9flS7YlFi7pkgKe+5l6w+LryTCk8Jg+vBI31bXEQ87ahrewFZPrAfH6uxzhQ9aofALeCKjqMvTusH5gsL2W5U1toHpgQa1oA0iGTuOyIAM0oLokhl75VquQ059WWUM2a8ofwYDe1boXwighhRoTW2PncNEKa+QbfsYdGi/UmfHIPKH6PZ5xxHKasdrCA7zbp/KX8M6fEqhMI67W/GMLgag80jmlp7RmkFTQHOLe7sekM0ApHZKwloswdMAVLfR3+hdazBEHQhLRT2SwbeX14OLQXVsc1/+8J+3sbsGGmpOnI9magsMunKJ3gn0lqrQok3xwQM/SYFB61D0lJAjJCtt6H/ANE9dnOQEUeWpltFI73CG1OGPJ8ml5yZ0EuNyzMO80gApN2S+89L7rmgm5hihByyLPR0rKs2I9jRb/c4pGAkqRdyTDOeRDt7Mlaqgm4zSo8B1iv3nuWVnFnLcugiuH+Zcwm8wi6B44ymHDUrvmnVh0T7B5vOYdaqrM2YYsfx+GppbaUHDOiEw3JN4pYTZVx0q7jUIHtbLJy2eS5twnTiEJbTwfLjA0WmsX7vz7L8tn4EIs2O2qbzfLHKLo9VsQe12/+oUaEEK04zvYY6xqIbNL1h9KGMZp/S9nam0GTjN8BIx6Qro5XGy2hBmWsPym9eDEwQICfK07+9N85s9GLzK8OdFALFCyQU+AT+DJRKSYXTz5q8ZJ0/VJWmWT/u0vFxHN8BCHoOjNfRvQSFV7ZzCF+Oq3A1GuoOTrJ2oUgmfSW1O3hx1Je9sAef48w2ULNPL5+ESljqerdkOwWEhV+Y9sQB+x3/xzLrJTrmBedpJLc2CrDFIX2I2kpxg/h0jH+XC2jlEjD5qdXYLF+RlVyYO1EXrUchWgPRth93+eJDqTMLyNSuq1xvWK+X9bMKuHzIgspkuPHgRlvpfppR5Yl+FlKswBDiMCK/hGzTOup8KbKuPYGY62xkpbi+t0JcgZnjOTZvTRLf+g3JxwtR5u99dBb+p6EoFJvD/5ybnV6oW5yk45y1xEdlcSGC/6+GI/21zWIkfOusiVRmofx+pxI6r9GtIfQyJm1gQSVpWWDXLvKWFX8/gfHFZPNZ65Uvxky+bCOEu4JpIrLb65fVlh1SA23gW2K2pRHFqFJOK7hIis008Plkq6PmWtZNNLfC0rKq/uqMbheFby8F8228igsJfI5RhOHIu7E7Ik8Kbck7txjIeFA/3K3O+x6m4uYmBGRxOTgN0qquBkm/Xqc/YAQ+Q8K9ZQOPmo0J9HVPxBNxtcpfXwoHfoeI3DzCv76KNKfWoZxI1/GkdKI2ZrDozGMLZfH38pTtJaV1GG6xem20OmyEMy0pIjzk3RbTvAJ7VieJAMGOaf8pkggedcGhBJSIcRC2APStryjWMNl+dP6ioudFsRnMlc17IUr29eN8KReOJELL52mP6OSaDsvM/ZChrT+dwf/DOfmv6bWUDA0SEHmf3AnuWLjwJJXod3HFeE1BUdVaBm9yCI9lbcoMUX9dEk1vRp3rGiCRXEOhXLclJEXYaiX2QpSls17Ng6fKPTWFk9nJ/qJE3gViw0mVpY3RSxTn7aryhRIyV37N/qKRyogGJl6fNQJYDxythltv7Zo3OJJTcrslkUqLyGiw+CaRrp40pfsMPdkSg5qsshi4M/AjrTmN0hbMPIIGnQAZOz8NUOagdTbulvxVrEeXC5rDRqsnHOt+Lg1oUUyYMuTfIlCQbIYGdyPiFMnAl3sFzde3PQLInB1VaM890gFDwzC+smZ+n6ASvl4l3tqtbZZbBI3h/7VZioInAIts2VkK17pdbU2nOmdPaXgcSfCiSRxCgL6Hh6kK36IR+2+wC9H5UksGJv7f9gQr7uRFhxiQrAIFPZ4QbvcBgost2OkDbA2oy4IwVAh0SHU9/Ic5/uV6i7zZI8Y51sLMktc4iSEj3Vsi0IKhbwsFvk+5bnqt7gpQZpvbv6kojPfFsqE34Zk0mAOMkKrgVpPnMjagGpQOiUbpAibDwBre8kQphR2HFiSaiY7EsJIebsmkik4qVfPQjxZtxoCb826hPRQRXxwnIhU1JwW0ltGE4SsodK2cDQYDuY9Hm5fF3g3fNQu5NaWUSybLdBl4o+MHKnnsGRB/PZBrSITV+kJHCUfSOpZESdz4CktE8JGTn7aeeqhuPHC87vmU1sjUIfNmqe3sGn0/U9LpzVSbmPVCIBCcMA/iQupxgY+E/Zp5HK0UcxuqQHnoVwP9vfedURac1YkrFR5fuTSmVyd51BreirqQajo2wqZFpL9fwXFIu71tuas0Azuzkgz1YuS4oeV8EbMnGJvZ9jYpl9/pE5xFtblTmaHY/irgf3j9YD/h1b6HEhLaLUChw2Upwnj65D+fxh3xfaL0uhtIOT/YQPsjLo8PdwzEi8YzzPMZt2vBcaClpx8WXjRlr33Y/hKYjz94faP8a+vBLnz/1BCWEaXDFghq2Lf6aGR/xwmArgq6G4HUXn+t8Sko6uMqRnv4rd9FgHIfIu8JGWUjHdfeNxBYEHug2UQ6odQUtgAHywGv1d6uHofrtRDkA4qELqkotQAtqS7j+C2phdPIeN9OfxRHoYCptaVU7/9JU/ppCusM3Kflx7hhFrxwwVvKx6A2/hfC/VHEkN63w3YVO3/EOm58AWlDm3Ku+5Bqa9baLwlHhGGwReiIlvIhNgumRfxJKbr0j8ekXusgc4SwT5SBTKYivohTELd+jlYySzhtp1cmygGZH7bB5iw9B2HVA62liNZ83NR3a3Eo66/jHWggZl4XHYFO9k2IJvwa9Y3HB+nuGFQLggArtYvhlm/25ufDkEe93aWdDLDszLEKtDORYkDJ3T/UXijX84rrEOU2KRA6GAdPGija+fe9GesBhh0HQSPqXzf+9eZP2w3XUgaEWx4WaESKSfVSM9rkzRwByuekOrV2mqw689BKvEYAVle4C+CBGCnBVLR89iHRnU/eCCwmNDiw/f5/+nqoEVXlkJXNAD2ESReHgj3ARn5GQ9Xkok+kGO3MDVqcZvg2sRmXoH9980tQ0rM+bffEjRcfKolmCOfkEP2BzcqT/2xZqnuwaQqBlZNvYvEsPe9aYCXvZygF5PAfVmnZcfbpzirhnecAxW1R8r4ahMPhkfzD1vYiNG9CUp9EIO86RUdp6ys9FyrxqlRZXp4GDxraP/T0+hlbtNrUGO9bkZkiYB+aHcfRvWP/S+7vB6tS8beFzltoGQKqhYXXhcKt78QJkiNbFqqXele0Qc/d2AnkEGw/FLUzM9xc73NOtTv29XLyEwP6ie/5ExNDeUBLp4mwPC0FS7Ctc4HqQUSQpdyY1fJiDxvGgVlGr1cGxE7XHprx7qbSjx5jS7zzQkiptRurpfX7igi1meiU2LCCjp3BG6iasSYUB8i3taVvzSsIqy3OfE8KIJvhs3UvPQEyuqZ8PDQZMSNYBTP5h+gPoyAfiEPIO04wzWs+Lnv5+gClPAHjAAuI0WQHpFgGCjzIVrpUdky3h11Ebdm3bGtTCVzBjAU7KJIFSoIo9h4qQtENGAnbW9mW6BNJ7JZ/Wv8qjbZQiZTdBcpIp8EpqJGbrS5f+zXIyErAeTedkodIEy/BMwPXTLj3r9Gh3ZifnHx6Pwbx64yR6ht7pE+lrnwTkmjytNYKs6EFli/WI5tdAt/4inJnNLSJb5Khhki1QR8F+Xid4AKl7QhndWye3Q+EvsbSdQEXcMrtD2fvi8iR4+CKBljIIeZnTWf08ZB9ia8rZAzQbNQAl4R+1Xd34LbX2WK4tJSXBd0KznetqZWDjj+yqu3Tm8+rmin4eZSI/WozXU1Ay2xLMjIGdMPT8/sVBaRFKNpbrlvH6csao299xk3/Im1kpr0ERpmmejwP+a3jS/0cY2T6Lh1df+Q2/MWqwlIx8RspDCGQWtJbcPO6PewA8S88iWZWBOEBXHyOT51koKdyfXmit9FXJOEa/vSIZOwuLBkDAJCQHd9uQj9jbD5bxrs22v6vBl32+E+CsZsKULZ/eHVpKnw9JbV3wkLFZ/Su+TVQM0xwROOHOBGO6bWVYOxbJFVhhQED2yEkYMO750NP+jO1/TsdNiXX6/9JQBLYyUQzu5ZHxp4JTALqYZEEGBB4uDhkHcMtLZYxWO68CDxJ+6M9FIjH5FbFzdHCDu0CvP3WhSUnY8fmxSXHowqka4iZ8yvAdVHC1BM9DZxg2znyWQwQKGfF3Wti/NBEmqtOvvXwEX/ltzp6et2jDzsFA0tu1QvsF/Yg6zdjSm6wf+i96WBC+/tEItyHg4yvxhLrlafQslFyu8+YmlgjrcVWZozRcPehJF2dKVwBRVI5nO4/5iJgdTYPVjPbQQ1KAJOSoHKYO3owUzAwVgp4gHzZuldNsS8iQp0pfYSNVFriCqs3uA7iUqgNZ9PLkApcm1vygBw19erbmP5ToMsuNCW9BdBUb7910lXWyCBOAF3xIoLIfPy+mkYg8e1llR7b78E08kemmTgvg+ZMU/SQrnGXk0oKH0ccggnAgerFxDrJIRF5Eiz/DOppG+kjDhR3eUJYpsyY7DDBzt6AS2iaXy7+8tdnaRuoIpS1XajmQK88sn8FZBNaRt7yMih+wKXyHoDZ8jANqSWRRVW3dV7ozmEv8zdGiTrjZ31vCC1xjFY5DPVWup3RQVQlZRs4Mm0iNKcwVXGKR5hA8NXcfFvc3v5hQdx6+CaEF3hITccBtZJW0EW9nZVRjBljZv5/U1KK6UBHH9a8vSFEQ/gIS1yihoDHdLAdxSneS5nNUn00ag3xzH49ZiYf9nJ8IKgA4EkQAwvTs2n2H5EX9ipRUVvz7Fdf/9MFF2Q098cDncEwSwccuXdtY3spqLqdrj/jJ0gDFUSNza0a4EDq4eStmWfLbOE/ZrlcLGKM6K8MCQPRgzQgLY7HEfY64X1l0ULZ+KVDVF9zevzOkS8M1XsLajH5xxSAeKCQSeo90ocU0C5taMdgjnBtkv7QJ4Xsl0KO4HlmuZ3JMsqzy3KxdyLflB8QxWKPMfdFdFF7eFgLwICIqm/TbZzWnBsoGcFT/kHxIvawkUCPewoxlNqpUcqgLWFYbjjDdB/J5eZY8GmXZnae00Oxb3y0ceO19z1pgyQxT9TUPXsrL9qSfagjruKAGIrtMxFMulTCjUKnaT4sZ5G7iS2ewpqyN/He4d6xg5/TDh29VVNb7RaKVsBEa6csXdV7RLFctMVoF4WXT4UexnJ3hhJ1RJeCNK0bbsYAzQyALuxx7RkKTog6H/jFURe5cGDiJqxMWhQgFyeAyhGJ0XjqmZpjpV/+/MmIdl6CpLZu+yb7+XaT4eSYgHGBWeqq8anRK2bceR4GZ1T/LhjziFCDCZl1ZW1v3unR0edwLS7KRFCkVWprici3O0QOE4zu+Nym5Kr6YOO2SYfwqwcQ8nZifFdDbAzedaHGPloX3ef4VuP6tcn99S2Dft+JQLRyHohdqkjPe0Xq5fBWFcTaWDe2ceze/TC7w5OR2CnYSPTIWIVk2RWtqFYXvDc4qaRlihjuy4zei6sc6n1ZbpTueFPseK0Ymv0orW6rxgERm2rGT82vZmzRF+GQ0H8iuEKayD7ofOOV13vOBGZDb/9EdBzxo03u/2aPqMJJrYXNo/Di5XwghtuW10QyQqUMczqyhxeGXw/nwrCUa1sbL8kRcNqGKL7S+WIPVOyJnnYzXy6tFZVq+RF6b7VhT1bh9etst23QbECBYBkFXG+s7YR1BmBOj9a2yLvB/YcSh8YFzrWR3hvVUgo5jluz4IAQJc32uvdwbsVxwKcqc/nWupslX+l8eGe1czpgLoGr1T7qLrdSl6SGK9NOM5stwOXV8s7PtlTKmYkXEgEasgbW5fchMmQM/SK2/wOrC9Mx7THvvXiEeBvrmwtdQXp7uGDfoeuTc3Zj9vji6xGNWIzmjRzJIgPcHLrFtp2AAZp/nLX2KKr3kRgxAzm9eBVCN0DhxsSSZ3Y3VKCxsNYsxzxuJUM578fdJXVTkE+LaRQm/maA3BwR1RhnrSdnO4Aa3DKSfYy6jbDdAoxwi7DKB0xnYabn6gix12VYTwQCORcTFk4i42Llh2A4NIP2iU6dHL1emRIFTw7KgYF7hhjkBLkrMYGcwHWA8JftrbBcu+nI83L7XaAp2Wk2/6tLJ7s9XABxBAvvBZVUE1fRgS1mDFwbhrCdmDGkuY4FfNa8zoWILzTyediRgzF5040WjxLZgVBu/OCTTkBhNHlQ+HoP1E7dgySLGc3tHR2v9iAMgztkeFIt/lD6pZpSGwOQISewshnNMooA02KOD3FTkDz+ARcGnx9uwyUf36WNqmfQWUCN2urXbZ8uJCW3E/PuhJKQpEEkiSCAdsd7cJbvpbbQrf11OjamLCFTbDR03lgHYnfElsiECODyMU3GwZ0/Jn7kKcJFrj3p2zLy5pRDzY0btR00+6U0B3JX5mpqB/gVhwnnNnhR3Dl3BizRkTymAKHWgvjA8vQzCERnbw//ox9wk5EXayf725uWgGs+86k8Cs6Jk8xSpYGKu2unkhYKjJaNtQJMvaTvV8CdeNk1YM6300LmgV4TKWNvxlvtUD0rJ3Z4T7UT1cxZtJzAoRTCeU3wFA/JctfLsnZXKI+6zD6Ougdk20EstCk/a5FbnSXLaCC45h1/sXCLE+gka0EMIW2wv+I2bTo5EikWbzX/g8L1xOhv63dPDUbm7YVqB523VcEHnjh/PEEiJUzTYeHWy4YpATwmur19JMy2vkRS86Oge+IzWBt06ZJgjzR10IFJyaokk083YnDRY5OkgcwGzNYAXkokvWUIe6myFwJcU3YBSW6xLDXyq/o932PDOxtkDYZXvytnBglukhbqsSrQzScdlQo6bEDXRVjyX5o2v5weapfBb6JpzAGqsHmLFep8wuvRnMZnfiW8gFfENqR5nkKNbwRRROw+M2mEmrSquOq6j0J8/z7qjoQ29yPBljBv9CnS+joWiTjlCQUFn4oRt7MwGG/yN7MpvNhpWT+s/eNxb/MA40VW8ZQWGZtz3pcPX6Z7W6+xKhMQ7NzS4LngyN3/qx8prjzspxHCMDcvseSFCQ9SJA5yGxTTSIi+RB5FK/XQLYgwDJ8LHx54k1gnLIcyiWePscyyYaQJUAtIIujedEc5hRtFVXeShGOT0SDf0vG8mmRTWh4kNUg/8qgnMuuWYLznW/s1MaEX+2ivZCi+aDDC2jAgGrkR+RGb1HiI3ssaDbWuHnCQdlQ1iub2fSSoHBhVhtUaniloKydRAPXvq295J8BUNU0BPWQfK3X9DbhfzYNztpNDvAJp3ea8LJxFMiTQJyFjqtX8VZY96aVVk0sT/qMx9a4OODic//36M6bJQGQSkYvN0f3qtihZqf2z2aWt6EPQ6wjvGACplw6ir1d1aa17Z11B76kKRPzAJbBmXYd7Tr7Xoi6JhS5wsNJH505i00oJZcBMmicKNBzj6VAEzRJ6J+kx67ohs4O/qDD8u+5HokopKb5ViqOMw5LRYg3DYnwk9ji7Nt3Qf/BCPTxgq9OG9oltWVItnzN8LsVskWB2j0ZI65sV9fUO+zOFvbbWMrdcrxdkL+exlkV9YpUwWY+2T1E5yTj3jem0tC7skLdkpalCHSbo5N2X/ZZGr+trSjDjvxsxEZ8i9XUFK9KhNYI2IuJEEgb2wSl5dxj70FkwGiQsGoQ52+PlzIWmPZLNCWR5cdwg9x1s9wFLYGUWj5enGVNuW8jtccAW6TRyDs4YfZNOSSiC2bj8gmJSClu3RT4n9I4ZcAfjMSD+6Gi1oXutJbq9V2X/J3CIA501tuNiERH8uy3qAk7wcepgXtqUPKs15c2OxH55bWpL3lwZ+FNe8kajFZLpNToZm672dMP6j0JtJji3BGySWoNF4XJOZflqMxQDhmaAQQ56pE1NIadpr+Wkvv6IaRPZV9ygu7iV2y7eIFZW1mveGsH13t8hIRdGgyf8eoGeVFuujT/DqPBRLmRpW+C0N/XIaMVDblvHPGlesrd14OGEhnED4uCpPxPwaOthcjtJ2ZBnyftQlso+I98C0++WYwW09KCUTQOpaGyGjvDzcdF27nH1uZezUyGfTCrkp3Ps/vGoMJeS6A5psx39xnmqhE/nCx2bn1JD8Mfx62x6wlSXAhzeGMrLuCVmLL1Bb1hfc5VGbK3s0jYkfwV9k4xfbP+UCc3rZx+m7kTwWa3EcZj4REBdr0VwILOcUucTfRZur7OAoZn/uAn58Ie6tm6b+4aZcYYKwSQtUVIkwOUq/9UqXXJHnmq+Q3WzL1T+w4hdHPCw2w093O2gbXMzDLsWBmkGw4Qty+39lWci4tgp0fb7b+zMbgnce3Lr0gfu8GRyz61u4Ju7/lAbX04+9V0w1s+T4MlrFbHtx1APRhDqVNlSGo2QTyd7UMXWdokFxgheS7x5ndhsQB+egsp6L4GKiKEjuQ0dK5EpbQZAoGPqSAxXmKVBszHfN0Rq80EPNoF5pbmTAZEnfAHJI+SfksImoY7tx/kkesZHpdRfy9FrCZYB3qz2FEAbfd1i18035UoYNx8cpISJJKo/pcKc6cDD/j50boz+wAq6GwBN4e4VlrR9liVcVR+loysd35kZFAR7G9ib9i071+12AQeBFndYUPCaB/bAdKfT1PSWN3IlTl1nsHcEC990HJYMDgME51FiV3loHL1wCnnQNEaYXREmeGhUnE8BueKtFKIr0A5BcOz51O0TUKf4wq+2cdt7pQd2bZiKulLSHU4/gLBmS1BRJ1Dx+Q9ZfICFJKZB0zK0Wtvb/xfENspnDI5HWAC02OJrP+XfDWuXKAPCbNCJpr3q0rtBPAgcHuf41sJzZb2JjTHIa56873uNU9jxEkNH/DZzxI19xmRqefDMOPjwGygHgApNP2yeiOm+FKIPyoUnFciIiLlAO3bSdZ2FRt06ldwYdq18RHQCXUw+hJvApbgVI+YpnACLEMSLdm0WaoQpsBlLFigvYGMUYcuMM2i1PJRs7LwT6gHvc+wV3Fboy4l5HiHVPodVsBMq+vC5pXYegPCW75FNflKRGaHFjZid558EeSM3JIabF0wZbc4lZq01sVH/xaF65DDhdkPBW2tD/ZmB+JTOf/+Rn0l6Ry6j1eOaid+oVuqRU9es/He/CNTSYbBCmdkABmqg+N4VZa+Ad04OL87TEM9OP54EmlYl54sOMMiAfV3hyzxGL1aV1NCIrZOUCOpFtjLQdayuOcMWkmuTPSaSIYVxf0LHwql0AdTBAVImNnpfKFFo7z+/s22zObtp7Yq/wJ2795z1GoQK/0SbQa3/oMDcoEMnU9zL/EP7vkpAIf+aGtQzYaQ5hFJbyqoHP8K6CUkPis7SadG15/VFQYxqQmX2+DAIAd7yFfBb0IljPOHMRF+g6WqWEI/EnjP+M8qoOAGje9PW2aoi+l7il/SFX8GbDW9GTu02hMnep95pNvK/vbDJr9jibI789dukHUAVgKV8PAlrwky6pKTJRdkwARHaBlVhhWtCFoalBQxdHCLcHFYLXsBinIO0ulv1s57VAXSUo56nXLLZGfiAUUq/Enik6boksMXs9ieOX/f0W67NtzMn3vL1SvjSTsO/36O6sOQENUkQaQ7ajK5OEtucD5fTPVDeZ/hQq1gEgrB/qQZd/HUA49D2PAc8kljaP1iChzcIGFd6a6GwqhEXlTw6RobfNptn4Avu2/VZESiSWYHbjHsZ1z3wt9iVfcEtiIA/KCVXc++KedytNVPCj60Sc+E76tfBRix+Z3BPub+gclI4l2OiiGZcEgAYS9hISMJY87BkVipwi8FRPj2emEV/qobdh469Gt5xgitaO7VX9Dj7NbhlwkAX36q/lmU3kMRX810BXmoQQBEZUiBn8vK74O7j+PbiW9k1oWung++AxUsHadFp0uLiRo5wS23Bp9fGudpD0/q2DcgYIQfBXgqypHObJI77mbO6VmN9/+07rYP4ltXolh0V6/n+UOItf+EZ5d2UV89Wp1bc5BdbR4tA6F8/qRgqpZVyhtq0xfjrCJilnCNu/CjM1KkVZS09PksWBNE592WjNPbHhWgzu1/8Gjy/sSj8XiwybPfE5P83ajGos03cbZ75Ra2P7gWWHSmkuoeWgE2VjwI+4GkVOD3nnYo9EECkPPBMmAwwxam3ghRkg0Yd9/sGhS7GPieco8R0oq+SGbVKzJyBLWDs5prRb3Q466k0z5kph+Cieg+Gdc57jK8IzlSa0pDYCKWJWkswFbDzeO5sWTmAGImuo7NEX8HvMZruzOnYAObw4uw7eaMRZxuWL45rZ3gVX2sgRC9rvTfvzd9ZCuV1AV0+CRulJe+ShtiXY7GSljlIXRk8IuVbFggMReGlCMcjA3LDoLYb/1Ubew0oxcrAWuEDt3+e7Q8bVZukVvSCi3VNMRv/888pNpBSngLQlJBVidmEu42zFYxjyJgziOi5EhPvfe5MVsyXrlHCR5mZIoKuoNowVwM5w+6pnb8DOpM/cvoQsU7gA1hVt0QhsNYMBnbBMmPnqaWyQlOFzHzjEUXXxq0Bc4tVt6VdiRPTaWmcYiHA7oondS28FQ07YZ64aIVGoIioXH4z8N9dn+Db+eAhDq7m+IPFw5vOUsj/5MblfIfkUE89DDmgx2jEyttrG4Y3AvQHTLag3Qvgb4oU3JW1TE987XYRZFrDOX6llLCJP3CBlJV52TKFctV8JNm/7Q1CxtqfiASNPC8nh6kgFi6YvGNRTZ34aw2gAEAnkFt9qY67iO5SpLKcg3/dQ6edju9888CdoMJDcbmdHiVEZNW6g895BLkXkGUePlWvZ2GwFlQj5E4veoPrgYjzm8RgoebSgPUO12JNKXoe/pXonzB7GbMVs7XfE3BClkTOqiIMls8bcSISwhwdaqP7oejr3+Q+qjz12dP99swn6kbIXnlls+0ejZui4SQN2v/IN/1tnhijStQzOsHq6kNLxL11FG3v3xjaAZVL9TybCuSQ1aFg7Ofkf/TmapV7wThZ2oZfgavolyBoBYJnY9Z59u2OhPKWSy6WElGkCCLj2FT48rAREJ8xqOpvxVHVacUWdUzczWN7u181coOyyyKY5EdNpq0G6Px42kaHF6lt6riX+HZ3M0BhfDU4/KEZO0irr28RSbxcRQ88zH4ubnS1k6G+XXASfCb21t5Wmun+jMJjSAfFg8YT8M3SeCXHTO5pu7sTDJal4jDnvQYBHRLrptqCpSpkJbJPSl0+36XX89xsoKDIvdAn2LV6wjSsLmwkCNq4pQpWYjD85uQwRViBiWG3g7NioZuWN/7ozChLKmIo8ic2uyUbNeOJ7QfIqy3LTaCV0WJrsZkmqzl29nPKrQbYWIzX2v9taVbDrwQtQSR54k0Gi3rPJdNpKgPtH2Z5PZ84MX4jqcP4DIqPOTdRG/UWtlO2EuNsaMrtOBde8GEyzjNRdHKujs/0p1fRVjBfQgUGjjpFJbDrey25a8E6MDx0JnWSiWs1CSmX/K0wUhT/O70izzVzwRZhxjqvKpcH0Shr7Fxeb4+yNjRy3YwVSLlt35vrZgrRCotOdcGEUTEzxthv31dbutf+M/+mYnotcX4qV2NGFQ6LFLbqwITfNPcjv38dZ7jceN3mO72bczdOSGkNl6WdjtE3BPENGt8gG2thXJEynZZpUKPPNo//0C4UJJFA7NtAMlQ5XfLR2JSYwFxal4F5waXtD2uUw89MC+XzC1CQ2a2XJIMBr9wxKAYHHRd8UrdgZEkOQKCqJSyWMQ85sT9LHCK6zVQywqZ94n7A71RqSQjytozOowLzL+u++fKbOSvnqeaZNwfuGMPhlXV0F+ofPf4NfOyoW4+sojDGwbgFHONwtSUoFv6FrRqZH/umgsWhrvmnb+DNVxmetPndG4cChMIYGoUKncf3YFCtIeKJfyH1IKXld8ABgL5nN0IalvgvCSSSFyNbe4FF2yMaHDJGsNgz6s0K6uCxKasUNB49y8G+Vh6m17hyxPGP0/6K9EJLNNHeIJlWdN06Ws3dZRJeUdRDjXAPbm4Yvj8Mf4EFperIdFZEbuIaANt8jYDNaeTAmMK8rUHx/vm5OkDyDqcq/sQQ9WrEBxILBqpPWfeXdOZPuyGHe8gT8xsaNB+P1E03BtPMuRcGLiiq6InKyhfPi20AMSHVrqRnpVPKhkHhuSkHw1NsL82lyl//BN2oe4IUydQAuyo+S5wVB05a+YFuISNWfG/MTIEkIkA+ZZd4EZ8XuJwpcEZmYQhSTcBNEgPgK7FyZdK8MCZZLUvpVwECWwZZGaId2+OPitTr2p3mtDZC190SuqzmqOeis2kNNi4xw0iyThnTMrGCbCcnU1MYXjoxrGMoYMx24Dzg3vLxqLx8GN7A0R8GrYOlXp8zUkMtl591R4piv1r9lBIc8f6vFWC60PSe+UDdpoxfmD1MIxfPvoVEIXbmvbFrL6BjtSx8ybaRPDZDkIq/PSGhgC5ossFumAc3i73uux+DatXHwfduQtv3dIhPHFymO3QZ9OpDqwEcqPDdBIzOi7lT+qeIlerO059OoPcIk6VGQE2f7NzYTYrwiStlGeoYg7ODbmpDzRtN1ORccF1u9dAltuFuP5EO6lVqz4Hmh8+SThSlVH0RG5Ik//DtBtpRYyR1gxCNzrTtzSW2pE2SoVvSR7i0G9402ue8IyOs4XpS5dTVsrNEphjVwdJif9aVO0S9VRqErZ8QV3ds5QDZbkGT71S11X0WQfC90vW97PCgLSlN2U94l27Ki5U4kHKrnsH1uNSISnGK2HnTidQdm4JvyvfdM83i2NynpUK7G5gZC397SIEGevSXePIc+OEQ7Jq6ISFyFXrLucsKzQn6yJ/BARfNmmqakbCD3pPMRLhzCn2DxS717XuLpjMXbX7g4HQvn/XaXZ/yvW4iYnmlYKlwKWRaQkCeHE0OzazIVmbz01rU5ccxbbqOE4mo35gMNkQ+uadnNlDlIbVkaTomblnxQ/wEezADSEqVbCF6ysHIKvzAMcs3gnudhnQuC3ykYCXBmgUc8O7CFNfIyFuB3FSn/m4TvZNNLfJ5KXpA/+KjFFo48Q9Spw06lrQAqMOulwillJY/9m4hzQTEQNAknPfrCVqx6vXkfgn6ZAez2xqGGEakyZjtvrcpmMy2xFHxliOusXrnbHhSmzVTEnShWjnqoY8FE/Zx8vCNkltnG54JpjHTXa4iyzAhPOEOzveQLG57Zq1Ls35OugHs5C1AHZx85Ffslw3Y+lsTEgvJklT1+jKxELSRRscQOWptncO4rOLjt4Y2EpfFP2loiX0nuw5JxIMb09XuoMTzOGm6ZxGHBaBkj+nnsA3lFxtqsmwAAcdxXL28h7oqgYz/qCRnEhZIIMsSNJOnc09H1+X3jjHttHUphEIg2+8FUOUU07i7Jz+I+U17VjKeBDfQz/yNXMmlIVwRDRRZr9YxJF57a0rDQTY5sHrMlA7f4f68yJ4pu6cf87vVWQ7bVbm0X566fB5r3Jia8LEiJjb1oQat30Z8Q7I6sMaWE71vYT5UZF6F5mg9nPnWUTrlCrLNMkesHBZm0wkRAVGuti9vEkjGQUW5C8ws2W3IlMCkgaBRlG2fjXm499Bj8mzZ0J1M1VxeEFJgOgzQ0FpbjSj2pHa+Ihkd2OAWrzqjsV6B8l7pTJ9Jq5xlP/3+N1wXsQ9rN+f0VqqrRVAbjNel7LxchWG/3/OMtj617z5P7wiLwIEsLHSzPqKLj2/QU1oxm4G42R6vvQSCoktP9TmTWMQ4o8FmxM4p+Gf5jSSX15WJPvv5jikoY00NxBCG5cGAqdv9gOXakkt3AZiRPSXjBH4dIBCutlT19SmcWpsjCeytApvSG12bzDpEhvvMdrefUUUz88TJHsFNhJgCEd0/jD22NT7nE2YlPeGGLUKVJVuW9HmnoGswjYsul4vxuXuNqGlLQQtGnO8RmfHSU6b1TUssudYumd9kuXm7nPHEtywhWEl8OmBSxbBCxcp4tRBIfVwXEnYcZbqK2isR0vOJn2JpM1wIj9FqitfffF/sAxSFDfypwMOXU7YFofu4XQl3TpWIPUK89nalM8rrD/ITOvjvRhgAM/QSZA37Ny7VDP5YW1BpmuzE0c1XOzOzUOnFwjktqFFwd4fGVrsNlKyBLmKzBAXKrn7a/nBoTj9XSalAnVLxjq7bx1Nb5fybPC0Heldw+XXuun/cWHTVBRJjzvHbfWxJJW/k7BkGUn54ZdBjxsEn7BvAzW/zQ2N0/A7vfNcvCFs+Uk6RV3jbMKbVMcxIUPgi9DzP6s2F93XhfpOrvghVaqo+TCTMiNHCesWfTQA1usPlQ9DEdXMmJsdcxFDWmZKC2yiC8mlhOlQTYjvxFVCOx3idYmeAtJEhKuFdsa39HpbpwEx5oaPgeu5+6d3W8OoTflK4jT6qDIr3qkXIYsco229QlgQe4iUHNAhRonj4AvjWYYTvkXaLNTPEXki0tEy5JRKcH7Gaqq6TKvCWnR8LGwpIV86wby1A7dZ1KjMed6pmhOKxjvy9JVLrp8Cm1zQYDvJ8Ej+Dbwk/eSEBTr4aEfZM9Dn6CTCRSZZi57OtRGnZO8R+cYjiMgTv3td7cBcKK19RtZPXturaXlPso9aIxTHyKGHBvgT8PKUvJbFAoAlEWhadcFe/jbyNgaS+wWXaXjgxe5X69KLzJXYy7SdL4RxAjYpBRAyzk6zlF3SO8GwPqDth+u/PI+VPY5myeoUDMqbHI7C28OUqhagSlsEeteCOMu6EAsTusdybfxMudab6eJG+LTOvHq/tMVuCD18cIXtYQONDozptmxWs9p5DJ9V6a4mGuK44dj5I24XxKNSEqHBx/Oya+BKWb5vEBUZHEflGBz6Us/8aA6DX8NC29XKUrDVVCVBHBMBmV+E5hJgb5NCnyx1C/K4NqI4xe29ev58NZuWa6D3SkQAVJpuvAu2Y8b+QpuzsApdL8FtRXuyznjx9Ppl7KqPRpDbzCYgR0To3nAtPntGrsqVMoTkM0NZhlZyGbJUws0RUO2AA5LGL+Q3uOFnQX1prKFWniKjVPxvDw8edwEw7g2fvKpH0zKhOxRKXOVdAMphlE0Z5LD0lIqDEl41FuLWyUEsHi+Koo4UfuEjUuE5hK4UOesDnSFAbmKXKBwNc57j//MKn/xUVnQ08aeKY+1JN2xldOuSBVnxxPMT0J3C2XTP/kafLE9WjIFsgElLn/lYlCicU+Chx0ldmv4+GYY69Mw6ZT3lMmyR4n+mc6n1M7DbJe+q0YWK4Yhdzk9kHQDxeqsn3y/dw5ouwVyMp/dxm0MtJU9PCiMmoetoB+tdTvXMG8hunS6d7ZKnraJ5W8d4HRqtjuXMWinSzK8jIG254S0T0xJmjnCRZkRMYiIA6VLPkZcf3Wvrc9SWVBTeMw7jCGszti5jBFjFEXK2wA7Wb0gcE2l7+aieoXyXL0lpQPXy7JKntjZqAH0JZ1U0ZhQWe1WWRhcfkOT6u2yM6H7iOLHFh+ulOFzWWW7X8g3x8+jqVzmmZijKsYL6XHb4PpW82aMBkbYRsod7+5Upj1rh8lrz7Gx1Pfj275wC9Zh4oFfFSbzuzgkpYf92i2jFL/A6Awy2IrSjf8wQfRBABMLcM18RM7LrE4jK4/DbLoRp7TW56i+CLcNFlCLAZvCL8LT541tthSTP3x2vKUYgDBVex6gVVx9kc6arDGkxNWcn6CwrjWs0Dz/qgTlv/B9c7XWwEdgHySyxeiNN+eaFnFtFBQm2yKD5Ba0ol5+Uav+1zkxVv5PlR+d6AD1MYrt6iL6HBR7kuUqB4VU83OACBcvqJo0JLiC25QntuzIkM9ODdXSGkkgrsYO5qlXddZ6egWqY693cLoV6ufU/1I8jB4SKRvCdni9tSAfYDr4tBamSKx2W5Ocvn1Mp5Q57/DeG7UZ9iH2iMS8UkmCD42x1b6fmZTV5/kd7vNxKGicMkXXsRQvdUsxB009iDGz/0LOj0lSJu1v9Y2j/2jB3tI9QupUrD78ymZxXeevsAGqRiZHvolHiLWuR28S7iny6qa6uw69QKDXwfznuGzVjHg8jO6SdotZZ4pl6G3kSpdqLl4oMc9ppvupkDPAv2ErU6IARLN4ywXj+W8rqmhPXh/Cbqk+m7WBJ41dqxUn+HQpyzxnxi0n0GNG875zS2qVSARuBxoPXcsb4q9GVszRBZeirPlf5Gjn4YWcTjE1bJEXZOn7hNMulUiv9rPuMbrL4osgLDkKAr0wkbVnFhi1cE1mYn5lHHROcBShvKrnc7lTZdunl8GXRfE78yNswU6K01jvbQbkKuTHAhEuUzoP8F6spUZn7pN52FBUpH6BXCT/tek/69aBMvC/sLm5ek/2Qov6B4Mxiseh5+6E1gVBXitzzObhZkQgbt3d1gQIQad5SxPTcTcz1iWLwdPH6pFowdJxnuWCSGvSLVUBSDJ6q498vfA8yV5n5pbkVP2jmD4+EAuZvx5ddVlS2ElGW1KB8zoFEEJhIuw1iPl64iJpEtLoJyl+IODU3L7ofSXYunuc7SUOnNMz4sFb2MKsBk55+2nf5L90Y8WRtLWpfTUyO7c86e8142AR2INfVX88psOtEiH5M/3uZ06/nSe/zC0CDLCGismpEyr/+W7b4r+/eXRi+aVJ6Z9d02oYrOBPplyjuAAZCHmhRlsYjDy4aFhENnce9c+vfwK2ub9XOV9FsuwhJ+cEyhsB6aVybFb7meuf7hzeP8HnFaRFcxkTKJRuoiqiQ/A9UawDXIu0H8m5jQxXVXr/F8so/8BF9icPRroV00nBlAJWd1IHeFd5ioqpDcFXWmGJwXKcjv7qab3fCCUM1ftHA8fxvRxS9FZyqtmY2v+JxVm/lrrFAKsR7ogHYt7f2Vpl2X09nRT4PadQxLkJ10VZLF4ky1hniAUWjzM00SKULge+jROREypTcHRjSelY18XE4ElC0qZx5JJQP9BxaZG9BxgD+YCE28XkjCv29EEeyLfkZ7xNjSuAe1/Xc+o7crGXJUm4oqfyhdKI09nfXgGcYQVu0Rf3FdmESHB0PbT997TUdv1qraZxkzRajiZc+2qyywdYxhasf/uH/DiBftYN/Tv05+cy66+8CiqPBCjZyc8EyQSpcV/chJN7jIfBNPjKWg/fo64cNDMdOpjiwJ9mD6H0iFMjPFmJKorxrnP6oymonzvPjPSWL7kj0Up7GarNJDOEwwNh+IG2/NI0eccxeMDYviE1g4pA8DRVyQ9v8aMoPyRU/Ueodj6QDVf+gNVfz16IPzuCIOx+UV+1hjQu1/65EpQJzUF3CYgIHLOwju/mLQF+yHCxMFgo0FYmSRIcYL7+vB74JXoYXiQ4S2YuSdWlyedIs9FJB7CZBvwP0Ldtg40BmrwC+pE5bM9oP1S5XxupLvtfluoJqyrFZweLb6WUMtxY91aM9WLbwN7n75pn/VXH9Vaqa2V5GDCQq3TSFsxhjHib6pd258SABi4v6xA3yIBP3jxGl67+vQoNqrGDQ59rz4r+26iQxxRuPmaWzVOPAH6AyI74TNSNSMhwEgziMjEtBB89gnllwUEfN7FHnvgH+ZFP+6ochXAC+Djve8vWjbjGCZNS1QeoBUA8S3RTYx6POyn3EMH5VXzkv0imjQPIFUR53mquwrZHroUpTK3eAACy71Y2ONHBXXbrZtOATuVWx7ok7V4ud5dySP5Dia4sHuHFD6xgsQII4/nWFkNv2uIaoCVs8xj0bPDWcSVmp+6QqfCjD6axciMWJjoST3bHXzGMA2mS8B+2dIMyzV0faXcdoIx6BiF+dWKRrS6XWGjaxXcE4iD4EulMB6PIiLhhBN5mRFHwpyp2BlHcyYX3VA9humXVL6gkhTzoS0pRj/+uh44JEzwHlg3JlM5wzGmTNI5+g51OfCebLNswx+pISX9z/pOTV5I7jK5EaTG0Z+D6cIYS6Aw3LuE6NRuMPusFSwCWaQ7J1hQkIuNCzb/EGM3hg29JdU6ZAIqaQPm1ZmF9Z56vWxtxVCEUIQv2sI2X0DzhsuOOdc/BMsauReAV9RYG0TA3JMC2O6CKB3ubcWVDqi6reLg3bnXq+EGSrzAqEK6lsvZqOsqPa63xK14wGg7efTw4enzNRW3vD69FLeIrUCO/lfZX7AAAvm2r5M3gJbd27VBmUGDu0A4pryPD0X7X1tfpp/tvftFJEcAFlQlcxgXsMMWwMIYnvLCC+PnYzjWC1iywYoj05GuK2NpP8EBI/cUYhIFwpAMq4/yZDJpjv6f88vXxAZVFvMMb4V1K53twAJM2IwwTMlCRomHI+vodKF73IwiEFfhjxLetA1xkFuoOZ/cKBeSMdWXTG1Um8XMzuZYxEa6nkcqxrtEzOzHEXmfZEGfs2EgOqYaQGy+ZtdUNjMZ7+41bBohRy2RszrZ3c8d0TIQdMLU8zOi5SO14Y97JH2fqOWr1Zn3u9NLEAaqOYINcK0rNMYdolPbCLaUQOHbhkmDXdq3WA0iQiUWq137kvg5jk//u0cTloSz96/ajOeFdzkq4ibM8FDhKsHHzn0RsiOA/eBIpbv2VZnrnapvgHvdhMi8izXi+TTd+b2Wn9/AzLUpWjLElWNScSIibkvEYt+k4495MNKBQo12OWF7+fj06LNP+qf56HXXaPHw8SF1Sv+B08nFmdUSq8owaTQhVMnQSMqsODObm2QjLYqGE5RqY6Ebmv5V/AV0Z7WKuls7745oJbHDh6Sr7uo3PPY6kb47hE9nZfsdl2IJllB4outIe0Ow1z873pZQU36LHC+OX6HhmDCXPY8Kwz0tfEMsQ+2L0KbPuOh/BJn0iehAJTk+Z/dorhaKwhjm5nQ+7tD/vLz9H3D0GbdzKvX8jX0bT9HZRb6oneS3o77RFNfMI+ml8x5xrbo5qE9eSANg5vbPb3wxhD8jCtlP+C/1cIaro9DE5/io/A2C5+4K+pHLaYgFXr18HCg555yOz28VdtY46uP4sOc5pHOqffOTA9H9jGFz8ONqb2DqFQOV/c3UsD3I+fRHY578cX/xJkb0MGfy7s47BpUZUazvOl7OS1Kp/fQwvxlmT9RwPceh2w2PVdrMd1Q3C8oPKsLtYZAUZsihIAko4Pd8BSQHjhpn2VAI6ZCArW/qRdt9lKCy2/MmeB3g+PAdkt1PR0li8JpT37ezxgvt2UpnqQBZmIsi7FkvCggF9Tuf+iYwq8kbJ8P62JEh6e9khRiGZ1daLpW6RBAo4QMJjvMeziPsNc2Kp0ml13ECg2SWpHxrZD7RTmAkIlsMkS4uvDpXh0PtvC/GvtbYs+FPp2h8419BuTOugvKKMGOuWMDuBpyMajbxU6gr9FXXiG7bgIADDOlksLZ+udUeH38mouH9Rfh+Gs8EC9Xrs/7Vszw3z8IluZ5uKOdosJKf7z3d1batf7NP9OzQI9kXI1widcooZT1tTp6f3TTQt2TUybXCatwd36XoDgCvCCxYhijpOajJ0cNyokl0DllcXNnRUmqNUiyCKp4zIvfnucI27n9nRjnWgqfFsZSc1HBZvbYhw6wi8cqwELrK7lB3kjXX2YnqPA9KilxVbnZeRVVCvMQwSldvCcOWvkrH8LaFoZKSRU7C72PlUQZh7aD/pcOM7DRY4cSbkmi0iEIBJ+fBa9b0dZA3vlfJCpv1P8OmplsLuOSs6H+w1SZSpQN201wzQb2gcJWjgjvdGIBoKxmFB5lnQb6cF45y1wJ+OdwwMrG5OHusFSuVx9p3rCD0PstHu9UjuBQqqJWYtX43TT3wD9dAoHVJ/5vmwxayM+Bx83atGRlBG64LnKY196nanzSXgYV+Y+kftfVuUoMI1lvPqxIMYXvYjiKoKjVP2oTzSkZtpRpzOcIV3xiyJrUh6UTZaKx/9bPtzNTZYSkYbq62Zb2FgmKkxCZ1Plea+oUL+vUh4nxw55p2GMYgUlERKRbX6mhCoNUmzKo2ve/dFZTAkdmKinP579upWoJy82lShmHungpfELd+BBtAq7k8hxjzxWpYnHAXOIf6/z/OlEM1hU+42sTOAPjibQ8Rg2MqyNMOSlMRE6y8vtsIMuSoMaktMIbmrbaLUMUEt5kRkBcd4b2lKSiVaCto5JIhf5Vtwisoyjqpm5/qNSmzJ0Z6ZKhVzyF721I+2JYqNLIiHkV7Y7akNZFUdXzpk8OiXSmM+KwqS7aVdXt/uuKO4JpyZ8JIHVuoOI1JtpBIJhS1b0kIoUgLkexx9Q3ylsocO9IBqVLXKOwyZX+XcNXlJmMV0mtNSzf0bQVVCszbs5kTi9ZBNudBxwuiWQ+/1Q9S9F0XD/AXzPwTGBZ5qywVffQ4sqHkr6lVPvFz5cG+I149LSKauojkveKGP2ew/cd2lZ3h+UryCrUJcD7yAVwB5Gsc2ozlEMkjEGF8hxdcF3JO9kcC997ii5Pzcw0gqjfKfxK0p+NPJGfzR5O4bErwVYoChJkXZTr1iyE3R2osPnimTR7VkhNnz49CHdZR3cJD6x4czuVZkN+bD6Loh0R/PiPjnyUT8GQS7omeMiRUsZ172MAdlv4CHrN2N/pmg77vG864rvDQbXRRtZsads36qc8p4pB82LMyTLYISAjxo4Fb8HMTQAEXBUWXs1NGgWJlX9703Y+ZgYrrEBjqXMhHuA8nErXb8cLkinRterVgaGMr5K0HZdDik/MpAQwWqjsMD7E/Hq8QNmsgpdP/9mvJZZ6XnPIKFqbrXfwiGodCOaJpmIcEa4oY1HxItGs/h8H0yI6XGQFcMPGiQJ6ID3s2doaDqs3hEQP9P+O6YUsBo4lr7zILUTpSG7pzOcisLlQ1sQUDR42aAt8Wj0tbe2lyMKuc13E4DqIWwqJFSM8yQ1MPhE544nacecYj5kIrlFMZOdRbvm2VTsEcQgSodlFcSOyCw+FsVt8Qn+rLvyIV+iAZpaqjtMiSdF52z1HOpg2htetQAlqyHbtnIN+/ZXN/8LsoD/4V4SPHj4WW41Dswkopep5/NX+Y7uMdlo+qG0anc5kXnZ52hAACzfpDldAwXUkOfzdoSOJnuXkzJRJI+VtBxcwbIpYOqIVIFo8fK8Hr+uif0lhpMkxOLaA3Y/IqgZ+fnD0I18ExffFZ70zYXDkfYYSNJOhJDCvz/XsvMYjkygrHWCGsiKgiUtTznsvjq4tHjBFFtx9LMIgaA3B26EE7UYvu7uQq8PFCCvJqEOBthkZ2/tVL6R17Ys69unIAScuW4xB4j8RVkwXuxfWrHSVoezGl6Xb7J2oLoRYK3qe8vOJxXu4T4uAtQahNnhsjDJvvgtRICwt2ZlbUPBxqOUkKy5qA54w+0FNx9NxVPxuqeTyRyf82aR1zeWNiLhsRhTqsfiHwjPwl/ADnkMcGhSa77lynb2oCXw/TP8u8zmNdNUgrEY6UitWpANDrSU2xrzOAa3aPwUSrca+EDmFq8a01O2zm5IBTmIYK6JVt127W2BKSzLhu1uJb7Q8xoJ6uAbm6re1hjkHybKMYZe8A7EXCoDql/RdspgKmUCEsNkiGQMbs+Y2/TsTlT6qRz2vISNbk7sIjIS35NxzK0bMTYHCxJt7urEjLRdMUOtxJPg3vRC9NAMtsperSBie3vJj2mQKxvE8DhSJKT4wr02cfJhsFDTcO8IiDsshBJo3+IowtkIpjnCTtwrQV4h4Wf80o8daeJ8Romj7y+SrICA6A9l2ISgNOykXMOE10QP5Qlc4ApX2nvqDOhPF+GoLi1RoBQ36WbtO0oGTyjlbxEHl3AEiOEnSmjEtl6JbMpjpdml/5VutZevkmy091Xk6Q3VuQ4XCrELyD3eqo8gqtiQESjG/trwVFt9aesc1MYT8p08THk6CXQGRfWPezjvDwF5jzh33nXFVocE4XgOC7vY0P3hxWwqH5L4r8gxh2p93ggsYDcY4hZJswjtoCahi1pDyAQgmUaMHIbM3ZH9cBLXeMjE6Cp26LBadtx54EgliXGno58fvO7tgkDA8jgOAT2IB6r4rs+kaFGoC7O+B16sVcSjY73RKRjpKE9p45U8kJbf3EsaB9SDCWwNnuINssTvcTVrdH5reiBMEMbLQGY6XMlgZlFYBq+zn7tHofLk3tWxGqR+TZeWYgXACFVVPu9F06cOsHrMRcUABwDyM45E0RgVeAvXHmSmvClPhI5fyqbN/uuyj2k1/8ODRNKIBbnhDsonQ29vauKQna4Hi/D5m4pkI6e4U4+Hh35KYw3YIq6QGB2k2IeVJJiVSy6G1ZhMd8uO0xQmAZMv6znxsesZVB7gu7ipzn2l6ttTMTwqK7EEEl0mVperR8t2T/uYqg73F2P1FHYxpXcc6Uym+2IsKboXbPu9HX7MvRsjAnofyL+pWsa5+YlrHcJ7depMXcqQctibMTriIpyUnwxlEWyrkbQYiddoJ+T2/LAJ2F1QYHw/VFatmBz1krA9L0prWQinz2PCMuzbO72YdNiFI3ht6gpY0qhgg/l2pIe/tfgj54wMN2F5Dm2Oa/i0Jc4ORAtnYinRzfYS+nomrcwFlBviYB53Siqorf7aN7b7Q/GC37iE5JgYXoj+cY7X78NqL4zysqJOyFgoKEfVnj1mHhdM/zpLI9xuFuctUFQsC3ESgWBAUpJil48dgG1V1X3iC6Zfmj9nkSO4PpUGrF8ipUtND7F2lf8TovCql/t6om8cFzTXwcym45uuj6OuaQrUoYjPApgxNe0FBROSr9D+7+cNsqCszNutoFD/uyWND+oEngFlVJkeEFMiKI5ySP9WJChNf5jvLR3PxAWz3JHIWF0JUCEfGrPpm6fyBbaQR62yZgJd3S+TuKkuEyEiCpDK3urncPCd7mNv/2qN4zkntGe+XNSHmgJ8CKxcFlLWmG5M6tRMNNADobSyFLlW+wS30zacDV/P2yrc1CaqtnjBB4q/QPN0abdHU0Y8hIn6P7f0Ss2N6hJXrWR5qfQNCIi0f5XHhTtAf26q2hYgJHT5I7TNK0H9NIRdD4QhY7BdmvStwhShAi+L9dx02uQwnb6E3w2rpAyFJln1iLrugwrM99fp+ce8eoIW0jXuFfE0I6g3wqzKYFIKV3u6RQ3NyB7caQRkRmEDUdJ18pXTDoAa+XJtoNulDM7DBPxqL5KbgANKhnDQFLWL7bkKwMmfIRlfdG2kX7mEAA7A/XUfVnZ+rOCKeVhkW9JG7Rzz12fBpAteTs1lTOdxmGSDIFVVW9xViavJgsXF3BawposY2OGblLJ9+NBW8x758zeW2qPvEcmRZFM7timeehWxgN73i/pfEEhMIA6Do1JDlFF0cZ+D1zMb/m9Iz/FWfoLc8/7adgXe/cpvfkUr70tkxomygXx2MyvbsaHqtkYdbtc+gwX+raBW+RaGMk/4BDQXH5ctPMirtWVN9FM1MDl12idmHSwwE5BseI794qNj7FXEj4eWr29kLIqigyJKq3Lq0uV31pdS06+UG+2xRu2KOEca8vl5Tm4glUycgekgEHetJPUk3lnpNeG520K9TE8/6dxEABb2+pi5O1JF8k4xSAs297XD09y3lqfuBHhOlc0bITct+/p0FB/h4zFfn51LMAONQGiHDTYqJya/ijetW1aCl3zhQqyh6Wubsefrrulz4ZAVwhni/SDD8T8f8OfFAd4Az1WfRxNMOBcwtEuBt21ggVqgocC2oIeFjXf4uYLEWprM3DSiUt3dxo9YC7psPMpwUFj95JEpsZJudNmT+c0FOPojdCQnLjxERngZEwv/FV6bbunMrzpy3dY2JDBVxKaTcTFzUesk2DEHmYg/5jFY8RoOZhPZo1pS86MAqUmVz7sJb6lSZGxnXnvBD5n/LpdW58FQwymJys1ON/L874rswa17eoL8KyU4vNv+AjsErgYOrV9E9yaoFB2q6u8XgIDdO/o2jqvzAfhJDBgRMaAbjJ/2IPiiaLCuHQAy0mrJfKXVMJXJIUjI6mXnrv7v6Zkj6d3XwwQLuaPue2tnbTfGlDh+N003+F6fUq9u6UuCyfmGPa/kBtIG5mJBf5wWY4wv7mJWqUgZxWpQxjMlFroyBZXDm0xpYVp+w01uxWv30kK3gL9LY+21bum2fUZTX6v15XYV">
            <a:extLst>
              <a:ext uri="{FF2B5EF4-FFF2-40B4-BE49-F238E27FC236}">
                <a16:creationId xmlns:a16="http://schemas.microsoft.com/office/drawing/2014/main" id="{86D5AF29-A5EF-452D-AAA9-345F40E6CAA5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 bwMode="gray">
          <a:xfrm>
            <a:off x="4333984" y="2400361"/>
            <a:ext cx="3552914" cy="3886297"/>
          </a:xfrm>
          <a:prstGeom prst="rect">
            <a:avLst/>
          </a:prstGeom>
          <a:blipFill>
            <a:blip r:embed="rId15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09AC8D80-C0CF-4716-99FF-FC7267BCA8AE}"/>
              </a:ext>
            </a:extLst>
          </p:cNvPr>
          <p:cNvSpPr/>
          <p:nvPr/>
        </p:nvSpPr>
        <p:spPr bwMode="gray">
          <a:xfrm>
            <a:off x="340601" y="1675281"/>
            <a:ext cx="3483504" cy="62293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</a:t>
            </a:r>
            <a:r>
              <a:rPr kumimoji="0" lang="pl-PL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at is the main reason that it has decreased? Please rank up to 3 reasons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89BC8B6B-7EB3-4ECC-96CF-C12D2B42995B}"/>
              </a:ext>
            </a:extLst>
          </p:cNvPr>
          <p:cNvSpPr/>
          <p:nvPr/>
        </p:nvSpPr>
        <p:spPr bwMode="gray">
          <a:xfrm>
            <a:off x="8367895" y="1675281"/>
            <a:ext cx="3483504" cy="62293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 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at is the main reason that it has increased? Please rank up to 3 reasons.</a:t>
            </a:r>
          </a:p>
        </p:txBody>
      </p:sp>
      <p:sp>
        <p:nvSpPr>
          <p:cNvPr id="69" name="btfpNotesBox117783">
            <a:extLst>
              <a:ext uri="{FF2B5EF4-FFF2-40B4-BE49-F238E27FC236}">
                <a16:creationId xmlns:a16="http://schemas.microsoft.com/office/drawing/2014/main" id="{ACDEC463-332A-4F5A-A05F-4CE14AA8759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 </a:t>
            </a:r>
            <a:endParaRPr kumimoji="0" lang="pl-PL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</a:t>
            </a:r>
          </a:p>
        </p:txBody>
      </p:sp>
      <p:grpSp>
        <p:nvGrpSpPr>
          <p:cNvPr id="74" name="btfpStatusSticker988396">
            <a:extLst>
              <a:ext uri="{FF2B5EF4-FFF2-40B4-BE49-F238E27FC236}">
                <a16:creationId xmlns:a16="http://schemas.microsoft.com/office/drawing/2014/main" id="{966E797A-A9B9-4ECC-8A5D-98E5FA1F7335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10100356" y="955344"/>
            <a:ext cx="1761444" cy="235611"/>
            <a:chOff x="-1630959" y="876300"/>
            <a:chExt cx="1761444" cy="235611"/>
          </a:xfrm>
        </p:grpSpPr>
        <p:sp>
          <p:nvSpPr>
            <p:cNvPr id="75" name="btfpStatusStickerText988396">
              <a:extLst>
                <a:ext uri="{FF2B5EF4-FFF2-40B4-BE49-F238E27FC236}">
                  <a16:creationId xmlns:a16="http://schemas.microsoft.com/office/drawing/2014/main" id="{6077F564-FDDF-46AF-AB99-5EBC7F68B79F}"/>
                </a:ext>
              </a:extLst>
            </p:cNvPr>
            <p:cNvSpPr txBox="1"/>
            <p:nvPr/>
          </p:nvSpPr>
          <p:spPr bwMode="gray">
            <a:xfrm>
              <a:off x="-1630959" y="876300"/>
              <a:ext cx="17614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liminary</a:t>
              </a:r>
            </a:p>
          </p:txBody>
        </p:sp>
        <p:cxnSp>
          <p:nvCxnSpPr>
            <p:cNvPr id="76" name="btfpStatusStickerLine988396">
              <a:extLst>
                <a:ext uri="{FF2B5EF4-FFF2-40B4-BE49-F238E27FC236}">
                  <a16:creationId xmlns:a16="http://schemas.microsoft.com/office/drawing/2014/main" id="{757D0054-6E42-4630-B469-77E6785191BC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1630959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RunningAgenda1Level698603">
            <a:extLst>
              <a:ext uri="{FF2B5EF4-FFF2-40B4-BE49-F238E27FC236}">
                <a16:creationId xmlns:a16="http://schemas.microsoft.com/office/drawing/2014/main" id="{585358CB-4624-4D18-AB9B-BE513861459F}"/>
              </a:ext>
            </a:extLst>
          </p:cNvPr>
          <p:cNvGrpSpPr/>
          <p:nvPr>
            <p:custDataLst>
              <p:tags r:id="rId10"/>
            </p:custDataLst>
          </p:nvPr>
        </p:nvGrpSpPr>
        <p:grpSpPr>
          <a:xfrm>
            <a:off x="0" y="944429"/>
            <a:ext cx="2670823" cy="257442"/>
            <a:chOff x="0" y="876300"/>
            <a:chExt cx="2670823" cy="257442"/>
          </a:xfrm>
        </p:grpSpPr>
        <p:sp>
          <p:nvSpPr>
            <p:cNvPr id="14" name="btfpRunningAgenda1LevelBarLeft698603">
              <a:extLst>
                <a:ext uri="{FF2B5EF4-FFF2-40B4-BE49-F238E27FC236}">
                  <a16:creationId xmlns:a16="http://schemas.microsoft.com/office/drawing/2014/main" id="{65DAD944-819D-4461-9FC7-AE0752EEF192}"/>
                </a:ext>
              </a:extLst>
            </p:cNvPr>
            <p:cNvSpPr/>
            <p:nvPr/>
          </p:nvSpPr>
          <p:spPr bwMode="gray">
            <a:xfrm>
              <a:off x="0" y="876300"/>
              <a:ext cx="2670823" cy="257442"/>
            </a:xfrm>
            <a:custGeom>
              <a:avLst/>
              <a:gdLst>
                <a:gd name="connsiteX0" fmla="*/ 93477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34771 w 1816204"/>
                <a:gd name="connsiteY0" fmla="*/ 0 h 257442"/>
                <a:gd name="connsiteX1" fmla="*/ 88005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34771 w 934771"/>
                <a:gd name="connsiteY0" fmla="*/ 0 h 257442"/>
                <a:gd name="connsiteX1" fmla="*/ 880051 w 934771"/>
                <a:gd name="connsiteY1" fmla="*/ 257442 h 257442"/>
                <a:gd name="connsiteX2" fmla="*/ 1 w 934771"/>
                <a:gd name="connsiteY2" fmla="*/ 257442 h 257442"/>
                <a:gd name="connsiteX3" fmla="*/ 0 w 934771"/>
                <a:gd name="connsiteY3" fmla="*/ 257442 h 257442"/>
                <a:gd name="connsiteX0" fmla="*/ 934770 w 934770"/>
                <a:gd name="connsiteY0" fmla="*/ 0 h 257442"/>
                <a:gd name="connsiteX1" fmla="*/ 880050 w 934770"/>
                <a:gd name="connsiteY1" fmla="*/ 257442 h 257442"/>
                <a:gd name="connsiteX2" fmla="*/ 0 w 934770"/>
                <a:gd name="connsiteY2" fmla="*/ 257442 h 257442"/>
                <a:gd name="connsiteX3" fmla="*/ 1 w 934770"/>
                <a:gd name="connsiteY3" fmla="*/ 0 h 257442"/>
                <a:gd name="connsiteX0" fmla="*/ 1103086 w 1103086"/>
                <a:gd name="connsiteY0" fmla="*/ 0 h 257442"/>
                <a:gd name="connsiteX1" fmla="*/ 880050 w 1103086"/>
                <a:gd name="connsiteY1" fmla="*/ 257442 h 257442"/>
                <a:gd name="connsiteX2" fmla="*/ 0 w 1103086"/>
                <a:gd name="connsiteY2" fmla="*/ 257442 h 257442"/>
                <a:gd name="connsiteX3" fmla="*/ 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423687 w 1423687"/>
                <a:gd name="connsiteY0" fmla="*/ 0 h 257442"/>
                <a:gd name="connsiteX1" fmla="*/ 1048365 w 1423687"/>
                <a:gd name="connsiteY1" fmla="*/ 257442 h 257442"/>
                <a:gd name="connsiteX2" fmla="*/ 0 w 1423687"/>
                <a:gd name="connsiteY2" fmla="*/ 257442 h 257442"/>
                <a:gd name="connsiteX3" fmla="*/ 0 w 1423687"/>
                <a:gd name="connsiteY3" fmla="*/ 0 h 257442"/>
                <a:gd name="connsiteX0" fmla="*/ 1423687 w 1423687"/>
                <a:gd name="connsiteY0" fmla="*/ 0 h 257442"/>
                <a:gd name="connsiteX1" fmla="*/ 1368966 w 1423687"/>
                <a:gd name="connsiteY1" fmla="*/ 257442 h 257442"/>
                <a:gd name="connsiteX2" fmla="*/ 0 w 1423687"/>
                <a:gd name="connsiteY2" fmla="*/ 257442 h 257442"/>
                <a:gd name="connsiteX3" fmla="*/ 0 w 1423687"/>
                <a:gd name="connsiteY3" fmla="*/ 0 h 257442"/>
                <a:gd name="connsiteX0" fmla="*/ 1423687 w 1423687"/>
                <a:gd name="connsiteY0" fmla="*/ 0 h 257442"/>
                <a:gd name="connsiteX1" fmla="*/ 1368966 w 1423687"/>
                <a:gd name="connsiteY1" fmla="*/ 257442 h 257442"/>
                <a:gd name="connsiteX2" fmla="*/ 0 w 1423687"/>
                <a:gd name="connsiteY2" fmla="*/ 257442 h 257442"/>
                <a:gd name="connsiteX3" fmla="*/ 0 w 1423687"/>
                <a:gd name="connsiteY3" fmla="*/ 0 h 257442"/>
                <a:gd name="connsiteX0" fmla="*/ 1423687 w 1423687"/>
                <a:gd name="connsiteY0" fmla="*/ 0 h 257442"/>
                <a:gd name="connsiteX1" fmla="*/ 1368966 w 1423687"/>
                <a:gd name="connsiteY1" fmla="*/ 257442 h 257442"/>
                <a:gd name="connsiteX2" fmla="*/ 0 w 1423687"/>
                <a:gd name="connsiteY2" fmla="*/ 257442 h 257442"/>
                <a:gd name="connsiteX3" fmla="*/ 0 w 1423687"/>
                <a:gd name="connsiteY3" fmla="*/ 0 h 257442"/>
                <a:gd name="connsiteX0" fmla="*/ 1592002 w 1592002"/>
                <a:gd name="connsiteY0" fmla="*/ 0 h 257442"/>
                <a:gd name="connsiteX1" fmla="*/ 1368966 w 1592002"/>
                <a:gd name="connsiteY1" fmla="*/ 257442 h 257442"/>
                <a:gd name="connsiteX2" fmla="*/ 0 w 1592002"/>
                <a:gd name="connsiteY2" fmla="*/ 257442 h 257442"/>
                <a:gd name="connsiteX3" fmla="*/ 0 w 1592002"/>
                <a:gd name="connsiteY3" fmla="*/ 0 h 257442"/>
                <a:gd name="connsiteX0" fmla="*/ 1592002 w 1592002"/>
                <a:gd name="connsiteY0" fmla="*/ 0 h 257442"/>
                <a:gd name="connsiteX1" fmla="*/ 1537280 w 1592002"/>
                <a:gd name="connsiteY1" fmla="*/ 257442 h 257442"/>
                <a:gd name="connsiteX2" fmla="*/ 0 w 1592002"/>
                <a:gd name="connsiteY2" fmla="*/ 257442 h 257442"/>
                <a:gd name="connsiteX3" fmla="*/ 0 w 1592002"/>
                <a:gd name="connsiteY3" fmla="*/ 0 h 257442"/>
                <a:gd name="connsiteX0" fmla="*/ 1592003 w 1592003"/>
                <a:gd name="connsiteY0" fmla="*/ 0 h 257442"/>
                <a:gd name="connsiteX1" fmla="*/ 1537281 w 1592003"/>
                <a:gd name="connsiteY1" fmla="*/ 257442 h 257442"/>
                <a:gd name="connsiteX2" fmla="*/ 0 w 1592003"/>
                <a:gd name="connsiteY2" fmla="*/ 257442 h 257442"/>
                <a:gd name="connsiteX3" fmla="*/ 1 w 1592003"/>
                <a:gd name="connsiteY3" fmla="*/ 0 h 257442"/>
                <a:gd name="connsiteX0" fmla="*/ 1592003 w 1592003"/>
                <a:gd name="connsiteY0" fmla="*/ 0 h 257442"/>
                <a:gd name="connsiteX1" fmla="*/ 1537281 w 1592003"/>
                <a:gd name="connsiteY1" fmla="*/ 257442 h 257442"/>
                <a:gd name="connsiteX2" fmla="*/ 0 w 1592003"/>
                <a:gd name="connsiteY2" fmla="*/ 257442 h 257442"/>
                <a:gd name="connsiteX3" fmla="*/ 1 w 1592003"/>
                <a:gd name="connsiteY3" fmla="*/ 0 h 257442"/>
                <a:gd name="connsiteX0" fmla="*/ 1752304 w 1752304"/>
                <a:gd name="connsiteY0" fmla="*/ 0 h 257442"/>
                <a:gd name="connsiteX1" fmla="*/ 1537281 w 1752304"/>
                <a:gd name="connsiteY1" fmla="*/ 257442 h 257442"/>
                <a:gd name="connsiteX2" fmla="*/ 0 w 1752304"/>
                <a:gd name="connsiteY2" fmla="*/ 257442 h 257442"/>
                <a:gd name="connsiteX3" fmla="*/ 1 w 1752304"/>
                <a:gd name="connsiteY3" fmla="*/ 0 h 257442"/>
                <a:gd name="connsiteX0" fmla="*/ 1752304 w 1752304"/>
                <a:gd name="connsiteY0" fmla="*/ 0 h 257442"/>
                <a:gd name="connsiteX1" fmla="*/ 1697582 w 1752304"/>
                <a:gd name="connsiteY1" fmla="*/ 257442 h 257442"/>
                <a:gd name="connsiteX2" fmla="*/ 0 w 1752304"/>
                <a:gd name="connsiteY2" fmla="*/ 257442 h 257442"/>
                <a:gd name="connsiteX3" fmla="*/ 1 w 1752304"/>
                <a:gd name="connsiteY3" fmla="*/ 0 h 257442"/>
                <a:gd name="connsiteX0" fmla="*/ 1752304 w 1752304"/>
                <a:gd name="connsiteY0" fmla="*/ 0 h 257442"/>
                <a:gd name="connsiteX1" fmla="*/ 1697582 w 1752304"/>
                <a:gd name="connsiteY1" fmla="*/ 257442 h 257442"/>
                <a:gd name="connsiteX2" fmla="*/ 0 w 1752304"/>
                <a:gd name="connsiteY2" fmla="*/ 257442 h 257442"/>
                <a:gd name="connsiteX3" fmla="*/ 1 w 1752304"/>
                <a:gd name="connsiteY3" fmla="*/ 0 h 257442"/>
                <a:gd name="connsiteX0" fmla="*/ 1752304 w 1752304"/>
                <a:gd name="connsiteY0" fmla="*/ 0 h 257442"/>
                <a:gd name="connsiteX1" fmla="*/ 1697582 w 1752304"/>
                <a:gd name="connsiteY1" fmla="*/ 257442 h 257442"/>
                <a:gd name="connsiteX2" fmla="*/ 0 w 1752304"/>
                <a:gd name="connsiteY2" fmla="*/ 257442 h 257442"/>
                <a:gd name="connsiteX3" fmla="*/ 0 w 1752304"/>
                <a:gd name="connsiteY3" fmla="*/ 0 h 257442"/>
                <a:gd name="connsiteX0" fmla="*/ 2013592 w 2013592"/>
                <a:gd name="connsiteY0" fmla="*/ 0 h 257442"/>
                <a:gd name="connsiteX1" fmla="*/ 1697582 w 2013592"/>
                <a:gd name="connsiteY1" fmla="*/ 257442 h 257442"/>
                <a:gd name="connsiteX2" fmla="*/ 0 w 2013592"/>
                <a:gd name="connsiteY2" fmla="*/ 257442 h 257442"/>
                <a:gd name="connsiteX3" fmla="*/ 0 w 2013592"/>
                <a:gd name="connsiteY3" fmla="*/ 0 h 257442"/>
                <a:gd name="connsiteX0" fmla="*/ 2013592 w 2013592"/>
                <a:gd name="connsiteY0" fmla="*/ 0 h 257442"/>
                <a:gd name="connsiteX1" fmla="*/ 1958871 w 2013592"/>
                <a:gd name="connsiteY1" fmla="*/ 257442 h 257442"/>
                <a:gd name="connsiteX2" fmla="*/ 0 w 2013592"/>
                <a:gd name="connsiteY2" fmla="*/ 257442 h 257442"/>
                <a:gd name="connsiteX3" fmla="*/ 0 w 2013592"/>
                <a:gd name="connsiteY3" fmla="*/ 0 h 257442"/>
                <a:gd name="connsiteX0" fmla="*/ 2013592 w 2013592"/>
                <a:gd name="connsiteY0" fmla="*/ 0 h 257442"/>
                <a:gd name="connsiteX1" fmla="*/ 1958871 w 2013592"/>
                <a:gd name="connsiteY1" fmla="*/ 257442 h 257442"/>
                <a:gd name="connsiteX2" fmla="*/ 0 w 2013592"/>
                <a:gd name="connsiteY2" fmla="*/ 257442 h 257442"/>
                <a:gd name="connsiteX3" fmla="*/ 0 w 2013592"/>
                <a:gd name="connsiteY3" fmla="*/ 0 h 257442"/>
                <a:gd name="connsiteX0" fmla="*/ 2013592 w 2013592"/>
                <a:gd name="connsiteY0" fmla="*/ 0 h 257442"/>
                <a:gd name="connsiteX1" fmla="*/ 1958871 w 2013592"/>
                <a:gd name="connsiteY1" fmla="*/ 257442 h 257442"/>
                <a:gd name="connsiteX2" fmla="*/ 0 w 2013592"/>
                <a:gd name="connsiteY2" fmla="*/ 257442 h 257442"/>
                <a:gd name="connsiteX3" fmla="*/ 0 w 2013592"/>
                <a:gd name="connsiteY3" fmla="*/ 0 h 257442"/>
                <a:gd name="connsiteX0" fmla="*/ 2173892 w 2173892"/>
                <a:gd name="connsiteY0" fmla="*/ 0 h 257442"/>
                <a:gd name="connsiteX1" fmla="*/ 1958871 w 2173892"/>
                <a:gd name="connsiteY1" fmla="*/ 257442 h 257442"/>
                <a:gd name="connsiteX2" fmla="*/ 0 w 2173892"/>
                <a:gd name="connsiteY2" fmla="*/ 257442 h 257442"/>
                <a:gd name="connsiteX3" fmla="*/ 0 w 2173892"/>
                <a:gd name="connsiteY3" fmla="*/ 0 h 257442"/>
                <a:gd name="connsiteX0" fmla="*/ 2173892 w 2173892"/>
                <a:gd name="connsiteY0" fmla="*/ 0 h 257442"/>
                <a:gd name="connsiteX1" fmla="*/ 2119171 w 2173892"/>
                <a:gd name="connsiteY1" fmla="*/ 257442 h 257442"/>
                <a:gd name="connsiteX2" fmla="*/ 0 w 2173892"/>
                <a:gd name="connsiteY2" fmla="*/ 257442 h 257442"/>
                <a:gd name="connsiteX3" fmla="*/ 0 w 2173892"/>
                <a:gd name="connsiteY3" fmla="*/ 0 h 257442"/>
                <a:gd name="connsiteX0" fmla="*/ 2173892 w 2173892"/>
                <a:gd name="connsiteY0" fmla="*/ 0 h 257442"/>
                <a:gd name="connsiteX1" fmla="*/ 2119171 w 2173892"/>
                <a:gd name="connsiteY1" fmla="*/ 257442 h 257442"/>
                <a:gd name="connsiteX2" fmla="*/ 0 w 2173892"/>
                <a:gd name="connsiteY2" fmla="*/ 257442 h 257442"/>
                <a:gd name="connsiteX3" fmla="*/ 0 w 2173892"/>
                <a:gd name="connsiteY3" fmla="*/ 0 h 257442"/>
                <a:gd name="connsiteX0" fmla="*/ 2173892 w 2173892"/>
                <a:gd name="connsiteY0" fmla="*/ 0 h 257442"/>
                <a:gd name="connsiteX1" fmla="*/ 2119171 w 2173892"/>
                <a:gd name="connsiteY1" fmla="*/ 257442 h 257442"/>
                <a:gd name="connsiteX2" fmla="*/ 0 w 2173892"/>
                <a:gd name="connsiteY2" fmla="*/ 257442 h 257442"/>
                <a:gd name="connsiteX3" fmla="*/ 0 w 2173892"/>
                <a:gd name="connsiteY3" fmla="*/ 0 h 257442"/>
                <a:gd name="connsiteX0" fmla="*/ 2334192 w 2334192"/>
                <a:gd name="connsiteY0" fmla="*/ 0 h 257442"/>
                <a:gd name="connsiteX1" fmla="*/ 2119171 w 2334192"/>
                <a:gd name="connsiteY1" fmla="*/ 257442 h 257442"/>
                <a:gd name="connsiteX2" fmla="*/ 0 w 2334192"/>
                <a:gd name="connsiteY2" fmla="*/ 257442 h 257442"/>
                <a:gd name="connsiteX3" fmla="*/ 0 w 2334192"/>
                <a:gd name="connsiteY3" fmla="*/ 0 h 257442"/>
                <a:gd name="connsiteX0" fmla="*/ 2334192 w 2334192"/>
                <a:gd name="connsiteY0" fmla="*/ 0 h 257442"/>
                <a:gd name="connsiteX1" fmla="*/ 2279471 w 2334192"/>
                <a:gd name="connsiteY1" fmla="*/ 257442 h 257442"/>
                <a:gd name="connsiteX2" fmla="*/ 0 w 2334192"/>
                <a:gd name="connsiteY2" fmla="*/ 257442 h 257442"/>
                <a:gd name="connsiteX3" fmla="*/ 0 w 2334192"/>
                <a:gd name="connsiteY3" fmla="*/ 0 h 257442"/>
                <a:gd name="connsiteX0" fmla="*/ 2334192 w 2334192"/>
                <a:gd name="connsiteY0" fmla="*/ 0 h 257442"/>
                <a:gd name="connsiteX1" fmla="*/ 2279471 w 2334192"/>
                <a:gd name="connsiteY1" fmla="*/ 257442 h 257442"/>
                <a:gd name="connsiteX2" fmla="*/ 0 w 2334192"/>
                <a:gd name="connsiteY2" fmla="*/ 257442 h 257442"/>
                <a:gd name="connsiteX3" fmla="*/ 0 w 2334192"/>
                <a:gd name="connsiteY3" fmla="*/ 0 h 257442"/>
                <a:gd name="connsiteX0" fmla="*/ 2334192 w 2334192"/>
                <a:gd name="connsiteY0" fmla="*/ 0 h 257442"/>
                <a:gd name="connsiteX1" fmla="*/ 2279471 w 2334192"/>
                <a:gd name="connsiteY1" fmla="*/ 257442 h 257442"/>
                <a:gd name="connsiteX2" fmla="*/ 0 w 2334192"/>
                <a:gd name="connsiteY2" fmla="*/ 257442 h 257442"/>
                <a:gd name="connsiteX3" fmla="*/ 0 w 2334192"/>
                <a:gd name="connsiteY3" fmla="*/ 0 h 257442"/>
                <a:gd name="connsiteX0" fmla="*/ 2502508 w 2502508"/>
                <a:gd name="connsiteY0" fmla="*/ 0 h 257442"/>
                <a:gd name="connsiteX1" fmla="*/ 2279471 w 2502508"/>
                <a:gd name="connsiteY1" fmla="*/ 257442 h 257442"/>
                <a:gd name="connsiteX2" fmla="*/ 0 w 2502508"/>
                <a:gd name="connsiteY2" fmla="*/ 257442 h 257442"/>
                <a:gd name="connsiteX3" fmla="*/ 0 w 2502508"/>
                <a:gd name="connsiteY3" fmla="*/ 0 h 257442"/>
                <a:gd name="connsiteX0" fmla="*/ 2502508 w 2502508"/>
                <a:gd name="connsiteY0" fmla="*/ 0 h 257442"/>
                <a:gd name="connsiteX1" fmla="*/ 2447787 w 2502508"/>
                <a:gd name="connsiteY1" fmla="*/ 257442 h 257442"/>
                <a:gd name="connsiteX2" fmla="*/ 0 w 2502508"/>
                <a:gd name="connsiteY2" fmla="*/ 257442 h 257442"/>
                <a:gd name="connsiteX3" fmla="*/ 0 w 2502508"/>
                <a:gd name="connsiteY3" fmla="*/ 0 h 257442"/>
                <a:gd name="connsiteX0" fmla="*/ 2502508 w 2502508"/>
                <a:gd name="connsiteY0" fmla="*/ 0 h 257442"/>
                <a:gd name="connsiteX1" fmla="*/ 2447787 w 2502508"/>
                <a:gd name="connsiteY1" fmla="*/ 257442 h 257442"/>
                <a:gd name="connsiteX2" fmla="*/ 0 w 2502508"/>
                <a:gd name="connsiteY2" fmla="*/ 257442 h 257442"/>
                <a:gd name="connsiteX3" fmla="*/ 0 w 2502508"/>
                <a:gd name="connsiteY3" fmla="*/ 0 h 257442"/>
                <a:gd name="connsiteX0" fmla="*/ 2502508 w 2502508"/>
                <a:gd name="connsiteY0" fmla="*/ 0 h 257442"/>
                <a:gd name="connsiteX1" fmla="*/ 2447787 w 2502508"/>
                <a:gd name="connsiteY1" fmla="*/ 257442 h 257442"/>
                <a:gd name="connsiteX2" fmla="*/ 0 w 2502508"/>
                <a:gd name="connsiteY2" fmla="*/ 257442 h 257442"/>
                <a:gd name="connsiteX3" fmla="*/ 0 w 2502508"/>
                <a:gd name="connsiteY3" fmla="*/ 0 h 257442"/>
                <a:gd name="connsiteX0" fmla="*/ 2670823 w 2670823"/>
                <a:gd name="connsiteY0" fmla="*/ 0 h 257442"/>
                <a:gd name="connsiteX1" fmla="*/ 2447787 w 2670823"/>
                <a:gd name="connsiteY1" fmla="*/ 257442 h 257442"/>
                <a:gd name="connsiteX2" fmla="*/ 0 w 2670823"/>
                <a:gd name="connsiteY2" fmla="*/ 257442 h 257442"/>
                <a:gd name="connsiteX3" fmla="*/ 0 w 2670823"/>
                <a:gd name="connsiteY3" fmla="*/ 0 h 257442"/>
                <a:gd name="connsiteX0" fmla="*/ 2670823 w 2670823"/>
                <a:gd name="connsiteY0" fmla="*/ 0 h 257442"/>
                <a:gd name="connsiteX1" fmla="*/ 2616102 w 2670823"/>
                <a:gd name="connsiteY1" fmla="*/ 257442 h 257442"/>
                <a:gd name="connsiteX2" fmla="*/ 0 w 2670823"/>
                <a:gd name="connsiteY2" fmla="*/ 257442 h 257442"/>
                <a:gd name="connsiteX3" fmla="*/ 0 w 2670823"/>
                <a:gd name="connsiteY3" fmla="*/ 0 h 257442"/>
                <a:gd name="connsiteX0" fmla="*/ 2670823 w 2670823"/>
                <a:gd name="connsiteY0" fmla="*/ 0 h 257442"/>
                <a:gd name="connsiteX1" fmla="*/ 2616102 w 2670823"/>
                <a:gd name="connsiteY1" fmla="*/ 257442 h 257442"/>
                <a:gd name="connsiteX2" fmla="*/ 0 w 2670823"/>
                <a:gd name="connsiteY2" fmla="*/ 257442 h 257442"/>
                <a:gd name="connsiteX3" fmla="*/ 0 w 2670823"/>
                <a:gd name="connsiteY3" fmla="*/ 0 h 257442"/>
                <a:gd name="connsiteX0" fmla="*/ 2670823 w 2670823"/>
                <a:gd name="connsiteY0" fmla="*/ 0 h 257442"/>
                <a:gd name="connsiteX1" fmla="*/ 2616102 w 2670823"/>
                <a:gd name="connsiteY1" fmla="*/ 257442 h 257442"/>
                <a:gd name="connsiteX2" fmla="*/ 0 w 2670823"/>
                <a:gd name="connsiteY2" fmla="*/ 257442 h 257442"/>
                <a:gd name="connsiteX3" fmla="*/ 0 w 2670823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70823" h="257442">
                  <a:moveTo>
                    <a:pt x="2670823" y="0"/>
                  </a:moveTo>
                  <a:lnTo>
                    <a:pt x="2616102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btfpRunningAgenda1LevelTextLeft698603">
              <a:extLst>
                <a:ext uri="{FF2B5EF4-FFF2-40B4-BE49-F238E27FC236}">
                  <a16:creationId xmlns:a16="http://schemas.microsoft.com/office/drawing/2014/main" id="{B04CE98E-B14D-46E9-93D4-2060D0DB30A8}"/>
                </a:ext>
              </a:extLst>
            </p:cNvPr>
            <p:cNvSpPr txBox="1"/>
            <p:nvPr/>
          </p:nvSpPr>
          <p:spPr bwMode="gray">
            <a:xfrm>
              <a:off x="0" y="876300"/>
              <a:ext cx="2616102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uture spend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17524963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btfpColumnIndicatorGroup2">
            <a:extLst>
              <a:ext uri="{FF2B5EF4-FFF2-40B4-BE49-F238E27FC236}">
                <a16:creationId xmlns:a16="http://schemas.microsoft.com/office/drawing/2014/main" id="{99636EC2-934D-4B4C-92D8-7F918B2ECB70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53" name="btfpColumnGapBlocker548075">
              <a:extLst>
                <a:ext uri="{FF2B5EF4-FFF2-40B4-BE49-F238E27FC236}">
                  <a16:creationId xmlns:a16="http://schemas.microsoft.com/office/drawing/2014/main" id="{B1218AAD-5B7A-4FFD-9DEB-3693175395CC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51" name="btfpColumnGapBlocker977207">
              <a:extLst>
                <a:ext uri="{FF2B5EF4-FFF2-40B4-BE49-F238E27FC236}">
                  <a16:creationId xmlns:a16="http://schemas.microsoft.com/office/drawing/2014/main" id="{7E89A796-A1FE-48B6-8C1F-00B9536AEE9A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3" name="btfpColumnIndicator481116">
              <a:extLst>
                <a:ext uri="{FF2B5EF4-FFF2-40B4-BE49-F238E27FC236}">
                  <a16:creationId xmlns:a16="http://schemas.microsoft.com/office/drawing/2014/main" id="{60C116A3-020C-4AB9-AF8E-E8DFA08F8B4B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btfpColumnIndicator201086">
              <a:extLst>
                <a:ext uri="{FF2B5EF4-FFF2-40B4-BE49-F238E27FC236}">
                  <a16:creationId xmlns:a16="http://schemas.microsoft.com/office/drawing/2014/main" id="{162BE5BB-81F9-4A53-8E56-09465D102D7A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btfpColumnGapBlocker174101">
              <a:extLst>
                <a:ext uri="{FF2B5EF4-FFF2-40B4-BE49-F238E27FC236}">
                  <a16:creationId xmlns:a16="http://schemas.microsoft.com/office/drawing/2014/main" id="{43223887-C44D-4520-96D8-2E2141100AEB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2" name="btfpColumnIndicator857085">
              <a:extLst>
                <a:ext uri="{FF2B5EF4-FFF2-40B4-BE49-F238E27FC236}">
                  <a16:creationId xmlns:a16="http://schemas.microsoft.com/office/drawing/2014/main" id="{4D4F47EC-2852-4B3B-A563-82F6132018E2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btfpColumnIndicator273786">
              <a:extLst>
                <a:ext uri="{FF2B5EF4-FFF2-40B4-BE49-F238E27FC236}">
                  <a16:creationId xmlns:a16="http://schemas.microsoft.com/office/drawing/2014/main" id="{CC9D87CB-5052-4D4A-8EA3-5B9968961A06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btfpColumnGapBlocker569905">
              <a:extLst>
                <a:ext uri="{FF2B5EF4-FFF2-40B4-BE49-F238E27FC236}">
                  <a16:creationId xmlns:a16="http://schemas.microsoft.com/office/drawing/2014/main" id="{EFCD7EC4-3C63-4B99-B278-0F77015D1C25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" name="btfpColumnIndicator689699">
              <a:extLst>
                <a:ext uri="{FF2B5EF4-FFF2-40B4-BE49-F238E27FC236}">
                  <a16:creationId xmlns:a16="http://schemas.microsoft.com/office/drawing/2014/main" id="{18FE3D6C-0435-4D65-BCC7-A52504078A79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636636">
              <a:extLst>
                <a:ext uri="{FF2B5EF4-FFF2-40B4-BE49-F238E27FC236}">
                  <a16:creationId xmlns:a16="http://schemas.microsoft.com/office/drawing/2014/main" id="{A06A2A35-082E-4A67-964B-DED1F5F92DD8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4" name="btfpColumnIndicatorGroup1">
            <a:extLst>
              <a:ext uri="{FF2B5EF4-FFF2-40B4-BE49-F238E27FC236}">
                <a16:creationId xmlns:a16="http://schemas.microsoft.com/office/drawing/2014/main" id="{255F96F0-882B-4377-B82C-820CB58F82B4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52" name="btfpColumnGapBlocker987771">
              <a:extLst>
                <a:ext uri="{FF2B5EF4-FFF2-40B4-BE49-F238E27FC236}">
                  <a16:creationId xmlns:a16="http://schemas.microsoft.com/office/drawing/2014/main" id="{6882BDD6-650B-4AF8-835B-8893DCE0D2DE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8" name="btfpColumnGapBlocker649742">
              <a:extLst>
                <a:ext uri="{FF2B5EF4-FFF2-40B4-BE49-F238E27FC236}">
                  <a16:creationId xmlns:a16="http://schemas.microsoft.com/office/drawing/2014/main" id="{7F5417AC-0F1E-4850-85D7-68C305C4EC6B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2" name="btfpColumnIndicator868482">
              <a:extLst>
                <a:ext uri="{FF2B5EF4-FFF2-40B4-BE49-F238E27FC236}">
                  <a16:creationId xmlns:a16="http://schemas.microsoft.com/office/drawing/2014/main" id="{3A159BF8-2EF5-4986-BD03-B061CEC96BB3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btfpColumnIndicator706041">
              <a:extLst>
                <a:ext uri="{FF2B5EF4-FFF2-40B4-BE49-F238E27FC236}">
                  <a16:creationId xmlns:a16="http://schemas.microsoft.com/office/drawing/2014/main" id="{CE3CD5F1-0165-4B5F-B383-E48A1CA2DA5E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btfpColumnGapBlocker426775">
              <a:extLst>
                <a:ext uri="{FF2B5EF4-FFF2-40B4-BE49-F238E27FC236}">
                  <a16:creationId xmlns:a16="http://schemas.microsoft.com/office/drawing/2014/main" id="{D0430CA2-AA9D-437A-A356-FB80D3961301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1" name="btfpColumnIndicator129674">
              <a:extLst>
                <a:ext uri="{FF2B5EF4-FFF2-40B4-BE49-F238E27FC236}">
                  <a16:creationId xmlns:a16="http://schemas.microsoft.com/office/drawing/2014/main" id="{22E027D4-F973-45F9-BF31-407AC71997CD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btfpColumnIndicator160132">
              <a:extLst>
                <a:ext uri="{FF2B5EF4-FFF2-40B4-BE49-F238E27FC236}">
                  <a16:creationId xmlns:a16="http://schemas.microsoft.com/office/drawing/2014/main" id="{B92366F8-1595-4BA9-8046-7F721147DE53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btfpColumnGapBlocker490425">
              <a:extLst>
                <a:ext uri="{FF2B5EF4-FFF2-40B4-BE49-F238E27FC236}">
                  <a16:creationId xmlns:a16="http://schemas.microsoft.com/office/drawing/2014/main" id="{A0BB5073-071F-4D7A-BD94-1B9A5795AFD5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395865">
              <a:extLst>
                <a:ext uri="{FF2B5EF4-FFF2-40B4-BE49-F238E27FC236}">
                  <a16:creationId xmlns:a16="http://schemas.microsoft.com/office/drawing/2014/main" id="{7C47CD99-DE46-411E-A1A3-B8908B4833F5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820585">
              <a:extLst>
                <a:ext uri="{FF2B5EF4-FFF2-40B4-BE49-F238E27FC236}">
                  <a16:creationId xmlns:a16="http://schemas.microsoft.com/office/drawing/2014/main" id="{6FD153CA-1A93-401A-A15E-F73E9EFCAA6E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031D7426-AA26-400A-8950-F2E1C12CAF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/>
              <a:t>Share of wallet: </a:t>
            </a:r>
            <a:r>
              <a:rPr lang="en-GB"/>
              <a:t>Top competitors</a:t>
            </a:r>
            <a:endParaRPr lang="en-GB" b="1"/>
          </a:p>
        </p:txBody>
      </p:sp>
      <p:sp>
        <p:nvSpPr>
          <p:cNvPr id="24" name="btfpNotesBox117783">
            <a:extLst>
              <a:ext uri="{FF2B5EF4-FFF2-40B4-BE49-F238E27FC236}">
                <a16:creationId xmlns:a16="http://schemas.microsoft.com/office/drawing/2014/main" id="{F38BE04A-B6F1-4498-A4BE-6D8D44BE8E7A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</a:t>
            </a:r>
          </a:p>
        </p:txBody>
      </p:sp>
      <p:grpSp>
        <p:nvGrpSpPr>
          <p:cNvPr id="29" name="btfpStatusSticker352718">
            <a:extLst>
              <a:ext uri="{FF2B5EF4-FFF2-40B4-BE49-F238E27FC236}">
                <a16:creationId xmlns:a16="http://schemas.microsoft.com/office/drawing/2014/main" id="{18DC0531-5F9E-464E-B2C3-3B31C7FC1DC3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100356" y="955344"/>
            <a:ext cx="1761444" cy="235611"/>
            <a:chOff x="-2280176" y="876300"/>
            <a:chExt cx="1761444" cy="235611"/>
          </a:xfrm>
        </p:grpSpPr>
        <p:sp>
          <p:nvSpPr>
            <p:cNvPr id="30" name="btfpStatusStickerText352718">
              <a:extLst>
                <a:ext uri="{FF2B5EF4-FFF2-40B4-BE49-F238E27FC236}">
                  <a16:creationId xmlns:a16="http://schemas.microsoft.com/office/drawing/2014/main" id="{58795528-99FB-4113-8EF6-49812001941D}"/>
                </a:ext>
              </a:extLst>
            </p:cNvPr>
            <p:cNvSpPr txBox="1"/>
            <p:nvPr/>
          </p:nvSpPr>
          <p:spPr bwMode="gray">
            <a:xfrm>
              <a:off x="-2280176" y="876300"/>
              <a:ext cx="17614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liminary</a:t>
              </a:r>
            </a:p>
          </p:txBody>
        </p:sp>
        <p:cxnSp>
          <p:nvCxnSpPr>
            <p:cNvPr id="31" name="btfpStatusStickerLine352718">
              <a:extLst>
                <a:ext uri="{FF2B5EF4-FFF2-40B4-BE49-F238E27FC236}">
                  <a16:creationId xmlns:a16="http://schemas.microsoft.com/office/drawing/2014/main" id="{6DC4C5CF-D4C7-46A3-8D03-56B5ECDC642A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80176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BDC76B3D-9E95-47BE-9770-E84537887B65}"/>
              </a:ext>
            </a:extLst>
          </p:cNvPr>
          <p:cNvSpPr/>
          <p:nvPr/>
        </p:nvSpPr>
        <p:spPr bwMode="gray">
          <a:xfrm>
            <a:off x="340699" y="1350954"/>
            <a:ext cx="11510599" cy="54965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 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pproximately what percentage of your total out-sourced Programmatic Advertising spend is spent on each of your top 5 managed services providers (implying Other accounts for the rest)?</a:t>
            </a:r>
          </a:p>
        </p:txBody>
      </p:sp>
      <p:sp>
        <p:nvSpPr>
          <p:cNvPr id="27" name="btfpMGChart734235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qE4+dkl4wQfaKhVGXQ4wkQjGZ/xta7m3ltcuh7MXcW6UUzr7PWDqYilW+uaB2ctcN6p0flIHsYAqXlnQrEKYDY4LJsj7tjj99GIk/Ks5dj1i8z9ZdqK7LU+ZIUzphvXnx/nTTm4AsYmQXiKJAHwRn7ZM/VuurtC6Fy0EDC831Y+5vH4ma4BI3ueHT+s4OmSHcqyb05l+Plu4rrz8KycXliz8aDmIsT+IBYUURpRBnJJaKWjcKqU24QxhLIP7QO3Dz7It41Y51poU5emZ/WLgamnooFqVMu6L1rEQ9lEjMt9uVSxoVU4EFdzdr2cHZBGXfkbkPNHdmrlX9wnbs2xRUmNPcZXcatEYvjZFygvGk8C04xikBg/foweNzFRzghPE3gY+55cCdmsCeePrGHvL/OSLHb9Dm0XZQy46oMxsgQoRoLPI6SGyHzF7CcfI4NPNQMq+bweYeqBxt52hMMk7DLJzg2dP1JH1QBaVw7akQTheakaRfiA86dvQKwEjQpMAqFMSrHVwC5mylo112RWgvNbBE0cVzkWmhbJs8lzqj/IOpfE991+zYoXkxRHAKhxhDwR8X/EyVb/LKXUGpQbfUK4A8Ntj6UoGibDI/flx3N5MmIw+RmzLKl4g4aR6Edl9fbuDul8EUtrhTNJTIcIg4qRorY9ujGzs+x1BSK0rW0L1Eoc+46RXL7kyr4uryp6Tl/0e9JuA2Y5i5a8Qx3chHSa6my+hbFUTCzqcTLXGQF5xsHDXA3R1tZSfErc1cZB2m6L8cC8c3BaDFVCqmLcTcyGUDo/E3HYYzw5/XiGTfj8uHCK5UcNY15iG6biNGBSsqdGpQy1F5AhzKbYrl+gYocuF0p3LV1o0mg56H+lnbZ5Af8UxW0tELJs0CQ3sMt3Vy6FY9egzwVA7wungdRxo9WQwUp7iua9G/43UH7RTIg/eeERhco7UOydHVNmZHBFoghpytb/OpxrkjtZrb5E2oCBqz52AFMrAHE7DadxXpTDecw7z6+JnAPKz2k2fYplycRpu2IkGYb7QsycJxkNz7WhTW/vHR04fXQfRQJqkV7URkyT7FoOVLsa1l7Xt/1HjTy16vTc7zHvCxMLB7gQmUm/x6yUSSUOeJQTmNz8jZizD8HDdyC9NwNcamqS2NmPRySm/F2BNO/jM/fGpCqRvy6xOjwVNpbCFMhj7HAtB8z5Rl7ipHHB7yvFoUtlQ38/q0upDwOPID55S8zmjCA8GpyTEy/KhaFWEjn7sHUbT9TnNPmO5VyUMrSu5ilpy00KyEBuISHKj1jQtNtU9TdieQB2y+VNnEF691tuPYpMjmIe6q3oHx3N0pTw+ZD3/k1Qx9X1/SdDvoCzB8T5e+/Ii56d4ilfYRFabwb0gruG5AbqwFBybNZn2oLj2iQKwkLAt2Vev3TBvzuOuJncoFuvTAFAI//nnziyB5tvEZNvFDT8lVi2zQCzTh4/IfORJg5V0wgG+ucfSxBI1ImghXS91XSEoeTqJtAU38R5iBrd2qwpzEmULXS2PXGb7KCiaTJjT0tCA+SCjCJy6JowNNeTVaaCwyMyXZUFatA3r3iMFBOWUaOnG6IExXFmkYqfgxY58MeJ4gfaxThQmJBM8HOF7s4cricHwPu+sUobh3cmWfgC9wRGJQCSoZXpD/M/YRUfNL1MaWW4UwqVYCz/aPme/D0tZst9inN+KYUctSR+urlLYz2m1FVo9uiMAFfD+dvWlRUbCP7CmDs0VM7nP+AeX/fwH+/VZjYIi8wCA4fqlorT3erXaayQE7P4X0evHQJJrfhz9LB4cxGmdqPoFLKPO7fm+D6BHE4/w9TYSAH4vxpcJgFLsaKBxCJF5vS7kxstlHvb1MpHR3c12Q66SqtwomWttf9jWf40EYm1cL5W1UnhY1MD0CFmQFgBFYecTPqiE6hqygf+5vbsghjZ0812tBFYPTj7hf3/SN5itfcZwZTY9ICsSPS47N4l+ifNLqDBmcQOM+72tlZ5gTufmVLzfVX+/d6cebfrslMIcLA+CaghbmCh3tM8hbcv0M1SPSlExRrqtGJiVHUDfa0u+wFD2cFx0S6JyNqB+NGeVjQ9anjLRwWqTGgC/DGYkRD6BzvXd8MzQQ4zFNHniVhZpOJBfAehhIJoGp9J45kANk8hiynW2pcyRv+y6LWpYL99G4m63xLIyEdmCufuoPR7lnfvpynLyMs/jix6/hsalu89ik1xkiMS41+Mq+LCnu0RcNHmKfYqjgbw4ya6Z++IzmIgs3+sbwlOTyUxhsNf8aPd53FJgOzX3Rmk5wXLjFj3q1Nt0D+dHKgwt9CAukfFB0KfAu9Wwzstlg4jlOOMjWMQSvOn8R6lqdAsZT5qRnPk4eGl7rZXUUHQJj4mgi7InU4x5KbkZL25F4kMQOnbTGfI/99kmBQCalB/TmNFMCXm5DOrENLJSAdsJTX/oc9H0r3I54bXkhVAvLs7qvtliviAPl1Xa3KnWG6rI/N19ndfpSt4fpowtohbctqEDgrDWCvTemnFnBwIbtpqBMsixbIR2lwNMslOIpOfQTE6fJMsx9lahp2W/gSZwF6TdetyPUR7P831+AhSp+RtXE99eNcLmeWrRFau5j0JFCoRPmSdzjnq94BUfgJuDaSGr5e8kWUpEvLGVfAZScO1YFcHTfbNzftFD4kWWalfpB4w2jnVM1/S/br1ILWa6jVU6qP0nYhHbesKiGautE3i6HxUF5uq3XUJW83KuAQOxDkn1w6lVvvk+AF4hNlWGf2jOpY8Mivk6IbaW34anoQOb+HkXyWbvr4K1tEL4kqAhlPR2clGlLph8kT8ITnLFihqesdHDLUEQ4kb/mq+zAI7+7biR3aYQZBD1jzhOZQbCxZ7Hngr1RtpRveP+GcjgSepxSMqk2H2LGPcr8BRmJ3I1Ar8QUhes6O2f4Rwzjj4cmjGEs1MXh2lRXqhUcOhSJFQflCBoqJ/Wz5iZn7010AVlVNfRXA/hADOgkhAQnvpMoXB+DfA5zw6r1x0hbjbQusnT0onuDc3Ww8DxbgEFOhKDHrAvyiCzqk/9ZvP5+6E/RjuMgAkvwYujaaz3eaygc1d+dIJ0i8M2bdyTUPMUf2E4Pqd5h/GU7+ZEo56rVeK0C+zXK21MvudNW8iNdoEX+xGgrYxhzkjRojEb2hllTtphY4xUgOsq+oQXU/eUBV3gZIM31hVEykOvbdICQes/zWtHyuwiZQ6xiSe7lBcoHN3dqiV8OVTPSYvb4Z3l0BkNjxUkIwksUtVsIQgOXBAXNmvUTElzs4Q4udTPSo8QQtv24u7gJ5SSwBZ9XMV/ibVYE1wyfdX0oOk2BOIocJxRbvviiA/atiMe+lUo6QDXHglR81FiHDk/Nz5U07PNYj2LcqbM6/jeZ4NVBU2/GgbgTsseNlXdLmqd9929yCzN2zGrQPMc1YixTzg9bCkVstreLiaLb6DgImEDCQc5ooK+eyOCJeDfSIHJ64C8xYGvgetk80KihJRFz0sYdav5LVErTYdIAef/jtBGRK1NUn/0sDv9dZSYvyZ1mnxq6qQby2uOvOhjmxNurjFDteFg+A8LkhS23b+WEcf8zl+to1cJRMCz/FmiBJ1JbyJJMOqf/HoaaCwEBazcCi3XmTcnY7QuKZflxuTUKzGyv8yDDisjyR2EI2srhef0Wz3UbY5o7q0t6gvuU2iDl9uD+10o58OLcYutzglyaSQ77vpffTQ2S0enNEy2EH2D51nVsu4tvFn4LLsV+VpZrPRYeBn16OANIjmP7R2RHKh6C0PDZxvhwE1gS1GXki3dFkgNCTgt8YebEJUZQqWEgtguLFy15JvastMBJXf+qqW5Nc3vcQJpk8uB1hila4xMRKGbjGqEXW6X6xrq2hWMi/TxjH9gGDWo7Phhvt07TmJ9MO/zQIsxSIeao7gj5UMiaDj5EGhZgXcPQbuWr5dPLwZfyqvy4VUIgGZNQzEaXjEA8vYw+BMVs2pt1jv6Eot3GVth/QHI7j67bk+ZMqITtpvCFRLSEhZUwx9iXUYysI63nlIkfUGFYM3PeAkAuMIG5heWJa93q+mur/WAsfu+3mzDCmPfGgFA+QRjKedO7157MuLDmYqOO/CnFwCMlNemhIw48+0uYg87U2X7AYwUEUzbEbWAdJi3VkHQJuGLrwTFTTgVm33P1pYJ2OTvqAji/Ld86dQDBvexpGxP4ieDXNKO1rybE7Q+Ku5UKSVi95ZiJbPDRp9GBzbozzSS+7+ZF7V3ccvTzMJ0bIkoFLX8awj8SJprdvhKjSrF5PpVM1Kt4KJMF/QRCg/BPBYOAHf+m5EqjU5Vc7+bRiFHEXzHDZp6PE8nI3P5xCcLkjzZ+OORnfspRiADBbujcznh0qmUVX9LjGKcrQF2p0YBfrcsJgqx35MVVk34NHyPS5tc6RGyZl8f4XRi1GmmifB4cx3k7OdcIZQBIVV+StRngB41y0tLjpxCaKQIvh6XbcLeOsv9Pb+SVntt9SE/Myi5n//rJBSgFp+IzBl7zNdgfyKA5gKkBIs3rAPC+betJTJy1K9dEJMyauCw9bivfZA6DxfW9rhy36UX256Xt7bMW1kBim0H3g+ZB2m04vcy6bUHNeQPBRKsJzMcaeoACS/B/gjPx+V80wpsZ3WAon0aGmg8kbSfSCavRAWIUm3CtPAR1QOh/wJUZheCglQ6/c9oaLIMciPP2Y249pjJynAaTcCWvEkCNKjmKZfGljidZEnkjgbYAdL0r104LtlxHLMzEEdW3bHoA8I2GbelH2O9TGdfmpv5+aX8IdybM8PG1aua1ZKqHXJI4d4QLmT0sbe8W57uwbmubK/JWCSqZUBY8zgclCT4b0DqUwLqNT7ssBiLgSwgZ9YUZ0Bldn2GHQdi4oQNtIO3I0xPgBqtF8C7fc8UWyXGoQIQVHccGzV1DrYc2UJ4G/Q7eLfSBuuABfPUMf5unxFnePe+szvavB1lxn9es80kwpkmU7R6NghnhsZ7Pectj3fivVzAixzdeJCQD+jpzMbrEPrgVafysf19U1Hkii0M7TJVDbqnnlGJI2cNR+UYR2eLJ9kBy35D1wSmTkSDVTrrhnlgcqKZLKS+853rMzEjDwnoxmFKt/l4pj1xu1w9IqY+qajnb46NfmMbhY77XvrmomLxoM0A/oBC2VnLgDnCHXKhrrVjd38aRe6eh6jUV2mdSNERsvznwMsCyexDbwmpErzNTktAzf4ZuWp0fr1TGoKAQOcwYmFAg/4x1eeEz6GTCJcx/UJZxv0U1xwIQl/jRKmBFbDYEaAYaKKaPRnMUwygQWa5VaAm2dOaO7T8wl+aYRTmQpJSviYiOIlnr4ENbBA0KximWYHMV03V6pq5lYB4jvg+QY5OKH4+iNAQmuOuSQPBoWBpqVnfrMTv3/ktVe/rv+srcwYmvhHsQ4zTyrufdQ1Mr1j7YmJsgmE/bIvNdfx2REanYtzJ2gflvVk24zU/XXu4LWqwRgSiE2TrjW4Dej/SaZzSTUNyGNhIGCBOsla/U8CXKv6KIKrtUMG6tCWVFT3mfL43dz/jhnvOOsRCHIYQQvrSniRg661AlWefgQ7QKDgH/gdaJN3id/NkQ9mVuKy1rw4musNTdV0gNVqI1jJwObGPQf2caBz5we3EVslYUVMsfBGCFD5kfink9p6GF7FSRXEDpZ4UKapiUvD8C8hKnkSNJcjx0iRUC+mH+sMdj/MMA1LVUfrhn7pLiED2lKI6eKaHS7bWX1k1lSW702Rj1Jz7hTv0HwnnTC+/jquspF+5rnF9R5SQ5oVlNHIZgq4Yc7uxPk3W9fpYqCBT5MnMwSK5MfqG1nGkD6TcOzC6UsJQcHNtyzDlTcDY5d0WniVml+ig5nsPLOdfIhaDkR1o1idhaxctBHveI2rGuFGoKxvoTBIx7IrxLJ4yrqTVAbiUKFh3fKklop6xS0SRp05TEu1t8fMCbGwuea/APpftjVZZm23tXY1jtVaMUZ64jv3AG2M+bZxrPr+rZRXe78MyaiOXJ3XYRkCbFxnny9ByeOZipVAr4Evcc+4QQUff6iavXx1xEEyMcNuiFgGXz/OwjVaFBcgvoJW56B7NQYfMH52wrjIk/WWWP8EbzOLfIWqcK6ooFwYQcJQY4a6JIVFECN8c2KJyiUg04ytjt7b6YRktw+WJ49T8xSIdTMwdoY87DLQFl068Ytwf8Mi9ErWOaGnpi9O1CGhRrcTiMJfLamLXmD+wf8hSC8z9xGPWNYYucuz/BRtvc+5papzXKjhHxveFa8tajbodSn7/2mIg+RljOAcsVcDffMaTcxvCm/UvbonltgIYAm/TIU280OQWgxiGk5X4wW7/9LvllgBzed0onk2Xyb0h/u7qdTsmdC6GS0e0teKy95+HRuZlkcMcGopl2sXmI2Z2pgfpXXt/jt0LoLGyKpXBKiJ1otEaogB4gnjgPscZH+iHNzWIMI+DJJWJCMc16/o3ZjGbJaEHctmKdQ2wK87YqTZlA1oQ/rDG3QRZz5vUAzW+EJjDnYCe4YhR35XBBq+/5wdASewt2v7beWhkGs7K1VjkYmfbqON+Ssbma9mVfqXGauZU3uFbnG0anE8aD7C/ZXHJmhDBorK3+9cU/STU0RMjtCW2r0nCJ89KRUmbwk5j4xF7ZPCavXdecQ7OpboENSjjayJh9KGxZqzjU8yNObTJ0540ypxzrvsLFUfyGlBuT1MGN5PE0ZcF2M14rFKgGcksWuJkQjCd+y2pX1vBTevzU6dlzvdFfuL4+6ycXxT7kcOvBWITIxXm1UyQ+89shwojSHErlHMSdIU2qJ0iZHmQLGU54z0O/AhkSTiYIeLy9fA9c2XOnfmg6GErvOL40W5pDmvRXt9y5g/EhHHBA1TZKr3YyDXYxdLkfuNW4SxTy4OmpjYGhor4y1ED6ugeh2Q2MZdbhAVycs1zrB0aISSWWKYPp5zVcIsv+iGneUE8gpkx1DZpJbuWXsqbaiR013qj/xCJ3lnZCxsIC2B8Z6TjM6C1Qx62CTI1hfKRZ3pmHP66L4o7r8qAT0HBawzSlzr89hkmzOmexNnJI0yUwqCYw0QNoRUGebd42eBFHwj91Q0S/9c5hFuY45KOkBFJ+EF7OHwKx+lNsUg8YFtAqOA/DUavvW/IhcBRyn9gi6W7FjS19vE3jUIvJ9GVHK8BKYRUKpydZNyvdnztU8XTu9pXjxusC5dfc/mwmy2drQtSlUpcLfl+lIshiQL0CWhOtzJowxJTlQCFaTinRUHRqAptOt+CDDEh3BvMRpbUPmRHpWbG4ZywLbYBNFRL1J4HwmRa0FDexU0JtPjSoObnodolfbXRiaNslC3bNwgLNMH++yYFkD7N1PvVJSGXyvnprqGCH0dIjRkekHJonaWYAez2hfoh5UisIhuI3JEIXu36qXxmYefgn8nMyu4d8239UyjvkcFDnh81wFS8sHrxafwurauuW5BRLf2ZJNMk9SwvQcaDbKtjrBHy6zutq06jrEJ19PLnO599b5ME1vMhFTR5NKU7OUz6h0Gv9Ti+DZUgcAqGMAhM1VcZojDmtSdXGfuvYhR3zbBTgzqaRmWtrJTHb4NepSTHgjaZJFCg2zu+aycHXphWmJ/CtWxSB7uAPXxUx+oojApz2Vi6h8anwDkEzfXS2Flr849gDTfzE5BHTCdc2er8ek7gGRpJY7DQ31a09KB514hIxhtf7vv2zd4Vk1yeUStRLURPJYFk7v5JG/ikb6r5vjgfUHjPB1tmMZ/2FsdBMLGTRCwUcTgHF6c0FV+Ah4efH1hko2vZoX1FSCF/P4XZQpF/a+yiMlkxz9UlA0LwOfFd3tzNAaEzZpqv8VcszyAx60tenuRhJ8GzndoIxgQHGa0fd8JydqbMWwavqa/RE1L9dLsHWfxwunGI5xOT7u7f+BU40NI4T8VkS0aCupDtRQyJ7+NAWiuQoHWua5JjYlfukJBQWt6FaqujOhAQcHfSe+H10NCd6bdQc1h23EFt92QlZIeuP0m88nulnjNp7kr3/kdEFCM8XKY1+L0OqbJ1yHjS9XrAatpi37bijHABnfsbSHxVvZMh5PsTnyhkSwWZkXWhwtim0HUQkKbxQ4Ta6Kphbbm9F+hKr38lc7BTp1BEU9qVDun7UL7Y6OkdwYb+CaLq4polwALtN0iVH/GgN3UNXCeEWhOtDjH0WOHxNRpWydW52Wl10x5OYMb3JMpaqikChYDoG9bdbMOiBMDTvo4k2eqynofEnfCid8msKjkSW2M01LE0k20mGhEqd2KfKfe91lt2HV5cObZqTSptDF2cRRIyULHC9dERZhCHa1pJkWmcJYxM5ZtijWhq9cIXG7idbdUL+OxfFREDo5mDmxHHxJciUlFZlWVQoWfD/3dMhiXaU75ZcgxL1LD7f8/4Z1hMnp4rveJ6DS2z84R+NkqDyiVd6vnBo32erUqvQyASNGb6iopQkA68t4Lb5um9AwVhCbx80PAUTlWqHbNRzv3uW8YA4mA++csRJ+y9JNmHZqxvjitmEUFRnYnqeucFiKYhpTmO7eTpp0UO9nZuyb0BSwU9fMXQc1IzMgOKv8o+tUy0g5KDHh5es+Jt/9wRyRrVGiiiR5lSKWOHV4maS2JKR6pSXFfLYKl40xYsBTjHkeidCJulWTJWpGTqlE+8BqIIlCdXA/8kcxT3FK7qzFvyB1raGGpgYjKtJERHXv7FJ5GvdA+up9DbFDGXyOVgkYjYDE5cNSNhi5m98w481JInHG/mYmdu+KrlQHIK13kUYyLx/FGN8B4AkaRVU0WJE7SwwOVlmJ/IwI0CLgzKBJi6LTLu/BXKcHD9qZPMbeny4YMJidUztgvxN4T2+d/592QeheaxSEA4bd/FQFcLJfrwtHL1C9b/Mxz/rmRTv9JCA0ifOzyDh5Ge/kPtrH3F5t3wpIzFY/nG1o5rS7mGmM1j1+DZbvC7+sGRZ+ZrMOQnp6lsSSlrvAbaaR9lrZkPlUfkBAbCHjEbN+/QS2sB/hcAwdXFRVcS/YBLkLXwDaoZZ68/pElPD9nZcLsCH3WrPnlENH9FHgMky5eS0NRZbsaw0JAWIUjAhwrvrhaRJz4fPyJRlJl/X9GZaRtPg608wn5BtjmTlTYJ/Lftr1Xejx9PlCqB3AF5P1InaONlHHtO/hm3Uk3mc6NfzGxZOiGc1h0Whp0dD3o6XWb/CpLhmh4BKkfZIhMTOd093mZvN2rX2k34bmnI2g5Wy9/jEhfhqufr/HzOcRo+bPo3fhji7z6IMcUi8ALWWNGA1PiGBYQmcInUPFJk6y3V2jc14jpi88Xc4Z4jUFGhEEgdhm/67s4gj4a4Bx+nj8m5OTkLzP8GLFM27Lb3QY7T2dtyytNaVhMeJlxLbxN/9AusyHtDeKFsiwItQG9h2JiY6nH7v7weFc/fmqQ/kcDlKMzDesXeNOytv7r7yjRSuwd0oCt+1s0TUDhl3KW0x8l8BkZ777e5snRF0gLtLJ43F39PH3PrkfLSdrxxFowTkJGFgsXAutO3ekmao+FdB43TBeu8+auI/xbyrM5rm25K9SL7aVLBDTKzRps2nrJTu9IYfKBELaOKU6JT6gOTvhhjpZ338NlBmXgTaXbHmvWlr9h95tz3SY4crsen3S6kw7kSgGQOp4WqPV3sCLWkytxKMf54pqwyKFeOJ8XK+rLIOGOUXuXJd6Y1lzFCj1zRGJM+HShK+WPO/jZSEGi7TK3znkDc09JHxGtyKf6fzRMtekoT43qQRr4tma4v5LevjyulmL6i6ieCm+k0pepQBx9EUVvCO3zj4p07h3y16GwO3PGNhkbDspbkW311FM1Ym7whgi66K3MGgCkadgsa9N/Rb8xue5ydo9nO+zgiPmqKIC0OcM9mndIJtk3ab1WTQe+GH2aJLNu+JQoO6GssVl7OTi/zww2FIVCaPrn2VB8iUg6ZReKV3Czps2NoKin1M48P1NXZ2Y0BHXbES6gH/INMvl/UIzluiAHcZIyj2v8ZqS5IrDyjigg3/vE2OFe0w61qcvHdNUGwasdAquH6MRehExATgy55RmXnsXyJOMuoZXCa7L4FfpKpm5+9iqw+1eR8BLNm3wCAGJv+QTO5hsV1d8jqkGkFPMAH+iqrUa+tdPFniVT6ijjUXV0jnJKKQgQ3EcZ5MS+kH2HfZy+doTTXZKWZHewM4A8dn+vWtFhxYCPe0hoCslJyBPlkf9/733OqzGvwc219AG6UD0pllkXi+JxRjOXv+4fogFaF31JkW9JXjZ4zgkfdev6tlE2n5WIyGJXgtesb+YuwjnsrYCcljZbliYOXnJkLSRvSseHAPQUMBrLjX7CXkRbzlB8NfrVkmjFCp6FIJop6XHg3H1VRZqEYCmX77QN6+JzK2mTyqMt8qlE6PVx9WMLI7KveqxWV3LHh7uh3dyVTH68Cmv+1mMvwrwfeMBWm/6K8oKKJZusdRIhoM2K/GqSG0RYTY0KOQH0WKFYejNKd7U0hM2AYQ37WQa1JAHtkZz5pLz6YTaOYvwbHvTBinZ5YDkFuQcC6qHbkySyZ193PS8ZjoccCl5efKTA2rNsTMNxy1xQyyoyJRWQaUxNaBl6tW7Rp/aNRobbPWzG8Ls7uuNZLQMgNvTCoz16+tU78FtSqE2SBLYGJI5aQR9AHWNBDcmk6JFTnbzg1s5SDxLuR5z5dtKbmgm5FCWHX5+j2GdnzQ3zgdiqouBhcPlxwCfV+woghjpLXZ1e0mIdLTPkKR6TNG+Eh7aY8r1chz6DPZtXI8J6QjOXNJQX8UHjNASAa+ZtZ7TJcEriL+ye44oRH2Ldj/MYSkUkA9i2jf3frwvfyH9gWaf195syOJROxFTL5eKrH7ot/ofrgQOXE0G2LqdBBCkRUMCjMmchdUxMGFOPsRPgrLLTif3hXeiyK74S+7COOZ+wA2+59RJVe648eUUPInN/rUUb1Yu7HECn4b3yX2NZWf887LDVKsL+/SbJkbuKgkWeqhN8nhcWhlfa9RiJlSU3zScaRHyRZ1fjgzpV11TggEWg7QI7ph5ESJj4vnehuZoQ1p4UGsEzladAr60Fg8Z3+N44lhFCV1GgJu7U+/t61E3eNdKGGdfU6TPInLDiQMwQImKhXGLpSJX1FrlUnsX0wzvZonQ5gSKsskwrnu7rsKnZ5hPzIGsMKG8fwRVcQPtp4iocvSbDnj/4yvkHkgys2epxz2YymCetg/aMfUi2cnAEGo7dFOSo36USS6iFzgvIEmflEamqqedRXDQ9Xj/pQaNdGggoaKtpus023Z9Ri2tn4wkgFIh+qh3nV+fK28SUWDda/npqgOe0G/1XKITukY2w1x6thkLrJo54wWpcdpwxyxBQTk2Gx8bl1mdmmvG6ZEm0hnxxHZB0qdxNIvZ3Fp9y1jXOwGjGMMTITQQZR2JhmotIB3SN8FGVgPDV/xFc+wd0pLluZnjXYqQRk65GDGVt6yBfVLUekRNTdxf6UnpFYj2tPA7YW/Su+LKbU2E64VjeZyeRnSh9ArdIiO+ldoGFr+YLHqvah8/utjth6WLljPIsFOQwIjAiBPONOEYUX6oHKBUAPUOHV7UY5s2FaGhLyMeY1eokj4ODvFY452gDA9jGx6FUIpKELmCO4oZ0LBcNu+ogkMu0vr9JyFK0bsOAU23UKoqxsxsB2ujz/D6R+cHfCN8mDP2zNFX12TBW0RRHpXwFDDWl9z9i/nw46VnLWQIP7i8+IKYFaIyNmyrcbh9id8I9O2Ax1+Sw0amV/ptDngTz6piIrCncpp1wOk9K1FqGBPdmz+PYz9aM2/nj5P6f8MPkSbKHwmAIJU0qa1os47jjNKRDz7jPIwAh3u17DbiKgJOK8hfSwkCsgF3rj8tb7zKQ6QMBXcWng8sncMcuw0kUy/F2keolKNMONGM1yp9Pf3Xtb9HpoX/My0wpz6hfG+x+StX7Kgc/w8GDFXxEvJAh5dLwRVI5rAFB27YKNhTUEOl0Z0iar4TqXweGH+rmJMqgKl0xjlDKyDUH2xPB+CVZHGO2F7nprGy7RzWVY6xCGS/q3uFd7XO8t3igU9oRz6LzV5kzoWQOUWGdSko0pCLVbAGHrxK+wPw0a17ISI9gcZAG/4EZF5+Aciz4XSXXWYwm1dSbB05eG8I15Y2UMs44dYNhnRJT+CAJA1iF8CzudZN0q0rOQgmTldc+D4VgPVM1SO50+W2/I5skLR1ueXwTXofWujiTnzvgGdbw0cBSPipS6218Q+QNJ9jhV5p6t9wxP6Ql8vZNqTdCVDELI9P9t3stFDM8ZCJjFaCb1ut9A41HB2GRx7veJlzz5e55YeebXIIIgdEzs5GuPJp9d1/mlMcZQ9oAYI0VqRFeN+oRdmvLF2SwbDG0XOWlSkj8yeYTXbEEjM/z3qYpJyJ5Xi5FM29IcRJyb1S1eCYVH06pFDt8sbGjLle18eawuN3yDaKOBxIdmFn7dsVJBEz/Ck7fjAp0bt7PbpCTu/oUJncOXHMIGxdgR70vRbWwnmEkr8PAfJjqcrPxVZt8LGYod/8bb999UzeFLtP9UlL5g/ncEQDwOZEh4Ylx0PqBoxfn9BX7fNsOIBWGBaYmvpawEyksUY5es8jA8BhZK7CLQd+4W8CPY+m/7UB8xWzDskNSTB7SXdUEGm6bFrb+Jsi7gd8J5cx815PuhgPOFY56SuL0BCABphlbHEkLKWQTvxTPxLIduSfPA4YlMfw2Iw3tQ6vR/lZDoQNILfQv/kPI7CilTvh+GAcFy49fHY3DFmN8cJ/5cGTht9vHjWcryhv/aaZL0LgihFzsGkbgu/s1ASYABa8ZaR1Q7xrWcHJrgVGnHlKwq7tJ0gObL0aFXM1Jk0YDigKBOLijvm8waRK9KSTSXUy5Lcd+ScyH1Uhr5bXbY3rjrPCfaqg0+BzMEBP08GUt4xGhVVTgYjY1bMLZEmJo87H6sSYGoT2yw7u5ePirXMEL7mtmUeCsPXXJ7LCd4gxSSPQNMZb4koqSxzN0vPlV+kzGHZqm85kuFHMC6BVw5rWvUi0GO+CPSdewABy8+LuiUVq2PmekYLuXMqKlFY2Law1+mzPvhgMiC40ZyLG+KvHCck0zOscgcoqmMzm+rHFfSPIz8tBnJ7ybS733K9zVYq56uwdjtJsMc3vzeAhuavOs0bW1zcQamfkMtLcxiIZ9ATcHztvfjrOIO8QRVbQ5pQA2jNy7E7FHm6JD010ydYpJseDtDSa/bsUR0Pxw6jAUlTtKSQB7+ZRcIYNOUpsVXTXh7EKQHKa7Mo0jo2sRI65tHHiRepe25Pe+fLjcGr5bv3drW3Z9GoXm2wWbHqy7awd9bGE6asp8F2ytkhgEKfwGb0YbsJK02LoZ8yUmyVXT7DeiLcJPxrO+okrHx+LstNZpwjZozmE9yKzhHZ5eyt3HTI0F1BxzIVBsYWlpwLz4fXZAMqOJXptNEARHx4bLAbPoqXebBsCtFQsVdTj0w2jZTwVNXpkCMw9JhXyCtGbA8h8l1rHf2AtaJZ/CXOqNVqlndeSXZ/vjKNmEpNmGXhscr6OjkQXfq5I01tuaSEMs5hk6hAvrvzbaT1r8rM/IUFOtvCz27yCB5OgjdVHmS752W1YFRLls/yXDkRA67uzV9V/Ern6tB3hgAk1n/qFpRi3wqzileV4qFvPAN/piHler4AnAa6Qfvty9089WSFB7zaSPiAY5S+wVj5kCIn3/X0DtfqtoLeOSQuWET+m6kGJTDHHcHCpFRnuyXeU9HnZMNLUkxr9yiCszSBgtq9Qg08DrTvoGR7fppNxN9+mfeZNkZxye9mhAjLHk5qLDkO/QgP0fREj8KkLzlxTCAqqWRhqtDVNPgbJy5GXaEZSyJffOjVCMhiimYln8CkSURh5LnxY4x7SkzhOeWT6JhdknidNEObxJNv6CkPadH3WdRVFjkPRtmDaAOstDaTniaQzJuOVXN7LVz1bCVhRvydIsRmecjkiErM+29YmCwwNlYB5hbiNMvU61toyHRLqfxZsSI+llm7G9G8VXSfrfRGtH88h2S9o0VJgnP2CtDFoQEuj2QMM/jqnhmjY+O2D6VzhN/5tZousGFZF+UtlEQWPHhE85xVeko8RC2epRV1TzhJ8me95YsQ8Z9T0GrNzmhno23XobuhywE6nYjjXkB3Knbzc0DOge1EToqnYmIhWU3h3IrjHUjJHlO4qW0jyiEK0ck3yTsbnA3Y2rmZ8Ga91ofwFE1rtsJh9zUZCI60P312lyWHuP3UdNq9rQGwY+p3I9h3uiyQ0HvkZwvEaraYDvIzL7bzqTMlbFdvsnb/iK/rM6Oirdd4DB0oMfxavCZ8kPnFz3Gh+AmYbC/iW7dpkn1/IbQ9q2FxHGDJKofsrwy8M7nrCL3zAjs/qSQDG6vce4WsY4RUuwpWXmdjo7YHhTh3/un+gxnWkHGpO+Sb0zckdRxQxPjKbm3YoH/uo1YRk+tR+uPwD3Ym00hWNcZkOw6K8v7ihkEUH1o1n7+OqC647PaEGfSxc/ue2Rc4OwG7mhHeb8axYCiBZE2+nVwy9IFes7iXGmjal64hjMXjNv4mtiaE2Roue2kkFGX7LsKs17//R7MlnBvTIIWGSf/unwFzwBE6YzDlCX2Priv4kiewKIR1YGy8cWu/8YhcSFDz3ZygIBa8BSIGaYkfuK8owl5ww9oBhPRE5IFPyajer8FJ1oilKea+fUQsNKRzTRn2kPEV/kqANJ2wz38hOJkVYcjhzR6SDptei5tssuJwnAJ96bMwm1LL6znZJfOIT+F/eIdSn68PqxtX+2is+hdG1EBx0/MrBlmzw5q1aVTqDe4gO+vSA2DO4LpnEklf8L8S5/bqJ8Aq7hklVWH8oS9GFT9lHc0NsMm5Y3WYnRBLW8pZFRYZ2kALdf6UAKpNgrZNPZajKL2D8BWYitMs8y+CxLECOVpAKzCcBBFsEs07OvA399aYm6fwdGFmdmcEwYELHLsrEWfA5O+0LHxoTYlssG3rnuAv7cE3oZbFF+5gFu7rY2VnhYFwqNZJIGs7PncwNX2Gh4qmjtWp7ftf8Ynnf2K5BormQWXxymG5UAJIA4cwGpwkTpg1u0+f79aRRkLiz6IdVP6SEceCUlF+zpkyRNN7BH1hI3wG2WuN1Wf5kCXZjQHbOiYB7XoRBD+nvlbqDVF6mtMKr8sYnAPPsabF44Wu38N+jFadvxdjmDvy1rRkqMOpBIwiwwd2ktzxmUXtn0066E0f5t739L/pSBAveb+pmfXmDgEl/4MXdaUTamqIt4QYx3pcnAO49Y2tg4daxsNOXALsdtjZFnoAv/BKnNpYn7uM4AdNeBO0fUlB9dvwqwylN18OZkvOfZ1isLT/LxQlYsKD3yixMJJFEIgoxJujhz7KHcl/DDHIT7z9zkC3GdER6xqlrotVMYq3lN6ST9yQtEBKwvJKhnJdzK7nl6ndFoP7yqYNnbyk7NJ0KD0TING49klSHaxiwE4tDICZ+J5o65Cnkgw3gLnAlFkt5XApuOTvCKR4uQMAF5vBP+UYFSD4FAZ6y4XeECoHx+WhM0kjkEuMjdMOdi6jFkgXNJ5ANAt6DfzabQY7KD9bXYr8pH1nFhnsXGOlV217utRkrbNpbpPRlkw+MINJAeBwpUhn1wMY6vL39IETG2Sl5ZFgFb7gfn3kZY3sYQrgOBVEpVpBIWcbGp2dE1qhAOWPwOjvH3WP5IUl0a5qXFqQluvjGLIgcSzjQ8qG+bnDJfoXN3d411NNluaAy0FqHg/MzfG4YhivPIV6flO5Rj+s/4WuUwOjy1sum9udYEIdy7EMy/izAcJJDjK+SddkyUYmZx8JoE2GSc7prrxp5UVIqRQT6No29gicOuWvLtp5sAf5NjH6SXXBFp8kS/HrQR0V/O/YjPqLuh/8noD4jmNi2ON8qShDP1zNg0/NnlAWLmJGcokE8Rx3BrCEOpOWF8OXCDja0T4C+CwAkioDv0kL91VwGa505iQ1w9PLuz/gaEyvMaEcc4dmBvUJkRJIBgHY9wpxG5BrBNTAtjaoD94QNgElObMDEvho6QR3CveRw9st1pqn4LtP+O4hej0Y6Ewmu74rKrfONgUQx5h5mcgNKk6C8f1D9f4q92RAzgCLV5ons72aw59e+wmSz0l0EIjmwWiYYfItH3JFYZseCaAyeDy006nC2fvkYxZDSb/M6wwjFWj4KiGLkLU/rsbQmwOSTZxyVQ8ISbLjFiW0GKNNEFU+wJusKevCyHM9ozyiUqW8nj6exe7M6fem3dKTPJMnE7vmCPqU3KKReKl/yChwPjaujWL+/2Mdc1ts1hFyo0qi5kpWQ0r3d6UZJq6yw1yEb71zqODia9q0UizFL+u/apaPmVFr/eSGkzZK019urSBZs6PQOZmWQE6X66H3p0dxqbvV0t7w/Ja2LPojwbGXPzl7RUWzLJbjEnvs0vTcc8Loj8jSA9uX5dFkAS+SBQjG9KIl6iixW5isCHKaiw52n5z3zBSaU6rHPKsHA/5Q2MtB3r6Ydn5PxLoCIScqxrbIXlPM+I075K8VJLQzcQHvzUmjKVXWzsgADwWgB57q+UHyF4ralFToNn8G9X4xNMt7cwPfyQ+a+MzvG325WqvglAAel+2CgBtVwvE/xRP09OIboJDa+wwNAJ1G7HS747NpTovMOG1RY+PCz6cKsubpsbXaYaQw9BXkEk1saDbBkcOPnGRxmjTasMbxlOieMjOSkWr4EdM/LvqmJ3v3mG+cdJxFuC37XcXRRzwZ+lRLjIXyjC7N+CXepCz43S47osQbKppuLSN7cwkslaJMsWX98CXd5VVeYAiSoj30v/GJhjldrKlm7JOSoV2iznUqJctwFPn0KKvNtvfkOZjCbJxxsDIX/qFDliDGJTnbOV9+0cttjAHvpSafOk4yyb9/E0DXHWVLE493IPQSdpsZhv+R61X8xMnL2OCOeVMvrb7p5zc76s2ISPvtwWtNltCzNEJhZ1IVeS6TnalNAmKsdYRgP17EURPwZtsAYqmKj3ug1CaQ9AgIqHNE7BZ34n6HCcCMiBRjBgM14QGvAuKzj19Y6TuqNvpyBPuS2S4gIlwdmD3HqQE/GxZk2+bh0wG4isre8ngnV7rphqoxC/FUoiBrCfxjkDe6d3Pzdt33wCwz/8p+zoPMHbUaldvBWW2QgsdMzBM3IriyJgP4S/lrf8jUQlOFLKkMD37/mMKm+wxLkXLdTIEGaD5O2YTNtMFuUjB24bMMbqm2Ub+gD2UQwy7kr955bEZVscYUJoto1ak5XtDb1aUqt8miRpbesuPGgv1QyIcDAq4OfJO17X4JYFrOfmfmPTZbfH43NQB7mgF91TpzeOW9Pk0fwHfWwdsmjwJf8r8Vh0yH0qZhBZnJ/Er7/DKGtlWvdSVboeN3fmUdOw+1gUm0SxA4vpmqAtvBdzK/CgXcDD4YryBsikQJaLBQ8Le1vWjTU/JJjJ/sr0uzXxzyjyK9UrMIqNq4eWfpDuVqM4TzjgD6371kdpYnRNwnzhm7zFbZcXUi5qMw21dYI4um7ZfX86d3MgZEEzIpkWX+dastJPNFrpvL4ZFo9T65CNuj9EdliqWXUACjjZ4NRyUxHjomoaWLw1zLrZOtujcvudqzdxP1yDdcqdjULrP8l7lvTCC7ZsG6AmBT5kQOc7aSGOpM8+W70qEHqsUkXEARNvutGklJDNTrJ+o4S4V0nZ2FieM717TJFbMYmuw7KHehvf6iXL6ARwn1gqfj1EDRdZTZLruXj60eDyiW8P90TJ61vvmCYAF3GDlWRhcuUMXk5+Qo8qy1ddm1/mXT8M7C0hnu+8JgStXwuJcIADVaVilsn9I5Tj4K8HLmWmSBb0SYZyv7tA5kYmHVoef0DKYaHtTkPlyZo5uPx9kiwFKmgJLimApHWkPYAc/dScmutS7zzDJGMLZUixzupyUpGbRMJSZENTw/ZmlgouiCx+OSpMpmhhw6sHh7Sx14fJlMcDy8rTSFQK/hpusTuCqAKa+QCPqjjpRVh3hecDffkjIWI7qjZHb+E6mUp0SizrlvO7XkHAG6kmCKwUo7peLgcPFvm39ywclcCElavjLgIRs7zk5idxQMlOoaNjP5mZhD4Er+2z93bD17f2BnvmyXK5F9RdTZ8El3gluIZTWF1PU9gsmqm66TWccZb3EO/pz3LlviEQyxDgLIyQ324MMN2c2fxLgmMf+fTe77GOcS5dfz3B6/WMEiCNRg0Xfda4AChC0QDjNb2VtEsgV9QHl/56nBeCcm0ELDGSY7zesuOqVwFJ69UyS+ud6FxppiFqVh8T3b3PTuzZac8N3C1h/O/1HtVaaJgOk+UWlaHKUmbkS8H3XJJc+/IqJvQmBNx1HnjHgShvX0gqAhbCbkVx1ouvvYZSszVf+4BK+SWXQBWE+h7Q7Pea46+ZSkS9vxDP2N3CU1RK4YjOTCv3q0OuP/dpXm0xJexW9gJzt8GDzsg2eCvbos5nGTozoZNLtHOCIqQDZGKqN9Je7iIVpTtlZjhR7rcLXBMc/Eyd0VRv+jtkazQj7MHZlOi+WDHuNZxSlIkwNqdjRMulftVCgwbE8ufhw42t7y+T9BwCCFw0mCkfoFsfwUgpvVhUuGhUd5tI6Gxz76SrpN1lF4T4aVospln7G87UynsEIDTshk1y1U3Zm80n69gyQ1kMB0stFv8YoXt4qVqeKccxujjOmOlVxoQXOKRNsDQbJttuxdlKqM4/G7DiLDDidJB1izCXUORnl7tSRcrwTK9xF1H9fISKED3hg28HeTmrGWD6mg4SFLcESk66EDobQzOZ0oQbYFb9CDCNlBxV8Ut7tCufJNxOnvOXSyhgSUZgWlo+6Zb/9hRVQeEH214KMQYU0PYAu1X2W57BtCHvdruYZB7fasQGQYyn1EYeo7b2+emYgFd2xN/rNxxZUD3dhufH6StQnbM3BErbN9CGzzvN58ThocMLHC8Ask2/gVrUPBbqxwP1NoRZ3bJJTqYgfMga3sJcdQ7KsOMVGR1YN9w2IE5tOnHY8OAm5mHLBXCk89RICAWgU+whE77qxWUWvjKDQAeanJ9KNrqM58x5X/+M/V8u/7lQNzUq+TosSLCahxDq1LBqJygGabtp0R14sqbW5XMrchLCFRuDX2elOp98/RFpyMqMR6ogXts8hZ5yFMkOnUn986TwhTB4nNQHMgTamin4hUuSNXmbc5D0kWDPkoHkoSTtEdCU59KHnM9h17Wu/Hihb7S9sEN4OVX7TeOn9uG9x+ic2KgpemIXVsfrYQ3NjLx5YikGFy/PvI18FJgttbJHWlZs9bBGJYkx7TAFK4bFhuCEzmGq09sAYFOfGsVB1ViiYcIwtKvpYDpaWO15EIQ/AVAAQvQxWejH1vIl7f8YZwv4ufJMGSVrsVHDOTJC2Ma8QTmhr8pDrbwQ6L2mIWfjNcHadOAekalU1Xyu/eqVXx3PQJ1G54lAJJuODgWqkgJ3NwXGFIBr/QEDyorAhnymCf4CUAsZvqW3BiZJdLjyHbivq9TRJUbWLNXN+yP5aoyjnVlyu1vz0Z1qrhfQ9PJz60XTzg04OXYExBx3T1ivSiCrOlRLEOpDHoU+HWVvzeK0LQuiXDAM1O0fU9t5SmapKhw3OUAn+HinYXUkr1jHk1eOcyMf0p1YkktoibrinRuMA5Tcxcqk2t3srpnuTjxNURCfUnl1nZBk+PcB23Xy/30IRc0zpR7MevwTIja/p4cE/LNSy2cL3ayeDNuGl6HQk5dUiwYNJzzO0Dh0ZmQKrNcl8dU45ar3nvjbranqk5fbHU+WtCncGjXXxAXiyCJVLB38vNAoqZqiaUrtT0O8ijT+nAD26ZN2pvVU35FAYa2bNCqe1WM6KUSPTnqsqLDTRZ0InWN2EHBSsK7HU/IUx+UfGktfpf9LXV/OEk9LT6df8B5i6gExCrLguh0PimeWSaprcUBTJOfx8vk07DdMC96cdWx7r4ih7goQu7mvBXczoXGlxEMk+NLEK/rzzevDQMOSZYx48zjPOnBqWj6oGK9k35xJY2yZlPvcKGy32JL8fdzZ85hd8jLktzxG60UoNv+1SwDKW7lsl1etsIAGlGGgYLHATMbQScmFu5Sx+v/bjUr17KHQzUJ0SjN5yYvITrSsOrbySgbESMdWT860tLwj4Y+WPEsW4NpMbvTKFFxupF+gNnQWaT9DaO49gY51YKfbw3WwWohYTSWRx2D+dDXk7EDRJQd/C1gMV0yTBciaKJGq0hYqTprnIoD7YwK2p8i0KXCW8fDSO0bD/ZMA07JF2zxU1FeJuTexxYqesrJ9wMREdi/ki6MgItgavuCgLE0go33omtmbkmI3bSCypW/lP+1XB7Dpt4mrS1882gqBg7AJEzlK5chLdrh4RNQUdLY+twl7zjpWFKHx7WYDEPrT9xhlCa75uhyLjisx5iYCl1Mj5UneF5L5ixFCYJpGKSZSO1pMXpFeGH0fZ5iWOtE0ABUuwRGUmLpHAenb2/7hmas4TvfelzyFIkjNBb83dWRL2qm5QVL5RWktRQhvbMdU1pPheU3m8rC/t2BSJTvLRMAl6b4G52pz5epZ7dLAYSvGNchwgPThZQ7VLBH7ImZtif6ew2hWcVrA+Wfvg5cX8VvXNKrjdQEEzi8mAA1VENBeHIO3n7WJuHNdoMdEtdSRKdlX3B1ia2QtYMQAqATCSOfwgc//JFpXM4kYxr3N8nvCkdbZXrkM5Y2iJao6g0eyp9OFuHkmRdYtyXxE2n+k4dPMSF+pxyPrCbGU4yWg8oHfb/6xlnWDGBYvQNYooBmWZVfWu5TsISB7vgOadi3YP+Gv1WJkFM5KjjDntj9N4j5li0YjEOb7W8MrInw5BcdbERAVqRwBiQGph7NIJl/vuRzr1xCK4/bZma3ek4p9SWo7SNV70Dll2LTco/Mg8ps++RXv5Lxw2WKOZFbmouBm7xr4+O1x9/efLLR0G4mENCFjhBBU9C9fUG1v8LKfbDuHbzmLBiOVYpx+1IX2rHz4Md7zz6SbZq+iLqyfh3tHzsq2rztfPVUrlsZ9upAMj7hwOVeafXAI8kl7STz6NAsiF1wqUuGpgWJhFkb55ns2v0oZRl8KMwghUkZeulemDEkn7mkEFWtBXbRd6PJnzb82Nt/mpPmylKSSMtayx9dtL8JgnPku9Md6d2p0/RVyzCl1ZG7wiY+5tlf1FI3ij9smXVU/U4DOx5KXTLgSOc5qXtCvSbwJxEfuzWarKZ2KgAvOeks3ik/Nmbk/G7BlDDNDA3f46Ln9r6ADv8wC1OHZOpwH+1zNd3GJwutaSyxA/5QnnsvV7iHw8CFMx5tAqQtkPs7qGEXQbJFaxNRJIFQ+eYj7kaEY3bs/G+sAYxjjw6rRpmEgvyHgtegtetHoU9WNoOt5NySWAppBMmVBzu4N0OW1nkqxwZAQYEOm+EUnsr0TT7MzwvyQnaWsWI90RAcZpNIHmAatlSNYa7SSumwo7rXHVPa7dUSk43KHUXvlMNHeO4tOC0zVBY0rWDcazWHluLxi1CRRm/Z6G/W+1DTJshqQuJ7k+DhAnqVYWFvagPR5TO7qxJUyUJjszvhJYineIDxgBw4IyLfffmdZ5ZicWVR4QrF7lS+459vOpsPOyhgpuxp4YSDOVuJCdLOdXD+OYnBnIIL/mLD7XE8tQeGLfBsF6FZFJMQTXbcSpnnR5jOrQ3xderyTsXdUTbwriuW2c7JPjZ14BiM6ZLtS+OvfY5Hb3bZ/UNfM7KoDdmh4CCQWtiAvItacUGedf1X2gffK2Jef4kFxppYxQ+cP3TZMAkw8TDaC+DYdBphWNBQExpvBpZ9Oq4TK81P2mvTgroNGSN7cMld2LhVsIc6JJPKB1ZapBvysqKQTGyHiW1StWfnUs37uRSA4OtbVaT7eGYQMcZWo8iqkgYXMOObJPAd1GRRl9Uzr1dBMEVyXn3uRKSUO0EiIdEKDOK98S4Kyd1f92ej+1opkX0UJd3DuZsDvdiQCGXv5fQwygh8bFPskdWhkCn4gtzpIM+dXourWX76GAwdqcLAiqRriS2nnTpxf1OqZsgH75O3sPHekyM9H63MNVHfJ9WUJ4gu6dq7leWHN2M6cI+qZiWVucaMu7lnqiHnDiqQF40e1BLPgRAWyElH7pyZA9dbc5btnPm82P1DsRu/GwWjGYNXxik/ojWjkenImwdjtoIAjMlhXnytNw+7+LJxCAZc4Jx9N7jq2eX7hOp4bQ11ym5G/lw5il0HmTU8payOOKFpl5qlOu9+0LR48BqLbdZcdriYPoR3Pe8MJbPpwV5w8TBY83Y58Rrf9+dMx26A1nwX2xIKejl8ErXrVrt78SOUdruHdWSewKx/+G+DTMNuStKBA+gMUDc/qJraMs+ocEcz+2AyShar3VpungWIr0qLsD++wWdkCJpesrQKthBU58nKd3SlfSd0b6c5pJVeVM0rfEMmKZFWj4Kav9BEcBz4BI6XXdP7X4Hi676kqDpBuLZnrflFgqWxp561hU5VtqbGaWAOSkdr+lwiElMzN+0DjRK5ZsaY2haUBcRGX0Be3x8l3revzJZlsjejlnzCYjQfXHBri8ysh3RaQS05+kkMpPhZ5hYVR2ZAiW/v3hQY/twxuZYG6pjIz1Jmmvfjg/rhH+DOSGX8+C63nEyzhvXPxl46IxS5BB1t5Hj2QksHf4MbMB7Zw3AOSyf8cqMYYTY5sIFLrClnn9KE9K6vwfYJbnelrhYwLRro+J/0FjZWxIF9DP7tpuApW7tt1vYHevGF+ZynquINDrezSOpysJyO1LVmJqGkE7WO2SCEj/nAHp0IzGks3Z5001v4tMGdniGnLIRdERnopNQ6VjEFXak1wjeCerniSYONe1tdA5NGoAc9zxpYQHA1vzG99DCOY5jyiaYVqZzLoNIe5KIAcjBDSc61TEgZVYvSo9QlJS+FjWi7+ALSWDFMUW59C0bDafHEyDGUpWi8lojQ0baIyCmxU+h6hDuthW0FwTJqtkkegkBuopnybF3r7TEQ4LyunYxfM2n9PPld2+a2ygWrXXqT5WjC2+PzPZlpPLHAfzlloDupwO4olXjgU3RycdVjIq0lGR12fS/ZdI8sumGyaHMqoGVUooWa41tWC8PHT69QBHrXJZtDV732c/Jc5RoRLwSuTtbV03gYw/QRfaMACHQkTk0dztPPe1gVWCb5uya4Fl+Ot6RCkYwZ/qV6XneVd3iEPZE5/3x4/6jeHqG3pRTlaj6tVqnzCTeW8x4WqNcwbceg40g17BgtJ7WhsVEdvms7VakwoiqrHwNmmJqbaxsmTlnPzmsWGIa5ayY8PqnQ5g9Q4dDe1swa/FTmDRT08ENMRFnr3+gymR/Gm7OrNy79eliXKEsBVOnKJFhL4t1wqOEOqUZp1O73OFh3mngowmNg38MtbuAo2a+uDrmxkBTOiOy62M1NvJ1M9fe0wv3WKPA/5qpeOu9IEXp86C3PohYyBsM8MrKAVr19GfGtVQmlcY33z4fxzmwtWHVsk0smTILHzx2yasOOaCxHXq4ktl52UrsnP2cN4oWH9PuaIxrhWiLfoWjpostisq2T36rq69tYeBzTY8PEpuWwbhBJuNylxwHnoadRvRS5o5TqWf8hRMhvV30gY2RIOmwsMV9vL1RsAudDFA4qX24Ru0l9wtCSBUSd0yrdjzTISlAaqcyb9YWTY1Iuhg5NZh/+9rOox8mZ7Jb6Dhgab431vF4jWflrQaSMN7BGhw+EHQFJjNNRB5CpZm49M9rhXDi10iw+zlDjW5e4eR9M2Klx58i6WvoLCTmEXSEroqY8fsoUhnb7JoEoTc8TeWH1EW45mRQYxnsxJyLyVQsxcvfKUVZMmfmT3ZJOI6TzMhjFuE4N4q82E2h2It7bXedQCeOTC1tYdIvZr+l/HmMLROKDfRy2agirLnM+IuC9CXJB/mulhiKrhEKnj+eK+F2mI1HPUpnM4uDByE+MsY/Tm1HRNkWaWV6fYR1i658xjcpU2YMD+ghX2QUfcxAls51o1P4vW1jIpFRrBDRwuxX3ELS+JJnUU/hpbV3C9XOmguz3x4NYh7ov4sot/G8fpCXJY0suuf2g+PSjAe4IFUM3KXV5iwMBD9KJv152T1llOfZjH1ScgCOpHzE7CEET/Jcu0h0F+/bhXMb0qkvoKW7CqupqoxYqdIgU2elmBokAlaFb+Up/wvSrxSXV4OWtKn/C72pFQiy47RSWHS7JWQLe49ZPU2Rd/3sPbETQ2GqIXyFgg3P+ILB8HAblidI0ug/4dMo6l60kmCUnRRK7fK3GGro59GIEvlzdSZqg9iT0TXbw2orWMRhysJGQCIgH+PZX75rR/PKth4BNWNum6hnDzeXliklRVBxepaMVbsI5bCOWsdgMDU45AuckuqbTrOT3vivOG3UmpFBW13CT1mfqkFwzL6O7XKNRQrfFkogDvjLkvi33OKw/p+fkdd3Z8cB1OMZ6tgL51hUjVPY2RQVJPUA7uMU4RDcYUITKLlFc5y+y4eyyC4LKLSDpXSFH7heB9RLGhwFrf4nmVBseSpoExpeDqp729XX1RbIhticSpLugMIAYdmAFnorV3iQkuGgqBx1NSEjgBtR13fJyYHNAh9F9/UAkYTKmLDFqvoa0KqZRqCDTFMIxNYuOWWsM3RC4jnzjPUnopYSqdUfURh1Sct98ENLXSun+wMccjNXzWEah+mErCj/sAZeQhyL0Dyh7n0eiGp8z2Jbz11bYk6xyHn7EQElLjziO/lhwvbpabDQ300Er2bWCmi0/XuapAbeii2hj7FCEeEMfkhK4QHFXKf1iKec7rwbMiH+XipqMcOXJI+oZPQvQ8Xb+XQJztW4KeHp7gEBE68cMt6jOrxUiXZwbMJDHxrxYfDcgyvtfulPYwDv1kXx2YyWrluEkB26Zas61kL6WoOmaxGaF8RVbfXWagSvCb/3ypdQDw75mKB3ya/7Mu1sswz3y0r146xUZrZuco2CgkCrjUdiNUs9swsEwn40/oCrYW726O2M+YmfRDzlAhjuv8CARo5levjg1Hqlhps+ncex4o3JzrOgqsvGDLPfMGjD78J8dzimwildZeLf5t80CVz0YtduCJlqlNNNizlpQU95bs6AnYhbHbPy/A/1j+5YhVnVamcPSXOClh4y5pv8A6gJkU+uOV0LB5uKyD46cQcX+yLQdOmPeVaAVvJXWgqRtphzImvgFiNs20u/AaPkZDUjrfznMdqSuyM7evebomRr6PLoJjQ8kJhrKX2dw4BoFHcBe0c6LV17tc0Erei4p9Hnje+HLE571S44wbO374Ex9AS52ha9YASM1ywcpI3f1tPQbcAjtWOKgT/bTbLySqXWc7OrYR7LjCsHsOUFFXeXS/86k4tb3JkvBHOJpQZQNRRbbxq0YYfzCmgmOb8tg6V7rwnuskejWKgAHo1SqcK5KDRpgbPNvqhYETNtFCLR0KNvY9AKbqk3wI09WbiYi3nAaXcXyt/VhzdZY4qyo3nRwFxh3UynSGerfF6DUnSAMsbM5AlTBmwrjYKRgoSM7dz6Mny/T1hFr1XHACek59dTHn9qMHyX2NdidhE4ziBat7DeTwpsn04mUI+rW8//2t5l8A3C2zVAitYQnVznMTpvhuNukF7NEbUjp9HP0IXaOWXnZBfAsNKV7mbkJAYvxmNvsuQ/3IVrhA63AhMGBOxbnCwkQbYso6SGlfvIo/eEUqm22nQd4FLGL1Q2CFyM0zgged6EHyku/VALwkWWEoiIoEe1ns4Gz+c6cZTDxsf2k4QtbzU93xXXvl/pGMbmQQIDRU9rcag2lJxYlxEzascNp9braHqqJcjFbyq64PYI34CoSHLygVo13gFP/vUuYDn/xzGq7gdYKue/+Rm4E4lBaWmrt89gdFXWtxSqIUnsmS3U23uEEADWrkrWCsV1yiW2ksh1ngIS5OWhqdZtUj7fkDr1kBCcd2baGE0zkvMR2JnTDhauxSqb7el9BA2yWt5s5YrDjMn0jsiAmO852AYaFbBOGcwE/wPe2h/sP+Urd2yU0apT7fwaIRuhhLJ1vtLpIFcobmitmzOJDgrniNFgWxFVbnLReyiZquFVcV7du9YHBaWpEphdZCuWXMA8YEQbK4+RjzKDFVa1N42M9zRZYPAOyxcuOdvc8+3aFK4aqHV6BH8yTMAqFRTd1hJcQJg+BKEBP/S3HGHzUPcvuDUaUsiLO8L6WfR+nO5HsGG33Av81j5kC/eXREHnZVaXfvQ8i+oa2BORRZVzKYdHZTjoUJOJxqi1bnvTSnVYMhwa3DBpzdJizO21PoGOYfrP8mseQXlgx7rWSQhpeEoDaTFiiZrUGBmtoZ5y6YV7jXbJRgXEzlbHIH3U5WHz3jUeeboUZLj4209P8xxvrjMSn3sP2UkmXFPQTfLpPhbRE+hTDb2ZFuatHPaYqstorgQxjInUo9Yewq1efN2DS9j9xTO1KCGIBaNU3BbO5p05cJALNOojreD7HQOjJXVHJqbTrrYxlWVCuiLGCiqxbvmf9EXGFFlx1GC9kK7acI2qSZtpfqYI04/QJbcuJgDCd2KIgw/7JfW6n5ntX6x0Muk+xkfc1a6N0mNYJ123yK0QHSa4rx9H0WvRXXYbgVZn23b+6EmGq4mtdmho07wWBKVDkTM2lbVCu+UlKWWpzErLw5G/bY5YJY4ZdORg+TzNUdrJ/sPY6vaZIoK20VwVNNJwYIYkfwS3FJNHUn8N064h2V4nk3piYReCjQhEawC8o/DQdEFCCVAUCfH/3zPzdRyCJmW07XD07UCPBZ+gp49JLS66fCUodEeS9/pfilkFWjZH2Lyh3Edgn6MfjbA3Ty5plao33oKOVFMn9wVbUnMNCGmmop7WmzCsmoRwGDoZ+gvCam/Dt8nhug8XyROZM7y9szQNCYEmv1L4QKmecLotLZgu1DoKs//fzx3C3Y9yLWIO6zBC3oHsLem6GTakgIiepHAPfusk+UvbHYi1doB4HicQO29pau/vDJRO7wq1kT/QOEg9F7ipXlYShnR7Czfr8h22wSbiagnCmb5FQ5qcxY2Vi6/ZK11fkQcIWz5Y2hbY7wN/FTjOYTRBtej1aT0yrOLKj8w57XopPODSQH0V+sKA9N89znANmygLXzlh1RIx/zpSd6k13qb9KjA1rOGr+nJ0acPBCOvUoTH4uNKRn5x8XyIsgaW+qY4LUAVybyNTfQ6AyAz6zOO2ijWMbiMESEJkc0iG7SMnzVtTDUzGfJFiHIbFN0O03IdiblDruidzK3CFyvFO5lZ9gTdve3TC1LYIMwE9ca/DE6NLa8SUTn6uvY02iqhyINeLou2Wd94expIxVqg2hh79Y8/KZncZU8BBWEtz2ozDlVlcUxHpG98yQJzlsTsh5z189tv23E5lEUFSZ5vvE2uYEbqVaasIoHkDQCAUOZarFzuBEUy+aspTKjP26nLnyPQKqLiWVGAVboM9AtWNupqdwc9IN6jG2n5lniAqeOdxXEjGhQ/KsvRy8/7tu1uE01xGRVAbi6z6o/nx12nnanXbjmtJwTxLaIt7OfrgjjHINlGBXZQei9aWwCTi7RPxEx4t2TKRcPPezGUs3HhZBtbojMjux7dLmGqLR/cVFz8kfPgphf9vhXYdvdvJDCKErqOvebdom8MOC7rhi9GexMDnoNp/gDErx3w1v73K9S4t4AKdRJ/Ppulik46glDcBMTRqhWUAgo5gHsVTwMHEWmrUX0EPrTSI+LG4/B0BtaY4COmuceH8EDWYwhwRFvcdOKQuLEgU0T1uGzoEUOtc/kTvSyy3RHkPGFqqCxb2uO9rHo+gkYGbbT82Q0C/FB8t3sb8uAb7mIt+5WZAwEXI5WPRDIipHruyPTwE2kKLKWD5F+Y9Kit35tRD0vNsqy+dln7A9Zi2CsFn9ZOeWHfaHshl3p45wA3il9CDBy2mwGU/KdBkgar4u8axsAirWZpCZGWtXfLHafaTVx/IIfQUagFQdoV5Mt6l6itAkfLuh4lQgawPlRtDZPmLTnEW3TRWXgWWdd32f2h9uy+e6F0SbCVeKSiHcp/nBzrpA+Mdk7AMfzL3JqHk593wCXGBWE3XU0FvLayWUhiYxZ6XsJHmgCBOm2HrgfgDB1QMpQbvNJDoDYc+yESJrEdhP5BuPIMx890i2cjtakTDS3LlhVWlLRIbCT0EqXq9G4D3FiHHY8eO89IInlFZ+hoOeS+eEVm9KeQWZ4K0t1maZ6yC+U3IcPjIbuW0CZgfYRq4wGN5lPTuueJp1aAaMvBNZyNIXSR33ocD++y5r6pBFL06Bkao4u5H0VhdDBxTNKjTStQuKAHiy7PPNWnuRX4CXleDe/FWXuPH4bZAsZm+918Vap5xh0Qo5pjUNztmnas0v2K1ZUA9IxmpzoS2UKrcdQU8yj7YMAkNIao9n+7i07gqFeMtAupGZhdDo4C31s5by+p6JsiRynmv9/CLmWsIUsiNXZSfs/L0ezM5x562DhJF8EraYSrknG1i4h4RWiaRKM1ALfFHGb5TI6yloEEWk1ia8yhIB35HhNR1+C+ExVTQhADBS5IsJwgFK+OjJATKR/bHlX+L8NeQma13uR90Yp/fuVnmkMjffymjwvkjfK2aYIp+FZN18AIjhy0vbPfhGadK/37yZWtoUiSy3mzOClNK1cWAhqWyf3i6EUGU8xwctHdFMDozC3wquZP0mU2Ld+T2FYFJFDOgFRW//9yFw4JimlUg5n8dS5JLZdAkXWaM4Syakfx1+2Nb/oIWmqKShb/xjMwtYsq/2rAJnNUBNLiR15UYP8AN4Vz+RuzhK6u5bDOp0OeVVTPv53PQ+vLCOMpqhS2pS3UR4D4PKP9L/RBJh18grZPbjym/pxye+Wn0ZuqNMypepngUqqRx8NkDy/HpgpnZ8UVuv/FEgGluYs8r9559U/GaAx6wpoHYWqdDDQ91mt/rqn3YqI6kCtov2KAngouMxLQZ76AwXV0DbJJR2NN9JuF5wj8orNvGC5CtS0hHgC9BemTD6fT4Kpmqj76R8/2vEaLQnT7XfeCvjbg2nUwrE+wQWRMaIECo8fB58oktBqPSBx/3qrGduI/y+npRcfkKfX0NbMjhI5cQqIbmGU7e8PzIGqmrII87oHOQmeJxAu8j7xM+ljtLXhgJ5N9H9tnd3W10t5ipTu/nm646JNF7dSBxYlGRY4yIRqpfwwqvQnspEi2+UBmmf10HfztiBi7JSgJjjRZR9z9aBF9fk280vMXrD49QumZ0ijZOU5YgJOmD0CnKj2vIjhRkqwnRH8AHXH81KCSgcE/5jYR4tNUXLew0dB2BpdEkMNHMhjsZompXu19S8En1tMR3ygPoWfFuiXZIcUtpAlxvLEymZ0pppzHFP9nHkgaYRNIw9SGtkMayrkY6xDY5QuDn4gaWwjmujedp86ff187HE6TpW/nhMQbOsiL/eHGpaKwC6K/XDk4upaZXMGLE3gcPNCFyba/WX1jP0aNhEdczSXkdOtOFbYSJYZ5k/KTfi3WplEWPSiYxbg4ZNV7BO83uNs8gKOEJQGtlKhBNRBGDCxKLi4Vw7K+xVhUMaIDJh9e8SGKRi5lhBpMLB/nskhC1baRiWiiipOCF6OfNiHMeAuHI6zEAywGgfiWCR3TQ7FWjVxFnnFK78wfLceYnnBlo4SU7K9pUMvJUMvhBfz39Gv6wC6SZJnWJwEQGGj5f0GhFWLu3p3KMrld9SRPGDKQTlpAg/YFISMqOJbwJ1zJpFfnFMHteKD6rpI+xU08RCqtbdS3mC0yacaCptwHp3cnapYj+sKuYOWjHDT1IGJIODXr3qKqFXCSRc9a3tW3ESoCGSkvfrABp201PDDd+6lZt3eY/3vkOdFnAcw0/qkGxfQKkq/g0U2oY7V11n/SZP3hmg9z+xiQQJ8GlW4MgYsNHgt3znWK1z8PXZYyG+nLYEdyiKFGaaKCZRZmkV1Fi0ZzD/5JLaVLTRG6Dybz7IJBWYm4Eod1sWWAh41sMog9g7GLw9EUOIfOZjUnEh0lgsC+egBtdNq46kJI5wIrd62lFdzN1NpgLc9f/HVBgYxk56ytD5aMywFX/vgwugZ+TaYa3H2SZ5GeSkUjdAhQYvGDsIiJRcG5qYnNUqI4wnNvsZcHxYpp3jvLXDtLD0uhh33A1p/+HPe5LFSMEND9/jZzvQ/CclzC1z4DiaSqVMqDlAQL+mXcLEwfFGrUeoPzxlSbiE9QdS9C1SjXpl6VFebVya16GyXBgxJaG3y6w3tE7+tK9X5gngPLhQMhnlWJiayvPbWED2heJj1Fe4dBd/E6/zsA2ZQI8+1LZabZbPsw+wWOUBKtYM/RTQJrTRvcKKTw/6qsMHpf5Xd3/94jYRStjLFx8xXlHiymV5a6YhIxHI3s9ytWzCvgxEHKQ2OiFUy3DIko6VJQYNleuIZfcUSrxWefIbINburq72YV1bxoskYXFYyqIFX6ZVCWBU6/3kE1DdiSYXVhYmjAYMv1MYaBkiQ+RulUJCXmYbaVL66EZbjvqL3uFQAkLYx6z0yQc4CxiGKeUnbaCv0eqFImSuPDs5egGwS+85sBCLuQbeoeq4jKLPHe6yCS6KVz5FKR8wkNle0pvF0ZVV8tpXUaAfOIt3aiDeaZ3dJ0ND+/wlZ9tyThlC3SksYGOaNWUBem5p78eDNri8nJV19eL5o2tI15WiR0NfC8cIIEuloTFozOQNQ3TyiIflaVioAT/CzrVoYJTOjaKzGcBvaKQNHbWHQ7pHNnv9+OsMYHJcJPZfY/xGwjGC914uteripBctX4FejF4224X/03kn9/Z1c4x/sUgAtik76sRlSqNg/vxijh6zm3eWZTeUWJgvf2i5Tn7QgA1tNqi0gT5an/K8Sa0QbBsDz5+walNlPtvux+bbEZP/wzgJD6T/WWec+RwBtdxMO98VoQvSTIZo48apqW6DH0wtSorhZUwtp7gbaiEy+kvPy6j/rp4HFwhwOQ2Sz387ucWQ19zBK/e47MjTlg55Z6S+XGr+TN2sN616HKD+7wAIwbT5VM06SyoTKA907NW0Z3WE8KfWJpe7LG/jimjhfb0ZDG6tBIfChP6fXthkp5pY744JPqx+aL7dqFwtnL36idxVrw3hnxya/kUqGcRVGXmr3rnbbfnkXmDKqiwmR70DmchlV/CteEuF+XZDyBEbs2Tdmvc9ECcky5Mow6PmtEcaSEv45bb40ti6Js1v1ThjTrNMhKWl0DqPoiYrEY5oROxX/u5Zj5kFUvRLSiFqada0f9QE/1eUQA9krQ6PPyxc7rkv2EHQatjLc5ypiTO3MuCzokhRgP8mwkzUPSOqv3tZ+0dGXhhIkAdR2Nz+ipdU61ADcW9JJ0Sz7P6S4V7U7F7/bfaOYHT92rOcRxnA+sdLQBC5+8IjhTn3Doeu8mgcuk5RHGORobcjirnylUsH6HR67Gt+adaqx82c6g9rLCxy3drbmrGxsYXF98GEPJQfVeUnmdlnKJ2365f1r8AAtEt8xtmLw1ySlbg0l5bTgJDGC9AHPCsp6K0HqNaose+KKbBUqQy5Z9BfJ+7EoP1xYzEbmP9dHjKpyvudYpPec+9aDUQmboL/lUbuKGjytpT4zqC40wQuTb+MUCl0/2J4RfvX3LjRDAqeZ7DIcjvIodWeVuHDf35rV+Ad61/Iok16QZTNlMaEbczSIwr036wdBPDz+rRolt6inJY9vqD8ndD6oxEvEvs8bISkc9HaZMdqdOu25yJ6I9oTn9jISTjvmnd2mc1+McsnotH7iJhMDuNzAA5cSqNscfnMdgUGPQfPWtdxEkl0UhzhCS2zfK29jPsiWw6gCQwdsRRPrv4JJMcVf/pCfH3PxetkyxhRhpa6MOzgqEmu+JrDoIQS6aGQpgkAAQ8LNn8pppIU+gcRoC/3ptjCSQqBvTcq/dKs/4ilosKDgxs5p7vG1BifL6gOlO+ZSiEgtn7mjFmEwdp0AtZii3PiCxThUGjpMD0NhUbBprzjDoDKpYek3dutQtpgDLyxcAM2MiIqTgmKRA2Y4w5nB2qErbartJue0S29QG7gir8N5104WIzNEl5ObF/yjGYZcCpPDD6BPZ/ZpAODvjOdNXUZs9HPksbQ4CnGehA6xcii4hGLLrHqVpZ1wIbPXr0J9dJDd5u7FCm+2vapzCOU5sJr5wSAQYDYiRlAy3JRzc2XU45sCUH3E2AgYlpu67oMxYVzXFFEoTcxe/k0WXT9ZQAVC0nfAusXbYuY928tgWhFeycz8w3tAjIQW4GPgx9mhxjGYzK3f2tgb7GWS/X5Ipa+neTpcRPtrz6sGpboAXmDIV+UbS3Ozfq+u3ouGK9f2gS2ZAA0TySQ8YsP+qXWv8bXLprDklxQSQ2qipu2kWMYBTd0weDBM8fMVy4G3sbe8YBWb597C52mnT2YjB3mrYWU6vMj2KK5Ao/V7tQcgxD2Z8u+F1UzT4vWdcBmIs8R1dwf65hF6zkVmEKw99X5zIOAFNV01kiFiTn/gwFe7jTLelXnYDYHbEWGgSIU+wIWmTYM6BKg19nCU6OJS5GdRiTrSertWkc6xRT/HRMxsrAG8RTReaOR6rs4ERD6CksNtUIHxTYyqXnB8ITuRGAyAPUUDuCAX1JWOiOOP83mWs9WYnpaj7TbMDmxoUz55RgkKEFfwvdczHOzTDuP+UDpCN6/Po/dvi7TfprWH/yeTY5so5ouyTpV+ufdASMvqmMLfwKsSr7PzcM7vz++fpJps9cWfT9ocTgQFkniBUjWEBBnMVxeXVzPQ0GK7FPMOM7t/7wPEDBTjaxEFVDLj54CUeqsZ/m355BevmQM7y9yctu/g/b9dE/PzG9lelD5W4lBZy2FxXom7LHt2rbQiyz13c6Kc6AvlC50q0euZunkuorHzktChS6GTI1DIVgULfonhT2QwnbLxaewJcEZH5bXlqTjs6diTvMBjClefDYo8Y/hafteqNg+yZrnaYJ801vQZR6ylY3yVjhA/gHacKz7fjmW11Qnt7AvnkJGYHRrAPxeYjROSfsrRobckILjIWzdaKiIdq1POq5SxKgVbVsqz4gQHlR44t1Wrs0dthAEkx8JA358RfWrMY5D6yhT3TtNv1T8oCiIRrSe0IsQGxScE9U3+pHeNV2Df7yT35VFrOk+fwYKtvCVae0emFYkeCcxz/zeH+jXIzcFkZf0bBEzIyOEklsuKK9h/lbvQY7f5VRZXiL1r33tzDC/ZX9ZwjfEjHzO4dpTum5i/Fk4/1zG9RPNYYFAdF/2NqLU7wwfe9nKhvCe/d6MvRZ7pBXKGYiWKKvzsSoPkOiVpQFPlK9UduLv9LAQo3mQRJWeOP8yTLRu7wzjGbrQAGHRbSqlAedrCvREPlRyPPmnaFCEsg+cNk0WdnZmWJOlTMILdDStvCPle0bEo5SD3Hql/OhHWAtfCvGSdIBnrocF8620QAudSU8VNeyOoAE6jp3OWXOldjC+eamPn5jB1zrNfJj1+hWzFCcagTSToYFnMBkqedbaISLe4sY6bVhediwLoaFwxL2iTKFDWWY86mgixFf1A/bCui/KwF2g9caeDzkTCG4pNMxSiUYWKLHw4S0ku5yCsl5A4KDCxhpO3ogyQOPdBsIRQoOzBDn/Mstx5StiQOW1ItY9vZwj3ZvUWDAjNrHbxRCM2jURJtMPmj8NuU6R/yss6/cThcwpWYNqNe+/nn94s8jzkywKKZattRUi67naDn+Gosm72TUGypi7gmT5kExlE4YFIjDA92jthxdiyScgUpfpjuJ0Foagr+A99Oy5fV6/N3o+BQyOkKHSHMAinFFDXpWnqoLgeSa4ySnvaB8c7j2ynFr87vMReNJOCPqhDrzbQSi5zCj8lR9mQtcClPs+oEWmNjk7SdO33Q9IrOeTHvXD8QEbvhZ7QPk9ifi2V2YzkbgtbZImWC3J/JNTLsiYAPXJfD04TtZXbpSIYrMEgpYpf14XIIfAqJ8D+EIWvzmigPRCnyBqspjcOkWyRC6UGNi8CFC8Dv8uPpnaUWCI5JenY6sLGF4dlaFRAi6cXZEjrjviRL+lKpDenMItI63OdhzgB17Otk/1ZSI9MZ9X/B8ohbbcjKPCmlP82xsRB3l62glObvgdZgcGftT7XREkbUfDy9yspirxI/W85caSf3eY3oLtq0It561KBUxfRjx0Au8MYiOjNadsS3O/PvpPT4Dmm8f7sWgm+umcDQa9RchJjwzKufNYNoPWX/yYqou7EYDS13oohfZ+2w7+zz41l+uGdcdVq8twtulTwoB7h4IQDsXgBJIdG/bDnj7nyk1gLfrYU55yQWnt/f+Iu5NfBia4+5PWeAL3PcTde5ZI2in1XBdVX+RgypGSy0QvUBuZTiWzJ/zboKnYslHGZT+xLGKE5sHWhRsAfLxKfEXhlOo5f/MB8YSC8iMYSIedHihmIqpMrWddmp8heW6hq6lxEb4flDuMgwsFDdEc8Z8qEZMMN7fTbDcb5xI2f9CKXbuiywo2xzBi90LGjiP4PMB6foBtJOhSCxpx6csttCGd/fYEka9U238GZIn3jzHmV3+nk/6fS2W7rSyfjdkidU79bvCcAdzWjkmeOMdoH/YooY2ykEvlzq5YK59vOVaL0xsUz3VZxqfs43I4nwMO4XXvPX/O6fhVEHM2UIEYCV7giSi4oPs/e0mrvz6+Fncxg6gtlYAfQrm+WUqp/TdxpSXlgVak/L45B0Fl8nYMtML3ScagW0MQl7RuupScmcR87CYBOTwSVPyeb+m8aa4dw0vn3p/UnKNdDXBCHVi+Mb2UOsBzeRJni9EwOSD4JeGXThar9o4woRiKpOoafX9XYPUauixohEfJyz/VSQ+IIXu4QEJCDovqZcCyLW5u8BHwrit01AXlr5PpYVbOTUjA5QoNCJ6ouYUgv0nJ+sB0bLDv/9EUX3ufvaQYpjDFB15nVhADNy08pmGCcasM/QLX9e6MfWBLbu0G8XohHXypwLzMphQDugRmS8je5uxqnVVaPkWRVQ36jIcHm5w1MQRS/fwz61wYRD5nwcmzy/9b+3FWRwZRMgZM6IiV1aASvrntNTi0SK+z8Y5feL9e3RGQSPkFdGp3xPFPq0suLhTSX6wgPemAZNwrcN38IODl4Kqy4XZboVzO0zguuryV/5mlIClDV4Ub5nOH4+GA6fuSQWLyPFOzfS54hMsXmJ+EO41NpwKTx9R3uO75791+kbiJbwPOwExcHL8uqiMWrH8anorI1yc7q+6AfCRU1RrEQH2hrSlJeBCnf0yeOrcCTbgTYQA7lIBGol3iMcNKTEqyWDTUH1MhK4KX7ZMMNNtJZz8PVmqZ7pc10lTZR8k/RAom1rpGH5FbHrge7kNh88qyRBKhwFIbe5MU4G86FDgRjLW27B5pvL/CncznSzDVQCPKUCHpCvS37qygVTO7Sg5160D7/4E26gZPgN9aO8FDu62X7Mhc74d0oxR8Oq8Fp5XFXa7VDdfGi5OATh+8opQLrHyoLU0KlHThrNT+/zD0S14dpBUSUplrc8vX8uUSwaU08PcBSddgOF4sqkdwpFZ/QWGIxWiGfXbmZxT2vkHrRnDN1DS0MiAh09ZQGM+Ikh5/FzhyLFqZ+P7IXjo9Y9GtKQyweZWVfbYuuyIXX9++F18SBdlLrp+ZDZeERPN0EtaKcbchF126tM67QmEIZfhK9ytyEzwy3+xywyB9MsEA1T7/cdAzXqCdp9gGzpivm7wgEdNm9/bOYLiwgYPwQ6W+H8Bg6ZSTNh0xeSuwe6TuhIxLrhA/d7w19gCLn2XkBtYJbnArjss8J+Zbu1A8ZbIMzgVSfqfNuAr7QD277xtF1TUU4b7G5PS7ShfxUDf+M0hxBe0PZs9QLCMoODtbZ0NY9zB/A5LzWNkOwb7yf/mYg8VkZ2OFVPcvgCeuObUkNDftQ0/Zzh693xTR3voe7TpRSian+BMjeCBSiW2iKCIOySBLzeSZ0gtlPD9Aif4GK+4PW3JL9o8cZjaypV8mzOGCt35BHEoUj3lTaZaQuQ/QY1zST2Xt6YZTAmfW4Jf4HTD0CkSXN6ZIv6nGFOQIchnfF9mpH2oUgCZ4AnUNYV48BrEaaeRCpgvXstRInmvumQdgW/oCF7su6llDE6Ww5aEvFDQNbfPBlAlcj/2cYSN20fCxV+10RZ9nrQTwFPE4rzBdW6ZK4AkP0oUsZ8JNnpweWO8/PiyiOHm5Q40uwna5kpbUl102Zn5Xd7ABdzB6/llbaOYkRbJIFcVjmSR5l6woeg6pqhixHMMKY91lugeHVWfw98v58OIPupGJxjSgGlDVvhdJs+43t2YYc4dqrUf3yAUfcUZuih/TrPLWfAlWiiT7W143n2V8Sp+kWHmp1t1ymkp+tGqIPS9tlQ6CY7+4GkZ/KghVw9F8iQiorN9vODxiM2f690VbLFyCD7pU+VDCZbuaP1jlMnTxBcEvDxTyQvPKOxVeEEEvFaX7B0WWGCyZrYFNGnQ00o5ZAqq/rmkvJlftksPnFRHEWgqXF4cz1JSG3I6IxOWYGEg1mqMo0oXWBM7HVm+x2rNybancGDAfINrXumFBnqbL8pIoVYXMdgmSiAn3XWHMrIrXwM/MOjK10ZMpcQCuIzGpRE2eSrYduDFhC7lCEHYG6DbCib7+JyX3Aazd2YX6srmCpafMSCATC5vJwL1BTJ07sfnzGqU7q4odBnwJl5kWWlH5CSaLBnpTuGWbmtMlFRX2NvaQvGHxsMX0xQ8EHEEtEPWg7lEnNKoWZWaxTkAttciAgrowvqjHhWPvokBbo0Ju4+usep5UhYvrQDwDwooLGqrWVJMDeDZg3XtIsD4FZWX8zliQFZ6w/gyETD+KDyse4JzhzlMfD2ne8RgpS6EVSJAllbqxgXIgEI9JEM/VDMa5uo+KESc7YQ7hRSSUOIkLPetVrqOK4RRpdS6aWA2Ql59Ao1WV7w7BpAgNJp0XfnG9wjbqjDK0Bf5j2i4AZ/VCfC4RK3NOmoLiCKbD1c6ZtAm7VH5IMUBsqztUokno8wlrdAycOpa5P8nUZ5jnr4BGtI+YfFBdklsYmBRfZehnZ74vIYSmRNrIYvpClUjZvvDBvuBouzWYsHS6SRCeSkBYRHiUghkt9C1bQWZIJ30/VqusxkJlvxP0BtsFULpk05ouXxJ9ZXzaQ5V7ZvfmccHbc5svm59VKAlWXnIhRhuKW5SfyHpE/LBURzqrJOIWlJeIRx0EyTd84CN3iQmWX/8S7RP+qp1WYU0e/s4q8HcahYoOLUZ0OuFGNnunljoNSjAmJxXWUbUHDFem4EOZV+OaFeH0i5d6rxOgIKicKUwGssekVykBBTnPHVe8VHvyS4iYwryvgqDs9AUoaMLjXn5e7Xvj1WRpMho+MnnNh/RVu4BZPkUk0QdLgRk3laGrTul/btcW48oxs+98IHDkYrshKO3x/V4jxE9xn2CntJeZEif+ojb6B/a3nAukvP+sVSwSqt8p4prP6zWJtwCidfzHgWWMoRBWw43d0vP5jDr+n1ym32TmTwIarOvdE9OmNdbsUXR8a6Xdgy9hLQp2HOg8izYSHK4DtvdtkTkzKQUiBC9R0mv/Oyl5LnywSk4cv2ETgWiN7H7+fpJmsmRhHb+YPUwA/NqdUM6LE27JAKjllEvaXRmaoOj++0LEZOZQ7fl+Dr08SnloVQhLVuXX5LOeeSsIzBPdBGPzbIakbto1HbVF7DkEfTs8PsaqcNxyZm6+B1YsO+wXUjz2+oum6xlqgspCtT89sDUDDNEPVs7VC2AQjY0UnmfGbMCtPkoQAL/GEeDXOMy/+TOTQF2wkkw+yV4ubOWh6VyFiLoZTp2zWpOHbAOFge9Fcu/rmzqCOxtn07HcG0YxTlqHP/+ZtMRV2RvKJI4tV2eWnkKKSYtejZShREE8TrS07wWejqrHOKWu05W2M9eFikvIVcohwjsfUY2jzPIqR2aZW80Gv7INNfQeER7HG06ygZodWuaS32pGVda/z9qM5kqtkdptHjUsdDotFUnmwdKD1WG6R0+RNWzgcfmaHPHDWlIqgMphUvQt4QUnWXTff6u4MqI1qnZZmSS1DVLZVsfyngBHC93qaBYcBdmQKxxT1Z0KU5mXoAQ449TREmyEKYoTwGAyI5Kj0sLLf7sODYdTFapAjUYRgHdTf4BkT3i+Qg8Sz/MNm2cAAqxfa1RdoeTcso8LKz4zC2SfeZpS64Q25l93mZdY77angPZF2ZKuwhal/Pv7hUT+Q2lZ2C+7XG/Xcmvrf80yHtSP0HR62gIXC9D3XN7zEfvqigTKUFvYmZXVN9ERdu5Fcdi5B4tnyMeC4uJCypWjdQAXXbfGYw9cTxFKuHor38I0PsbnF01kYoiUX5UNWmZQXaIa6HgakiT5dRAFe9WevLVY9ixwvRn/yVBCftI7886pofCe/u3Z3DAb9Qq62avu7TQ5K+PdTjYxFn2JqISGh+ZwrvbPkdovQ9DJNGELfiwmpzWxPpWHnqKqsLMuvlailarKimSuYiIPdhirwwrbpu1zJ4WLqPCfSnVYtwIQcGjjIM3nVc5XojIyBlKQSMsBAUEjpEUpqgvsp+ZBNuRzFHd45Pu1T82CCQjGpbbTPKqOwyQL/k0s1UyKBR+bdlEtv2c4L7kk3OYleS9DCnBMapVpUrjDjP9nqBepYPCQUKTjP8S+mdV5QxjDUiftYfqC0WZVhrJtpCIUCR3M3vo8bnToipzNsNHg4EZLVFHsa9XxmlfHtPgjcgJyRz6VB6/PlkcLZRfSrCGZKYp6AqoPcRVDA1gihd/8CpqaEnE3S4DP9uVmIXWrpYG0vs3z/flBq7Tf0M096TOR02JuITztXLbEbKUf2l/c6RKmCApG2UObmJEcunTLYtJWwB7mu9o8dvil26lkNGrOxV/tnDMDfhp0TjgAIq8OCI7KUGK7YxCODj/seSmzUtzdyIXN1gQPaV47Fm+OIwq4SlG/1KsNQjxshj1ECP9xhHsKNzzViqGvAwH6AR0e+37rui470nx2b0CpWtS5f7o5ed6KQqX2f5BOc/FVlElWFPEzDbdm9ODXN2sArBTUceT3J7gacVMJMiXcgEUy5ZJx7F+xftm5KQ1ZY33y5GXZDUWdxjbTbKnX3SYQ0QOq+PJYkhUcGrUGpVQJTeHuUwVFyyLv5bOqb97mxW1cO772eXIPdJQ3OHQxLKtdC6Oj8rBVtYaOQda7PfAiU3X45BSWOzesX8KedL0vz2QqnXysbEfwFQdirisf/U171PmKJl+yqpYFCQEqDT1V2nZGIH2+T7IKcxreCNt0kgTwZvJ4Wyf9ZhRIVclNLZvChkYYMsD8fxJWw6OWhi/9XN23WHfr3qgoXlKDoWJWqrruCc32nmiskguKGDvxAMIRvvuz8A4jQyhDQPQTZaP8/4K1/d5etpm6fNCgP1IF5734VSK1GTuF4BD9mCX+15AhZO7a3CStvaFiAA48qLkUZEl9q9F8R4ao6YZVdYRDkZYSMLw/bFf1VnPk3gV2nK6YQ+KiqQkvPp8CJGay83pi8L2avb6AIRoHTbRtAMXNI9l1aRx/pNYzCldP87wunYUeCvzoCxZ7EVzt2b05U0KMPzW/TU0I2QvPSmXPqjOrhsxFrshJU5P8Kd9uvMFf9ZhAXZoQ7YChutlIBwdooFE7i/abqiOYqW57/izJ9CY7YSDCc7e+XpiqOq18ULxXpv6UZqyNU9EyUFVTXanRjzEHJhs1omFUUhJc6ZAFkhBiUWjFj/zNhyPzrU4utdGhD11NKa275k8HX8aBjVcHbvm6f+weqdh1AQZ5jzMBHIhdT7zS37f92MMzQwSE1X2fAdnuNSpJqPpnC520xuU6hydwbyphVeu4QjN4aTPwrqKixbpV3wsQP9z7lBRECa/j+KPuJQ+MqrVQUYuyKA+Zceo/hl2+wut3tWqzSnDvfGvZiRmWHGwrToEHgTSA27aW9Ohp832PEXbFcdSGxScGnPnSsmuNKoxa+hoXm4OCtoOZmQscjfRyi0bv4oGqm3e+9lmXF5igEhrMJNFaqpJVVBlfcF5gjHap1P4tr1SvfgPWk+SYJbrTpS/7qLLhKy9oPTs0URFQGC837YDm/U8bql+y1ZmbqZpGP546UO7temmwEV63cgqlvViEly8wvZkOASHsb99z44b3gacHP4Zgom4dqhR7Q6OkaCEnHPljnOvpz3NjBE7Wp54E9f0dY3kLQJmrOGtPOC8I+Ycqj7dKC4ASPYYGFIb2fDbj7ZCe0xlZQHKYRx1RfdGfl7ap83dDGUSSfYfUyGMKuIj/kOBxBEb9M01ZPsRqK9mzJEbMLlobovF9Ds8rv4dHNDOLovYAzX7JPH+jn3jH6oCo0dpOx9C1MKIR3gOZeWjESlc0EwDmuwmVgFhgX0IRYEKDnreOanJJ7rnVucyQuWvZ1InPPjXajW+pORSUd1ZMfLl67yFr5Qu7fC8hRVTcj1TCSjv/wA8fBnmdkHoLaw6DF0sANDRoIPMzqocfeMCBAU9fR5gT4CHe8LpCBNLQ7ep7vHb3ShesvXO3P7wao/FYpWk3kHKN3M/K1Q83Z+Wq7l+IT+qJUByXZnl3CZQihp1SCwGfhEQbEG3q6YnK+icBm9gs8g8e1qdq+H7pUBhUdZCQnjaBIhpx03+4vUXNko7XcN7o0Q5yrR5BXmr7XphGVe7eSXoOv94MeSZx9B6iry17FRQ5Wyp6Y762Av8PDeujK9qg26TisFBRm/Klh7XD9EQwxM7YP6sKuBW9q3nfihlksOE5difr503Pz/1+YH0r5YZf+/4GyxfCS09/L32Oyexmrwb30rSDdITjIvW5EhNgLJCZzuk/xKCeN8iXMeoT6/bwtLfTt6TuAKYbvPoWhr4sMLCaBNXP01cupqsk5ioqJb6Vqlv/juv4dR4laLfUy9tVzi+dk4HmhKntNeW/pLl+/FXKDeKI1KhkhbbrROUAaGv3e6khXT4prD9K+FgCHanHu7LGPJkf5ls/pCn2zOO6sIAVNuSUz1aJ6qj2hu9wJo0tBgIrV4RFBE9Y4Vcyvv1pC5p2kH7IaBnR3VhbLm4T/aq+y5VY/AjUcudwwJCjYdZcP36IcrYGPJHgehJjHrn/m2l0qcPA+12SCeCP8dB30zS7pj0Gi+ojAKqbUJs53kSXIL0452KxC3C588zp2CRcgYNvc/n0CvBNpR3JlZixgUAVDsfasoSbt3hhAgDb7ZpyA2ZtEFVHGTz09bMYSd2Kg0XZrg54G87oM0LPSEndxEItwjChYk70kHHMrJ5O1v43QBgV9JeV6MZhnQ0x6yWu1bXX5dIvRu0kouM6qhQ8LXrJvgz8/IrcG9GYOkZmdYOaJGJSNEIjEZ1/tlLy5LAGqlZ3ETur33/NYllkCtRx7hDYasY9jQ/ayrkCSN52qxpVGGGi9GPbhJIWNNqrmkCNl4et1hp3FeKpiLV9xGECVke+XdQhAicnIKYVemHelqgPtTfjjIfs7ymRC4tZIs2LsQa3oMPmRFA/LxUqqAvwWkz585WdBXjwmT1m+ziao0FzzKHvrru3hTft7dxJ8w36LvCq8Hc9gAOigT1LVztqWqX3Gplgp5awNIncl0tVJM48Owxov5paERPvXwvEhY8mhZZivkjNtLSySH7Nak7fGSuzVdLALYaNfD1uh2PXWWcUO+mqTg9V3TWyuhGiSMIwx7W07+E2hh/uWl/I2dgAB1zGfS8bLL7nlSaH4nIVp8jM3wn+8wBosMRg3T0H+KI2piYiEM6JCXi/AmGOeLqucdM0xjubXNMWoE51f4pJ9+goooZV/i+hSAIfqTewzdu6JFelYw/10tqRpeL11KJQeH9w2tvYs5QvtST3k/0tC5aPqK4NDZzzzQ8m+qDFd+9Zv1qpN/vPtkO6DDTDu4JIZXOHMXBGBfS+WZqm2E8lWIG7t87Vmt5oad50gAO6hGt3wYfOkY1XdvaG9j8N6bxKoo2IB6oYh6k82Renbb4o/2quwm1jy5HnlIwGZdNnPBVq7pdcsonLiW0Z4q/psx6GEZ3FsA8R2Dey/hFFnqitkIEUUKwwiIbd1cryFJn4lB9tBKu0p+BsS+vQka5BqIlFwEelCvqInNMNbUcGHMHe3OBACN9IeEn9Q/qtlJRXJ+d01Ckq77tTagHrKPOq8lOqY4oIDvtbWMdhKBaPhprg/xFQs9BxZ2IsGKsKRMUbokDMQYIHhYvCmb2AphSsy8J31L6tnlCkANUVNxPsooDuAmWPiZEhyWyY5cTIsYdj/vjk1BYuw+IeV1czGJ0eLQRoZTRuk37Fb8CIj4OL19fejfIBwqzF6LejktlLa3v61OQVO1lj5DXHpQQvnjswg5LxBtValqJCceaA7VFZbdxc224ZhDLjSbL299rnTpvGAJXYx1AdgJZd7gWulRp1YzkRCmlNUrkHRoC5yq+J9vA5y0x2q1mlzm9ctCfqrGSLNu7gWeI4Z1eVxBsP1U+Cc/3gtMvW2piQ+nEnCdrmJzUC5biPUEfWH5DJnD6mDPGHy1cymLRdZxZkSjqNzu3uNEZ9EhXteQCZskMTwe1dqYECOSLKSE+C7mjJW4W1d0VuG/1U1yijhRqQhn9GVCdwoVgS+xIynME8ukQ7Ir1GppmBV9L4zLtelxc/ATRs68GE5V4tMAnD0yOOmpapBbL6VppfRGQqzJexygYmnuvDGBxTZAQDEHJX6zaGlYQoTPf1JiWWYDCpG+K3VedO1ryJBbLyQrhKuVp7FiOvZ9FoWAmo820kpD0Sso2k6s1q1awGWEzwgntE6xqs5EZqxNaeqf0/Ew2TdaSak+gnenSxUqoDr2fZWMKBD4qjTLAAHTlNeuNE4SlKU85ndcd7yjAarikiNiRlEWreD1SqNSQXZEMJF5QEjJG/kW/5oANQvy36b4xTtdJKSeokVKmxK2N5sKXxDsl/fRZ/OTfwQr80pq/TSIOCavvSX57Pc1tWRRc1IJp1S7hchl+ZjART7J3RS7VXXowln68J9OSLNWpHclRAYNpkM0etaXIhe/+GAI1jZpjm7Ikofof9pyaoq/NgXkbb+3c5BHenFXuuUTdG4OOo+AG6ZNFkqqcQ1vZoW7bUbkZmjSDpp6XwUNZElhMuxN00gziqmuDdFF9crD8+4moscMppQUCWzktOEXY5bZ4+xGrSb2Y9yo4ApfbOwDaTW1TyB9ZkJmO+urUfiGyui7ABTOuQAq1Fc/DlAzw2tulFSarogEE3zVtRQX25p8ULPg683XsNCEtij+FqOKpyYlo8ia/hCi3lZwCXQXODgAlJteCxxuXOr8NyE5piucego0ZdLr4K3GDF2mYKP64pcruw80J3SJtwQskl5XHvgvS4apVaz+i+FVkTOpNSPt01WN0Ryxolh7yk05iS8fYSNSVs6XTW5CbwVDk9rNRMl9VbZflWEEg6RF1J9Tcpgo0wIvFoIWrnPAUG84xNSmffI5EkgIlp6XpZ+Bn5/zNOp6QfYYfQOzvTv1Qr0/iaZYQ9POZaJE8rUqB3TbGk82Mg+hLK+sH7qyzRjX+e2qMHZKGKWECcxDelhGOhD+mUk8o1zPzNuslru2A+jO07pCUG3n+ybQ4zXOIa8j56ccT/gNLXXrUbReG5PHqojpRYRI5wa/nSbu8sdXfBM7VIZAbzggtk+8GQRXcW93daYVqxotLfftf8B6jGUCMh6Wg+gAU6zZSMKDCpezRpPLKh8dT/YMq1I2FXuRH5uwI39feu0N/BUJKxOwJxYC4Xkx2/PvUONTJgNR/Cv7vtqjy5SR20sWOZONtJtGYncxte3hAgt7UToSApqZkmNPRocEC1JVa3XzfN1BkpFO6fhZSAck2yKUTAvIXkXRiFyB2vBLbT35aHCqxa3Gi+QV5gSJHdBb/0DuiVO64jgCG3bf4/GMyv2pp+GykuWvK07/6Bg4tkfSU9NrTV6xWCKUQtRFxAzGMK1dByvOC9KCEIe9e6+FG8jZ7jpvjcHNoZzDLImw6ZAlMYUMLPuMrbX9gBVZjS4yksUDh+mK6SeMknFJ8PPgWRQ4+joyLWNqj8kBEUh3ezjcjLDSRcFPgeMdGPxWIDN5ZSDn2QULpxxjfzfDEf9Ljr53Ic3ojfq356RyOa4pzw6bMkkzPqcduabKuYxoPoXvBtYHY6+U/k0NvoOXI2OQF90eHMl7XprTsAJuT+9xthDKtIHwNpK39k1TPmkrTTyBaBduFPLtn3B7EPlGqcUEtBUG41NUAo3cPQF1rNq7RD/Nt+Rd7iiQlreK3Hhsh+ZwSRgLAJEZJTEyWCK2FrVCYd7dYQoX6IO8KEykhtkMNvuwp8DxVbQtfxZhIheeWLAMcnZzKrTFpGdeXRJYu8u7j1pZLrgfISrWBhp/Hp7c8lfSXDs810K5ZJc7tywOgukuY6CKZrPd4tUf0hXJHtbxwCcg2HKvyOAUu0bCaqJUZC2zysKZa3OF7SuOYfBg3Ni0lo+Kum2JxWw5RG5ZjnwC20tGzG88Db1/HyycSEoT6Nhn4Ke/hV+DrM1AUKUmPU+d649dEcgHA4zSBcYjgUBvsggcSgunVOf0cfROLP738g6X1mFaEr2zpXinfBdUe5CcuQ4qtU3aBGVlnlsjmZMAEF9xaBJYnQyeSwM9wPeA5Jb6GsSfqPDtoNjBs7w3sIhhn6k8DKW0ox6jbN1VQhJmqmSoScut7fW7660HLVMQFAE7q7YuYKSBOAwCu+Dsj0rj6fhQQUq3kJXFwEtxywZAOZKSfn9F8XgJ8x3ioNiviuLhealMZWCpgDF0hLmn/Gbb24spf3R/+l0vxtTzH51JM3TMXxo2SXNOOKHcKd6yJJMQDV+r5XwRqK9QGgV9HfDLgVAQpGiMeKh637v5Su+VRKUESYMbE6OPUUer4PSwcGM/2tkOW70DHxdpCon5Rrg59tD7Spze3Wip4jUqDrvl24kHPQO2qRL7B1Ir0vHuz5i/37q0OsnX6vr0Ra4XykcYdeL7W/r0BorE8CPmNWVv6ycd1fdGDEP4JaqSTuPLJ/7hA4TjeJkORAgU4+/pADGbz0uincGhjAFqqc3Ig8pFqMLbg1rMoWiAJZoJQYc/XWrhap/xQSQeSUM5eCFKeuaRQrz5oD7YsxiHQ28wJ2NGGxXPkXpH9r6GlFFXnuvtIyovyvtNtNJBbykWgnlB2rJn3QUxKmFh7VzR+ypd/UQotmGWblXw8/1Vz0/KS6NdUFt++SDzULl9pbVp2PoChst5lf7spNXXxzt+pGm8fhrIFiLS/iC1EjJDrMQ9Ib/76SV05twv2Z9TZUV9RuX3F/jMCmoXgdH9cndMVK9yY07pDKCjQJmIkMMtRariB0lXoQKQxbAPQ9Lf+L1omxZfvvBfkElttPZg+DsZNo8KtvfwBUQKKSsBvNihiSQuRsA4a1Y6fw75JezgGS1ZrrLuirJGxMXryPrnDeaw44elf+oCkBezPeSg3pjmMPpHqKiBGLY1Sf0lLb1hwgrfSj3cSgp8rolVmoREjpNRrEcVmBPwjqzN4FoaPR4L5pzIhA7TnMOQxvgQBcmxsnGgkIwId3W/hzh0gF2B6KC8LleWEMd0GgqvCkOpgwQBFVkamtVGjAMlL6ezw+t2S4jgJ+zwhkrraReeSNyMsceecHxLzHgmZXm+X4DzPRTxqYCU5EpixbhwqvabI7GzmeXSezDNFnbTZrtSOjwh+4ogw824l7AM6aS/o6Ciyk+o+p2ugFL5usagkp4TGyYLNwWGCTwNdqn5zQpB3F8RF92rZlsbB7wetHGfK+A7vSHRBPmtYEEq4/qzttjx0SlKxhKsQHfXy38ZZZ0nreES8zqjrU94kK5raNE1U6lJxR1d5VEBukx2GUISccQ09bptPKL64KGuKureIMmdbhx/+s/2+hCOct8ptDL1mhKMfkegT0C9pfNKEbgFjawX2HtBpKtgQKwnLhCXZGEsOA1/PI6shK43pkzu1mJ35vHiFgKyEoLhtGIy/E1wPdLVoo3/jjPY1EbyNhDjHvXDpJ+lo3TZZQyLJZ/2OqzudF0dOf5SgMxp/P3CKMjsdBEyHg6H8I4Xj98hMh5nfaHimhfrUJfL84j2Gmu+b1kaa8VOIwEPEJ7yOqxg2QurchAPQQiEbCmLtUdi5y0p47q8MnsUIH3ERNmya+oTSpzUxMICHPO0Cz4q09dQZtQQKIfXdtnvWbuaWuT8S7ZpXJ5+E87qzXZ5FV14HM6UpXhsKljJOedmez2hLOLboFbHDNT1m+c1x57JuejYJYdGcsx0QuDIfjdlLJrLIq6GVnHS5a4K3bVEeRDiSHM+0gTtb6n3Bvu3sZY5IU9K12xwnbscuBV+bct1OY1VVFExw/9GXE8+ZK2ol9mjI38l1JB5BFRV9ybzaBqxdlJVuf5nbg86RAe8WuBDnLmIy0rtA0iAlzjNRxCKwfN1pfqosdpuHZ317T6eybbQhtcw89ENrHdrB9kxucmQIRURo5TdYVwgSJVCYYph93oCPz5E1E0eE4BE11IG96XYX+N1N71ysIqKfPMzR/T27nzJdePFvvkMLQuVWcDT7qeojYgk+LHdVEhlN45h2akB6jMDKZV24pkzgOTNpo2hyfdHkhMzmsy8r8mU+aUbhqAif8/8DeMzx6SJxJjPr7H7Hy4OyQFSjqdAhYnneGL4YdOzoBxzx1w/Ws5br9TYXl/hYz8ZAOstgA6GjV2y/2FH+oL6nBwWVfid49tQoRkgWren2vQo6HKUZXitV/reQ7PaxTlhg6WJSWuzXv0ZkBdEKyDWkuGtnHDOGEDDBfmwyf3TMIJTtr4nwSoAEoE8n1dg/6OHhnZ1qfVdrNvxefhs3T4+3TsealbQCr6yJl6F0htEDA6dUqe8u9VaTEkvC+Oe4KKHNB8/THvV8/lZLiuJpf8s7rzr529i9RYBjkmBWlerRD51SBFbV3RUZEiYxWH2fBg5INdRrY0dx+tcakngYyeQMAjtsUPbrlGBSvE02nLahEMOCVe3zVBFl2ASE6AdNMMAV0j/OdkGg/PtbvMijtksWE4TiE8kvyeTPNGZFn3Xbg3VUHzHVWjLeY6PLOdfALrajaOa/z8RhT04+BzvXcSpsjMi5ubzcNKbSkGE99QjLawVDHpaNFwu8Fx+dVJ2dBt45yY2+m5k5rtyfA6PQZ6/Uv0zm0OKqllR1hZ72aqK+Rq4TzXycnERms0wjI6YUlukhfgQj/LbBDz7emX2Mw32MZTYMLGDmp7k0LOd+8mVYK0HtQEEQho6TzbNPRrhwYsSn/ra2SuXPHYhAGrXpEnO25120k7hwBQciyLUkPaBMX91/DYB0BqA9Ky1571CbkYuey+troRVHBpdRxvsB75yfGvfDfXWnmRgHi32q01lgf2lCuSt+LIt6+IcqzQFd8ZloKH4RkB3Zs1pN4v6+GUitgdzDnrQRyDnzJ04Z+jnWDE/My5MNkw44FIK3R5YNGQrdwJzoPWFjeq0M0L2JDzajEwsp5EWFKKgi/xYrfC3H+VIgzitRUfeKEaYBJ23dsITB8+om3SrriPyF589JtUfWhpeoqAsoR43Q7QhzLljm6vL9hnveHBc6P4p6CdwOFnasP862UIZrzElGljaP2UOBTmgXcDFwLPd+MEyltKgYUSVOaARj3vdRGv4QP3lF+oHEmEm1RY9f9CDXihAoJkqsX99L+eoKEq7IGGUUp+4e00W9rG4rGdwa58TU2b713CajVOw4u5nkA+vZd4QAnbTwVfUp+hkiSffs1x9Go0Dddck1ypk8tUr6et3ldk5uxwO+Jcd0bq5IMfZ42NtlaW8I2o8mG9vmk9Yn7vZb4Pph6Dwa3675f26V/UczAqxHxVS8K0/kP+Jj/NiNnM57VpAQMaMWDmQtFHg+bUD0wkiUvDn1oK3C+9p8b9YqAWz9mHJdOV3wlhRxxxRBDdyCYzDl4Hgwu2oOppcjGQQrgbDBLFyxGrniOLzdcvGJ1Ri8X6Zo0qWzokaXOi8QIpG4etcyrXnr3MFeRCgTSV5UMbmB/v1iomRoVLYA+LsjNHBQehCiLqwgKH/QTUMwwePzQJn9GC/XPvv1NumqTdAnmgg33exKpivU4O9JR08epg9NwzgHPdig+HJoLf38/qBMW7ilfOIdi5l1u0IUTZV0htIiLURppilDzzh8+S7sDypYP8+xApX9rr0ojo5ElCkRIby6XMH3ZvmAK4Lq8QyeCrgqIiWRzK3Zl/FnaswF0l72vOd39mm/VkLlO2w0Wafnqa8KvyTBtvEzgggRYefFIy54GP7uJ9tObDv6iolSaQNSXpDPNglGRTtJuHX2/ubS3fq4ad43oMA4kWFC3BqMAeh7AoEwZa5HIKLhiAaCvZplan/2egCGH1E0Ow1EcTgdG0IdAEQ4xWbOUvmC1suzXIOT4zvKZ1IiCFjtD8BcAX5uS8Ju8b7wronNowCZrW61rTCLudajWjKSizN3xpoOo8zcHMGbIlUjiRzx9nnlENkoGMpfiHI31t+Tw5aj0/MKRxBxSL7CQq1QhuePe0p2t+m9bbRXVNKwK7KVmOgKgCklMq76P+nXHPCujYiUNTfNDYc8QNKK+f2jWMJA7Sn+L0bTpbcMoRv63n4oMYqrJdFwIc4g5701kEpKtPwNYRTkI8OF3kDffKcx8aFNlN4qYNkbg7yFzL3H1xW//zlqs45xkz87qtpPjRbuFzFM6+do7IuApzjLIYJ+kYA9E1+QKvh5LXGNNrqEb62m8qVLNyYmLcoB6wcG93WI0Z4Lo/WxgIJuEP4Qf2XyAknl13Vs9vmM7bOAyu4T+x/bpxKjIUOxDOApEX3/2Fb3VA7k1ZvXEbM4moUAg6Aizj9Bsik3pyZ3BK2dPxJlaeTEe4qDgbHeWb+YuNLTJlY5u/8dgN+o+ebPFGOojh0skixweI/K/lw+QVm9zomzcERf1+A5W3jDu5rD4zQwtIBVkGS9c9oWRIrtrGeKgNPIDAt7q58pdfdH/kHttIA0BLyjXYPbPDAxc+n7k/tPA5T4sncZOJidt0El9gx/ZWFjYI+Lb1We3M7w/wMHu5XN/hZqbDpAkFz7/9lHxY5AbXySHhTiVwr+mtfx0mmDsPDoS8lAu2MoWsLDZm1KK8ViJ+A+q1Q4oxhbXhVTIJrbn7HMoGnCFLBis3jUpHR+nFINOAHkLNMoXNa1aogc0Tvsptko9ahjRYmJE8oYSi6Uc7taSYkSOJgP1kT8zmgrdytIDIjyXc7Se5C4Fai0q2wbyz5MYeASajWigD6JsQGIuNwe2Yi+P9Yr41hK7sA8AcpPR2X/5GWOjdoWgeplxNwUvZAqwefvpCSO2ARvKZJ1n9cJ52r9vn8u1VJnB+2di+Ub6FF/gSiSFC3X7AvMKctZ2wOTqe5hoO+lmEy0kBRwO2HnHVpYx4/95a2DzaYqHXHItLtAGJUcmO2fcskmd/bPXjac8Yt4UhgvQbuNBbNpbL09dx9X8bUTeH13jC7EUYn3nkDGRNSvBLjL++ipP+ySffZRf8i+8exgqtUFQbPuG6lzu2Av0cSgv/V9nLrXb0j2q41Gun5So0CKofRZTy+ebAec+mE3Sj2MdIqV2L8hRwzKmx68Abu4amDxOk97IZDV+c4uIwqjuRaD/BE8v3YPctkuoQyHBB4gnKD6qjXjXzvzlJ7WiXdALVDrWqlvnmfgrr3VTTHRXbMtnBfrjRmxg893NSo12QYLQMUSpOPkOf5IWVC5igFqnv//xa5PL7lAXnEof2mfLxxOROVMANAjWqXq9wkmN2OSEoTTHNP2mTOyrHXbW3jeA74FrgLfeifqzdkRBlKxMCWOD5QiW6cAAxviFuIYlw6QANwF8kv7SB6TuFFAbcnRdQfYnY2oSJJHi2viQmO41C0JFCjDj0bVolsFr+BHbv7rjA6nyv33z6fTaGO8ZE6JvrjCPRB7c4P388diIz+BvqRTdgH+SnWlwiBii05XrWpNEow/moM2RSOPnBI03hhos8tWf1/AsYLruhr7I6I1U6zRr0Ipyh5n0lDfp11WIRmpt4j2Mwl01NlOJBJmLogwBs+BOrjI68ne+S3T7BREt83fsgI6Qvu2FxSPTTOoNl3z/D2S9qN3tFIrnG3ybadPpoqod3ZvWoCRsocbs7JUqhL6WKStX7v0OS0LZNTi/gZZEfOAcmwzZ/VnfuUZYM1hMOmT77QOdWeW/GPGYcwaBII9Hme2h0y5Vcz8k5jK0i8zLYg9k98nYKw4RIx1oxdOT4Zu4Wp5dAXlTWhOVsIsBAWHy5YPTKFuYLmRli8EMJUluFtj+pzq0wjqI25sKynxNRv9ZvOCBzMLTod93uYK/31OKIk2CBjJ/sv7b2RSp2ofaCWfORUQNP3g3JocxKUf0S6DrcCwXMB2XlW/T1Z3tUE82hk0pCQRaX174h7HvpVFisJNBJNSMhWzjF80+F7udodFHbW5fYXaQgSuOAcMEAwXegedM7CIB0c2Aw437K0UyFZvgR75axFVdUA1rti6vI7HWhasEc/IcCPJcs1C6onq6AGeMMfHTEjRwm3eokdE57YTVXdit5ljEasXpv+dxBjOpP3cQExwFnvr7is6UgoFsRWXXLBp8OeOZ9pJsju6dgkqHQJqQhJM3TO7AaADniPxg/PELaItt5pTwuKdd4uRatNB9kguQRBG1HRMx+foCDykl5wyrogg7TsbDxqGahaX/D6DHoBUDxp6ZQ8G7LQdXQf/1zY2gH0/mZKQ6OGFYltjhma/IUDsaj9Zs2oBd3dV1Ssgndf42FlBHBSYlr6xy/1At8aiBnbw4+2u/Eg553+hsq8DlKh3d8GO1v0KsKgpoadDlkUf294lvFMOTTr0Q28Qymr31BD09fEvfTfPCRv3+2SrNvB7rt/qxPnRD1FBZsvQ5LlIvZ+9Mk3pvHZon4vV//tROMTnW/PBX2zK3cwB2vRhQI10vQTdkWfXoKjmE+q+r15PpPECN3SoE3LS6YM/F51Ui728XcLHBOcneVvQO+17DnbUHKY/dDYCA4YMdQqiu86DSKL7HV9Sv5NBAiPaxo0UEtSc2tfXB4wLFJ71pRI4YIOi4dadOgtPahkres8cQQ84N14luSrBXYIH/WsGwiGYQtO77eQhRiIFobk8sL3DKLxTxsUiqQIPxSN5pk0QuI+3+2CRfXGkn5TmLg8y1Allr8zHgIKuowFX6ueX2yilkWQSCg5G4jC4EeOqClGzkPleUVxuc1Valnnh8ELnL6Wno+PP+3BqCijUMksRs6siPoI251AFpuKKEetpxyynbXAkhbSDpBvo3eIMzO1vQ7ebyZBcwPR+coaiP7JmWzP2b4Pw8mffG8d/zl7uVG3+E1li68NomSziuFC1w8U7KZOq32nX6Cm/fc0y+YfJoEcj9hbhlhWFXO4Inzt02xWvkRxdqEXuWPdvstVuD5NJdtJs1bQOxbFmS/6WQJUN6FNFPo76Ttj4cRKo+xu45x1cQJ9bqbC9MXKWbqyqsDSGMffp1bUp+FZO6c9mN4+TAMLqUNxBgXpWIFAKzXJg/mULTcyuXMum3O7YomLnQMjPjNTPftC9bRQ0ZBAFtJwKVOxUo11NqLgDWCMadDlhDEQ/82DDKXvKPb0ovTfRdv8Vrqx4cSQACT8Utx8wk4sDJQQUEeVkCrnYPSOzq4Tm2yQJMxgGKW0otfy0DEIFMKVJc3ygUTuZuJ+4FKyjpRBsBf72zzsZhq2COKBg+SU5VZBuTByQSUa8m2/Gi1bx8NWNMafGlMELGoGx7ZJYpyV05MorXbUts+5CBAqWAeCwSnS1V31d/SrLigDmFaHXUl6DKU+bJXeQrV82GnwguobrpofioAEh+7a0Ao6Lj/lutCZMRANFU4LJoehmpIIUYE6j7gePaTexL8b1vOAJgWUZiVaDK8S3qzLjmgC0O8QkZy7P2vfuTghws5rfToHSHo+alHO9HT2b8mIgr3yQfroEGG0gggX+YlY31DV4jfbiw3E9EfP2B6ydzMkVCseS75scOQh2fXj0NSP5OScnpDpwXeh0kCHQO9/xX/c//z3DtvzXLA5FIXytIeiNfYyDO8Yg5Kn5B3GHWXtG8+TYN0FoKWsuwJgkTnYD25gHi7QWEsN8klbLMgGqjqLyiGe/fze8xJ/+ZIicWAZheTP2+zgMfZvvH4dQumC5CWLtmeC8dArqnfQn3C//QUQUHFYFVg2UTwYwSLEKBETYDVJXbjDudbiljkAeKJcjLNUd6W61X8AUhbORZBaRj9TAjbBZTxscsaoutZYZV8w1LqKilS9+YHo/fqA/CxtSfardOeQCdwettGxJnNXITuYg2GHk7i2PxAPKCQ0nWjeJv2G4OPZs1+zEqBPlkiyFfa3y4+IP3UDfp7hylmwoaRD0VxFr4FISnMjd6Z1fCwHUYrR0IzG4K/RwOnx7V4/mZ7+TUWD8suBGETdt51K52YvVxp/1guJ+OXOIPx0QYhm1ONIv2Aj79aXhf6Aosuf5d6SKmcwEIbx6WY/rEvk+pvflwto7KA29UaNhtGLKJEdRhjfEYlHJC/Sk06/BoEyQcuOCh3azlNiEoeUWZHkE3Ko+yxSYXySzgO7KYp9rD4zR2dymSnlFHJZvvzQ6eqEZ95czy11SbdugP/bSiCePrYD6+dUEtWDbA5cCJT9sr+Mtt9zc1UaDRpiWKLbdR8KvT57jA5A9/8TtN7BiYlcvWmrI7N8BadXx0KEf4G77qcGpX0e5cSXCJNtFtzwRj3aVpBEvpOpzr92HnnwYW+Ohnv8478QEX2Ta/eDhfUVwuTAexYMwzb7zxGufskiONaznqwOujtmwO1yQWH7wcQ6enG7gmWFUM4F8A7/AhGOdG5tT4AYjfbUfWo3ffz4EWgPikIdeza/NjtN09LZig4vKFfRf+gPY9hXkmy/bPnx7P+ZsjvfZ1d3OyTCMO+epJDoJe8uc7PmsI18l815DG9pQzojFU4+1gkTPyADYjGoJ851blKK0CpRZ7SvyBKREefPKSrHftOiroc2MSFaJLIOsTS1KC8IRIf9CZTxalnbH5DMZRusIZviFjGltZ3/e3IRs08le40s2t3yhBo7G//q/SvC3yvVGmWr28ucnP5ypXJj0WkA2KWP+eKx6w1wOdFdFbnSCxD7Cwe/s+jWT/Q+NxFnut6F12z5HJMlUEZktngMJ3TiqvauyCETY8NpPYMsbI1cQfNxd0j4lxkNA1AaMmjK07t/WApSHxdQBsDUANJW66tlXIWPOQbNOIus4+rDyWrR1bn2RxwMYRIj+fLUsECgcyLER2Wib4j/5P48tk6LRqNxpPCWo9nP8P5TEgwCaVxkNo4GQkIujrRUYPTw6RDoQf8x4CVKXLE9Tcgbe4V/Fc0PmXr9bgQ0Y0Fr9aQC93az7i1AUAFOVFo2DGRApCPlXqH1r+LCFiNbTiMCk5c2688DxsPHgqgwn3Bl8cDD/BcxVtR77GI1nUPFyljkGYP+9OMLoIT56TcOhkrbV+td/iNsE9GHdP6RvWknUatqxVWwRNV9JphyUoO5kmRL6JQfJnrzSrukcR9E+QKf3U9hbsQyIIBBCsSum2gxJpOrKgpaj3ye8Xb60MxyLSBn0qHW/4zEQXnEdNoMj3mUKnkKHHZVGouS9YakE6G9kL4QyQc5DgW84UuxpWmPe/hPbYB/gqELw3oJb8Qzmcr4DtXcuklhcPtJezSMcYbmOqX5xH0I7txsqJ7V2SEWHMVoM2bx8fSpx6xHDxXonr2zbd9X5f3Hodo0VW9nRcJnZYHQnUzHifuJr+2zO7/cSZl++8N/GjpSTa8S8P+gF4FLA0Z+hMNGxX/lrQoSmNQcQK5QFTzPFt5L48FXjSbKOILwZ7ltggW5lfi8PUkKCOQ7HI7Cz5kIDZhnm1aM5obdQyfenit+N+n2laN8CSI6xQX6vL3KnSSpX+dsY4QLr+MSJHINe8jaLHPokz43T0p+xR68BNgC9KgTgnILHwWE3OtJRE2nQtvXjbyj/twj7hdFEwHzCwDvjy6dRmfAl5Ium4XfL6yCiz4046U+yrHobJXqZxG95mywAleujShX0ZGAc0uAxKmhi2AZtTdMx0lvl7gAjTIeCnj9yH5L7oYyX85EOlbs/lYIOi8vOD6A3IALzLgcWVUAmmmN1M3zIIHtzLbkUiYr2LHLiIw26BW9JcWel2QmnRpHXWkJwrUoJ5Ozs0XbGdb7Xsf55Mnav2lFfGnvjjmv+FCZmQBvIsYyUNy3WagSRUhjSw4mPKceT0wDN0AIhBSD9snJ9l22hWaHRH+PLduONNKhi68lXFcUYXiihkn8Sms53z3F9qBq4tDX3gQolWeh11nrdil6iWH5k6m80bmYMNtwviupvqfo/P+a45U/oQ3Lpzlt+t3h5A2sKAAbevp+5HjHQ6fC3Mz3Lmte8OBUXtvZBfmwHIVtxjm+cSho7uRdkiuTSqPuUnGPtGE9n7R3hfxZdv5LygoSwuxvfAa57jAzcF9X4pkgMrsrdT+FbNjlMjAvj9wcoUvh3eZUenLbRTRP+R1a/FENAlsX5lFZcwmTWqwSSB8U/qqAVxz634n8ep1eg4C4Cfnd+Ihus4VwtJRaOeOPvpkXXYNxszjF8051qZyLkw02SBdMkgLbv59yDUjUPiYWrS8tjNeCFdFdcef44edDQ2b/bBEDZ0LX4FjmfHxvJPHDck27aivdGhpDNvpwXPMo7lEcT5J6ZnpfxiLJuin8tJiz3qu/pcwGJO0ie+iS+A7BBA+mNQ7tXHsDHrZYJhDyYcvJwEAbYzkZfLbt4fotsnZDYpqAgivGkFY326W5zmPqs9S91vzVEfM8VlzByk23z75gCNjNBgOAMBZLw/u65gx/ZdSJKWVoYytbn5A51alxW0m5fQItvF3zAi2sFWJTa7ZIXc59hkzjYDphg7+4jjXOs7G0pzOnZl0S/gd9U8eH3B0n0EiD3Mi1N7FGDfxZlKySPHWeG80A8tQIq2GtWSa8uyrZirdM3O5wdsxtDVpHsAhUeNy/e+s24RMNITcGS6jIOKMgNPLv5f3qQbbWDEMKdirx2Ca0OGpOhv3jQRh0kvUCRMb1PuE0mIx3r4l7xbEQt54OJ8asGeipK3apmHt1L7UZkLfJWCYmQxqHAtRr2RC8ASaQsY22Sr3VlXcEWMLadTyO2dGdWosWpI6VDLmCLstaYDb35szCXaQNbSUtnPYReu8oMl266fbHpvyWaczJH/9YIThINAXlkK25RRWFMHcU7UKqmvBlmalhABSml6XXPRtHk/fFVQlWRFDNd89R+aw70Gl+pqxBVS4gtSygTWasQ4XqHDNfma2UmbJkUcX10v4iL8tgPtRoK7ZD3m+kYxeRzf6+UZLNAefMY91vdOJ1ublf2JjJrlg/YhLmiSzRYGd16Un5ry5IJWYR49+46lP9GglPdNKDLQzMDDwzvgah9nfqGJWbq6IwOvjw0sDVJDvytv/WkkRlCEWpqhB+ywxO3MsTUyICuVw9JvqnJlsw9vfuR9y42MErkULfVPBhBMubjjcuv0Gh9GHfY0lFA+WQNTqyf2DTed9d12cuDxRIcmjfwE4r1ZhG8mTW0zEHs4vfSWJxiCzblG+I6Bkg0UYFbZgiP3+/+6Zpt++y3SKdMZYMOf2MSFEFaX/pDtrwxYBuNzqXuOdDzffGfnjeFsfNGQ6s2gn/bsIzlzQNYHsrhAS54sbJUCRcrHn8cq58Vb43SghyQZW/iTzNoDjaKI2cfocxPpfQ0/JbeXtJKC0XcPDGA3WzJryESxe4p7I0OIJJX3mE1EusjWXx8Iyg7XMnAOxoZBh4qj3uUlqRc5IpLUxDCgg9yEVIWVgdx3gvdVnsuYeBOJGjwpM3uEUvEwtc+GvEcjA04kaiZ+RJTx2wX5s3L44X9pVJWdQ42u6HURohGBRmRwXIm4lnA43su8GpIOp59pcqBWJS86Y6RGV0J9XMerzH7nmMmc2oE1YdJMcC3g4zZRRpc3Wm47aKJ2fIcvdfcTX8Hey7fg1ZIfkGPwS9wNF/iLgWEUigLIfvb0bGxN3NFjkQfjj1vrjaNQ1KgcXoux84rtiQz/PrI9ptIetrAn0qHTsUfih5a63DdFz+e7ciX2MSBfZKkzh+8WNsvtzeBEzmrz6VNI4mZyZ0Ub/0gM3S6j252KZjafQuOdQvwz6G91FhGC3lom0EGsTwwUgqpOw086pWkSkCvRFgp5cEXhyyQ3HhD1G/eogZrOCIEWgOWQPEsjROrX3ATAhFglX2SWVl7CpeYNZOlPNAePYy27wBGcUiOvPNLLhojRTj3KDr2I72LCOGWaDTeTEnDKK70kptYbYXcw6qgr2ODvUgPh7k2JQp/kJSDcNxVDkJgycd1NBAgCO6RTxQsKFFywXAkmn0ZzvaxCg3fc3IeVtA6UCyKj4PCH/bayeEyyLIXUxSzZWpPvlG37K1su1y820gWZpnYYqknwbMyWuExpKFM4XWrxR3J0tEkG/r7hDGFxCNj1+CPbUugDI7GiyzDPrR4HzVO05tn44hy5BpJreusoQNOrsM38jqiVNg1/gdLBQa2YXggOtK4dh7OJLAuAAuERIwFBcH8noX5BTnsHENiarbQwGOXKnyINYoQ7fGF4wnb+nEdQLq7H+1Re5hP94iZ6gNRp1JCG8Oh3F7ctKtvZZA/MbbEEwBayr1vKd/eMSYJKoyeH6ZZzV07x4azTDmqnK21CnzBzWdHs7pkG7MNYBX64b+Q5ASTuQo75xArfUlucOokqMSXwHXSI02JS+Rnx+oBoAtlbqR36hGGiOHAs+G3N7IDIcLT1qylICfOhVxh9f8fkL/MeXNhXcYgEv2cNHvOpLCR4UXv3hZbLeijWY7LXrm1jnvhKraRqhhtG397lEzrdkGQnCx2wGMAwKgBfJWXIED6IO8Q8W7MDHpEPWMUzpm5hx/f/LNXd1oyeunR9ILnFRhkotn1kGBjAtcFLeG9qgG1A1qcKTYidpn0YV5fHs6harjgjT3Dv1yGsq6baUxHRS6D18efPwAYYK3HwbM/x/71W6snkUDSPflufDrNzI8HF065FTdkkfFJlD2Sj9aLersjppQTc62MrynEZpcbLXahQoBGDkMqJZIa+lnby+7efHVwXuvmZXXy25bGV5F0cUzBW0DTTrvuJm4q0TYwCToRE6FgzBKj8VRSeDK2JTjMgsyg3W3RAFbdkPleZhcS/+klz7wVNnCY1ab1zi1Oa1mNWZlRiIxj+LdjnqRLJZY0XYN2y83YBjAnRtAAMXJGlH61pW6aO7i7DgZbMpPepufDazEVK6qYueOkxF+o9j5Tf2VTPmzWzHyIbKprrYHrRSMJv1G41Tf8+s30IWJRhsjaErtJ6wJ/8e3SIOBJYhB1nD+ZyZ9JLTcps7bdweuYgjldNoJ5j2oqckVr9fItsvelpIK02hFtm37sNuhhLh3tF7FwYI006ZxT/l2qguENrWyD2+VF5P8rixxz5QTr5eQdmkQ1dQIF5Dr1Egb3t4Unsn2RxtRoJlbSancU9JCOJDofQzhPMECgtxSIrPAZzLkHfe60lAE33B7Im9w0jPIlZBeQed+2B3+0xzOLCySI0VBLCkxqEqxXRf5XHthXjP+VXUKIFPZR6sitreOchyHFI7yoDNTEP+rvLaPOhq84PUr0BAt2aI6zo4PjD75s6CbYx6GYh9BqufrPByMDUbVsKi96IXfdblKOMPozTYjVb95szt1nltnqOQMvs/4u1/lu9e+nyygyd+pdmggnBWWNX75qEMd4f85vi1zxo+sxAGc7Oo7vVOoxmm1mFa65IKV6VRLNRj2Daacjc21hqPxa8e8PzAI2FLBRdCBAYj12kf00LpqpqFU4HDdu/6koFYV+ea6h8iqXoPFTm5gSYnya2nlQoUb2JyiGKMjL/fjKmIHUCX+tn9eZrhqN2DSG5TIgSrn/KVrnNxRoRkkJe2MLk4zkj7L/OAuPUjBi3S40xcWePLEbPLOBR9thPPTPJ4YnxyY+pIdffdGSfzIrmL3SHEyvzaCJP98XXZpgOGBSSMLY+nsS3ADgb1wj+RJVfQZQHbFXakiHhMf0fkmeWb6hJLrTE8gMv77JhaVe7uGNBpLzF3f+grfxtHAnzDVpLSBJT2vgIsIzJBuxOCEvdD8sjUfoCuawE6bvXtapjadLV2pPVZimtKtb/QoFLUPcNjruYZjUP5hVk/beHOQEpTd7xxN4/k2s1+BarKhFqkYKtYhpKM/NOVyZMi4Mcy5jkAzCSXTZUqDgTTQyT57Angx/hJy6RCvNXLRuzucSuShbBXi/m5ovbeHG++oUrkcJawgvIsWqhrvTYys8q9804rVpsgttxcJaMlvtL37gRG4/Plvjaz0Iala5UujjMUh7kgJjN8RiQ/DrFCxgc43QaCNpZup4QG1qhpmBpZl4cBarlM3EOSLgGQFq0vcCh+IgO/fl9r+ljix+c4uJQknBwZ2ZXy53bBn5uKbcjq33SNpwIFNiL6Ae7W0BRgCZcFzdICnNgAAk3hyN67p/sMj5sUVY1AaZuKbep4HGqre+TMOGoFviNPirvAHWxZg8GczoVUrTZocRoaAR57xK8k9BJh+LQyyxncDBcgEmRRDGr9BqhtUnxz8exvq9fzPnG00DoDbka9HDb/vpRkb+QeOzSerTaqWftEZW6dDvFlCmEO6OVTOxBMm0Tg0okSC0SXoA2/5p7fb4L4C2ULg3ZScfyZljI0LFdClt8li6TSf4/rDe/UMcBGAcumIaMLtOdgXMNAiaYWutU+l7i8loIjuh86GIYQZskuPVx38ce1+jdYgxTcN74M6/IGB/I/V8w7EGY5yLyjeyXFKfwzTHmdljO/cbpY0XBVSdV4EQUoPRKDeMC3sMPXTlorDxUBvsF1GmG8z+UYKvRIZx3UWmUHGE9Iy26pTozwEctEKWPDOJ4qNq5O/N5snuB0er8li7PVT90bdze96QArfbc8OaimE+wahZ0RG5YZNHLARa2UYVqlu2VDg3QXzcvG1lYNiMdWyLMhzNQwekpYTLT/98i4JEO1T+7ezDWTMNH/nsBK89YqAk1IehyRYutLiQkIvbpx+f+LFz20wmKRg1AtGplEodu4yaMY0ja7MvxpSyt6aVwHHeiHJ+pz/DyO3QyhfBcLHuRx32gvDAdknS08Xf2UFoo9a83UQRanhHUXw0CGPXupp5gT6xIYz0RaoIAFZ3LLDcVrQTx9ExXAQuNoNZXpBV3JfEaCYYoc8BBIjNxKu+sMgwj5ek1Iv0t7de1PouuNIk+BcNWAgyViMfG3rkdmS/2j26PcbHnfMx/oalD5pbuv85MTseKoSbul2yVpggyWtCDqe6Xte05bUBq0XKdrUWrOieaUdUYtBLQFlZ0F4Fz5HlK4UwgizTPMJsB3qk4xSxHb9zfypXbBUTaofNxH5OVAyDbJ2QoQ8lrRhtuq2zAYUR9pdbd4j8DPNqjmd5BsROTptmn5RgOqAuGS/2Tkh5c5+UTXnAplA9B5D9fmR4u3LkV/RryINYjzUCAjDyc0jWzM6Tnvv8W+qjzaD1pBNAbigoEmjT2L9b+q1CUcCx1ycQMyATdB/4n52ass0wbN1NlkSeNDpJrIqUT2Xfg/kbJXnSoMc4ZGmfz9pL3yKSnHtSWauExKwnDjvuDQ88tFk4X1Aj8W0D7rMRkDk6LHMSzAI3dinLZG7HdLrBrXdLpwhUTRhckDfSsuXqAwy9ZOw0x8+5p4bCocUXbecMUuSh1v5cTLYzadnPN2+OLzVbnU5AwOASyD0HRjVTDd9YSgG0hx4bj9SqgcUwGQyhJndd0O7OxgTepodxEGWo5RFhyfayPklqCjASkpa0Qm+zxB869P1Z9MO54Ape2GWPOk3I8ceXwEd7qWT8J0f+gg2iCUQvNsSMFjiLh9dLqL5IJDG2QFwo/71zXWqhYihmckHd1eT9U0KQLZCsL0kVMbeqAE3hVKdkbxWVwvyq/7XGVTu+IB+RJKntkz8rxQMVd9NZfOgaJbcYzBWjp608GilCABhMHSgt3ZRgRDyB4VxyVadqwn/r+xi5Qwn8psnnu07FbdKU+f0l16AeV3oX8Hl5/jMMeIJytFSjmr2k1LUbtd/x+N8q57UFLU2pFBMjdoCkCz3Kcd9p1zJvMPWprABXLxR6+SeDAHvFRsYP31COXZzL1mcqMAL6b8a83D74/wQTbelrsTEMv9HOVvfNLF2LXmL4IOVecf7LRx2M7OHSdnPwcxAIjzMJFhecG9p2fY/8wCd2TEGtv0FJBzWCX+/csGB2ehpoYuk6UczbdNKok5tGUbrfadzC9LNDQoLnEhna/1Lz4Tb5asXZMf/qR1MjfChep8vAz/AwGZVetDnQ9O7ccLoooJ3+ZIIXJrHO46A34i6FlNsGCCUPGwukZI9Zya4/wDnGRt9iLyZfdB8GOhRp3/6D2Hr3IVZa078atCAtpT09Q3gkKF5C3O+AJBrmSD3XwKVVTgZVCd9ok34m1QHyhfTZcVYGTpkOOfOjsvmzG5clGOpXVxbXHosS2ARF2dI0/iZwN8X1dKI7o8+1TjDOG10vCqqz6YWt7OV1WlTiXxWi2BTv21mXPcYqn/kcTtfAZpK4e3H1aR6zu/ucTG5V4oKlnR8SNhWJDUBi75LbN9ADqU2NovtzUA8LeP5WETBPSCyqjoMFGlKVbtSWTMtyeDQ01CqVjMeTZQfA//rTZAmUG3HefjokZVFbQi+SHr/cMx6fW8GagYjligRFFgfuvdtYUqjwmZoegIPGdzbYIkZMrgxlR1D0iddt02qkjo0AMiZ2YHOAQSNQyjZZkert0USNKQxNXH2QKcsw+nRNYk3RXYM1HKylwbUcFLMGXzZ1HgqN4h5MYuHOnoRuzy6XY=">
            <a:extLst>
              <a:ext uri="{FF2B5EF4-FFF2-40B4-BE49-F238E27FC236}">
                <a16:creationId xmlns:a16="http://schemas.microsoft.com/office/drawing/2014/main" id="{F172B121-B004-4F76-A4B7-790F5E655613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 bwMode="gray">
          <a:xfrm>
            <a:off x="342900" y="2031999"/>
            <a:ext cx="11518900" cy="4292600"/>
          </a:xfrm>
          <a:prstGeom prst="rect">
            <a:avLst/>
          </a:prstGeom>
          <a:blipFill>
            <a:blip r:embed="rId8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8" name="btfpRunningAgenda1Level418601">
            <a:extLst>
              <a:ext uri="{FF2B5EF4-FFF2-40B4-BE49-F238E27FC236}">
                <a16:creationId xmlns:a16="http://schemas.microsoft.com/office/drawing/2014/main" id="{83D2915A-A784-43E0-8688-BBC3EB78293E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0" y="944429"/>
            <a:ext cx="3066097" cy="257442"/>
            <a:chOff x="0" y="876300"/>
            <a:chExt cx="3066097" cy="257442"/>
          </a:xfrm>
        </p:grpSpPr>
        <p:sp>
          <p:nvSpPr>
            <p:cNvPr id="49" name="btfpRunningAgenda1LevelBarLeft418601">
              <a:extLst>
                <a:ext uri="{FF2B5EF4-FFF2-40B4-BE49-F238E27FC236}">
                  <a16:creationId xmlns:a16="http://schemas.microsoft.com/office/drawing/2014/main" id="{E45AA292-3BFA-4E74-ACA8-B2EDCE2C432D}"/>
                </a:ext>
              </a:extLst>
            </p:cNvPr>
            <p:cNvSpPr/>
            <p:nvPr/>
          </p:nvSpPr>
          <p:spPr bwMode="gray">
            <a:xfrm>
              <a:off x="0" y="876300"/>
              <a:ext cx="2968533" cy="257442"/>
            </a:xfrm>
            <a:custGeom>
              <a:avLst/>
              <a:gdLst>
                <a:gd name="connsiteX0" fmla="*/ 942786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42786 w 1816204"/>
                <a:gd name="connsiteY0" fmla="*/ 0 h 257442"/>
                <a:gd name="connsiteX1" fmla="*/ 888066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1111101 w 1111101"/>
                <a:gd name="connsiteY0" fmla="*/ 0 h 257442"/>
                <a:gd name="connsiteX1" fmla="*/ 888065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79416 w 1279416"/>
                <a:gd name="connsiteY0" fmla="*/ 0 h 257442"/>
                <a:gd name="connsiteX1" fmla="*/ 1056380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4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447733 w 1447733"/>
                <a:gd name="connsiteY0" fmla="*/ 0 h 257442"/>
                <a:gd name="connsiteX1" fmla="*/ 1224695 w 1447733"/>
                <a:gd name="connsiteY1" fmla="*/ 257442 h 257442"/>
                <a:gd name="connsiteX2" fmla="*/ 0 w 1447733"/>
                <a:gd name="connsiteY2" fmla="*/ 257442 h 257442"/>
                <a:gd name="connsiteX3" fmla="*/ 1 w 1447733"/>
                <a:gd name="connsiteY3" fmla="*/ 0 h 257442"/>
                <a:gd name="connsiteX0" fmla="*/ 1447733 w 1447733"/>
                <a:gd name="connsiteY0" fmla="*/ 0 h 257442"/>
                <a:gd name="connsiteX1" fmla="*/ 1393012 w 1447733"/>
                <a:gd name="connsiteY1" fmla="*/ 257442 h 257442"/>
                <a:gd name="connsiteX2" fmla="*/ 0 w 1447733"/>
                <a:gd name="connsiteY2" fmla="*/ 257442 h 257442"/>
                <a:gd name="connsiteX3" fmla="*/ 1 w 1447733"/>
                <a:gd name="connsiteY3" fmla="*/ 0 h 257442"/>
                <a:gd name="connsiteX0" fmla="*/ 1447732 w 1447732"/>
                <a:gd name="connsiteY0" fmla="*/ 0 h 257442"/>
                <a:gd name="connsiteX1" fmla="*/ 1393011 w 1447732"/>
                <a:gd name="connsiteY1" fmla="*/ 257442 h 257442"/>
                <a:gd name="connsiteX2" fmla="*/ 0 w 1447732"/>
                <a:gd name="connsiteY2" fmla="*/ 257442 h 257442"/>
                <a:gd name="connsiteX3" fmla="*/ 0 w 1447732"/>
                <a:gd name="connsiteY3" fmla="*/ 0 h 257442"/>
                <a:gd name="connsiteX0" fmla="*/ 1447733 w 1447733"/>
                <a:gd name="connsiteY0" fmla="*/ 0 h 257442"/>
                <a:gd name="connsiteX1" fmla="*/ 1393012 w 1447733"/>
                <a:gd name="connsiteY1" fmla="*/ 257442 h 257442"/>
                <a:gd name="connsiteX2" fmla="*/ 1 w 1447733"/>
                <a:gd name="connsiteY2" fmla="*/ 257442 h 257442"/>
                <a:gd name="connsiteX3" fmla="*/ 0 w 1447733"/>
                <a:gd name="connsiteY3" fmla="*/ 0 h 257442"/>
                <a:gd name="connsiteX0" fmla="*/ 1608033 w 1608033"/>
                <a:gd name="connsiteY0" fmla="*/ 0 h 257442"/>
                <a:gd name="connsiteX1" fmla="*/ 1393012 w 1608033"/>
                <a:gd name="connsiteY1" fmla="*/ 257442 h 257442"/>
                <a:gd name="connsiteX2" fmla="*/ 1 w 1608033"/>
                <a:gd name="connsiteY2" fmla="*/ 257442 h 257442"/>
                <a:gd name="connsiteX3" fmla="*/ 0 w 1608033"/>
                <a:gd name="connsiteY3" fmla="*/ 0 h 257442"/>
                <a:gd name="connsiteX0" fmla="*/ 1608033 w 1608033"/>
                <a:gd name="connsiteY0" fmla="*/ 0 h 257442"/>
                <a:gd name="connsiteX1" fmla="*/ 1553312 w 1608033"/>
                <a:gd name="connsiteY1" fmla="*/ 257442 h 257442"/>
                <a:gd name="connsiteX2" fmla="*/ 1 w 1608033"/>
                <a:gd name="connsiteY2" fmla="*/ 257442 h 257442"/>
                <a:gd name="connsiteX3" fmla="*/ 0 w 1608033"/>
                <a:gd name="connsiteY3" fmla="*/ 0 h 257442"/>
                <a:gd name="connsiteX0" fmla="*/ 1608033 w 1608033"/>
                <a:gd name="connsiteY0" fmla="*/ 0 h 257442"/>
                <a:gd name="connsiteX1" fmla="*/ 1553312 w 1608033"/>
                <a:gd name="connsiteY1" fmla="*/ 257442 h 257442"/>
                <a:gd name="connsiteX2" fmla="*/ 1 w 1608033"/>
                <a:gd name="connsiteY2" fmla="*/ 257442 h 257442"/>
                <a:gd name="connsiteX3" fmla="*/ 0 w 1608033"/>
                <a:gd name="connsiteY3" fmla="*/ 0 h 257442"/>
                <a:gd name="connsiteX0" fmla="*/ 1608032 w 1608032"/>
                <a:gd name="connsiteY0" fmla="*/ 0 h 257442"/>
                <a:gd name="connsiteX1" fmla="*/ 1553311 w 1608032"/>
                <a:gd name="connsiteY1" fmla="*/ 257442 h 257442"/>
                <a:gd name="connsiteX2" fmla="*/ 0 w 1608032"/>
                <a:gd name="connsiteY2" fmla="*/ 257442 h 257442"/>
                <a:gd name="connsiteX3" fmla="*/ 0 w 1608032"/>
                <a:gd name="connsiteY3" fmla="*/ 0 h 257442"/>
                <a:gd name="connsiteX0" fmla="*/ 1886954 w 1886954"/>
                <a:gd name="connsiteY0" fmla="*/ 0 h 257442"/>
                <a:gd name="connsiteX1" fmla="*/ 1553311 w 1886954"/>
                <a:gd name="connsiteY1" fmla="*/ 257442 h 257442"/>
                <a:gd name="connsiteX2" fmla="*/ 0 w 1886954"/>
                <a:gd name="connsiteY2" fmla="*/ 257442 h 257442"/>
                <a:gd name="connsiteX3" fmla="*/ 0 w 1886954"/>
                <a:gd name="connsiteY3" fmla="*/ 0 h 257442"/>
                <a:gd name="connsiteX0" fmla="*/ 1886954 w 1886954"/>
                <a:gd name="connsiteY0" fmla="*/ 0 h 257442"/>
                <a:gd name="connsiteX1" fmla="*/ 1832233 w 1886954"/>
                <a:gd name="connsiteY1" fmla="*/ 257442 h 257442"/>
                <a:gd name="connsiteX2" fmla="*/ 0 w 1886954"/>
                <a:gd name="connsiteY2" fmla="*/ 257442 h 257442"/>
                <a:gd name="connsiteX3" fmla="*/ 0 w 1886954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1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1 w 1886955"/>
                <a:gd name="connsiteY3" fmla="*/ 0 h 257442"/>
                <a:gd name="connsiteX0" fmla="*/ 2140230 w 2140230"/>
                <a:gd name="connsiteY0" fmla="*/ 0 h 257442"/>
                <a:gd name="connsiteX1" fmla="*/ 1832234 w 2140230"/>
                <a:gd name="connsiteY1" fmla="*/ 257442 h 257442"/>
                <a:gd name="connsiteX2" fmla="*/ 0 w 2140230"/>
                <a:gd name="connsiteY2" fmla="*/ 257442 h 257442"/>
                <a:gd name="connsiteX3" fmla="*/ 1 w 2140230"/>
                <a:gd name="connsiteY3" fmla="*/ 0 h 257442"/>
                <a:gd name="connsiteX0" fmla="*/ 2140230 w 2140230"/>
                <a:gd name="connsiteY0" fmla="*/ 0 h 257442"/>
                <a:gd name="connsiteX1" fmla="*/ 2085508 w 2140230"/>
                <a:gd name="connsiteY1" fmla="*/ 257442 h 257442"/>
                <a:gd name="connsiteX2" fmla="*/ 0 w 2140230"/>
                <a:gd name="connsiteY2" fmla="*/ 257442 h 257442"/>
                <a:gd name="connsiteX3" fmla="*/ 1 w 2140230"/>
                <a:gd name="connsiteY3" fmla="*/ 0 h 257442"/>
                <a:gd name="connsiteX0" fmla="*/ 2140230 w 2140230"/>
                <a:gd name="connsiteY0" fmla="*/ 0 h 257442"/>
                <a:gd name="connsiteX1" fmla="*/ 2085508 w 2140230"/>
                <a:gd name="connsiteY1" fmla="*/ 257442 h 257442"/>
                <a:gd name="connsiteX2" fmla="*/ 0 w 2140230"/>
                <a:gd name="connsiteY2" fmla="*/ 257442 h 257442"/>
                <a:gd name="connsiteX3" fmla="*/ 1 w 2140230"/>
                <a:gd name="connsiteY3" fmla="*/ 0 h 257442"/>
                <a:gd name="connsiteX0" fmla="*/ 2140230 w 2140230"/>
                <a:gd name="connsiteY0" fmla="*/ 0 h 257442"/>
                <a:gd name="connsiteX1" fmla="*/ 2085508 w 2140230"/>
                <a:gd name="connsiteY1" fmla="*/ 257442 h 257442"/>
                <a:gd name="connsiteX2" fmla="*/ 0 w 2140230"/>
                <a:gd name="connsiteY2" fmla="*/ 257442 h 257442"/>
                <a:gd name="connsiteX3" fmla="*/ 0 w 2140230"/>
                <a:gd name="connsiteY3" fmla="*/ 0 h 257442"/>
                <a:gd name="connsiteX0" fmla="*/ 2343810 w 2343810"/>
                <a:gd name="connsiteY0" fmla="*/ 0 h 257442"/>
                <a:gd name="connsiteX1" fmla="*/ 2085508 w 2343810"/>
                <a:gd name="connsiteY1" fmla="*/ 257442 h 257442"/>
                <a:gd name="connsiteX2" fmla="*/ 0 w 2343810"/>
                <a:gd name="connsiteY2" fmla="*/ 257442 h 257442"/>
                <a:gd name="connsiteX3" fmla="*/ 0 w 2343810"/>
                <a:gd name="connsiteY3" fmla="*/ 0 h 257442"/>
                <a:gd name="connsiteX0" fmla="*/ 2343810 w 2343810"/>
                <a:gd name="connsiteY0" fmla="*/ 0 h 257442"/>
                <a:gd name="connsiteX1" fmla="*/ 2289089 w 2343810"/>
                <a:gd name="connsiteY1" fmla="*/ 257442 h 257442"/>
                <a:gd name="connsiteX2" fmla="*/ 0 w 2343810"/>
                <a:gd name="connsiteY2" fmla="*/ 257442 h 257442"/>
                <a:gd name="connsiteX3" fmla="*/ 0 w 2343810"/>
                <a:gd name="connsiteY3" fmla="*/ 0 h 257442"/>
                <a:gd name="connsiteX0" fmla="*/ 2343810 w 2343810"/>
                <a:gd name="connsiteY0" fmla="*/ 0 h 257442"/>
                <a:gd name="connsiteX1" fmla="*/ 2289089 w 2343810"/>
                <a:gd name="connsiteY1" fmla="*/ 257442 h 257442"/>
                <a:gd name="connsiteX2" fmla="*/ 0 w 2343810"/>
                <a:gd name="connsiteY2" fmla="*/ 257442 h 257442"/>
                <a:gd name="connsiteX3" fmla="*/ 0 w 2343810"/>
                <a:gd name="connsiteY3" fmla="*/ 0 h 257442"/>
                <a:gd name="connsiteX0" fmla="*/ 2343810 w 2343810"/>
                <a:gd name="connsiteY0" fmla="*/ 0 h 257442"/>
                <a:gd name="connsiteX1" fmla="*/ 2289089 w 2343810"/>
                <a:gd name="connsiteY1" fmla="*/ 257442 h 257442"/>
                <a:gd name="connsiteX2" fmla="*/ 0 w 2343810"/>
                <a:gd name="connsiteY2" fmla="*/ 257442 h 257442"/>
                <a:gd name="connsiteX3" fmla="*/ 0 w 2343810"/>
                <a:gd name="connsiteY3" fmla="*/ 0 h 257442"/>
                <a:gd name="connsiteX0" fmla="*/ 2655947 w 2655947"/>
                <a:gd name="connsiteY0" fmla="*/ 0 h 257442"/>
                <a:gd name="connsiteX1" fmla="*/ 2289089 w 2655947"/>
                <a:gd name="connsiteY1" fmla="*/ 257442 h 257442"/>
                <a:gd name="connsiteX2" fmla="*/ 0 w 2655947"/>
                <a:gd name="connsiteY2" fmla="*/ 257442 h 257442"/>
                <a:gd name="connsiteX3" fmla="*/ 0 w 2655947"/>
                <a:gd name="connsiteY3" fmla="*/ 0 h 257442"/>
                <a:gd name="connsiteX0" fmla="*/ 2655947 w 2655947"/>
                <a:gd name="connsiteY0" fmla="*/ 0 h 257442"/>
                <a:gd name="connsiteX1" fmla="*/ 2601226 w 2655947"/>
                <a:gd name="connsiteY1" fmla="*/ 257442 h 257442"/>
                <a:gd name="connsiteX2" fmla="*/ 0 w 2655947"/>
                <a:gd name="connsiteY2" fmla="*/ 257442 h 257442"/>
                <a:gd name="connsiteX3" fmla="*/ 0 w 2655947"/>
                <a:gd name="connsiteY3" fmla="*/ 0 h 257442"/>
                <a:gd name="connsiteX0" fmla="*/ 2655947 w 2655947"/>
                <a:gd name="connsiteY0" fmla="*/ 0 h 257442"/>
                <a:gd name="connsiteX1" fmla="*/ 2601226 w 2655947"/>
                <a:gd name="connsiteY1" fmla="*/ 257442 h 257442"/>
                <a:gd name="connsiteX2" fmla="*/ 0 w 2655947"/>
                <a:gd name="connsiteY2" fmla="*/ 257442 h 257442"/>
                <a:gd name="connsiteX3" fmla="*/ 0 w 2655947"/>
                <a:gd name="connsiteY3" fmla="*/ 0 h 257442"/>
                <a:gd name="connsiteX0" fmla="*/ 2655947 w 2655947"/>
                <a:gd name="connsiteY0" fmla="*/ 0 h 257442"/>
                <a:gd name="connsiteX1" fmla="*/ 2601226 w 2655947"/>
                <a:gd name="connsiteY1" fmla="*/ 257442 h 257442"/>
                <a:gd name="connsiteX2" fmla="*/ 0 w 2655947"/>
                <a:gd name="connsiteY2" fmla="*/ 257442 h 257442"/>
                <a:gd name="connsiteX3" fmla="*/ 0 w 2655947"/>
                <a:gd name="connsiteY3" fmla="*/ 0 h 257442"/>
                <a:gd name="connsiteX0" fmla="*/ 2968533 w 2968533"/>
                <a:gd name="connsiteY0" fmla="*/ 0 h 257442"/>
                <a:gd name="connsiteX1" fmla="*/ 2601226 w 2968533"/>
                <a:gd name="connsiteY1" fmla="*/ 257442 h 257442"/>
                <a:gd name="connsiteX2" fmla="*/ 0 w 2968533"/>
                <a:gd name="connsiteY2" fmla="*/ 257442 h 257442"/>
                <a:gd name="connsiteX3" fmla="*/ 0 w 2968533"/>
                <a:gd name="connsiteY3" fmla="*/ 0 h 257442"/>
                <a:gd name="connsiteX0" fmla="*/ 2968533 w 2968533"/>
                <a:gd name="connsiteY0" fmla="*/ 0 h 257442"/>
                <a:gd name="connsiteX1" fmla="*/ 2913812 w 2968533"/>
                <a:gd name="connsiteY1" fmla="*/ 257442 h 257442"/>
                <a:gd name="connsiteX2" fmla="*/ 0 w 2968533"/>
                <a:gd name="connsiteY2" fmla="*/ 257442 h 257442"/>
                <a:gd name="connsiteX3" fmla="*/ 0 w 2968533"/>
                <a:gd name="connsiteY3" fmla="*/ 0 h 257442"/>
                <a:gd name="connsiteX0" fmla="*/ 2968533 w 2968533"/>
                <a:gd name="connsiteY0" fmla="*/ 0 h 257442"/>
                <a:gd name="connsiteX1" fmla="*/ 2913812 w 2968533"/>
                <a:gd name="connsiteY1" fmla="*/ 257442 h 257442"/>
                <a:gd name="connsiteX2" fmla="*/ 0 w 2968533"/>
                <a:gd name="connsiteY2" fmla="*/ 257442 h 257442"/>
                <a:gd name="connsiteX3" fmla="*/ 0 w 2968533"/>
                <a:gd name="connsiteY3" fmla="*/ 0 h 257442"/>
                <a:gd name="connsiteX0" fmla="*/ 2968533 w 2968533"/>
                <a:gd name="connsiteY0" fmla="*/ 0 h 257442"/>
                <a:gd name="connsiteX1" fmla="*/ 2913812 w 2968533"/>
                <a:gd name="connsiteY1" fmla="*/ 257442 h 257442"/>
                <a:gd name="connsiteX2" fmla="*/ 0 w 2968533"/>
                <a:gd name="connsiteY2" fmla="*/ 257442 h 257442"/>
                <a:gd name="connsiteX3" fmla="*/ 0 w 2968533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68533" h="257442">
                  <a:moveTo>
                    <a:pt x="2968533" y="0"/>
                  </a:moveTo>
                  <a:lnTo>
                    <a:pt x="2913812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btfpRunningAgenda1LevelTextLeft418601">
              <a:extLst>
                <a:ext uri="{FF2B5EF4-FFF2-40B4-BE49-F238E27FC236}">
                  <a16:creationId xmlns:a16="http://schemas.microsoft.com/office/drawing/2014/main" id="{C7218E0A-C005-455D-8F6D-776F8A86760E}"/>
                </a:ext>
              </a:extLst>
            </p:cNvPr>
            <p:cNvSpPr txBox="1"/>
            <p:nvPr/>
          </p:nvSpPr>
          <p:spPr bwMode="gray">
            <a:xfrm>
              <a:off x="0" y="876300"/>
              <a:ext cx="3066097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hare of wallet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02159672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" name="btfpColumnIndicatorGroup2">
            <a:extLst>
              <a:ext uri="{FF2B5EF4-FFF2-40B4-BE49-F238E27FC236}">
                <a16:creationId xmlns:a16="http://schemas.microsoft.com/office/drawing/2014/main" id="{66EC1F27-87EC-4754-B402-21AFB9E197A2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55" name="btfpColumnGapBlocker858819">
              <a:extLst>
                <a:ext uri="{FF2B5EF4-FFF2-40B4-BE49-F238E27FC236}">
                  <a16:creationId xmlns:a16="http://schemas.microsoft.com/office/drawing/2014/main" id="{9911E1DE-8109-4B6A-8918-593BF41E9868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53" name="btfpColumnGapBlocker409007">
              <a:extLst>
                <a:ext uri="{FF2B5EF4-FFF2-40B4-BE49-F238E27FC236}">
                  <a16:creationId xmlns:a16="http://schemas.microsoft.com/office/drawing/2014/main" id="{605B0702-715D-476B-9E86-6D8EFDA7A1E3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1" name="btfpColumnIndicator724704">
              <a:extLst>
                <a:ext uri="{FF2B5EF4-FFF2-40B4-BE49-F238E27FC236}">
                  <a16:creationId xmlns:a16="http://schemas.microsoft.com/office/drawing/2014/main" id="{26AEC3DC-B3D7-405B-9FCB-1301D6A7F5D6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btfpColumnIndicator272052">
              <a:extLst>
                <a:ext uri="{FF2B5EF4-FFF2-40B4-BE49-F238E27FC236}">
                  <a16:creationId xmlns:a16="http://schemas.microsoft.com/office/drawing/2014/main" id="{D9CE523A-B35F-47D5-9184-117F0646F1C9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btfpColumnGapBlocker742188">
              <a:extLst>
                <a:ext uri="{FF2B5EF4-FFF2-40B4-BE49-F238E27FC236}">
                  <a16:creationId xmlns:a16="http://schemas.microsoft.com/office/drawing/2014/main" id="{D25A039F-A93D-4770-BC0E-6ADC418D10C3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4" name="btfpColumnIndicator861634">
              <a:extLst>
                <a:ext uri="{FF2B5EF4-FFF2-40B4-BE49-F238E27FC236}">
                  <a16:creationId xmlns:a16="http://schemas.microsoft.com/office/drawing/2014/main" id="{E10722C8-31CC-4F88-8E1C-7F4EF5C13743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btfpColumnIndicator119643">
              <a:extLst>
                <a:ext uri="{FF2B5EF4-FFF2-40B4-BE49-F238E27FC236}">
                  <a16:creationId xmlns:a16="http://schemas.microsoft.com/office/drawing/2014/main" id="{73E75473-44E1-48EF-9E4D-90946DFA5122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btfpColumnGapBlocker190574">
              <a:extLst>
                <a:ext uri="{FF2B5EF4-FFF2-40B4-BE49-F238E27FC236}">
                  <a16:creationId xmlns:a16="http://schemas.microsoft.com/office/drawing/2014/main" id="{0CDB9FF5-A0A1-45C9-ACEB-FE627D38E623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7" name="btfpColumnIndicator500353">
              <a:extLst>
                <a:ext uri="{FF2B5EF4-FFF2-40B4-BE49-F238E27FC236}">
                  <a16:creationId xmlns:a16="http://schemas.microsoft.com/office/drawing/2014/main" id="{D3F764E9-EC8D-4038-8384-99E6993E0C69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btfpColumnIndicator463553">
              <a:extLst>
                <a:ext uri="{FF2B5EF4-FFF2-40B4-BE49-F238E27FC236}">
                  <a16:creationId xmlns:a16="http://schemas.microsoft.com/office/drawing/2014/main" id="{2786FC54-D6D8-49EA-B3C8-843EE376B0EC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6" name="btfpColumnIndicatorGroup1">
            <a:extLst>
              <a:ext uri="{FF2B5EF4-FFF2-40B4-BE49-F238E27FC236}">
                <a16:creationId xmlns:a16="http://schemas.microsoft.com/office/drawing/2014/main" id="{4330F381-546D-48AE-B6EF-DFBDD113D85B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54" name="btfpColumnGapBlocker861845">
              <a:extLst>
                <a:ext uri="{FF2B5EF4-FFF2-40B4-BE49-F238E27FC236}">
                  <a16:creationId xmlns:a16="http://schemas.microsoft.com/office/drawing/2014/main" id="{E4C7EC0F-FA1B-419F-9B41-B112B6979933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52" name="btfpColumnGapBlocker512431">
              <a:extLst>
                <a:ext uri="{FF2B5EF4-FFF2-40B4-BE49-F238E27FC236}">
                  <a16:creationId xmlns:a16="http://schemas.microsoft.com/office/drawing/2014/main" id="{FEA046A9-3142-4019-8BD0-1D1A4FE89296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0" name="btfpColumnIndicator856211">
              <a:extLst>
                <a:ext uri="{FF2B5EF4-FFF2-40B4-BE49-F238E27FC236}">
                  <a16:creationId xmlns:a16="http://schemas.microsoft.com/office/drawing/2014/main" id="{370FAA8C-67C7-4279-B34D-AEE8921BDC79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btfpColumnIndicator146887">
              <a:extLst>
                <a:ext uri="{FF2B5EF4-FFF2-40B4-BE49-F238E27FC236}">
                  <a16:creationId xmlns:a16="http://schemas.microsoft.com/office/drawing/2014/main" id="{C99AA3E9-08D4-45EB-A5B3-0FE1EC9D1386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btfpColumnGapBlocker555807">
              <a:extLst>
                <a:ext uri="{FF2B5EF4-FFF2-40B4-BE49-F238E27FC236}">
                  <a16:creationId xmlns:a16="http://schemas.microsoft.com/office/drawing/2014/main" id="{7DD3C9AB-2C0B-4411-8DB8-B8A223B0FE09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3" name="btfpColumnIndicator789138">
              <a:extLst>
                <a:ext uri="{FF2B5EF4-FFF2-40B4-BE49-F238E27FC236}">
                  <a16:creationId xmlns:a16="http://schemas.microsoft.com/office/drawing/2014/main" id="{EAD870B4-E85F-426C-848E-599AE8E52513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btfpColumnIndicator400645">
              <a:extLst>
                <a:ext uri="{FF2B5EF4-FFF2-40B4-BE49-F238E27FC236}">
                  <a16:creationId xmlns:a16="http://schemas.microsoft.com/office/drawing/2014/main" id="{876EA474-EDC7-4C7F-A0D8-EDA42BD8BE50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btfpColumnGapBlocker694273">
              <a:extLst>
                <a:ext uri="{FF2B5EF4-FFF2-40B4-BE49-F238E27FC236}">
                  <a16:creationId xmlns:a16="http://schemas.microsoft.com/office/drawing/2014/main" id="{746C0C2D-0FD7-4ACE-B51A-C6D40C8785E5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6" name="btfpColumnIndicator778826">
              <a:extLst>
                <a:ext uri="{FF2B5EF4-FFF2-40B4-BE49-F238E27FC236}">
                  <a16:creationId xmlns:a16="http://schemas.microsoft.com/office/drawing/2014/main" id="{96604423-AF35-46E4-BA82-5D93E7121E16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btfpColumnIndicator285842">
              <a:extLst>
                <a:ext uri="{FF2B5EF4-FFF2-40B4-BE49-F238E27FC236}">
                  <a16:creationId xmlns:a16="http://schemas.microsoft.com/office/drawing/2014/main" id="{0FCC0350-7D42-4A84-B509-D40EE3BF6F67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/>
              <a:t>Share of wallet: </a:t>
            </a:r>
            <a:r>
              <a:rPr lang="en-GB"/>
              <a:t>Weighted SOW</a:t>
            </a:r>
          </a:p>
        </p:txBody>
      </p:sp>
      <p:sp>
        <p:nvSpPr>
          <p:cNvPr id="15" name="BainBulletsConfiguration" hidden="1"/>
          <p:cNvSpPr txBox="1"/>
          <p:nvPr/>
        </p:nvSpPr>
        <p:spPr>
          <a:xfrm>
            <a:off x="1625649" y="11700"/>
            <a:ext cx="8190403" cy="107722"/>
          </a:xfrm>
          <a:prstGeom prst="rect">
            <a:avLst/>
          </a:prstGeom>
          <a:noFill/>
        </p:spPr>
        <p:txBody>
          <a:bodyPr vert="horz" wrap="square" lIns="42122" rIns="42122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6_84 22_84</a:t>
            </a:r>
          </a:p>
        </p:txBody>
      </p:sp>
      <p:grpSp>
        <p:nvGrpSpPr>
          <p:cNvPr id="25" name="btfpStatusSticker779683"/>
          <p:cNvGrpSpPr/>
          <p:nvPr>
            <p:custDataLst>
              <p:tags r:id="rId2"/>
            </p:custDataLst>
          </p:nvPr>
        </p:nvGrpSpPr>
        <p:grpSpPr>
          <a:xfrm>
            <a:off x="10100356" y="955344"/>
            <a:ext cx="1761444" cy="235611"/>
            <a:chOff x="10100356" y="955344"/>
            <a:chExt cx="1761444" cy="235611"/>
          </a:xfrm>
        </p:grpSpPr>
        <p:sp>
          <p:nvSpPr>
            <p:cNvPr id="27" name="btfpStatusStickerText779683"/>
            <p:cNvSpPr txBox="1"/>
            <p:nvPr/>
          </p:nvSpPr>
          <p:spPr bwMode="gray">
            <a:xfrm>
              <a:off x="10100356" y="955344"/>
              <a:ext cx="17614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liminary</a:t>
              </a:r>
            </a:p>
          </p:txBody>
        </p:sp>
        <p:cxnSp>
          <p:nvCxnSpPr>
            <p:cNvPr id="31" name="btfpStatusStickerLine779683"/>
            <p:cNvCxnSpPr/>
            <p:nvPr/>
          </p:nvCxnSpPr>
          <p:spPr bwMode="gray">
            <a:xfrm rot="720000">
              <a:off x="10100356" y="955344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Rectangle 10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opj7DiqHdpHyk2684AqaUNICkKw/ukvfeZFZRgKaV9IfusyUVNJoMCkFkY1tz0JZyEehTbhL3LLc1ET302wlfxvzzEFmIZVMMnhFWnqJCO6R/ChcNfRKmcYJqpkl8NmlMAFKGk/uhQrwN/bJUKid/zQJ1I1z6W4geKqLRz78TVxFTWvLUOrW03JiakyBzd3bmINSJblrp9dUzZ8HmrBbreFLlRASLVY8hk+aLPsh+jOXaOe0KHejGK2uhKPgoWmvCg83GXcLAkKRmhcRiNux6PmdwKA10A4cqzH/T5FBx49bH1BPIWksQQbwk32Kko2lMy17EanQiga58jLQCz/RM5C/z4hR2BegGHD/Vc2vqnqCHF3501+lm7h3+nreWrRfpn0TPihPW2Z2ZtWUlNgVhEm0NewuEkjWnyaRE85rVeuRTaZVUeFYcplrom1957LFCnCtRbLf0jC5hug2SkuNUSLXmrHUE0a7QLLE/admPiruLTH4G/vWK3thCg+6+FOgwSmpN1hp6PYwwG7MbNA210MhGYZm4wrf7RW5RnXmaUYt5y0d4hQVoRst5DudFM5DsAPIVFKZk2CdufA3mmMZXuIvomMz+o6U4yi1pNPyjmHeQanOcr0dpJ3mPWbAT9NQNL9DOUtP8gGjht3SwhYqaq3AJvimUM2J2x6AC26tBr3FwtHEzAYLQo5LYEft/90bYmRlJEiU3mYrORHSQwYrhXnS2CbFfl3IQCLX+vXn1UgeNY25900nB0Tt5pKcUJnObGvh3g1NIb+qwDD5hW5SdASWaePOccT7FWkA59VsD7LJjnXv9h5ysT1cDehW4vSXh9z6ZPJuJgEsEUfyqI7FAf6C0shomf1Hu59zc4gG6dzdgh6llyGXHhXLC1f7Zq9V1zSC/CnkPn5DHmKkgw71teFgXBm+4PB/gw9UqwxlATPRzhf7Q00rN7qUwnAFDnKi2Olz+aL05lEMjvj8Gip0YUVeHKjLgx2CNbgWqwtUBajC1ez4t/DfNn4UwK3T30Vp9QTJSmWLWmhtLA4wiNLWvUBVp4cDqoyYcbKOgP6UFcWLJKlx16OGWMW/XN/eUn1YzOGThlMKHZPlj1/ho4bRorEbCT+jobKyTfTPhoGN/qEFMSPPL/MKyheopRI8qyZDGW17JyVP9s+xj0GjKSoncWX19quAZ1kJ/mKWKCyyVJkYu5xJ2YhQk5ycvocrrBmMLLG7VPZZZKJnTcGsrg1ynKudwml1kFxAv+ujd/6SFfhI6TiXQzZZPUUTDnRN72dFuaUGT0GD80vyKyyYCxocSXuq3bA8LuBJN4aNlpskTBHFtI5Fx1irJW9KqsUBkhFDkmVtW97HJE9C+tWyx4djOzrdalYLQYALm1lkgagqP0YdAEeF4oKpwtqEcbbW1N5Da/SAx7QwLioVKVSoSWUZeqiHNuNZww5qdPBmcdPuIPCte71q9rJOUHte0l2qVJHb9P6KyrRN19dp83s8cM/uA7SFzDq0aqNQzZhX0Vj8D8+xF7H7YbNPc5HThthCKMmS9uFO0vpgFou1Mng6zXZnNnWiIxDhDNAAdt/oGZDogxtuNKtQ/QdtPzcl5FRjTvAIAmkLvhAlRGZ2GPXV7labEV09mVHWmnyB2yp6Z4bclFIHfZlBLfW26Olwy+NtYeoyasZvt1wALBkn5aJeO8sR1bQtoRhaLuFR+r7X6HP0IC9aYwrT7FcHSx7Zv+C+oNlJo3onAe53HjGc+wVwj5b98bxozWv13keLwyRpHWyZyQN9KpMJpXFN3z6K6vknaWO9b9Yy/qzWj3J5PgFZMC21i9/+7sN/pKgD5DC6zkCjNFXYY4GDPjXQJFi3xFV1dDW6xUIEMkVUQIbQKbGrI7xw3QjWiQl6uwKbHp6tvZ0rj4o2nOQY0W8f1DfmzqnD/oS//3lU4tgcl9Zb1ne5xO7UNLaDnIGtr2lWOUL6kwL0kxCP06isjNvwZgAMi3/jjucUmNH6phHUKrutiasiFNrSFnOtsJqk3QacBOFSa6pmqmHmyf8tLvcGodRvOb3uAb7TmN7q6v3HSRz79DoEXPpMhar84uUkNIlbQ0+9tdbzfSV0ZfQ2QaEvZU1GJ9FzF1SXKaAFem210yQVGSoHcD1OZiqtOcsjLkuGpPaSVTIEUZmspCUgdmW7eFX/vXvUPLBGQFExxCkV0eouBiKv8XvIFe1T0IF7nM8ReqyHm0ojNYeeW/2w294QrG1KtDByTZAFrRc8G9vXu6x2XshFBR48c1xK2Cq0bKSH3nRavLacV5W58pEbEUOaTOxhIWeo/7FSWzWZO5D87Aqfl/XlAC50Vla88HzW2WPbnaxAtEd1WdpZL6whSmp/h9GAYJRTjgQoFhxt7iS0jbub7xdRvAwWsonpUQvgiXoJPO65xpSRiEFO+1H00ISM/0UxupNF4cq216nSBrMMZYjsPKI6l3sYShtcK8fZLV23SomfcodIgzXRvYm09Dgbs7swz/azZuyKfWBOGAUGd3rt8o2RyxfZc02V+Max/7jTnnkqdAQ1RFvbpVnKqq6KKGv5lKoZIbFkWj3uLCI98XL3ziXf1VUlckYdkr7Yj/xtwbM6UvMNNJDSnJP9tRhIpxIfFZY5O4dyg3KR5BYAhd9BUW3mKduOvxj95avucTBqT3ZqQn1mPqC3wcJYvGJAuulbZOEt1fIqKnK4sa8Ln31xSbRl3TligdZKSTtw2VYDijrCWx0s4DZjbFq+Wk8p1hwMuyA4kVx+mtpDyBYom7lZnz+luW717hb/pZ0uyJXqTel9+X5GkQsch7281cVMzCdUoz1ocKTIM8vFHIgdzblAPI8I+JAGl/gbclIgRhqNIFRlgMayfCW3+h/z1Sof+SKMp5JG2azS3ZFC6N8nLBbE+AhxKRgQoCVvvHbXKkLQvZfTca4TdYRWaLLIms/1pzqbKMI3MhEFVvkwIg5rI40cI9oTi79kX+IQTZkxp1T81zSd/DBshO/gxl/rUBqftFbh+BDxsn75xjNvMQYYTl9LefpawYVxEf1Q2Q/SIat/yICymkjfDKCbHD5csbLceCwmqYj/51ccSBElO2ygUp9PEu3ko+L7QYEDGmi6KQQUDPlD2BG027iSJXO+MvpcR3pbFBxYpmxqIOnBJOnp3iuzDa1pFAbR+PRXLPus3XMQf2hwRqY62yoWx+s4b2V7Mfl/KmD3Rl3M92ZenR4jXYyjv+zljOQuw3Lb/ULjwI/E7OFMwn9kMAjykpfpfiSg0VFY+AzrFF20UzJSqHs2tEVxdSpzQg1tz+T3FrzPJ1uprRY3nZlVlIGxIYB5nTNv6wl9+UiYlZA+JUeSZh4aCWeT//yIQ8dH3ci28LDrVmjsrtJ5WT6iOufSpHuxtP2t7Jf/tFvvFrPF7G3NOHYg+TCnbHKcAYZhRWZKB1cWfJp9yirs3N7+09VcrrgmL6KnaB6lCIRwhDjrDh6Tvmx0u2BSwkAVMVJXQUJamkbTEATUAcJcqq7sogzwMSPN2+08vmMRpgnKRzb1st/K7h1WBqH2TQOq+2LSGmO8HbutrMMi3sleIWuBc3LMvwoKDkZXSAOEt1gK4EWa2W3EBJKXNl9r805rfFt8UmbFvMZCnGF18S9AUTw6a1/kqeAlSrw3Hvll/+mUExC2nUJyQTcTaBdtlqH7xwmHINXfedRw7Biq9Dz2hB8FH4Y3p97C4UsMi1rLovpmLgLl3XP/b3B3BIi8NJjyuJK65yBAMDcl30i8g87WPqeDR5xexX5mO6iSt0yxA7w6mUiLESUlcA6Fzm0uJNl3Zx496qPsX+yrihRa6/6XfcLYfngyYctH/PtzUHdODKy94QNo2ius2NWao9kxJ7a8JgiDW80412LnMCvn6TrZTz01Zpo8ChYUBPuGF6aDbcQxujHPxcqmh4DetxseXWblFdJZr/QrU2URt61fmD5Pl6cVMNailNMQCS/Ek6GiUXnfH/bhQwQ8ppZB1X7IczmDI2zeUVNhxHK34g9Hd2Asp4z+8vZpstMgZacvsClS4JNCNgbriu9hxOgG8+ntvC98/bY29yMLCJiAy883Z1GpaPXgcjZxiZjLD2SHbLuG6cK4B7KzvbTdwd+vNBqiewcGC4SXUvlJKMJpMMFy7cAcd3Yb2quMLYEmGmjZ6Bb/unrNdKD8HROdYD2VUwvxoRkRabNgMA9rUm+v1aKfXlzGDdu2gIBeomcu9qaZRp51yX+R9/dgE+PtindKcGR852ob+96kAsCDvuCt6Mdc9NLo8apqBlzzqS0Ml8ScEje/U8crpp7JCVkNBFocSaFJ1UfYEAavmgDdk9VxzL5gU0i82wEH4E6uYgPPVBi/PqZksGEn7vIFB5lDyMFl6MslzzBTyGxt/TmMYjgMUTrgYkUJgAEEnwx1vCL8g2+z1UgaLF28bqWe4ZLhqgkruByDzBZ9RXQoEsR5dNQsNKkb7k91U9Dt3EKps3BSvQX+B0ZI4laniQcLJu698spmTqE+ml0wqhuc3iB/kv2NExybtqeP98beqPdzEPXcrWFuWE1OpX0Ac77Ieabye/oaPGIO5Mmc4KFJivyh9X0hOQlYaOKnoVbyLhWKZ9IaizzTdbgnL+S+keBpJLfLAOhBnKhUVkaN+PtaQigh9mr7Ufzt6zsimbz98xno1fV9HV+O/tAABYC24ItD3zzvf+Lvhqfzt9SOSR1xNFeThqKdqE7n13rABfSAiKL49rHxgmfy87lF+PrMdTmx+NWsWTic4mtQ754ajQ+pWgdw4ajvDhI9XrxlVGXs5OzugpGOcRhOZp6IenGJxGjQAkoeYB319R/qwZdu1ja+crZT03F0CqWnHYq3wy78FRbaPrIXGjtE34JhdzL91Ibu7fe9breRJkcxTGkxoPsp4qAsTbZcO4BaI3kBClAKiyzjp/vXzzTHPTEd/Ds4vwu1vFr41j3EOBXaErIIL+olct24ZQqNIjJKRY64TVDUQO/slU3S7EVcrXZuCmt6IlquqO8Hsz8qtwLLBwagDtQBALHrUMjPf27CuHCDcajv82/0DLUvOXz9HJPD38DKu9CNoKHG//Dno0N97wDU70doqYtbfCZjFrxcKavjqHKWKzl1oHTaWK4HTRamTje5VbBjsxtq5OcCTEZo9b3OyegRq4tTVu755DBgYsFKjJY+czuGJj2c+tfi8X7U/G7rL4kP076VWX8/3hrdc1jt4HIgtOHsRRRtZ+5XyncChuAnrzc1shg+LXpkqizXafhqv5OXSFAGni+LJnFp9apuFiRNw+xBsJDBJhUHx3AAl5Zcx32LiXjUM7/6dvT60JnOpu2djPtN59zbSe5eVKk5ATY013xMuMfFyFUOGJvDCao6kag4FGrl0rCZww43ZrZY1lGzL7i95AiP4VoaaYnpCBfoxU0RWjvdyTwDTOpuZyh57kNDQ09CeW+h/cRUtRU8b1xcM1sh+psT90ryqgch4RFFdt8rkYzF9nEe0Z7tObEDENwI8o2OV/zQnbUXJsiAeEM3eISURNjpuHPmC0ZrmrDCwblYL1CeqG26OBgAYHtGhJ/3l6GsZQDOCfbvGEFui4rHaM6loiogkMYXu6E4uje+PQGyyaylexh9z6f/rdsaM/zdYx4KHw/t4maa8XQSk/jFqUOUIfMVRAHcMDNgIfd0tpvyot9sxfTRoZ+02yaD3+zlXvBNgqQzIU56j4OE1r8MLvo946Tax8CtqO0qg91iipcxRJ0d78pptQRjMX4+6Ma0nqST8AHl2BDUOo/xfkQHYMpfilCR6eOiDGX/LNKEg62fKRWKpFxGZUhgXz9jC2yfGwaC8J017Nf4BRIosq+XxB6n9A1eQNFt+TpbW6BFzXDSmkZEWYEyWCn/F7AhMxL0A5DvkHhuiA6r63thqSwWiIXxbGzPnzw3mTsiAfDTtwIBr3r5RgrOs2acwWwGORBV4CEABNMhcpTVSjLMibT1x2/fi3pjeX7kh1w+Zx3ljqlXl8dWu8/o7q6bNJhV+gurFWq7fwJaG9Pgaa+FvT/rZpxIPy35HMPIpa6o0vmYfIUhM8dVAk4L9YXHwV5ahYQCEJtUsAU8GsU20Hy9RqvvNsg3ZZfXPWsMs/MYnkkxMVCCLouC9mT9JV0yVz5AUiu8xex0uh9UV1YAf7pqDm5o6hXAsZTZdyz3IM/8/W/Ulj8UGetjS9nghegqArj9QYtLBFmgimk8+lc41PpOouPoQZmRAJEJuA/uBghrbkhsB6MY8oNR8NW2pQP4fYKvFaht0cGm8rb6CYPt+U3hHUISVKWEWu8ykChPavan9/wY2J49fJNRaJAPweDyr1bGh/ExX1GCC4plJVrB33+EAxM9N+dDhssvXsfJPQcSOsJJLeaIoExN5bhDtuI4tOwnZf37qC9/h1VJgQktW26BXxD0qRiNba9WGUvzm4eiX70upc2dzV3WtP9uEf7utbznJh1Pme9y/GpfdDatJXQrTJG/pbeZO6lHbVYZe7eMBX5c/pF93WcxpEodhvIblkPnVKmFeMnGIpglbh6tLWd0IsD8Uw3ku7xUMBbdIgH+v8QpFoNKdSDYhpuNZUqffGwAkrYCRehjp9nsF3rgYBgv4RGg2PihME/F0YFvVPEjcX4fsX2m/+506kwKD6O+zunuQsmN+2r9GQvYU97GpJC5jy+nQgef9nRnRX2eoOjRdNic6j+xLl1F8Nvv+qnwarjidl03HgfCa3wNezTABrjMAqdRUD3bShkSefuo9gqPO0m+iiOrbHXWH6ppos6mmAtonrVscjzP4KChTYDAX7BIr5lsXRt63n4xz/M70X++pgDNKDA6i3SQFJGqB2od5ln9tNHvkVExP7X3GGH3JSkozyORANfnyHbzkSihY6iK44lGoN585ePUVhk3/j2/Bj6k6mFVJJOsNou+5rILNwsWjyyPCmUtwBDJPbwXpz4UBUZKGbnhJFDJmPMtJ1se/IHXQUc6MhVxSIjSaFgfhoepMsjgDP3bsSLMc1TGQ0ddQCxw80Nry6dej5qop7YXZgAcspCmwypQXuMLzk7Wzbz+rrA/ZmSslpzEO4MoKqWv/MJMRQnRZPB55K+ZlE/yavQkdgniXTIAopFHiKcK1f4ONbTNjzhsAq/Eo2B8x8H5v4PuKOQpavtAAdlsNt8QEAob1pEEI4lHuzmZ85LAtfRh9/Zn1gHkt5lwU9zqZJLa4ejmK1YSOSi3u2Dm2tZCss+tcCP9A8jjktu8DZd1RF1LkhRX0d8VYvgcAUP5X8eZrhcPIkO1jCGPvguTd5P412QsH5JGl4zbtI972zoIepI9/hs50gldXH3lWt4M1pLvIyUZMKMwiabWbFI9d9A9zDpHZ9/yoaRe9pK1+q0dCNrk6Fp51/jtBPBaRgN+TxGwTpLdmIoCoIa09IJqbw8gRBrkDQEJdja5N7qlTczHfkF6ldoZWa2xWrEuzarSNe90+thIFvFaW43P2b00jqPQcXODRRf9XY+m2bJetF1WSDUq05uqn2bnQ9ATdR3PI9WoygpKV/hAFuFP0us5SegtPDRLvZcdY8CiJxPtfT1hM132ui6TDHvdjg3CUXOSCm8e1WgKFRalomqlBh1cAQiqt8idsy2j3gsomS/oC7zFUcx1ikUIWy+ZEifhfYSRZJ3iWvktiwggoI5T/WTGPzYLT51NZPJ3gHQnMfwVRLws/wFLMVwV+mQ+HVImxI0LY0013pjlU9Ts+NEfInLtN51lVrQTk9hSod4/32Le5XfFr1mipuDzoAdGavTkkg4ni36EwLuakNGaElIs5E8zrKGxZaIb4Sn+iQrq7r5DSw26fJnm0NLkaNZDOLrwFM58lVM+HFdWqiU5bKh0C/Qrdy6qeLIULaPcSBejBzkXKwJc5fZ2OizcVdktfPDs/P3r6zU+nCH+dSdY67Q0sNzYEkSnVXfp5r3RloMwJEL1PIoDW1/MPsOApR22pG/fgtEghvVmhN9OYxhDSqphc5QDNubY7UbeoSF6m0iTI1If1bLT5U6os7E8Aiqzxc08ziq8lZlXQhno+yGHXk8trdMNZvDBvY0ZFBYUdutFTZAlkFoDf5tZ8UQ1Q7Kv+tidbzWqMz+cl4UmUla/jzRzoBAH8IVeK2k9xlnljfRBgV6V4zgXjlLM6vTYZPwoFVXHyYld+fdaUI3+tO9rMz1cKURr0s/uB6lN5mbIvS9v86JUd6KNLlfyCbpq5rwybnyLztBdxSZ4osyDKRG4fF6a5Zb2L1SyiQIlX1afss89He+IncE7RkeCkVUZo6E4nXRwLPbPKV9xXS+5Mro0oVlAN5N0lRW9aohoXuScza4ifpC5SE3B8VGgQGyADJHLlr5luz/lsR1w/6UU1MKzjp2H6fXfr37+duVxnWaxJJcsIPSJcBjWQ0vRubVoN46a0fk7PLu9vOMVW2iXDUgoh1bq7hGryhvhtWkNe6tTWzekZy4Jk02rgFf5OPbgOARfisA7PicWXtXfLI7og8qxmWPWXtNff73M4UKm2hfG5Y/Y6C2YLXL7kEjdcjJnf36okGJQZKclV2vBKltMBQoo12AFxiG03Wfs9HO0ngr+miSSwoU9Fo0ks5oXRLQ+DawWbox++PPL0AUeeBaYMtasSHTqAYo1WzEkC/LdDqgHKGUxXA9qdWT135tCx5jo8W8jctdb8980VFBh+UmN3/U5olRzw2ckyaS/Hiw5R6BS9PONRrkej7f3V6CwUk927tbj9wCJ6amegJBaAEj1IdFPQ0ZpnLVJXhsggkNp7peuQm13AgRN9H952TKpgzLB2ef2ySI2v06dVUylphMFTfRI2PUb4LOnV2yxC8zc5y1SGDpS+xZSOjyNHxhNGt4ztXTikFgPa0PaOR/d8PwNKoHQsHn/YPZ1JAcosPJyhdCnc+XLJNT6QMv3ZRa9J/Kevrgi/IUYLI+XZPWgH3/EVf9ni+awUsRyUPIpLhmS7A+Mjh45h5y/sEvAvXsS0vdIYmOPbYv5w1bNz4NbAaIhGCK4l53BAEaDcHnrfg4TGA//a/qCyE3WUbVzTPDd3Qst04IXYS54z1BP7zpZDZmGgZIzkBUExQ4XcjtB5cbPJe+I1VdaLde6KylOdOR2STHrujDfvq3BHUzSKajoiHZmD7tgoLt5ryepBEkY8THX2dlKOztW1ShrFqNhMEmV/yoZkFMUXRQyaaIasqYmzSXpcwz+P9xDdUiMB25wr2tV5q5LMHQeMUV5D+9fzfLHl/QiHuA4KtGU7bdtE9XgrignoMHKHDYErzwNzG0k7ubTLC4bQzL7kDAmA83RLTDQqJpxUHnXbmXP2RI4jxw7SkCeoaeVduuj8+qQ1XZuja80HyS5o7+Da+mUEEGCzv3SZJAIW2obl92znup8qBUUikNaTblt5jDUt0UdEam+Jc+3DBzoAB8TNHRuH+mi84wQNNJ8URQ7+hjHAov9jM1O/O9wtNi/qahqjsTtGBuemM9ZKd7bwQGqJg5uMln/YVuLWn+9ZxLxZDSye3KZj5KUw1hcA60g+QfjZWrdoIQDA2VTfcQvfnVR9Q+Apn/eahDRcHEj9uFn9NCQC2GbRB+Ls30rBt/q7cs3HRLj2GhG1bNkCtlu/VdZ0M4H5e6TIteTcbzx5ZWJW45aISb0qpf+SeMpDP9kCOiA4p+uEhgeMMMrJhV2LZHUMN4tZI/chjKUyI0GM+cJCM+vMa7ZxdExcSgmm7h1RtPM1Q6h4VwkNFbFa519MSJ5/XYbT+xMWlELo3OIMCpMCQn/4m/R4lsJ1dpRiYsd7RJ0UQp0NA8e6VxC2I6nJLYoRGt9xxEYG4BFmehqY9gzn6qboeFxdp3vK4r78qf/OG0LRqNrDFfECOVdJsRC62Z1j6CCJ4jFUbAjHMekvIb31+pS5QVY9YENIjxJkDq4/czPtlG+YjcRdkF68aTx4debtzZkffbPLspnj9gcWj7z+gwAUZSzzUEgZF5MT5fuCHlZNhckC+n2csxhC3wfBXWo4tlmZPYebAjcImk0Hk5lzwxZmNZ3RaAnLA3gjkJdXvH2aIqdWkjUBRkFf0JqxRzhubI8AeJrvsARFdMWYJ1Q9Xc6/YukpriDhFGvFuSYPZEUho0aZBliBccQHKHs/vR3k81F0woIG+IXVG+bE/8lwsX8KILsVRgZMZcfTewznS2Ee/5Y9E3qgTY4MqzayrMTNwFcZz5XB7mbdSdeDApPpYzcz+8w5uPbepAp2tqG5VFCKUdyWym1euI4mlrht0uDmN8rlWflOndBv58wWMLqQazm4Rsy/Vke2vGFceqf8F3SFwVOv9xWb3V/S6pFVU/Ihrg89945TYu+khz3xb5ovhPh/Fbk3esRPvfpCMlfXa/7Qrj2zGbkBt3QkkLCLV1QUc1r2Q14OrFtu0kCR5feAT4IszSchk7OJXeNMSBaIGtiy1Ungxsmw5UKhu6fb4Be0qeo3WD+CLhkT951QCrVM8+wbKv6EztY1JaXPSg1lSpemEhv7VFjv8zCKH8BB9VMgifpB+/undmmr3+/YU1Bx/WqM5skc+HuQaHXbjyKXLYPoUFoSyaA4oCc+LWXo2FvWQLK9+egxeg1ZWTY1u9rwm/qOtlTtH2t9j3yfkZP3pfagv6Ud1S47Gb9qB7b67gcChlfR15PA+bpErlrVfCAjt/wD6fyXjPQHJhpfiKl1E8xYyshdZB3xOn56204viYtYQ5lrBRlF3ryOYWohk+8D7mA35PT58A4TzT6tEybZ8bnvEtGmPrpKZRAEsB31C7bTcaYTG5cluVfKNhO1XfbhTpW4G/DKJd4k61E/iuMJNPpTsVXJ2CmBJgujpwqh1ShCEdvEubSVg5XCkKSy5anXkksMmwe+sk6xfmKauBtwfgaPSIpjchpYNmVb3nzDmfQ7331ynvG6Ue5ztdDy4V9uW7uW2Y+gDALMP+c61PPOs0I2SuwkeBomAOT96SAWY62YDawcamV2hj+bZhbLv0qx43snEvRORQvQ1639Jb0BX588vHfhmm2MXrzRT5vpQtvlwu6/by3AxbC+FqSVPA1mApoDYLnCUF7F5JgmwMLX/WaOJ+VxL6ugvey55W9tH3v8aOABqxNxPZMWaaqyclJTDUey900nKZCmOTnyaYgNIXBzW0m26fi8c8Dsts+3NMLKeF/KwdOuE7F+c+d3yQNFVzPuzke2EXhnhXegzgfNXGuZqTXGY04wr5/TMdE9nyo8OHsvl3so4sEhCh6lTWGofonp6O2K/MeKL30rNzg3e/Mf5uq54MRReAb7gxrvU69coAjSW22dWiRq6GPSW0QUYUQ4TtRlqTau7c2xayDDxFRrHyIpPiDcbv/OmHkQduCxHXK9c/YUOlQ69AdH1vhJUGU+7xGXiNShi1Duucazqndv2mS3X4sL4VsjJ2+yLLth8J1xCOr3v6ygZCc9f6KdUJpd4cvuiP5qtwYvmY0eF6fKuXlooOMrsdcriXgXo5O3vLCzZBTGs1Joms3Y5jpfZVOAS8r1p60WDif5dTqIk8xQYNLBu/Ul5ZI5KnjUOr8g5MbyA7WKgIt/h3V+AeLrBgsOjRbRq+Nc9JN6Yla63JrlOhOP/XnSGCrJfc2eDZrdph5Pk5iQ0vgVKC23F3QkM+r7o2Gvo+2REs2FInZYPbgJuyB6KJnmcI+eBMb+VKDh5IBVdKaaDljKvIJyfuekMpvx9YIMQjFInqqEwzQX4ZBozCsrm4pxWOE27dK+8o2oSxVL9nW2bbokWXQVKa3tLKly6wuPb5gBdZajhSEPv0/yS7N6HodVDe2yN4W1Dtg9QtPeLrTZ262NygjB/EzUBOgprGmjwuucnS6n2G7TxTTvw7UQKYpIB6d4cf0vz0DMEHqFhoj+qCodwdjYjzjAPSV2FgY6GrtNzMsCuiUKPyWEBbT61dt7vuyHMGiYOnsMTI90BH7gC5R2Fju5qzvBy9dTVfbjwevRSNH99slXm+3ahmkb9+KS58+WYmVNQS/b+uTNr+tWyi2FfsYUY6tWmOQ0MLLIvZNF/tmi6+Kw5fmKxeCeOC9xCvy3enwHJPJW7TZ1kLmg201TT6QWagy71dfP1/DgRxxaAWQ1c2VNwXJYcWyZuERMMsbZjDENNj/BvpFq7AMGLdi1JasYjy3g6PSOPMJj7+F3rPEjiljb4xufX1o9J/wD9gzRhh4qj3VSeoL/x0BYSNVZvnjVZRg2RH2f7h+rEEkPu/nhQXyvkNTo7RNQzZVjStQLTTt5Cn8V8uDaWwm/itNZyRsc3KMQ8pbFRajvJ58YTxg3nN9nHHxiz/L2pcKB0vrDQnhEivJhNolXy4jGuMk8vM5uJcxHZ8eeE2IElwWq4Ezy2P3+A2MuMtuvUgtciEtrWnqVZXwp8UcZ9yguhmYZo1oqPrQjUPyhZ+BVyyGCGw0wzxoDbb82HJYdCh8Oe8DMpDzxmVj1P2kpvKIpI1zQTn+Fc+dhtgP+yyP+Jo4QmvuJqR7Q+aTi91dDKa1pGQc/Mwr1TpdK6wW394d0pL3opDv5omdxE2V0+R+mNIk5YuGaJ9WJUh5CBb3cvLhqWeyVAR/HZSYInpRmXX7M7rkZ8rebkin5P2FgGKL9v4PtE1wpHq22VUYuer7r6ll777nUJauTRo/UbJUQIvds+Hg7bmNmsz4ecc254S+1DJU+wj8SCQIRdp7uhCNH9BKBnShATArFfSL4RSoouFbLHldk+FSQR0wkUx/byARLlmHhCLjaq8PJAA5Xxbvcv2+mc6R1u/sjeDcX+0wHzMuU9j/MrutEIkWpwKvF9YKvA0s8WHjzIsyaK5EPF28CU8T+aZKxJ4ZbfYhf+wH0iSXlSmv6K0/mXnUk3F85/2u2Uy9ZtKPAMNaPrSz2acZovKJJfBOBP88qRTcKXRTbxraamjUUWFJVfuHoCmU8y9hF538G+Xs7Jg18O0xGn2z1QWVhg8TmMQKizi9/pqIcrD+nwYMaQMXXkWQ5Aogo18pxSgFW8nRgutfKN+xU+vNeerNIiQlXSl9zanF1hYQ5QA0W7FjLG2Cs/y+GTsOopZJHvgNoZ2iFEnkcl1tucXZ7+zDUlWrLV5Rk+VcPN8lqGXqDnT1UHxgBYHMflLaM3RbEG/8ISRh2LeyLx6jxtL327j3xhXE3Fdrao/iqx94mLYWnuHVGqsqhR1ZOHPNAmxhexPjWlli4PIiIzYnWb7s4jLh/x5K7nBxyEAtxxuikv5PyEnhRoJFd8G9Ybu/rXLnBrFNTG1o6swrQEcG/YgH5dXk6gfTDf9rFXAJ48zgYZHX+5wSfeHIHln4ezxSjeMu91+4s1hyUP1oc1bIh9gATdhaqSYG74FAPeYycAAftNDTqt+kNJ0LcjAS9Hc9u7jl1cfe9wIca6gzHZzm8zW2pLWZuvj+206d7a5+B/6sK/2fHmRXwqgFo7Qw+TpLLmud2AXeaVK7C2RM+hE3ZAJR6p1q62iYaYgB1lOxJnVn4ap4sgu1c0YfJLQYh9EPGuYrVHWy0HMAWuepUt97xtQ5xh9Z6XkRSUpiHM+H7nwEfXVGrAxFo7lv/DzTvdHfEBMnUuVbiVkjlE6h7uv+Q2sqHY2QdS/9bMCn5V7ESXfLA4UIoaVFTNIfjm7iRC3zmg0hOBqzuZxZ6fTVbiDLB13ncTwR4jmtxetuIedXcyJnbLo5HnNPTAjz+AaZdJ1hYvE/aaW60kZ+a2WY1mlro3zd3jNrWnHsykC4jyUoa0WqixyZIrD3uLi2oODsj8Byu93YFKmozSnghVMK8b95qKwFzuVPlRiWkcmxdChuzuKI0fkHZ8xHN1XVaGEQwzal3kty7mvPLwnpJIoE3kK5WaSuldKzBVA4jcYA6IcR22tBsACx4Ciu2vjb5K6+mzZtObbN0EfKodCkgl9+B2y0ETEyKsCZyxIiQHYsvvRFSEmIwf6WXOZDR9o9CGyKnAj8k4v69l1RomsTiAZft96HM7Y5uTEREPI9/Qw6puw8sba7j2FAcbiem3zvbSodKgmoWZmNHeV3F96+T8ThoQ3eUoQY01Q2Pgb20izgr7yeke0cS2mBFa/aZ7f8dEARbCnKJHuyYYvGjvOvJitt5Xr9G2v6CPLUu6X+YAVsRaFfa5n5uZjMZExli4WqePfeG/wb/Y4449n4YYtaIGu3C+A73ChQDgPkTOCAAQJ7ftxx1cnYCgiBAihu1BslkcRU0rKJr+OTrBM/uzuZEW1QynizphNBbdBON9Jm03+2O9hpYnZ08z8i0RJRCpyww5TWr3HLujePq9zpgqerGjUonLkqXzzy7xq01AQa0U6UBhes9yjkNKKkVjEg3tmiq69QHAji+jtM+QslpDhkU5Gp49lD0Xys2eYyK2z6DohGSfvjsXQujvdEuvWNtPc3fk94WSTTSqPb4RRNTIxr4b4uHoRsaqGbkoyifLRU68GCf9qjAaxAuao8bi90vDhVLGvwjVBAubzxes0TZMBC71QLbvEEa/2NnGyuUCjFbETmjCC5La6JFr7wj0VNWHIWQSkNxOu3MRROixRNgvstwTOlNIDdzHtNFve69+KHkGpQlGV3wv8TNdwAL8a0ls3UHGBlORXeOxyhisRqC/jK1Qi2bH+7Vw5xGmKTPREMAjWwcvyRkr7oYY0a8NrnaYKtZRw18s5Huby0YjuryfcWJe5b3Xj1wuaA7HR2k6wc45Xd18M2NB5z2W72skn2zvy8B+dBlVCDfgr+AtVNSHNtRJ5lQudC46BBV3geoh92CPUoveubO3ww+inYFPOJR5kmPFe9lyB7U8JLUg0TaelY6tf9TPnjS7KrZOzJf24KnhCXk2M8HtUlH2ZtaqxuxLSjodzZ/cruZpIKwvOtY09MdOUNfILn3CssRHTtHhijjQCnLFAPWU5j6N+9w0uM8YDim+lL7TMLRQbaDdWKvXSHnkDlJ4ZzFs7VRTD0lv5VoKgLDQsMRsSJYELqv8H/MO8BPGsxxhRj7zfHE+gIgF1VHYpbNQEoJ3MzZwQYeuL8Xw31D/2LF2W3mrywf2QrQQpr4n4k7QaVaOoC6nuelovFlZmk0k6jcPfhtmjBl7j/bl49H/4al9X3KSVKBh2o/VF/K6wqDJIy6PRV9A6JNDNv/UAP+rIWBJyi2ETzEEabQSfqE77E+e2g6kct6D7NzQrFFVPz1H77MKuzn/OQq0NU7mVVoURvykzZLfrAbUugl1XEHcdt+rmLzbWGbSmIAaoK8ioBcTsgGOIRARM6yNj9ETcLZtf+iXxyA1zETY6OqRAewC+WyiundRdcguq2xOdWq/wc2uq4x0SzXNf/EQS7SQzc+/Z9qtk8O0E157zO5RhdkLZ3skl2Kkcg8JZyhp0LG60eJFiUfcVJmzADtM++jCP1tk729KQUlwMc+OD3jDw0tn49z95k2bo8SD5aDExc2b5bAyavPT9VRUkPIfjrs9k0egNIFZ1UjRsOAy7uiMnBJP3N4uTyfOujdGmRYt9qNVygIecSfn08igqykCLZredBzmJ3SQPSt299IPQc1KiGNuDmFRMI3lX9B86eY80SLFFphCXoDtXndMsR9ZlkTSb3QrFE0PxUu2EjEbZjWIO4yfC0DqA4Hp2N6SqSNZZGJnF9MEv58w4RcW21cYQQ8SvzUTGLCIWlt/8MZsNfJENG6SWRt9DAEYEF2djRz3VyogooPgf5YSM77bngykblHXGCLxQYpSSnDOl8QWpxBRemOYguo9MLymxtSpATpuo9Nvz/BMh7YIbolvzOrqw/DtXPXxs50lygXNYgxaW+wIOyTfsE6uTDWu4m8afpzPwi7Xvqwbdw4vQ+ekOGQ9jDInQyaIJ8EK/YewAG7lto7UT9ulAuT3yNJjV3UmYV5j7a3vDAxonbjR2w2aislr9dfVWz6yyyxZkFNKkidw/MAYMPYC75MuVgMIXZQnPo7/KrGzHqonursZsnqsF8VQuoW6L6JEHEa/suh23Te0Ci+g/fj2gbx31QRI/t2eHNi9zfVkO2RxacIrSi6SgFG1xAx3KpBlAVAFsH80XLKmMWBzo3yFea1zGMoMl0wecly7v/1ZXCoiPBTDdOwwiWYgL7d2+WdqdUsoRMcLaxMXE46EFvRE7tzQUkBAp46HlyVSwIV3QMlbv+OjDhb/m341yYg6p2ycVjjRrA3Crd5RvWgspoigyx16hpt9VMla1xDAOMxl/QJWKXLYjaCYbUKOXchtS0iVI0XCNGKwQINxDlQWE+Wyoi9wbffUaTDKl0Tw5XGxgCc32PROOblgoJZk+xoDFTDoOUBEhnQQmZ+6xtg/yPLakvFh6ST+gXHQQ3PldUgShwoIpK18VTa7V4iZqQTZ4rSWS0OOOJrZJ7Hrp6uy6PheUG/kzoOsDgFEJ1xc2UG/Bv1/Rbc5sAqEtoJWvlcF/VwwHNTiNSMpAMaDHfXTXIK8RyiXtAfqZd1Yh8FSAGyhZMyg0LvoSTRwLJkZOuaHZv0OmnwScQdTVWkwO2KoIC6HA6c8c6Qw8MZ8xm289AMSxNwwBzwu2uzw+kWuu1pkEHAELF9CZV54ZppfGJKefPiMZuphDZcTOPOjACLk6/By4zBIDGgEaLe/62oPmOCzmqjwjxnuLGD59vNeQi/loGckwLbJIn3dZpp5P1XGX7URKsllOanldQpIOPY9W2sVXZngHz+zZoGgZRdMPJsCLVMIoP8BeX/9xTJl3ew2pkZs2p+WLydDS9LqpEeV1yt7lTe7uNSxCrpAM99LhwW72dwhluvcWglIYJUmgpuA2S/NU9vjXBLRna8TpmLppWPvZbwa+Gf6cpJtAr9jrnp5UtWtHl//wCNvazgnhaRilR8P7O/gD9Qn64otZUIOlfUdqg7ArYUjaN+GTq5gieDUySNOVmHEeKUVp/ZyE5P4KSBPim833OEvwklCJeTxIydTbh1jM+W6Gsbte/TTfEkSgbE5SrPtZVduQvxHcYjMuNppb3nqTGa6O5Hc8yRZvw/K8xEuWwLZV9O15Ult22nMKGDPDGV2ruaRUG/i3FmXLjdJ8j0Oq/8wbkE/Ei1FLyIrSPnStzBPbr01o8CDKzdtConybyPNbcIB/fyd5m1+5IUwc5jMG0RetfJFpNajl2vT1oYodyPyigdixolQocogW9YKqFVVEq8pDqZu++vZB4XMBRBqKJAgkVbyYJ9y49LMTMs8dth3q+lJJ/yZnpxDwHHKXH1HHSJhyzVLd/4vgK7QB8lTpiCgk5yYYqDHNgoNqVXNGTDqTBIwvD2ankFA0Xw0qUFQtww+i8LJJSu6cbJMSwbO0hbgMl/TDKk9q0NDmzb3qipnNtjUAEjdWC2nBgCmGvDojc7r5yJWfXTtfSRO8tqdM4pdoM0Jj2lPj51BTH5+jdZhVJ7a4rbwS0Y/JIuErpRKN4mjxC9ULYXHmyHz3LQhP/W1Ew7nw8FpE4OFQ8lYCTihhRvkYcejrZX/9cvna+4mWtN1ChIMiwgu7C6ZJfxBPDEvMCDxZHcHzAQN2nBMIpKqfKTakROpmyZcd7iBqsNDLKuqdMnYAXyo6PFYcWsdj+Es7mVI57xpEFSqdBMu5X8pVnWQ1NRXyR6yrH8QcD4cibzqBnf8v72RltNIfWZfi2CQgLXj1jUYK3brodX7RZowtxsrXQV9z71W/OjEMqHDDmzn74wMwBXUoykOyZ6iWCKPGKjacwTAQYTymnpNZ6wPTV5Yixkk/zFMbNSy5kXjWdpEGy8mcYJvdIEo35/rbVha09vn0LJHUHi6H/3jo6l5Bc8l29tnVVbmggRDob40/aqELOhR3CfTkeJjaBdRUnbIAOjMuQTjKT4d0AoKnDxHKTrgYyz3SUUzhUVM3lsvnG/gSw4NrjBOOUsJPUbrvVps1HDcAfp5CRjwZ5FqWQ9QkfEE6HpJKU+Q+0IBcEk45tnVNYObvRKAjFjx271jnxB2mAG1y1y6T+2MnmKUwMabpCMwfO8AA1PFU5Rn2iQ26Iow/gF0vFgKpf6UiHp5ZR70wXmfMumIBjyPuvIXNzaP3iJxKTblb+bob2G0d4fXEpFcTuw+VwgaeDRfFh+VmQdN3XFwj3s/zw1tY7paIpaEvWGMM/6s6K0dvJSQ/A+mV92dBlgPuaE17hJakc8GsTTzZ65s0yQBP//UX9RvWS0Vw3p50cEGOhC2fDs3MdISe45pEWxcR5Wp9euR1Wbnt9Pc1+Xx5cOnUdPpBZ5u5And+G1HwTxKnc9hHuJ5nVUo3qdMOuQbXgBT2P28Dw9+H3jdX9tJWJcIhG+bT9CUBFwG0HfjvvvifzAG8RqLI9wQcTMvG1fpmF1LZqKvf3t7y3D70giHh2TCa7BEUEnoz4nkON1UQNgY9N+lGMGgyrkHN/z1JTOLVWlL8PZ1146EGOPUFvYZWKY2XBWSEsDS3dVRIcpnqvPqeHgovltF2wLx0j4/n+u0oUVWozCET8Bv7c4DH0qylxohkTp14zdC/F9qH+dAvffbDJ51uH8RbpyAi7k/oWQxIX7q3ytxxKfXSNpSZiGNDKsFFfxmM7Ngq+PX4ARBnU5ugT2tiEzsCRRhUx62LlCxieCkNSIGcJPng8/aur36f5J8SiRaLPi83NN7IkpcvC55SR+lSsNawL5II8XhtSj0sFhtRS/OzNIhvAAFuhMqKTensFCBRbBN0uVUEMuY0TFwWTf0g/oJ+1X2FUZlZDorqEq0DDsZjl04Va9mPBh8qgrJl6sshCp1jYnVtnGfZPjZXErmOu9Gc1a7ZL1cIXln9n2VfxTehXn8q4xr5Zj4p7FmnpnXqCD/NTbzvbaBw0yUxPG1C+z7lCsBwF5gLs5t+o2fimt/UVeWwIxCxbfQB38MacJ9tAFzN2a/Y9DsCULGKx1YJZ2Y7r0loX6crxKpOk+VwVxoRwZCIkXTqPdVs+kt7QYhMXdngfodxbNootJIIjbS8aXxcvSlXr+vsGJ/gZEhHgoUl4wcvghbvjaOr3VMkc41CvVxGtrGfJ8C7Aouyp9KNDHxigbAvIO2lKvl6wBvT85d4Rl0qxKxocjjzpYf08X5yZpny9+pAraC/23IbSaftUjIgYujy85ymF58liJJGxd0rt4ze/y43a9vRiq+95NXKUJDa5HyIMjABFjF0pumoCLZ5SZl/zh95wzPWukUS3DD/fECsdc5re2ThMJxNOEJNhx/wTeK3hNkp3WLqsG9EQG3zLpYDz+6ClLNKKlA45QM0Vn88REPMPu6CK6k43sstlv+WIkiFiVt+jQ6tgjn8dAcIsmsO6/5W7l5Lur/G44Z1tUyTkGT+b0TfWkt/EULSo/uYIvHiCA62Qv/Wc9OzEzS/rkvkpmu4+HXZ11fzXnUAjmyIyDnSvy6MQmei5qJXEEzKoSZL9/RmSdIze7FugO0OXw0nRJ/ds0kM8P5avlXDr2iq5NhDVBKjYgNBsIWu+wwot5uYdtdTpsMbUGA3es03DGcvk0UOfs4Y33fI3PY7VM7zufg7BeVT1xF5Eyf+QdPGVnufRk0SLMzI7xV7hHm3zff2hDaYjiGx5CLLC7A2RKHtBULZcSlBUtAAnBaKg70aDEAnyQTSGMjcJies7xpNvEBSJpCZC8OY2W2dL7rZ4fALbP9NjYCnMEu/yzaorAJcN6C1KfCqX9bdpiTKWlbA5e6BBLESYV5ckbEekjNXw3G8AqwPZhJpCUI2C4lW2NS32waVbkIw26tGXlSOFTax0B6Ej9OCknOkj1BhZCVFYajoUcv83dZ8lxHXHXl5h9CEoDKlF/ZLb3len3BLkQqSIjO69hq9T+ycteSnq2NXU/C8EmiO+rTYHFKbgwV40K3QL9tln/dyHx60uLTdOo3xuYrOkmbEMFdeiJZh9F/ZSFjzO7xVwcX2Ica9axiQraaHLhj+mr7929nZ8SK+Fe2erF9H9uAcXVAICUiqgbilav/QE+v8yzzkRj1Y1g+R6kSsBDw1HpMXxN5Nl7174lWo0OIevLwruBldDfMxpa85wOlleb6eeikok/Vqmte65kl1IAuf+AGecCZri3/sMxBkuDiDtCNZFKhBquBPEqyixkw06xDkLnHVdGP+0mL7UcQhLQkd9m246Nw/aNgzsjQ2zrReJguUsfOYrI7M1flmNHxkXXqOrkYFOl4qAy9GeFrKhPpy9FuoepEaZamlmM0nEZ192/fyPYfTo1LLy4VlbUQm9Wu6mkce0ZTjqVH6OgpM99p2thQYiMYL6CzVkG8HFNie480kkIjcJpNfJ0/pjuwCxGHWA6o93ZxIKNwW5e8nNy/5HfdxPbzI73kO4J/sWxN0LOZ+OTG40syBSnJDBcrt1CuhgjhzJXxPOkBxVTg9/ETETf3TWz91RdPNy9zujCfOS8pxBSgABFN3Fjb/1YyTrn04t8SZOgNm1moekCayZz5Ha9Y2y7+uFBD5HFD2vaNKDuFummACjr9stsx73/AE1bSdxgdLHXd6spkdK7WGiQbS9LnHQW9RmnJhR/7uGVZxWcwy/MlMd+qDUMjEHMt+KVnOEkdNNNqLNZjuPhn+TozlEINqCpIR5mMIgYc+ewqhQxZ4Qvcf3k/PaSrFedvu9CrYSqhcbruRfvsmMrbuSr0+a1R0SxMDydCo3Tqb2SkQezhtgp2zLcbcOtdnC1l0iBI5lfIO7e8KxAPZb0WpRYhTIQjlkmX8SvnZ6UCP0N0ktZtxXCuupAvW2H9CbZ93orrXjkKlFzgAfzS7UAKdwUdXghZG/yM26eEKRZHDLFSUL+lJPvFMaQSdt+HziM4hlZVJHA37lc45HbIdliTam84fsBQc/gw9A98LjSVXu6t+vLRF1NsQmKjUjOAMrz6uxP5nzECNLMv0Q4x2GbD54uUMFpPy3eZVyeOovmww9qUFyT7GRNpI9XKVKUo2Akpyum0148Ilnaeef4RqVdxDLxuC7iAYiebYV8Vj+pSohnfSD3EX7TEy8mPjFEhAMY2cqN8eTvCVuBHBouJsKGmKS7zFRoHmbbG2fRSy3b8ZbdAtL7TWWehKU+gNoNzfIfPOg7IRY88DZr5FHXlDbzSexUEYUc+BpRhvaTaqxPP65iB8DVjyOyCgg5VOd0T60Uu3YqOnCWfeR1y4Rrw4MZzAH1OKouX84zC+hKXbAlbUkCzN4sWDHemZJPfYREYrgCrstvJjogIDRLWwTuzvE3eQ0PFCH7cJHOcyRi+qhLr9tRyzvOo4uNbyJEMBP9kdKQ6N/0Wzz1scdr3GqhVJI2LnCYFrGNw2Du3NyK2UNx+29vmCC6w4V138X+C8dckWGvrn1FUKL95AvHdpOwQsUtID5rZPU3m8Ro+BszB9BOdp+8tJaOPigOiZBVaJR4n+C3zqhV1SIslrDZRMOsDZD44iKWn4Am8WhoE/uWV6OmsvzcNWpgp57o/d2kv9pz+xicNG2sa6ajlE6L1C8XUGrs5O6+k1lODtxGQIKhYx6ZcGsSpKXw5EEqSSpS9uynxytgpbxeEFp9aSfoeWMosySvgH3Go+en4sXfKLhuF22EcK/GbPV5b8iWnF9irVi/Wr9jw1ztNypfoN2efXmezluE9dDJDkt+F/J2EGZ3gzobfV2vFxmsWGQ16XI1jI13kei7dlGHMTHOLExweES8R5b5obIEQsA/sTVMiyvypT8j5amFwqycR8WFwJ4W/NubjFgQ6dDDlu9dKbklAExZoVCh4oDduOQE+yCrxYniVBdsR9ZGjl9xQLD7UVgc7C/WP0w650Lcn18NaQZ4mw6veZlGhcgNPzbKJqMWpmBfneCtxfEjUxfKoxldxpiki7SiYUBrmHCVqgmRrJ2wz88sZqGRFqZYzE7+phmRAZHRGHRNU7YaxeS52YOCrJzz7+2kmkb6fm/MQfaIy9rtribn54NXhLixq8ov8h9ZXPW2gaZiYB62o+lrrw6bXEoR8wXt1Vg8JAZFBtAykWBwHsfhC7jKsrpvHTd8HJLaQXKZlsIZB/CbjoaY3M3oC9oiefMAZFSTU5wzhSwBm0SK3wqEBhGaZTLMTJzVa9e0GX4eYZdUTx9LneG9WJ0I+PGYf1aSyGnqh7HSbV3SztJbYKYpAnmv1GLChdPOSTZrrNdAxZyOa43jYaRY45YnxFvfzMm2DIohFZtEr8vrjB5xqOv15yT+ZPsp+vLX2dUQhL2ofeuwAcTM6NaxNcmQSwkg0jCXfphgXXsMkSXnQDu9MTWLjRpvPdlv/YBxppIvhz7NrJnl1IWnZ9vm02EHf8SeCtO1FxgsEsXo5ci9vWe4diagOyqpOvdZtP1/4+8tv58+v4Vf5VB+duTjD5swnvvH1oygoatKn3asZh0Tc3+eMZraDZDobKQ9fTc8YvQokriBfDuCKJTEDv9bRheZz+oHVEyLaL9aOdpKSvHuhEt9Xua4IVONZnZkTZBXswk3DllaLeIS/1hljr8JtTbGUztBdil2LVxBaPxIsWbZTTwSaUjjjSLC+1sytYQPMV4Gnyc3WN/3/F5zs9W+xfenO2ZHzQJiEMZvldrP/mPbuoEvfrN5v5jomdctFDaEck9hwr7zfDK98Ax/3YPV4vANEn4QFhu6a+wOUs9+ih5CZgVcHTenQAru8w73F+pKEFWwzRGdN5gIVUJw0sKJttAWlY9i/DmGaN5YvsFRaRvux2NECmlqksnSJwOeZEIXe2OFsEOHRSr7FN/QJv93RmmU2sUbEvtxoB+9/IR34EvgR98J1hQ4WEi4AfBZY5b07qPY/B8FJxy3WLuWuTPO5wJSAAVvSNy0MhF60igyfSH2J8fUHN68xZGU0aBbMISa6mw2zWdB3U9krjfMnwHh4kVkfR6bURjLwjhNOb6hF64x65WnxkN7NpiEvX5SzbyqTWk2wxchZw3Wd2DiL35FBxmC6GWOHGDzZKrBlwmwGCItoNTvW4zH/+I23FWIA8UexTpfZrzAfKgX/kxSp4I/5/6SX9DcXBqhjGpY70ahBoN8FP1wMSGk8dD80Ptk92Wm/mwGnkfkESBM6wobSsVc5TttQ/yfgzRztq1blwSWfyiGGYmZtw+SRb9MsG2nOQ7zXXmT1IMeo0gm3Ya6kS7IboxhB+nmm8Bnkmu7D5xK+0YDx8sB6M5Hs2JH7NWV4ugSKyraS1gbrvb7DM7a3rj52vthurf+45T/QI9ZNUzIAbhWUd/fZtwoFGfVLdchPV+WmCKKz8y5EBVSro86S3DUNWY1BFcTnypVeWgtK0dp5jVmvhgwT/MCN1e/5ejbM7MBhmngqayrbwhyy6uN9FBgl8ySxuLxp0yI+516tX/ToxgqNfgwReWqMJlakCXJBQZoY6hPLJrkEWDm/sCWDDADdNIB3SPKhPfFbpCDd+v4SvGaTWKa84PgMdd0ROCDSDFTBsIsrFf/Hg3kHpc1gQyV6q6aCNvLYocshwYj5WivY6bp3UkPBaXpEjBqZCF9tSVyxH1juA4msJ5MpzNWEKBgpAdd+oPsj0U4WhPQVQ37I6XwCBJ0xMmMOF1qg56WaZSE4zdqcY9baMKCIfY8uPeUICw0LoM+WfgMJnEg2LWPL+mbop1jAyEkf/1TU8a0dYFWPJd4W2uL5FjW6nv2TiR0/LqpppaejyEjkZtB+3jpj1gPeNdeH7ZVHTFJxOU6EjsaNN5SkIh/iNNGt5rTPTQW8kyh5REqX+q+NaoxX32beFGAN+3kyCf7oI3beXzXRaPXyMD2q0g6bSF218FAPcyxaxWlugon0D5XoNyl8LvVswj4fEnRQlLMg5/Ld1aEQ0FA7TLPm//bOiRvaHvBSslTtF2GEhtGoqF0dVOg6m8zZz1yGkJ7qdGPYnQKnRmFQ8Fxjl4hgqsNr7yWj2NQpOj047CwA7mzutNahTJdO4hXOUFN9vTs7CUx68orwwZ5HQ+DQ2MiwRUIgV8cCFn6QDVrXVesSzbM8kxR4xXtruorGs37F1yyq3CDWvjpwSEqZ+bUpfRCN6gjXPTTIViplsFfnl5DHB+dF1V0EbeKAU8OjIbpOMVnk4ibUXxEDtwoZgA/GI9j7QcMGW5zcneOM7InVQeU5OO5hkI+YMp+aAXGbJLCZ8FsurOmRtHPtLDl6dHT4YS/o9wGCfqS+4RBAKl9TTi0sGwk+TtBrGinwc+rQgHnP6auMbBUuAn6ofQ/zs0ZA5Y8hCz+axAFyRpRKnKrE7KWIFW+Rp/3OTtFftgRgcLdnzQivino/zHLueVxL3+0jXBm+vA5+IafYYPPhYh3RHIgByXWPHIumq+0DUG6bq7o11fTxK2/k0WGDC/3OTfI56ZnMEJBMXhcpMd/GKh9r/mdWUn02ForPQMmCqv38NnsYamT4fPqbqJN1oozVboT2/HkXqEckUmri93ygCDGtTJRFAw95gyksF+QYSth73onSTYzN+vHgd5SCKmt4aKFnq0o1Hv69oB93W3qGE0soiIzBGkLvHvt7E/1MrtVKB43gJVk4X5jAPnF2nhiheGKkC5axcbKCBGjDvquRvGPKr1aYqHgIZNmrlMVDORFdKcpqLKEn8PdG5uOmJaX8gvmBC97VU39Yvu0DQCM/EXFgNSyv6wD755qcnPS9a7ZX+1tAeyqpSuUfuvDTHIx5USvysueemBQ4IIhMVLTqNyvqzL672M+/GsP4/6UeW+nFJEeVYHus7zIRufkeUNxqKwfsqyr2ISQvCFsD92h0iWJicHueCyjnCBl+KeXYcuFuyhJ9rWNu0sqfNNv96PG/bqf7GbDi+FbEiSHJnQHqq4I7KLQdSeZ1YlQ0hrqTciIbjuOSg6stqCaYEk0kqOU1ZX1wUxi6HuLpuW1uSckUEiYbpFi95JNCoEOKkes7UGW4BqHXX/S1xoXewKJdKhWbIuIJSI1dPt2c+54NVblOEWjeTinHaYu9YbkFDfJzrJtXriIogUDmhP49OSiK8y8yOmO8DwtrfmUls6fxt6R64ZSwXNiCowKWJSeAp4YEcWElHIaQbOP2H1nYRrqyVs7wK7VQJaDuWQGk9zeNGon0zQRk5y3m6C5C5FPqE4Gqh0PN1DK+NNf+ghyOFuDR07qZInOdTXrr92fe+whZnoVRPys07cs2KqgStAye7PgfaeBAgoDz+k4/+yN3ElCNaiJ2fs1iHk1xLFKy6RObbACagYjwS25P181I6JG8ofimS7TahICWGa3Vh788OrKjn4bUb+Io823+29ekIpjOCAwkX07JA39zWabkEpUMG7ZO1nG/GZCiZ/wTNk9FIxTX4aO5J5yqVIMPkvAaLVQ3GXmzHyUFFZgvMHqcJNUVPCaqMSbP79nHbqPzO2O6KWU3czbpghLObXog9vxn+XwR6tILMbI06I5dp59mqDES5FDL2T2lhQPPS4NvZYO9kGthR+UOfYQkx1nYT7O96fAd3KX2v9ivIt5ZD3r5xS/JpwLyNx0zvs+5/dfecet2EQyS2CUBUg0thlH62hbIPw4Ha+bOTvWNdPJkaE8a+Ptkfuy/vyw1X8HqEUwhC/eIdqaAecsaPwTXlOwQ3p2FvEUH9XMxUn85QbG+z5qLO5dL6ZDp78jvi3NyzKr/ghV7PxZwIPcbK/WyTkG/Z1iui5V/t/VO6o0MPH1FIJb8+dLbpnK+wmKDNijpYQ/b4eINCLb205MbWbUUn9h5idhNlJcDTgf0Ift+tS97uz1V092iKwITJKfOKB0s1fqwNf7Y/+5BV1bj0odo4nQpj2l4LwAckpa6Odt4mQL0lGaTdyPKiKMtx+px85jT2oczJF08LWBk/oAI0PwPB42t6p5keZ+WGd9fOYaK5NWOEexq6hAhlDfCBBtGH2cDDN1C18lmY16jUcwXUEZiV3PtLgKJmTs9q0W2OOBiGzgnVUBLjECqksSdEkPWNuge6adSHv7pmUfQFFliFqCHdnPzq0TELzs/Zg4dTMaYs72mTbqYf0oqBVOzO3uiLG7LNq0frOx/5QcqvZo245TQE8qsk5uFER0nu4gRw1frnePzWIrSSlh3DK2R8cwZ436SoipXar4Wts2V3nFf77LgXCuFP+4pFsgiSOXeMkJvkvl9O0Ml5nmh9bz6AkWxGy3i4NMHYf+BtohIwLls2EmxtA7+axIdJNwsf4OMF7dU9mls62832LeLRuUS+eSnXTabb9tFpOcngrvym+HVOFZ3KDsiHeWksujOu4vJBWCyZ59aykxYKPbfOACaafsayG55QQHgAIFsBSzXGNG1kI6NLZSFW30awJrb9ZkHAnUY2YKdL1ofgw42L3twAT2hJjc9LKA/34AasoHSa75fH8KidkRkYWeLxxIRuhjnuBjvLb8HeUj1hiBC7eiXSP/7paldAz43KpunZvtyAQIPNHEbTrXOjCUGWo+0zu5MJKSLmjhhJgYev158yhoe7zNyqKfgut/8cEhrat0E3betVjsCKdYCQt7GViJo47VFTk7jol2o1pONp15F2eX6fD7Y3JkdI7Z7dsPpo2+t7noG74QQ76saHBwzHOv8SHR2S8hOaGLeVYxVvzi9gDtEMB11sBIuRIinuNkG07jZghE5zdwplZDZq8Q5CD6s78JDSLlpfnnMSYsXP0o9YUCEYTyH85dqlX/TT/HRFh6akcu7Y4BRUa7+0q7+5NcTytOeK98DN449jalZJnXP1QjY1hJgqUdaGwlMv8CA0rALrUtOF4NxhGZJs7UATF1FasbKShJ4cRRO0Kq+kkDmg8bKmgzu9bEEHJZ3XFsV5EktitAIll7/tgHzCvuQnm145s0G+gcEmkiKROsbxGlUwqfDbI9OG4k7M192khekmBIma+oX2teYQ8XHCbMBVEjVkUZedyJL8lUestjfS+fhrhkTNdtGwKyRtj47Q395+fOeUPHXn0fLiv4cpK37kA6+4K9/6BHHuIsfupDELDfcLmp7RlY68IdgCGr0forej0tQJKKV3W2D0hUeqBETFpoWxkJPZ7JMKx8Dt30unCmTTRxq3jdwXXuOuyzqI6g5VK3mmd+tPnuEyZfCiIpMyYR0vYg/jXeylSHYjkxcdU6lwQzMB/7UhpD5JNaRA13NC2a4AriHcY8WoAcDvlajjZaD6yglbcmYisvEzCIUsNbifHOB7/JBGLyjVOp+hZ7iJuUQ0/xlkTnRigOQmdf+3PbDQ/d4/5bNkTYTsHfB58yPrhf0EzB9n45dFLebDpj/nrL9Te6ylPWArC91yWnP51Y6p24vNDd4xcdqU6ksUWHA3H+cRhuJ17qEGg7RgjWL9u67l3lRHuzi1Hc/mhJSdn+66TUWwzEONkpHdMwd8vZoxR7J1QBKFT+su2PZHyuetZFo1Xenm1CG1Nacsrq+0K9XlBb1zZb/PsrAn+T6IDSeOslKKuIi2o7fjWGDhHDaZTpeC88yk2CFcMx9nN6BcKUDG2DtLS6tHtz52PuljhtMoJgSUYj+4YO8NxWIarW+rK2VJX+OWZghbcmqb3EWLS937zyDGe0HJ8X9zL9GQOBEvV4x9J7g+HrafesCkRoRvnXBa/l+PyIa/1eO1W9ChpZfwKFD+zkeBYb9Fj9XU3ZJ1m+cF23adjnsofbuplG4faAXxPZTEobM0cgP541TSR+B57IC1EqDzyq/z6rD9QGh8rcXLEl+AOLKTuhH5r+XnqZxTqpqJlql67v9mZNaLEA/OJDzyCsNXeFNW6XTaKllF9queYJdLoz2BDGPrX3QsAE6dfNFcGr4ATqUqMLPggYqHbhsiKVp2MI2wcJ95xctf35JLanz0B7LFpeVIPiJEMusAXX5LE/uQKk0+PCpl5Nz46A2rL8e+H8bNdllFyszBF8LQANI6AyJEwH09v3bWzOGAglWCQfJYYzFYpwJbXU3gzSd82cujbl1ivASDRZ2qwC+DXSwz5Q388583M+McL/lq1TFZ8ANM9601OPbWrtizMNoYqPU1sfgoFnjhZTMuRKnKGu3sSlDhJadzSKo2VkLc2O0pOhZCUjuqqxtc4hBI5ILt50zWKUmyHiNQIzNQkhFjojTDg3PCTPv1c+EbPhx85+Mf5kV4YQqKdJXjHVKYKfmdEqFWWpo/CeFXOsGzAkO9WaLv1FACKJ6ZEqlo9nnDmV/ojw0fF0nXsh9hTtLQ5J357PsTQ9JxBPQRG8bYm95MWqqldoqaokLwYHG95wuEnJIab42QdpBVyDr1d525d7cs0Hvi5iodX8IjdkjzwPXnlNzqDz5rXvdTxV0MM3K6cudeeZGNxRXQV3tauNHWIkxgbct+IN/WGbBNM7GOoNZtMwI+fM6S94P+G2NNmuTQOFDdP6nhuKD+OHWWnHZ71f3nwQoTx1UzSPA/6TrHO/RaPXqyTd9J1eWTZjZmYCS4vhzNbtpG83Rmdx1VMCRW/is5UpihvSB6MXZDYm8sKgClJkreKcqQqaev7qN2+9NDnhCFiWG5PV5jpVagpM0o61amLSGCoyMXx1OJGaHcRZokTs/wyUXukTC3Vp4NeBDMBUMb5N2kCuIdA1t/rEqKQ53dPv8+qjdHD9pIci44QmQb3GAjwDmYlBEeJxiPnsh1jpq/a2hb9vP9tJB7v0naQYZMWMM44OqnEDd49ad7xn16CAlpr0t/pPP9qsk7aVSZhdv4QTQ77i0nP0eMQ6KFGFC6emw7wXhy1AX8fH2rHOIIbpNHQnNPKFSs4ulhwKqOWTR+9dwZWQtQWz8w7W1mK+A5QgRb0zoaR1AbkdVRjZOdzwjqcEsYh/7XJsqWdd/q+v9P+u2bw5OOOY1kJ/bD16J9CkAxopyJ29wW04GotSilhudDsWarpbFO7pZdvRwBpjIAUOaE7FEPHQdPDpHwfx42dE1rzKe/q/Buvjz1XohTgHEa/V0Kwc0Qeffegfj8bhij1DCXowwgqhaxYye1YOHnx60G2O2FusSeC+9nbNZg+1p7TqEIO+m2ZX62e7I/DHcUx3SLE+x1H8kL8RNidzzETaHoZoOx2axoyPmeulLpAdfT7uA+5VPKtDywk99Cq12/VeE3dAuJNHIgqU6+A5oZQqM6XU48et9yKhbDmlG4bh4ieBtuAy/XY7t/h0zN+2h0kzlOzo+4Xzn0xvTmbusaHbM2B1BDs9wnzdxaXsYGIfFL962T7wj6vg1NU0zVhzLITkWds7Bz5DZ0wlvYj8OUgqXatjx6ALwBRy8rPjVLJUnwxnr2uz63hdvUzP3RZD/Q8laUWTbdEMF/WGz8x6oIY3GVWUMxfiYkubUNi+ouLKbaiY9QXLTvodsY4DADXmhm1CQ9b+c+m6xPiuFXP7T8KKwpw9+Xi6PZBRIAPv+nJuUxfo4/0BG7vTzHkEj0JsmxkZDlxhV2ONxowVukIu1Tu1nU6z0XSHb9ac/2T16E2EagFOtyGcH2canhugT3tw4sSzJzkLWoWycNeXEttuJnlb4VB+tE9G65j+7f8a/E9WtRVgUGxrIgeIUFnxzibuqexSLhOQAKoyjz2nFFoH2dAWcFMmoo0WL6gOWCtRE49QA2+oR8WzG03aejreoRDFk/A0ii/2jJyBhM4BS7pqwEJxWqPZid02bSn7Pmq6kKiqKoKRhwzcEmwHt8DrWOP1JVe6R2ClLJkKhx7KoAFxVVyzw96dcr4gjyhI1WmJRVw+hkC5JGtkEICWHw4N9PqxqBs6j4s8z8PEMXbOVo8h8abSPZK+yG6UiQvQIVKIhb+CDmimJvsY7W9Jg1vErFix1TBZu/3j8SfW3FIoaIDFkCmN5PgcCrf49caw8XElqcbGB/zMqCO819/Yf8da9qbf1JvhWlywIZHBVAN5wI7aTgTn0nzmL+4LF7D5jmhXmjwMU6+rzY+tfw4g3PBpm2lJuzoN4xv+vJvWdl7s7Nv4TWgxjpGfuNWEdWUVps1YadBWV0kLm6jyV0OtzawXbpyUH7bwHcRa8VsjhrzumqRcNNGHgZCB7HUKABMjlYqQYg8jBNar6kBcHUkJrycuIfk+3CQCG3eqQYiKJOkW/vUoteyBlAkU8dl5n0oaO+ewrlj5/ccKqXeZjg//KCupWMdetDjwAa8OtTkRx1scjUzvUJmjyXE+47EMtvogOyRcj7NLPlvcZKmclZT5y6qNjz7cq8C1VyeuIA2kGJJ2yZTJUHCRtyQVC+yllX29knb8E46T7Ct1SM3lFhFfRuEIYf0EzCa4NKLs/xlmpaicJcoXecfQom1Q7pAwaGoy8GK4002acv0QLsqqRab/Ov2RmJsvc3mueeDL+P3IFH5PzkAw9Yv6GoNYA+TLBdLioeMd82YYzwptR6DywmcBpWjqaeJPfXuuI0s8yMN8RbwfIw4yxiVlOwHrbQX5uWGSu7AltG2P3faQt6AgzV6Ww5WH8psneUC4dR+CjkuSGkGYPbnaq73DSemqyk9N9da9yHz+/BcKTGBQ/qNAelHkyvG9hkshoaBvv7cxgxgu6O9GhdKF3pZEibVJJNLYLclPzDm9CSaYE0woEHF8K14b6FP6SOQQAEa7r4RTUQzl0Ebko8L07a6QC/8zpiqAJ4shap62iFQjVeK5FwAqr9CbCNcRt/Y96atQvdjM4xri0MIfifx70azsnD4T0GrtVn8JpFj1g9Y570aML88RYFxEE2hKpls5gJsmI5Gc7+YrhKr8iT2YKYrGNmLV8CwfnFYuRlvNtNM13GRgjgRgakzo7vY5rk7i4ISptICj3G+EH+3jy6LOpNOk0PdpwLzRPA8Fxuabov8jxxkdDiVEDnEfqBIh9GGfr7CQ8kyWcJVb2E0BIChAh0MVnvHe705j/QLv3OMheT2qU5PcRDQqrK9DEXE5J5yA0R+61WjbXeJIUNgThRK+qEkWk4Ji82XNnqY8XbWRh7l5ilgRWyiSij/n4mKDYXbjWT+KH+UDxDCepHrxFURW8/Fa1csOnZ9jroFOTwWHuFy06yXdrK/pj9dYUD9OgU7fE/YuGwvonH/lYkuzsd3rV9lrHmIcbB9AxtfP/8NUC2op+YsRbDm+fVTlkWV83ipPCXCyHJSbvc0yvzVfHYPxzJz374AuUUfQDnUaTH7dIUb9D8ekOXYUdDmUSkaiMK7HK5MescXM4NHwutYLvft5kBdaKLKVh+7V13mqUh+QQwxqROGFE3hGh64zZ2YEZlVccjqNag+5gDhZRgUwo/jTuNl+juHUF+eIJ//p4BWhupSwIt7d9t+VNlzJ9d1r5w3aLLI5BoOVEhfEb27vhWJiTNPWplnheNkTMWkkq+moYJ0D7xJ2UT8u+F8nzBWGq7dKP3LBLOAb61uB0JfKcd/J6Mz8zm4v15ct1H09vKIX5gDLItX7FErucsOBWlWiVVODo2Uje0muu4sovGMd1wBtCUrxXpRl//hceLuisTopAQe839zlGPp44eF2Pqs8bvmLPYAwYtd+55Xm/PHzfvaLm/IOXCaT3t4/T47ZzFH0m4lcFa4FAM8xYm6A/r6sTNKM5G159a32KsDnEEv8yQUeHRauFrLe9b6pHXha3FrmfeaqXiTChaXgxfzFs/ldfdBlShmpH4MmUye8yorqoNzCK0uciISJGdV8pN09SEPgC29XWJOwryyfZ5HiSj/yxcdFjSpmRnu/Fp0ZnVrnPNso0SLZZtiKx+WjG3KDEbpMGosPY5r8uKz5hLOIK71ogfiJQwuQ8+oTv7kb1AwnrU1qK5KBj25N3rqcI+A52nqxbr7ZMuogehvUb8Lvfs+tBvRZFug6tG/kWmN23AYGSlhMRA17ZZ58fyjtLhsm90tGqvNargFINqkcvQJLf83thGuHyFmmyTJeFYrQNzqLoNoO1JcFDXF3aLpZ76Muk5sVfX4j10SGwKhM2txt5748Ybd3Wa1BGPBPbsCrUqtPtp1OKzJa0Euz1JLB5eDENhvUF0fqknQjhvrxPz/U05DiZOew2Zw/eB21ywVZmfgRUOjVDWTrpc32NXISCAi6tSxAs3JPB0AkL320Yg5nMjxH8+0bj6IlnRIbifTc66OObxLTMamXKtJXJCd+JSbsUYIuQdBynwAy2PGIivneLq+UaX3lAkHOgnBkZ/5W1WzAebAqeb6ql0gL8y056jJoaZJzCqog1z1XeecMdv6geUEXf/YC0RHJbAmWtu3+DYfMqTDSI+053lqXSv3sYcrJ5B88xNzO3KRwC9uWWCIinzYNhdYld3JZr5Ik/ZyKv5Pvm5lx6SMvn3I3Kn8ry6D2bzv8z+RLuXVdpW0r/98PG/SJtI6WHYwNI4YgJSZeeqSEIqj3njRleBWhSL3aLqUHUlEGvY7XOUXCLBanPdXs0ysYjYFAPxMOp5xyCDgkslD2/rCmanfZkplhtmKZ8yVsPNjQyP+5sLvtu06HwTbPc0qyJeQ5VbR0nyvs5k2isl99VA9Bit66OVaV7IPvLxTp3yRwFCysxnDAwJOToYjimtNl372w+NrJTUR/HbLfx8aAzpWzs+MDtCOtzg11EkzktCCJeS3xB9aoADeCbXQkqnyN5akVz0PAexnt+rlYeYo7o7s6dC01xIYhO9m28MU/WZM3bQ64RYX3SArq0P2OA5ZHxhPicdGghN91GXJHByRYk7n6RGjr5aGNCdhv1d2mpmC7K8V8ukcnmbmRNz7CEc1NBHJnejYVsZR2Q+FmpRvbTX6vLo0QW1djWlegzizm9S7XEmV6mlLnVQ/svRrddJQ/g1z5vm2k/ibSu/XG3/5l/IAqfkmt7SYbeUQ8ZiVUSl6fAFgHF/+aM3CfsyHwjE74oMIY2WyZ87cDXUAOSL8piXcZUG3uxQEGX0WdfyrGrwBI6EXd5ZSxkZPaJlO+b+BUdgc1U0oRGRtBa1we/yeR/YwUq7quEOnByjmhvwYnKWBMiG+yUXKQv7aau+Ayupp/lCLI6gNv9EMM/rBczVSxASRh2zNmW1M7EFraxPkMjlVokX2kKrJg7xnEUUjw/hzqSKXbp5caocW68FwgFrQJDWNS3slRwD3tZdKqTc+Z/vjxLN9z2JLNVPqadkpks8boPRj2oRFvLyxER5T9a9wSlHdNoHccDZ4Vna7Y1VBxgTtxWQgitF+TE03MLvUqh4lagd2mwuVeiEo5jIACmhuC+ThIXcKFDi5XTBrciB9DZG0BUE6xOlQc+WJyEWNCOBA1VNe9l0HqxEOLLvcC79iq8R3v+cLEbZOqWUmzyN5QylssH0yCKiy8rqDgM3hIVMzWXqeupU7Q2IPirSzAwfHTgTJqmwNvGjODa2I/i+65HnChxilVq9ta8KE6ecFs7L34Uc+Z/qEk8ofmzMiDku3pXaDi0NggoIGtA35EE4fNiaejPzab2I/J6DvS8fK/yfQTaAUVzW7VNAKGi2SmHlyBDgFJ4wEMSGgXnowLxbu6jVmq8eYDVfv1kyDXqSZ99TTWLSQGDRn7Y4RI9k2weiEL5XABn14CjjQ5Y2EQsp6dNVDdC72ZIhaW7MkJ7nRlrb++c8ngvPHUgEyKkj2zwj+R+K9ol6lDJF+xDHtPN2IgHBIjPQRg08Be/kUItLwz9fyHMmuWdG8gt5/c9djRLgUK/fy3HtXnznJ3BKmpowK8dc9TJB8xl3C6sox6K4+TOFXR03Kz0xVhB4kqHkheBeks0PiUNrZXLS2dMOOsat/lRitgFGEwrjg+ttTJ5nrwAZ99nOW3X2MW7dAEB09VTfbKa46lRfS+nuqfinoNmg1lFhkktCadFvOwF3bD8Kj4rRgyXypse9FOb4LaE76g///+PrendhtnGkpM8ysrSanqqSkj7X3hhoNQKuWfmSrb47bksFEWnm8WaWwyqF8URGIKPMJT+mBhI/02z7FivwhsN9SUE3RJeHJPsYhpkmSmpjzFiQsMUtRdeq1NQahMwTiir7Abzu2cwHCMkj7K+CFs06MjCoNjBPh+KJkhrfQVrRq2/IJu2sV91V0WR6ssYiUXPY14gVPaz7sOEycH1P34U0reQQ1jHfZtJKxWJ37pJr05u8v/DeyRXZxFfa0vC24pd5a0BhC+QmcHFApAhjtagUR5EW+lidLO2ieVrEsGTutRtMhNIK44zpAXN67kfXYtDMKR+Is6DmqvTeXFUVF3WZj8HqUfpzzdJMDUWyD+URr8mwy8ixWURRl+BFp373b6BWgA476T7KG+a12Y2BUa8PTaaIIaln3+ASPpiJ5yoGQhTz2GtambcAa3YdRVlwGDuW/Pk2mOwccaoVtHe6zK1tdvvDDz0S8eiCQSWhER7OnSsDPDQZuiklDGawed6kR6myIecb1rnJRL8ikuikWlLVZbUIZP1NHfVpNbmN5m22xnz1FMlmy7ntj0wHr58tL131DJneDgEip65KXY9L6Tt6pOvd+H9qgvtMoT4HbIr6yrnq5/dCW+Pn6E/aYZIXrVBFiAJ2F65S1GafK/3XbVXeUHR6nGnpZxzgX5I1CqBv3VV+bgeQ8naCRXfJf02J364cZ3Cp6Qyc2R9hfNKHLUvsgNZdILhyU1PlQcqHUKM2yFOHISD3aaDuEDE2JNQhTBthyZ7neiaO0s8x6lXHln14meYo7tSRxvEu9nz4Uu1g/Ahx9rM6T2qVWI8qyMa9IH1nq8uaGErAaUPSFd8gQn/PSb48R/HCuZbnHvcR5/f9Ysm/GbdmrtD5Fwmm1pIIhob06aAP/FD4GybpOnk84wrxARDcJrahShGiQMEr82/h94EiPlpPnW0CxeC3NN7T2ciKefKTecqah6sM/RAf5RcYpTv2kwlFYT9Ryi9cDM4ZrhGI+k7xngacaRjffjECsjEKojTqrBGPxFN16rDRnQa9kGi7Y635llfRAyaHflUp9W+IE/1oorZ+URkvSbTbrXQzXKErm0vsXBi1RETM8uNtM1Obrv4ZnnEZHl9l+zoNzg9NMn8jcphVYcWWzPVm8EmdkvznR9mq7wXONcXkM3b2b+pqhmJWcMOHFjQn5KgjB1HNykzcDFYYLEZfygu+++vmDH+4ghQYyEXNBPg3AbH7Y73O3kynlQQzj+RH0Q2AvfJHQ0ogf05c+QIbc0NZXB12jfEapR2oyiMSCmiuRSauE5uzD02QQgD4q8mwMqykGZabLRPq3LUJqqLKRslsOQG1LzVR/cl+JmNXStIRbaGcm0e4KMdchjm9RqlXrDHjOJEqixXd20u9TrwQ9McH0fU4n/oUsR5Ql8ecy6tQ92K/rQIjWNr8QTde8fCK9Y78WkkkgIG201eTAJvoUa0JZYQA6vFBoea4par2mw7l53TJvq6QBOih41BLx7d8EgyL64iB21ySlipCMgxF4UBuUJg3K7qrTKEF0w5FW5zjmJcywi/eql6UL/fRzR/WnL6F1EdIxJbPhhUckDLnABQnAN3/MFCdomnZIApuM5kOzdvZUZqlN5pYopbA/G+AyBNxuMKNQ1ZHDS2XC5huvLU/CgP+vzy1+OoiqQ25QYoGlAqs2R7yp/1eEG8cMwWBzR3xtRHioygmE8soRJQY7O0SQ1/xHMsDWqH8prf+RsaRofiteHBnNym778QhKs/FFLJZxIlZu9qY3X6vmExTEAXmievN+3voj7BVVDhmFHpSoFNTzZ3J/mk/4UgoVvarE9KHomlxRky4PU4JBYwWgU76aTUPHpOJqnJXdrmJWHNMo0fhWIZhvbI1En1+Dy9Xng8atvl4cXdxAnzwmX0k8JdCkY2RbneiHOGH5O6LAHd1XQG2nscn0+b+ziAjxiUFxlhreZMl4AuB4QRafysXqxUisEx2D1BCx/QoW+uGaz5YnkOORgcITL2SidlxMYj/bcm6qHROfHaMG1IYW2OjTHl4A+mg77DL40FdalKGmbf6adSWV0v8eS/jtvfKIUq/Jbd79GbZVXiYAj0GBoVi2/7TZhETULJ0tEmrsIpI5tanlmiWyffPlKRbiuOPG/GhlZ/hbIbis5f8m+hZsLCXdmfpkZo4soZ7uLl4IWtNZebrtf0KHUT5P6qnHqRVj6yfAKhfkmWiVpt/df6HcqMEYL8xm+R/I4XV3ITYMU58keMDJrzCbhapb3dmvBOxmx5dKaMF7GjzL3Dhb7xGpiCsuwNA5exk08cMeI9XPgBOYGrlu/3i2bUjLtQsAuQ+Jk7v53MHZYjqjaWWDRSjEddV6ABk2uDqoLSUGtMJRnJVZvUtMYoYQBHwbeW1yxr4unIEzv32EGGYOFuqk62Iv18nHUofZ/pNRal5+GG9b68T/CBnz/WmZkj06podOPDPaO1UQdaxL94iY+uKG+nVFckbd4PuRwPR5pcQciSu+IgXQXNh4pNcwxzQ6l5oju+PE5QVJY6LWgt7l+HpIv+nn9bNZRAsK6ze4YEQNAFNJUvFUN4WfTWNaomV8a9LRoFswVaoELHL5TBMqhTwBIbUnbPeEnXmef5D/zXoiOHhP7HqfcJCjW7Z89BMFD+bGT7aOusgycBGdDTmSb6oOOe7ibR449TeL2WqYofNj70dLtr04HZ534rPdxHxr9EHZJHyUONei6xyX7W+762OEYRsS0CFKqpu6rBfYhqVQBGoACaGYsVe1VyzQmiHwVJMbV6FqycBVa0RL5JIemQuotPtirEXn45ychAUcBn4ff04P643esNXOXxQ5ztzpEMBuUmdZbpr651kro8tMw96BJBP12Iv8tgVCeRZ8lB9WaX8vlK7Csu+to303R4RTxvMibvriwIGD7FKfPUUdHyxrHXjk8FTCPx6boohW3rLnzruxzZaPPjybs1EDuXsJ2RXwaZLBLiFhfy6FL7mRZZunbCYlqF1varErpuETgTzgUT1nPq9F9JP57SdcTlsp+p+SEfGmSVF98rRw4ITf2lw6kXwiVBCqT5DageN/OXSAQbtkNAqE5fYel7JEukeVGfxf0gKgNiONQgCyEAWdzzdXq4qg2zDv3reX8kNQHod6hEPmSyKqznvSNRY90fo0vzwcOxlOc9rv902x7+42RHhUtu5udAQrBjxY1PxTV61MBZT/YB83OxfVyw6sSfilC2pQTkqBlRjFRTr0tASOxzmzY+CTvX2YTXpAAGa9UEETbBgDwTTZD1en6v11UCv18WpYMyR87+9G/YYLbo6y608deI+2/eCqZFtnnUXudw40TMkBASh/B9IorL86wGgZp5KyK9XL1HTebjk1waKFgVQ5YzrrL9GkPrm0OtTqbo7es3m/LUKu/AMN9627YGFhTuyr6TVXdDFa/ngh1J+mLLdlAJg5hDpT0Di70cECNUSP5GNTnDru5br7vXlV9ZPATgbtSa+Us+kD6DzdqxvuAFBmX5WRLtwIaX5WgXUym9NSKdhdy2/zXk0x19/5sEm9n5uKFM/uXcdvSo9FafXQFyKK5sQvz+ocaK4nAtL9cvEN3/n689AivlSX57dyblVdu9wyCzeRmGXAENlZS5FXUqU3gkqPi/yAhxtE8sXAflAbsjOi4//xsCt6fZ3RE9Dt6YZNVgoA5JSfT097+VtpNBSX6ivDrIgciKBNn8kBIJ6WKgdPJ1ic2W4SmPrPwiDi80AKDEup4cdgKPG89zbynwPPtRh9v3GVwWroG1hSmx2gLg5qK1luFBIY6C1BeUFyAZbRQI0dmKeyAUYB2odS49MgF0XME743pa09CEhKM+5XyazC1x1Sq5pVzXNdjBZN8o+PoVlPgr36sNuAVDWY6SCgWHdpxomIxq3yt+kTzO8xTpLeBRVQA9sHCMlHHff0fsgzZonGYKRIfguQD+28CQumnoDQBPeXA5/JnS06jAEMwKRe82L97NGL7RmG/CYpGOIiVFjRgB0am6RVGT/bP/eYFe5K59WjgwitbQnqkx5x06czRb31wiUkQQGcl27PcD42f4FpTez0vRXZ29nQSbJ8oq06yTOP9paUp5K6Dlew6HrPzOClmjkSesnLQv0E4//SHZMrYuuVz6BmoqWZ3LentO8OSC6jrmOOebLMH0RJ2JUseglz4d+OzaUjywhSOBsgPalc//txgkbnJFktOjjcArdevWVqgiBHcKdM37KXhdUe2O8Nt5reuD/wo/mzlcKLz+GcJW7H74IaGKqLL67oFJnJuOrjohiOHGcr/7pf5kYnjgcdvY+CpuEfiGwaYGI39zWNkyEXC93hS6Y4AYQTx7FBIBmI4DWdAF13JQlNeFClJRdJWoPWeEyCGIjJp8e2McEXGSEXRQpRDnUckhjQGwf3o3EvgtKkVjYG7nYyMtTmsumlZMi8MCLnstQ8yRztX78HijoC5Ton7j+8Rj1pp0uH7CqkfbBeUlMpQkHyypytF3WaQl9Zolz4gldD8WeRNgQx2xNsJfkk6Jh3oSoBuNYLmrI0sRxlC/1dlBt5/bCOFPXDi5B4wU5NkiEsVpyeoKBsLCDfbXf53hq+26Hgp9YSuoFEEc8yTjmYpUGlvRWGSc7Pn4PiFqSLxKV1BKlcK5DqcWj9mHoWFzlJ+E9bxDb2FjiCl+OF8bRB9NMFP5Cg2MbypEAqTo2+DUKhYZr+aTpQ3LrrbIM2ggANdv5eEVVoqICG2ClkUt5NlRiYJ/IkfMSYzKo2//WWWe2OahY6YZVbpK70gsyy1pXT8s5SdMehlchMjzh2rWGSoz81KXLGZTGwiXFK/4m5fBazYptxHmV84YsIgk2mIJNbFbFRjttUi8czibFksDP9Zg6XnjOlEEs6VeuykRoxhlr17bT/1JYm82mo357DSyi0qoXTtxWF8fVyw5RMz+1rvY4fSV6vn6KaO6cNv63C2MpvaTLdyuLhBu9shPZ5bQMytasM/MGsBMGJeUrAq1wkvdu/SFLzRIqFReYG7p49CVTiXGEs0VVTuO+5Jmn1eJRM4DfvxlGtaZdBkPmpgGPBR4CuNlfLLxl7FQ52Daz5kh5ngoGsH8k9MLO/6H2WNYk/Vi3iNIj+9F+yp0jAhwdK7dylbzPx+I01rgEN/k8t4f2tF7CV5tQtHDPxg3+PoQ/XNaYO2b2XdrqW2BoJ3gntKxvSxctlN3BXFWfsM4FcsamvzRhXkq50a8JB/4zWE53ejXbwrafCd4nlXRky6xJwRZ+7M6wEk+sZvULcC0bKmVUv1WgQI4gUWnCDFHkYtjwR/T5CErJB1yqlMZADprz+9+mv8CuMZhS4GIKJEPZ4uIxiYbBLPZQocqmqxhbZpbdL26J6V8Kp52IMAO7TXdz9KGo1s2ZPfiWwp9hZUPwupqcGHSz6VGseoB7UXcPemaqnQJFv1UKiURKJbcNp3wSf4pVGtIQnyEn67KpW1KE0RoFzYiYX9fOM7ZDEC7BVoMpVhApDXZcBiTvGRtYnoL5+8sQALeTAGS8OI/Amos3n0KPfotfAjjq0oX4HmkkOncxcyTDYixRsplFITHnRWuWM1IlVX6LUPLge5AOZ3K+fFmS5L7gk6frE++dqkeAv5j/UVkxUFZtUSoTMTLxhQEfyL69zbDvT7YuvkSlhob5BoVDLuD3dwgUCQnts3V1b05Y1sVsd5/yYK3UzqUlFN0DhcyWlMZEGtSiv8Q/Wd/OFntr5Q/mFPOm2gTHm18yVhqM6qeZKdkHyJoVtynNm++xQCvez2fZbEoCCa4XE9tUEcV9u7cbqz6XZYhYbxwhKGOjiaaw8MP0ufPjKydU/LtWu8e4oa6ABHoLyun8uSOFz9tUWf66v+a1CXHxQtYI3Ut90ZB6AL+FlcA03ipw68zKGb/reLj4BHIo6gp9wW5nrXWJi7xPZrS1lUUzdbLli9C7SJJfVaPAMSdoyylvWZwALkF3PK2oveVLGieMGf7yFmcK4LbCqU1Y2AHZjR4FcqFzQ3fFpnxZrfe1T5376pfbhTxSvAhBwV5HMVscw45C2BBKpsTkjtTKrhQujNrLkffmrfjiDNXVeXIdYlzROhnMXjnZy4ufkphhM2W/rO6g9aywibewOhU2tQtnV37AIRbRAj5pScf3bcdx19L7vQyARUMwR5KXd60IOJ7NIuhnDJDKkG3o6q1tSVXO3XyLzUHGCdw94mkydVgf6nyGJrng/noIwQ8VpMihyWOxgiWHHq1F+KuYeYnlLkG5WqnGT/anoFy9Rm+zg5OF8MWmzwn3dtt+lYHzztJ7p439/bqSR3G1iiOAohokL/26gmQy+AdDuNbJyN0vZJ5t+vXil/GBloqeAVPg3rEWBTFnicIK+EnImiUi5Q/9BlveFJ7kxXEsAs2RKoLdLU2sh/p0+3iPtICOKd+W93q5q+RThYgyMqBfIr63iZli9rG7tXyYPXjxpkhK0vsCrdl/jOQ96oaqA9IFXtu8m/p9Sx03qvThxSnW8YgkEt7a3Z9qMmM7GtaHcq5rpyJkt6CXrUTxmtl8RNEXM4uj+/H3YnkxpBLLFnYFtnx/qW0rw/07fqbHF0Btqhcoz2Ktnaw5SvXDkmwTNzKZLKItf+lDYqAxtaL+3t3qtByb5rIYOs4ubNI7D524zEC5iBvFDDa5Jq7kgRRp1DTB2e3Xtu14XwZmoN7bR+I4Wqb9/mMSqnf2bWzJ5zwpRQD8VPkGaTrJXWVI45gWsKoJkcFtNpJt+Bcwlu/LEZkbVGqcNTS0A8/KgZ8XSAbKhsmuKW0r5vzhqDwQDAjiLHU0eUgIAQHQhFoKN/Bigncw5p6KZ/kO4JsILOMFUDqF0t6PhQ9uW9KWjJs2SQe0pOclpNRmxgvsT7uZ1HRmIw8/FvbiFk6fulp08gySn74TFXwYMZKcwr2KZ9dUhfiMN4gLTtOrtFf+7XgMbab5+cgFE16SGQOAsXywf5Ygv/3lF/vw9uV3qcKCWrbt0IuawEJhiykJV2fRuiEZ8pcrwHG73MRKRrA/GzDk0cv9I1P9/OeuVmWFGiaTjKhrKduTpPTll7KM8N8DtnvLbd+idGeKIpdnTMjxwS5iM90JJktmOhq9c1uyS1E5OmbCypwje97YMmEF6ZUGJcwbgZXotJq+4IWcFbxpKveLE+3ltlNmjgYhclOGvCibogwcw09xoZYcIeVXNB9cj5MkeUgpXOp+MXikuGOGP6BalJmr4KLWxs6Y6VyxnGoSW9Omq7wiutE6+PUrWBJt7bGjrWMWFt1OmDxSCsYEmcQPMH61+ofWzUQYrhRmVx03QfJZ7Bl8LYBEsdypVo4TunLkIuqciQQZJsAveT7de4CpB2dsmA33+qhCOByXZQa6ksSrQCxR5YSu3edIHcKkRyHDycrsLs6YSjiaKskws8iPVN15AGKyjtqz6RySsr8IJLFIlXqCJ1Mn0v2583aIDGwihL6BjHEoVlJd1mMqBE+oiNw5iNqvFnXrJzYre7szbcfy4JZStrvK0TGdSBKZJmxRUZtNElIp3Uu5hzn8RBX/mumvuiXjU/vtJ4KquIav1jMUiHu6c5K0v6qtuLAep/ZutfvFsozykyZjDcVAyV3f+tNyAcgPfMIN0dMKR9E37JMxIBkXCXe6f03n53Gzf1ZEOuxTtqODIjirmYqAVechHsZOGAySCtOOiUFAqFNpm214s7DHEkF2NXoYEdBhPfV/HcFk6/gkgPlHZmY+1IjRpZj/1Oc91iWd+rdM+dlRkozFgizDRAvC0GpGHFU/W/KhUYZnwxfmRuL1BlL6XTlPM9CKzlLtnDN5Dod10r5lNrwPGm+caoAb0Kg98kaFhzxKm1JRCt6+r6KluQq9ae1NnmSngaWh1v2asKrjUU6EIMU7C9vERGG4CDiLjHsSOJN0luTsLLixOVg+fR0TAFuvzZAKzRjWNf/qC7RkcfWdylD4wu5ap8WUis1DrnwtxzxAgvG5Y9tqu/8yj3jN+EvDBxrd8Bv5W5T1lEmfiZp/HcD/cQT+rBz1Jyc8BNsVx/pTTS77RKCXwJEIhdf22EPNwrDPYB1nTCLzg+5d+FaxZyMfM8v5p7LVRARc+OyngctmWtaajla+WUcn9sXu6G+ybMziyn0D05NUxgq8YMNA1Trwm64JM3Vbpi+q21xRXZ9PF8t3eTiI0Em5uygDRsO8tOxAvCRZjUGD7fjb71NrokjBghD50PqHIfNDk28iwUNLe6W0YiFAe0tB4dukjN3YArYhRcQ6TCl6qwrdB2j3n1InWLIFKZVktcbXatryDEQgwZJFDirIH5/V2rxd5p3dPefpCH159v0NPpAMQKNuPaG9Lyx99ruiA+rQmnt9fLiJCqRS9jTf6jVdIOPSbI2znkvyMoCFWGxsP3jM776rGJ/L5q9DL8C6ixFg6TzNLTUjtjwsJfnoZ2e2fRDHAm42fnhqZJ2gcbVVrDYNo7vmg/5+9DoOAtiqOwDPYZdaDhzj30AH3O8tZJO4ceN4FgbHaLApbpyEolwXTvqsW2FRa6Ku0ac33Df5788qhPWehe20E3Z+CsyNy9gIKkwggEtD8oBMrOxsjiqhcvBmf+mdqnva8E06aPyttKz1AgYDpr2NXavurtYZ9VyMiILUJv5z9gLfClBE6WVI/8bAFO8mdjE0OMyVIJ5r+nCKXsV0thrG99Kf0qp0IQSctuLd8M1W9EcdGFJDuNKXb+l7nC+a7C0TQzk2RtPN/rJss8GW3vovU4DU6kl7IMRVQYUQzXZoGsVM6I5aaGXNJGbRAKYN9TKRm7qZNC4/naPGTFZywA+p7xuSIi7/d6GVdmhBBbRMNLZkBuLj8b6ve/T1TirqF0E2fXvDAQ8xzqlDeAsIgXYUYewEHycj2/23vyw1u7wye75k5Q+HIyHB5hcGQxMJL8je9bKDs27fqUiUIsOzDmEHH5m2+9gur7LjJKt7t0ThfFri3+xc7kXW+BX0pha85+bdYxhy3oCrbF0NwjTSopQtcxpOgeOXdCYPKLOgdBvuK6+3IUWVdu219I1OVGjsk7RfrPTMRn6XBRL6F2zLr8dHc1adMePhIY+Zu2ivbTTdOumKTsyooZjpAYVrSg4VbRuEChdtZoEPjzrtCS3Rz/NdP2A9OC3jt2g2rH/jktv+0hJUQ7Nb+XGMPmJ+wdzeoH+sbRefLCKojZuNgtXf84UrifhRkBIblqOg28zMiPpEYHQiKpExvuO5lsLQZyKrC4S1bOXPpWSyuwcLylCTwqQvCMBW+so7/qgtWScq5nfdyLWPdemsc7ENRCys6LtD4hLqFSqwe5TdVU1ZawJDIf75I595XrnbqgmVGViqbSH1jYfb62bucIOMLBpN5Jg4Zg5YLFmm6LoZDsGaKRP3UqjOpdzoQxZsd44JPcAsPqBt/JUlQRFhuXPEJF/zVcH3sqoouAZApa1/YuB9wpEMpyCxwAp5srtLhBDoYzkZbzkWRyhSmSAgWmDJeKBsBnLszBjpto/8yeL6g+uAvppItwiwD4Bh2Me9ZH9zLrTZI639xKgdXG8kk3RRUXhNftm3LeBVkS0yGXHFc7yUSmorgQPLcyf2PsoXqK0I3E1VqB01lifDInBYCOzHzYrQAVStprRO4xNFZH9EyycQGMTjVQebAtftjgd3ZR/gWg+KXmBHE+scNnNW/c7BpnCd7hPRLF0sJqPcoLOom2byDoNF1ZANaxzUGB/eSd9qSqLbUr9QmsfOiI3UTkDd0hpthWJjhV/BamRM7bRzBrdYWDh78TQKLj983SgLJrS7TXLnWJPzMMYgbuf4CEw9PfsifL/W7dkGkNguCqtVehb86XFCan2Bs9v61mxb/A/yUglZfFZcDxSdwP+sgAw46CcLIX0vRwCE7HA1a5mnXrDV0jwPBMGyOrWAP9/zSp50uD8U9lpF5FbBGGf5cgRkrI/pW7wAeYSbRT5deLMEsPoecZ47R7PXiXRelupB4F5g7kgwgiPdboI4XMFgInuYs3uHUrFsFwH6wygUNwz8hJBXDrCV2yyKIypOqJihVF9s3J73G53Oncm9eXJAY1CCy34cqupbHb8cFcn+CbZGry2nOUn+k0o2qQBRcrJaRO23flEuka/veVaxyPOhtcznHfRB+HCToWGEwHSzE4LBBYxkIhQCwNKXK7Nfz47D5e2ldjk3RF8Cy7KJU1FClF3jmGcMOlNBJt2LruApL7eU4xY65kI+E3q2O44v+NMt3gUZSTYRaVnJlVIHkLmz4P2p25x6GAznIXc3a2tUZQSpFAgU55AVouvZmLk0rciLiv4gvnXDof5VEsU4WBYfKxvshmJ9+E8gBwFZX8RiHu3TEy7mwaPk82JAHd0dcp2E9G95XaPzKAXIbbz+NneEEebtEDTXZq72ZwGkQbA2Gj3mMCmFpv5uXXQ25vtcFXgm7QaeGmzPubzBzn4uFp3iEIXwsXIitlbM2nANzt4mi8FIno8I7V29v/O46eQM/X0j3abyY22zAXKLyhzVpl06cjs6cwHr9JWNaWTzMsllkbSAbS/ANhpFIIvDy65FbXZZLw2o9WbzPVyhteNEOQ18wz99a+RO3CJOHJvPH4mRGd3kivTRTCwEF/MkfmDumzCbseyQLBstgCMUbDGyhrwS7VCIASjE5qSafKDl9Cb04aTZLYn8Pvpt56e/+PgLkhlkLa5HiCKHlNlhmcxJjQWyfiEd3kyuzoDeZ5Z1Q6YIBSVtQb/N1qLhLOLzaU5F8+rglVfqbQYIxIaxSDioHJ8lxG1ff5VNhaNc8HGq7Nlr9mv9yscJBktkG2COFU+BYjGmwABHgQIzOPkQMoJps6owRU2AwQr6XVx2vP1gObkX71W+rDVG1z81V3cK3iHW2OsPKAZoES64Pa9oQ5g+p+miCJazEH1gIEgWqJWxKcqexHGLMcuQUIu75u12meTeiipGLY0n6JlFpDPdC3weDezAstpvYjCyz72ORt2RgrXXMz6PN1BLgzboJf2OtPt9hkuyFwM2KovfolqCSs4fTxWODLYDXpYSwOJpcQZRB0onAfz65oaylL7aLwkHI7X9C8Oblstjiw1ngD0KcCt6UcW6VtUVV2oh6n8QocB/pd5mm/axoKMXkrSJ6hGVgPPYJjWCkoO/oukY49vffgELEXvu3Lk4vnFjgYQHXm7XItAwqObexfOln1MFZafzwYZ7HaPTJDNFSBhZMTaYhlJpFshh490+rAR8f4oJPle7BsBt9rzdETGTv4U2yoGNTbsi9GvVglJn0hbmdhyFrApciaAnW7XsM0jajHk4bLOB3Zbxl/XtWnEf4gpGtG169oKS+sHgFTt7hzZ7dlp0Q1WlkSPkjr/KqLgHw+yexXrVByOgSpOq20VZiAg0ndY0bytArCzpppQtDsUqYPbTLluXISs6bXG2Zd6zHIr9TGXBbIOmQ6Lc72wYl+Xg5+CTvlzutrELReSlcwalPfBtK8UgBmDHoCOIombRixZ65aHgekeuuvpTAtZunkwCJNN9WTt/SoqLkGTMx6sTacUx6HVzxCZz2S5txBdeUKs426LYXMGaR4ZVFvZL2zyXsTm6X4xo8/5nz+rYTB6Z0GWO7wH8NMjfwXZECR9pbRBXb5vDsRUodFp8VXyAY5I7Ypytfl7gZ7kdoosHspf6g/ouqBeYoBSXuEwgpOV5S7qiEMOfsWULHSPjxLVsu3MdnTSLZ8QcYaIA6NNQ6s0j28ck+b6Ob+NZFI6iYrwtQVb2X5wXxz3rBBA2dtuQXiqywINaraXQIW5eZCkiFjIvDRKZV8AJb2dEMi4mm1MmBwFgkU1JgoGiI/lzGUNnAwOYtm7k5MaLRozLpciN1KBVQd+8VWR9lRjhUpUGrNO8ClHASvAzckiRxpU1fmY7nl88Ybc2wd4gzOto5g4aWaFard+gS+o2n0EvqTn9W94MVsRatudBDBySUjL7SJgyf0Oj1ON/OvLQj6dp7UNnDIzw+hHDHXLWdU0ETt4FmnK59OJy39k9PwXUVPCFX8hCQJpKK3Sf/CdcHPVUF8lLZiz/usDBr8EWZLX6HaJ5JL4r6gyTt1Wdau74Qwpd/6mMpfMIsB/5J+hw/uaeE/nObAlgVDsUa/z4NZZ6q7epgYsK4cuWsoO8Nq1gLHeSRTo+3M0rhHNmD/cscjWpFcig+FxgIH9upcHz9FddOP9JtgAnPPETO9Du854PLTbZZFVkOp0W45WRJ3qwHvY33kJQfYmm7fHHl93zDTCYQKSb43QJtzOMxmX7OoJPMF7RJattnMeMybFzJobbKYUZpC6Jmrxs7hQbTHSv37gzhVHPy6O1mXi/h23Gld7oIUzuGzeWboS2s964Odim84/PzonVb4ywn0HYkCMkQi7ora2h5UuU9p19Q5y5wnEfXBGFz0PiOyG0KjSaWBogRAoGhJSHcAaqJayRRBvBO31lRTZDOolMvXqdiqG4ZIfWHUJMzIYzm2+GVwnNmCruE7t1mqJ7uiXPFTHsAbmiDT4PwTO94s5BWYM1FyjSFzbTe47eoPr/nuxilyQ0l3loIVdw87zo7AFbhkPZhuP5z4TtNhZ/fG3af/nde0Z2AHbEfxIijmfIUGSZR3f6hS1UxpzQJKVQcYBztIUe4Tlx32sgfzt0KiZrVvVAEzwP/A3DW/k2FS2oHfnMWtYpN+JTBNhgV11e88YFj5S/bFlCpcJAFXSDyi/YdYBReFnFhAxmtUSOjeEqPq8jALtCRZZPB5UiVRDzz31MjLQ4biQo/lJIw0dfdU2wiotf3Oy3dIJLBzPHhehr5oOhBSM/m6zl9fCr4JTAxnDHV8hnfNu9Mf5cJy7cckNTvm/aLLRakC8pPEz4PDg+CcQ2K6ByAUkGsmW0Z7hjugN16JkSzMY0FPlySSsWXSIV3bvkfyPP+AzRQdmmCst8bi9xZDEm/CDUuiPAwUQ6uC/WgJa0CJFo3w1eEMTYNcnLbnE0KlQsKfPE8WVI3Wv0w7rWtVAY02VUgQto5Meg5U59n4s5924ZlHr1NFiABh2IUQ/qwlwWQ+hxQMS2j7cv8U4xMr22vUk3Xujjmjo1xmBavCjAMTWhz37oE6SbrSD9Jh2/UOb3zy0z61Ga/Tnsezy/jXhUXJaGzlFvUaRoy30fTWDUZsTREi8Lgab4445mfM31BpKl36wnfpNfT4jNDTyXgH+rp0ZYqY4GY0YWUXswo1TVIv/jLXaovBdoKxhnhxUy+eSacgLWk5q0kp0Cq+XmrkGbr84OO+yT9UEMwnu+ZBJv0DD9OytdOeEHsfvDolb8NjDlZVf1solvNDs4HPlDFm2Ypc+DF2f2CBCuvh5bQUsXsrcshovc0v1nSTH1lK19XG0W5pFPOz8rcjicOTkCkRlcn4BGoW3AQCHU0JQjEeGnL3/KO85N2lMYx+xUkJYEfSp3SdRsir/rXvvwEp1fuY6aImcnFt4ffkRhHpm02YifOneOF4xI6Wjn6sVGxxEhz70wIrkSVaLm6KV/4WlnstTOrBvW2PM6CcWrlUtovGvGi4PXaKR+PyoMoXdaWFHE7eRrp+h6onYsgSCbI0Kz2O3L2pAw+RolEdFxwLX7m0PfO+rfOHLn/iSwIbZdoXzcrzhKFbVrS4mSBDZfDXuecDfCQduLfyd6d0y2QKqgM5fV+6fpz0AM00iZhiaPL5nm3iD1v5/g6W1AbhEnDN4HcioAZwL8l9PebgZNzkL8NV3wiP3XpbrcpW45M2Itu5DnM0zTPg6aiV1iXuznQieOxyPMdoWt2rD4qiBzuq+HRXmDLn+7VOGYNegr0i20/3dlDs0ioiPBffE4mH0ZXyq+VzK52mqDfiZYHprDlHKExOPs3YsdZYPqqxN5d3TrCMWJnk22cXECJnVHnvsHAsYfQ3JxKfIiMiL3vFWCUKkvG14SC80YmWpO+3iFYCsEHAdYxs+8oAUVKqCPfWBXhow7xo9YUB6F87aBgS5curJTaFoGZlq4ZlIX328O8nDEDvpq7NsPBRdaw7sn/pqwtghuDusUF1TKZ9SAYQM6JMIwpHOXO6wcLZBzRgbBeXp0k9ttNbIMOacfbdi4ldC58rEUsF4BsvCZtev76o7gEPCRPO/1MBKaiPixfkUPL3hvn4VAjAhBzg1ZblliTf9dw0CPGkiopAxxI6AeIfDo5Y4HhvywaPCr6M1CZ7NbJvJM8L7afxh4A3EDAlQM0HONz//EcyxLua+25qxU1mc2EydINuOjH3a+uh7MkjS8fRCvhqVYP8FlFTD7AWXQxIxlYUTPfBcWQ7lMIrtIFN2F2Mxfd8eY6YxkOiXXAXfoSCBVhtwJYzskJY515PPx4fd0AQEa1vADTjGXDVT92gbXkFDU5mYjDNhI03IoKji7D6VGOIGf/gT50fAdW0uMjEudZ7XQzQYCtWYVlMdUNrR0CEAdb5fNUq+dQd7n8CZwOyqnBbMS0MSdTk72RcgRfVjb6k9QDGIO/syAxcfdaJ9c3DwD6puCXlc0M1oS9MRWcSIBDCNTxiFyLAAL4rIW+DDWKtIeFFamrV5HKxmSfhFBBODcyVnOHz7IOI3MYE4oG145wMiaqum/9v8Ue+2QeWMjL0QyAbv8E9fOKF1wJBpa37cP8rYUkDqikmTs+a1gjs//wSqyND5HWo8NsNXs3RPi+j7Km85eStyxe/zoAdkYeaYGB/jgYPG7ZS6T0fNY9b4MUQrFIFxvHrPLRophXJULnGCmpBPbcVjfcseTS8Qd8XFyNFmDfnS2GNRHgoQNm8kO2maqAHnoDFLBXpFemdgz6DRK1xpNKUDNLAxAlMIIRQRg7gDq24PcArpC7G8jG8axEqYMVtld92r7rzgQ3YMyU/WPLuov/OyPtpOLtifwuODzRLPfjYPegcTupMFt4KCfgwY6jR2KWMXfN9os0RRug4ZCHq5mEpzFPVWAeP9CWlbcLiSNg5az1zEBmjkJZscn7uvWQiRXt9WlqsPq0e3W1xXiii+8YqVRd0hlUiLWFYHhgFd3lvwLVdONos4SioPH0f482DR9B9pOgqmhrhsBMGpm435FtZ9axE7axvIMXtG33wKvmCfSe8zGnHSKskRujU8WWq0EwgtwSVqSX0wdI5IxEgWqWBV2lh4aMFWqrZEHIAVXrCQ85EnIeb0aUQIW0A+djY/VYYtY8JQqkkF4TUIb56G9sixhwXue8IBWf1Tk2YobsUlA1/yYLAtFdDuCKl6984w2pklvCF8hc1qKbHBEtrl9Un1gy2uUzMpQJa9jdzWAvCzYXmQBYl/M6IX7VyEczlWXoqGdo0tibYAZhgtsyy6k2pgo551+IaAjlx7HLKbu5vamKC37bZnZfEhb2QiVW/cenjP2xLCe7L3OgP6+wg2G3ovnvYHzIBQ2mNMdG2G0z3soBB8zosfUNGUPQrwvpnBbldDnGT7AoGNe/s/bIFieHOvqxOXQoF0BvVlEK2vjAuGa7hf9nxd7ISzR5XzjwJSMhEtU1366ZRDs6c6D1cHwCfgYM31p8gSPk3yOhVW763vaMtfiVI9/WRoYhKiPiIQu/1GaqQosvNSB2LTJOiPq+DHStStAaKujNQoN3IpifHEDKAWUmxjIGwPgeDvKpECUs1xnLW4kkFsZog9ZeWOdRVWEv62qhb7/YemXfU62Qw++wU3S38+CKi11nd1AhNcsyJpymOJCJdoKlPI7xQTjeEFy0MdYa3QuV6JH4N9eYlvyy1W9m6yOOE0M3yWA+dFRw+zp1OMXoYElsaMcTs0yQOWGwbFMnNhmzjBXWfAcKvvb9VJ0QIRyxaRgX1GyLo6kUOo0uOhCA6UUcpYL0uo7XWQvb7eNZCQHGjn5IFyjze0lcSpOQaMTSw5rNKXatw5fJTLcAEBWm5TquTYqdwyUwdLX/+mkL4XYEHIwPftur5Vv9ZL2vROmBso4ttn/apfJL+ieJe0BajzAaJJIxFIL9Pw2fk64Rl/Maess5AepxpNRGJ1VeH3HDrArTZH3MSv+jrAlN5s84+NxfRP9RwwCB2WUD4XeN0nVDtsOWbwMSfbbrBf024n0++aRQ3nYQKWQXNPActCR5g4xTmF39SR5R+gF9fIlg/Y6u8kXbGv5/6DSh98KzAmisSuRgyqQA5WRgb12XEQzzfr9J0keyg8OwpDSF0PFfv9/OpHnhPs0d1J/Pjwvq4ovOxYBzRv0FLgwqyk47kNU0sAeO48mZXxt6U9uTg+oHLEsDEIwOn+4PG0LbTKQDdsx/I32pco7Lv6FlERjT5le/zHTdWNxpbfC+B9RqdRb3xYkBnSmnNmUdnzgN5SmGinUhs1B2HLbHae/KRHv7kcsmug6uegR575iGNEpYquqHLaeUz3OdVbTBxV0Nx5f8KWW909fgHsbaJHCVNsLQV3UwfOW8mZqT4soe1puRfRlzBQhjryfD6s2AzAZPRPbIVClTbStqdnXp1toQdeKb35Ha1lPMchyjpVGJq1DhKMEAcsISjTXayt0/tbVAqrjLagrBH0ZeuMQvKui6hLHt1DUSdTyVNN0oSnOdByt3DtlsjDEF0Sgi2QV9jsx4M7iUg7QR3SV/st03QjL8K86KAbbkUIl2yIOmfOPYyjSLFOhhoDU/3TnzER6E0aaHusHqLEYyh37Bb6q21Pt2cXgeBshBWmYBP4eQ7k7de6JEIUFoi6leB9SVzLSy/eXWS5yoCnxzcKHRI4UXvxzTSyiuPQVQlWFZaIcZy3AqnJPApu4JIe4IQQu2skCRQGEhuQsJqyTAQBYaNvgh9fTfBirekygaSYybiPrhrWZ59HCvt/6q5cllQ5G7hXn548lkdIY6Sw3D6+xTkMlK2PoqU9HFEheDlGr8a8zEuWiva24OInwWylEbDbgCTlZcSpuF27S6/K78f00okLI9k7/Otzs8DlKjcy1IOQpkFFOfQCLIe+Ef4g5Wht25Zx7lCvfekPbwDpQqStyQDUhHFrL+RVsBBt7ur4SOCLQ/O5xVTmh56l7iPVuyUzVy5AEPtsg0tdTMleXzH2yXXvIbLDDD2bj4q+HTEQy9dkFf5MDfUk+lmbFbc7vm8YmfadoFUTZokBet+9Iw1OdcN51fpcIKXmLsRDmQ6XtLZi/Xa4q/iTxEG5OFwOILfEU55cYVrUIZDG7OK8JoZO91Lr+xc4PwubqJKbAc5ftHJiVttqVD96QEjuRM+t4y7B6vVPZ1xHKaTIE3w8kFwA22Kr1Kv+ivokHHm0TjL5+tooLYMK+lnIXbQ3d8imraPTVNRuVhrscTBRTzBNIkVQxXyJX1uqIQisr1zpFvuxwP4k4HXjwkhwAzSaHgls2xm/amMe6tknXJbaGslnv4HCr/b0wmQ+jQZs40t0zsPaaZyZ2hVXgYN2inUDh8Kb8BMGxnlutep+LmQLpBMB733+fyWVAaKbrvWtQXFSP1TZvyzHHRC4eElv1H+alr4KWfkklhT7wqukn636jWHL4faWJdQj4PMrIVxVIoMek0nG9Mnrc+yEXDCqqlXL3/mh3V6UtMtD6aPRw+ERlz1xEnA7kDWhewq6O60NHblZjBUrEc/fZVprXqavzmQYVUW9g0zzVr785tyPsFLOm5a74NM2RvWlr0o2ZcwEitnpiyKFnUpssLxo+ct0LDMHJMMA4yI6he5AkGSYTa0hsAFYZwevhqceNiFy8cShicUSahvKmEYuNWSbrpqKXSQj821A9RwRDLqjazswrDXH75eOJGBLA/ThK6/7X2PVBsvBfMbmg98JLwpA/Knm3OJTfB8Hvnm/L4gU5RkUWPTiJJRwcO7k82NJgRpUgoJutZp4hYG+Ciy340dxo6xGAt1/j6hJlwsa2LRpAtIrblakvvuxal2YNhGZQcRuKRY3f/cn+vil86rhPEF0SHq7w5bgOUblKSJ+Zjm1g9evSboMpqM+rljb89uZ6iBxSnVh5AMiQhWzzbiJvFtzikRfawlpi92Y/rACi0KrZtdCG/PQTu62fYzF4eHEQ2kXtYizVlUvrZoOhzRDyEoF0uuX7GUseloYQBpzx408sNtUzprorvOxvPytXhbeJKetA1XKzS7VvvkFOc798Fhlj1Bq36VUravsvcGuua4TSyIEBaUko9fSF3FKC1WEDOxdRI57RDUs0oxbECX4Q0tIsXf1+CxuhUxaCUj4mqUN1NuQrJOABTKreoiuWGFAijgqP2giTBX09n/mgqOv4ABaFrPnDGVQX8G+lM6E5ZrTPTLa+vwJmRsAXhV7DjARnp+3TUGOj7Q4sWJP66SNICDJV4IGwDx3Z/A0WwFFFsAKBKerod075YGHBQLcQXrs0u00PNIPPRxvh1OsX9eThHnmz59cg1mkv8VqTQdlif0W6XT8oK1ownOAXsZkaIHZsKVI1L/w3XhTwTdZz6mzJv8BC/b0OuCyhHOrOh8UfEdburXlvgqIG4gBrKTSCg4SXT0pEVif9WLL66fpOVNOpm7lv15OJR1l9yveHJElYwBgxVfRL/oZrjyIWW4u1wCcWvIwaDPNlVHDIH4q62QaLxbrxr28reWrngvZg1Z5ZJ9aY0Eja3LpQNZWuwLXW9RE5hdId24MZYFPoGU4+e6i4mu6AEBnG1W97HEcZzkq4LxeQLMV0elFXIis+DIkM2mtsPNJ2ukaDmisivVyI3eF50say/3p50mqXCIGbypJZkktXA4GVx3x7Lu7/yiWP2TVW9rGqjZW4xnW8qCgdf3N0i3P/j99hCgz1UPntGe4w7bZNo5EVnxLCNlHA3mr7hvGSwyBZGrCYnhmO0WOEkeOXkmcvXGHeYnvXZRVmgoDtx3BIhGcAOdTmqCi5iI1ULQ5n63+LUMONzkRj04RtyLUSwO9StIA7T0acwU2h5SDGH+OnOoiGBk/16SekYdMwOqlEB53P6GnAkxT/GVEZn9evxOVF8zU9BG41iYHzLmXMgOMpNdIfICY3cZocqmHWvexu6SyVTwyY/FEkZi3P+LekvR3lTnrnB5LJ/lxk3PeL7KwHtaFdKtshvh+nEIGKiF55VmEoO36C1yv1DLMR3zWE/lC4Oq7DoGb2TYBTK0rlfzV8roTReunvDQjzitm7Jgz5yUkZQsWiKZkSvChBgkI2jeU9SEX1V2yyg17KSzaeqCUTSktDFSCPpGKhSqFwm3+92bcJKFXnMt4PrJKg+5iOjl3qF6Sd1QwF8N6xZROLLuL/Z63lg0ZPqKj+H83PiLltYqYcvua28Wz6JPWH89d3NgOe4+dhStKr65wGyTaBIcxvhDltORu/r450T5T7/6s1c5qQnAOzwXAxfv66FrINSVJ23JIMC7GAk01k0p3EkjrIZi8MWmo9vagLQ2OZpVHss43cbvVw5qmIZYibzEI2tlGslJTDUB3rkffChWfKeqOvjSPkPXXU/ofbINBxQmoRMJ/8fHbQg8r4CFsn6ssy0HWhmIHizKEhnPRa1lvwmKWVmcQ2V+H5+8M0AZT48ejJ+GNb28SVGaoZY/c9Gb4xZY3S0ooC4ApMjSvHWEH8HenHAuI0DTj+ynAImY6jRRsNwYw/aQDEyjPZuiia0wHjGaVqUZAgbf61NoXdCSQSoKoJsNswAro1ZdWq960w0QTRB6db1G3C9juChBhemg3GrcWMEkSmZNpU5X1bPg5micqCuq3bdF5o9e4TMI0RtJOBK5Jpyi48hnItZXFFsyFc+JrnBcgaPL4pT/pCsTK03Ltvib5060uvxOnXfn2l4cnBpjeDEbtNDCmiyU/lVp5irNZP+2qNLpDynCsUfNvWMmpIKT8E9eyOhPbbXtkMAsULT4PHoAp1Oj9G766iHFIC5B7aN7mHUZdbO9DeAIjBZbIE+C6GYKfYKbtwM6T+rZWTT2gOkBe9MNG73aFHq9epKDiq7utmz4dLVYrq8NhuH8z9GVxsQLAoMe/BwzVs12uY5LiV9O0NXfHcGCO4mniIzQesrUAKdS3L2+/v4/lJc5lX/Zz4Qp85VEreQSLZ6N77SUFJmfS+OLARSiusdUwFSMtFuX3kOOXbP73LuNOeOn3TaeTUEq9S+G/v4tHQJ0uEqi+Rv1UVQdBgylwu0LqQ7B62C9GiMPFfGw4i0QpUGE2fTMVR4/iAf7xMH9E1ZEny6PWwqN3Et9kOlfFRn00NxzPfo+l8RkG0mU8plkGRT/yy9uR7qQc78CgiyF/R6UQ/a6lUIC4CTbfJU1zuu2riVA5jzHnCPJ4zn8zKUee4Hq9sWfK56J2KSI9XouE39Ge2BfddF/tQv1duLNuzPkZt/b67RdSs4PTU9rAT7/YBRIlbtEEG4gMHHjNzt0S7yhl9DK+TDVHG0dstir7VGyYXWDUjZifPIQ2iDQPMyXupyKofVtiCKbgk3kfDcelT6Vfi+QfHqBsV/iO+TL9kw+fPMNLR10SNZtmfukfF8GF8rLivkyDP+VIoeFwhP0aQRveJvMAKCb4U7/hGTzIbyYOShFSl3oavNZweNaedrw+jMzbkli+5irFeWrTJy2n8o+9chhUY8XWXPrwG72Jm+hYSfiGnFeupZe7inftfQLe35JQB8mE5vimw2ktqGXTRl1w6KsQC7iwMtRoDQGFfiffdJzBFewTTsN6bsXI/YWAj0AVFbp2cIFQAgUZ+C/d2tHpjJYCQL6pTOJfMrzMt2JUGey+M6ErQiCUWWXLNai6h8zp1iktzM1c8wbCLrb4RhOPu6d8Cnpy/jdi0gv1n8CnESdHHryHAyyUWxPK1hZ7FovI62ehpxQ0YtF/xv7sfqTmQC7zu9D2b7H8nL3QdwX0JAUouvZpbcl5lXuF8UsznN+yhsSBu1RTXO82HslkV21INIH6Y0wHxqIWq6xWgVqlXFRnZUX6Jr6lIZvA9CSbxKwE4pkavOlvPH/Ef9Kr0OI2b8dDBELGDl5CYNornTRYhGL5zsEqVBDOo1q8e7vX4FYPAZR5wIgSCI3Zuk+w4qS0iBVOcmiuEelC9XktzFzN0YerfTAqb413v5XPiC7U2vAihxMecS0o6UagRq+CP/cP40KJUhtw5PE8zIA0DKLX1yNVZ3rKKa3uTo9SgtG91swdK3Jw2RlL9H5mj2U5kjtvGGScoCspNY9atU4EFE7jqxMSOXEOXQIbgwTpmZkGWXgX1FVJ6HPKs2xhzoTUBDiaQoRo87BzWVL9e9Diu9q+l4hgw+IadSxZ3wwjy7k9HQjrmBVRHFgNNcsspr4QjCtLstyTbV8sekcaIogjp05y+ScTebi2BfjHsJVUgutBGR5u54wNu27ift2vdrbr3aivBlJfKjX4HaQRW+dqtNkW0uLcIRf3Z53yz79zMG/oguc/HbjpQV8UIeitqztlLfSTT2+94uOrzVQZ3xl+q/vFx4FMe2DvHmi8EmbhEis7bRZQ+7QniLYjOGfXZ5az2zaL/2ekCG444bkvvCaC+19f0mQk31uSLL66NxYtHIRhzVCDXlF40TafL6c0p6ZO+K0IzSQJaprcZGfWeW7+A+Of9I9fIvxCHyp6bkubb3RrvIuFEsG1e7HWkklWtGdPLyuLuprjMn6u/QrPtiIuFmSXyThtw2WVjv1KAFXqcAhR2Kmx0VyDX3GuD0IRZknn1ujqeu3AgLk/vOMUtZdPHD+n22Ydtmwi+xChg5GcoPX2fjGWGqZSc2Q/ndL+YZjb2Jy5L+X4oyOjGRs8TdSEWg5h9gxGNbr4wOfshloCnhCSr9eY4x72Og7xwkDYqPnHSlT1An1bqFjonxMRU99Rax9QGrWMuHqLMQIKiEm1aUCNgKdI4maovlX3Gfk5TKgciL+UzKhrqG77b2/Fn+fP22HO8+4E8QP1SV6QlRpoBdjU91eZFVn4+Cqtrk+tZKtN6Xu4mcdy2SQ1P+87PDzPItScleAleW+44vhEsoXMMITbiOn13PN9b79zKHCe47x1eOEOJArsRONfr0WsQfbx+JPHxCi+qOdH7XhPhYAO21sltnf5AZTyAdT/2tmtqBD9ikAilzxHZ5YKAZ04R5UCaTH0a2L4D+qjkfChuB9+1e7nHlbl+f7KSwd/GCUAYFbvGHMTa0coBtF1Y8N2yBcZirzlkx7x5O5GQUTdj8BlUhwJIaz4KKU5Y7UEdVUm7ZRETopArDKSMAFRqx/qmthjY4aIcupInPKJP5zaRL8orwFDKotm9CTo/wmphLn2rCR3OoNcR6hEn8h2T4GNYMDdhNL7mW1RtUvBwK3vikbd8ZqRH/sbB+OzDiJugpl718MNtgNKmIgEAVM1i3TKiqyMnmYmPku6G2Q336MEPD4RIyTB2mZaEDCqmjLFhQvE53CopI4jY83nJucCfVeYLJdVWqgOAGwknpjTmUUnrowkhAjU1uRdYyyp0kZQtkvc+R9oOs+tTum3rzI3TroG52MgoFkCB2IaoVcpYGEmnQHXgqjtQH+ctIa4h2fyq6m6Qf6lsJ4MG4XF+7lXIqNbmztGM1XgsxX7RVWWobxl3JJyx4okmpGrTMhCSTwIQz6uBROcky5c+2+YBYvg5l0MziYU3bGwFE9ujs7SidOlQspkz/qjyJERyit8Bv6vYL7t+jr5mA8lqXdhbiCKv5wdMdbo8CVHx/zIGoKOWzsHigQjEt5ca5+Dv+OWY5YVe4fMuqJLv/ty6O9UhynNsWmz5m93zRbWTMO1TAmLDTs3vaM+/6G6HjqQTbHaQpq3Z6adCxmcydO0y6t3z+YAF3YTcKzMo/Vhp8soa/jpYVz3Ax6NADJLhPHhfQf7VKBvRaIJCWalg1omLAb7yAcza6y0+wzdVvZaxHt59lM2rssyh6XjJf8zuwVHLmSgTglNupRRZJ3JTJWzFNtL5RvRLsbHaVkNcm2QKpg/h35If/KDqX+1VRPBUaH8BhA9WsqwiIO/n0JYjZCaZc+oDUmflh++CbaUDY7wcpdMZjJasrbdsGKtIW1HxExD31d/ZkyloUhvshAV2nT7k7jtmSeO17kU5VJFpjIm7Cgt42B1jFaQYoOIMT8YFS+OrndecAyPmzdWITIkK8X4zdzISYieZKjoM064rAfVkYQOaLcPfqG6Pb3p8bSHijCfUnVcTLBLPMyU+icbjj9D1EnMfNZs6zn0/Sgfb4f+c9JqVUmO+m1tHe3jKyHoNClkhjdTNnKmasSVnasMxlyVxN9ici4e4aFDmL8tgYb4H75OH6BT7170N6ulqlgzGHNh/zW51wRzTLGJh0wndO7Dk8a5GABr1uDStBKhWwP0FPrAbejVdS2cKY88CHgP7LGcrgTEkN5v1rIoqfCMdKEkABoZ61ee34VeKvcgUvEpHLl6Jbkpam6jdlZ/D0knhiAa0aXM13RsdzPwb9qU6VyQ3ObvvDLO6muorQsBUotz/uzKhTj9zgs+OfAD4U0FmDatkZQbADTlt+GkyNppYX+Y+B80iJ3GWGzQ2R3gWJcdErgdVEBSC+id7hmIwNARXt3B4iVpdLc1Qsap5qymG1QCMbzhQHg+pPijgOLiD/G9zItn1D9k8nyzT7zEVJ47FKfSow3tuu32d1aX4xKXfbHJhHQfGqyzhYLSMILx/l2sawa18sH0mvu+ILFr3X5d1MIF5TtD8iszNWYNJqRHeE5Spj40Mb2AOe9DL0gEZgikvYKXQtgF9VTdxorJbDyxx2izX2RQ1rdMvwAJRhT7lhWb8Jtk5C1AXjwM1hY66YfhRMHgdUNI5fB7Q78ExquYa7aSEz0QjlbPkZhun7fEd0kc+bPQ9gjBOmpLx9GGHDjygSILT3eI5sYVc7OaWPGPz5KtQJArStoNU1ACzMS1gsjVg8Jx1aHtVqENv4GyBNbzpz2VU6huGpjnm7Jv8pqYxncTn6ruYGuyOKEzwwkeC0q5Q+v9mmjDEu26J5/yZ4GZ8I7ZNYSkU+vc1v02Q57+SckZXiwtfSfilAc+WwSe8JNUCLrv4JSVujOlPKplJ+OzaSF21HWB/G/QCb6LbFfZejXhxESiAyuFaZa+3QQankU1h8xv1taGiehfxRdAY0s8eIxE1eYPbaGIu7OpAQKu8Ys30l1VIHc6kiaMJVb0+tqsWSdXOigpeSG/mnlCd/M2lycuFSszeilOyoD6w+D3zOXB5oejJNkOThaBaYaVZxFK9vn4MNVJIjBxgRkSUhqUW7nV4cwUxut/5SUOnEKDt9jslOUShlGooRFdzPL5CmdXaRbXhNRgrx2tZl17bpABtGdKScOZyL0ZkmGu6whiKclLjp3f2HalYY/dnYYSrOsAIcQPcpcNTyFN9UPRnpQTIv+B+nCO5c7pZ/TF7CVetSVNGwh7QMhC9vevd5PSFJXCyYr3MMBS17UQdFiJnvIkIqSKJr+WiparsrnJcU+aSuM5ri1toRTvwHWp/4BbSKqTxY9N361uDqAFFeKqZR79tExExOKp8bxL1r80+x9D7ZPSVNlOkMTkO0Sr27xAEmFjnhrk1VpV48I103hkqJEfNbbtgj/5vcPrHb0KKIFQzQ1UbnKSq55hF+N1368D9MyUm7mbTXWyyVi8nmgzQ0959Fa85/qje7jO8KqxcXZ24d52qirr29JHVc5v8oZ4eBFJNKqBYZtHo7kvJW2TwxX1xQQ9io578/htCwnebJYIlj5RHRIEhme6vTh3nKrpCft7cF+208/ueXShPmHfk4KtKuPgiJWGH5+ChIRNHOtSgIwRB5KakUDxr8pVrc8NSBx9hSxEu80C2ngUvJmBihVgweqVxNXH0uBDs5c2fWEd8pQMGSzhSy5t+kk/l9Q/PHfDUy0EOua8w+pM7ZBaoJilhvCKSR+Adb1vl6B6i7+AMnXwhcu5ej0wTPbbsPtLBMmYZCAPjysyXtBhuYDzRmGUjZJOmpEKmJfbl+Qwcgv2U5M6cDeuU75W3VCTP+1XrIrvcruMk7e7KG8AjZpyJOoIqwWJTWkl9WMx6uZL6Cjs6DIMjoKlrQSVvtE3RDZtPYKgh0/6wqjonet2wDjz/zVGS7pQrROaIGm+ix0ilHVBZ1P90rqdevJJHnspSCKhzonE2gwiTBAKtChXfCbD7hihUOjDOdCsNPCJ17s3MbtUxNt+8596Z2nWJHJn6LVwyF0y7C37UXTBVy9QJaTLu5EeUGaJ9MsZjz96rDGb55vWAXMw5XfircYkgFqYTxiNiJt4laAB9SS2o6ejwyUpuC7znqvakZh84h0TSqLrNQaRznyIotkVmXSlE40CMUARTH7Vi9ZD+7QgSbPQqz8SBywpjmwJ9MiSvLz+1PQ0/E96wojiMUjkFl4p2Vb8QYDm3R0pQGDccDulUqiOzQs+mAC25rf+OxslFeF8mCpZfWJXKgbtrHEQW6XLsX0HxMxn38dpfVvZ2NEHmixu0TcwV6pbdI205sjTszFoXI8OQV2dDkT/0QE0818XlJIdHVnDwDLf7aAxO7hd7EVPVIWAsmnTWNAdPnIDZv0igOeKfmwKMW7rzKppNWu4E30Rakgy+GJON9AWIcRgv3qFJVGVonlY7rlEHucZWMp6cZzr43V2HhE5rq8yQt5SK5I6n1GIv8sqn48ocg0Oyh7gEz3A4lAXohO2uzITUQyjKvQJb5WXqPcDKjaCMM/tj11nqogsRjVYgZtzqrmxxqzgvmLXHFzddGdQm6YmMmgPC9P7eSw/iUMY8ooilSERXH3lYzYHAvbFDb4O4vBOFc45Xvd5wHK/2LPFd5iBg611DSFregfma8nFBFkhs+psPLsQhk9dwWV8r53dlMEnrbXEGF1WhcZgguwewed3+UBTcGEU/j5Hv8+FZMZmneVQHmHZsqEygRG/pG7BInrGbONQp/vTLUN12Cunze1LL4AEytTHYxGoC3vvrPBszO1DvT2xXd9BLWI5IEsYu+TJyyAftVhrY8UBTOpbdJavylN9Uj7JEUJ893r4ka7oWGRrnoRqS5LLAlxq7srjq0xfSeNrUsTRZtbwz2E3hL2JFJjdIDEWvPR9GdV6B05MII+8CQyW0lIO1OWCdJS6uTBsuNtKZSE4qwVfv6gAjXg2SnE9YonUb31Jgx2rYwiGmHjR6IyxQRUXBgnCbrfx9e4hIIMcK+1D2eEQdtePSra1wEH23w/3kxCTJ9padlABYgG4xtbreX1CqiyAFVOMS1aZGjN/Q2hM58Sm1aPPj4M5dt91WCM29ZwgiLzCZE/4koBlzPIw5q2r65THcqPDM8WDFgdO2ZYDckSXDSxRM1thgGXFobvgDOY/UEg2MUwoyxzoLK8XwRyPdTH9+082VvW+8klsbSLPaCvkjm/bOdNImmK3QL0IRkQ4feJ2l3BkA7jjPDRdlLiaRwn7tb9iw+aHaVhbO1ASr1minJxNvon69zTJO3EPFvaF1JAsvlBdV313bm77WqcihYZWtUCck73l3Nh8+YfYf6L1FjTPOVgJv7WBwSmk7KxBtLvxtJHdeeOf4sv43N1vXUrSYBrU3oYqbLVbC6RauXoM2JObHwvNGsPQ7sOzP3yYYQFM0vzwpMTy3zlfjzaX8v4vDx4zjIzZAjRPRT2evEPmFsoeIQUHxLmWU9CCnY3BpNxCYOZyE9XMbF1oA0+kPFi43cqf1qu+Ccfi6ZQ2XN7anTzJxBAp4P4aLteQtdrzTjuv0EUATvUosgCkGHJ/FN0MwQu1yKZnrPf+/u57ZZ9t7XcsI73JwGgUYKaehC9K5J8+JdySnOXhazPdMQyyRMSmK1E2MLLRwp6qjBnE3GnXC+uVJGgbhxOjTvwPS64qUrXUb9NhCW8BA18FIiE9b30VbSlM3Muqp2k5IVvY0BI4Yt8t1YdomVQ50tRGJdW3GYpiz14pRYHcTWQni+8uGey438o+B0HSaKQhttSUaGq9ZIKZcu07eoTYeJT53NZq11py/so3nU2ld7mHvfGoUFHi7hk0PXRv/ygQfSlfvSud7U2ISWWgNJQ0Gxy2wgmogyQMDlL6b62cqRXCYMQHhrk8PVMA/YX3UzhAwc47ejBk7MBcEPetwf10PGBDOIf+WEHI5UwIave8x9Gr4LDURd/oKZ5nKhblcIcMsWRG7KfkootfQ0/X2XaEoSiCNnqhUbn9uEuQKHs9pItbF7Uh69wsDXC9sF0Fsc+ZUNzAxVW1UKAaHwjNVL6xTcH6VXiL5Hkc+RglCBVrgnBTTXEF7soJj0CKgu1MFdluhGDWMKQOdc/GD8XM05XjN0b88HKAJrNT/qqE6hnD828Q4qzyOBw3W02uqHFPzYANXS3TOLLbTRuJ9XHyuFF3QtDXzfxC45ph6ndtUJzjAQ7iOFKuKCzhN0xtjbPyV0GI0pEOQZAHUzMKtyO/zvxoCN71hV2iCAgeH0soXE4P+aoubT1PyaxVcsmcSTHKzY/Z7xqHGa/CFF/ZmxFTkgfuIOj6bY20ZEv/+elarDhckJwQxS0NiUTG7yFEzZcGUmRek2qEK9qdBmxOO2AK/fRBe+OSYfCDvJc3EQEVp6Vxhg6hHcLDiscXatIApsou+KIeSiM8mFcU+LgtBNCidR0dbVwzMo0XmyV6X2p3RkR8HuRUkSEzgHPufhFp0g2I9Fk7oBSRb49B2xnZvS/Tl7EmzekcFdxf8j1AnBZwd/ls8cKrcyhsxPXIW40L+zIVabVqJke5orNDdiVY+AbFhn38xeLj72d7gzPjIyTeLzpAWRRaHB863/qfLA7Jed6W95U6n05hftsfA7SoeD6BL8Z1UiD/D/Qukq+mTzqkM9WHrSk1PmcHUSo8ZvCWaab5+GYFVGareeiGoRpNlMnIWXrzZwOGnfhO6uIduCuzh/Qj3PTSD+CAiUfJtqecnppZ8nryt8QO60UDMUfjtkzVleXVetE+4bXdxCn67TmwN0VNBvIMYplzsTlmxDrbLDt/8lacyXjO9tyAsj/zGwAkmTkJa3on8C3tl1jaTpBf42k3fyQTbkd9cjAJSH193GyhU+eqO6UMhZSGdwYl1nqbiT4nLR8jHrOiaOE/m/aemli9kua2e1zvm6KPyphJ+dg2hFoshBk8ydk+gAieKF79OLx8HRvho7WfMTztEd3Xvrd2f5/NYrugtErSiKrG/ilvguQRDR9MsTErllHXovXXPeBLZkitm+AX5ILW7DkFlXIsdqnT+RFS1Dx6euNdaXzhTXxPResH1mBkO/WJznJtW1c2RG4HDSmC6cQcaAMo6urIbozWA/pcwQ+cUdPusbpIJy+MBXXFlsHJKLAacFz72q9mgA/mnq9hQ3UJ03FPcBZHraX2v8ha7CGFLfnBl9eoDqnYrCCZL2qBbpRxvBjiI5mtwm29Ls6FLAwHI2OutSvfl2HAaPn9Ydq19/z6gTdCY/LQbo+4gF4kki9raw1zEtGs0d5x1s+ImP9pl/LOU9ICeFHlpbssqEqwqiVRNb2Jvxgi+jqtyS3KpSMbw2JlXd9O95bYMniI+f9TAygwJPhuiiScIdyDslajOZSoO2w1+ZUxROwqysKw7tA07zOycNuhH8i8mapFMnKhwbREHnlMgmXkCVM0W9oOA0peoi481FYtq7AWxGPKtCoyaAFlW6VScQ/LdP0/PFctOU/yc/BxtxqjAqHRmvuC3nvzPWVhPkb6ZL/KjD08dBKSvjegygsXdIHOm0fGVA5Qb7lV3u5naRR5pcSvVhF6LylJvJxGzXExbcEn5luXgjx3zJZDn2992ZCLCNfFoH/I9vwar9YpyRSy7uFC1XLImRZN254d6WwVgGHPtFe/ywfasiYAlP9ii+qa4Y6YdcxNL4O0L6+9ekQ9CHSUq1Dt4/opcCfIfmFYBtn+COK9VTlYHRq/6lrsysSHQPqsPrhEOsJW6hzco/iSxspVvj8yJLWOo6jwRhI0wzUKbeJUY5ik8CiT8Hp0VjBlYE4sTpKZp4Zz13BnPczqgmB6TjNrGgmWZjMQH3udxAKW5ji6DlLggPq9Pm3qzkCG8obwOf39wCjrv/1lrpyy+SEJRlvqaC9TZAcPtKPXU6GX5gdH8IMxIbgmL8cLk96bheuRDwbOc0gcuf3pxF2WxFzymNG30/miGmFu2ZEtcd0ad9PEn8nx4SFu9oMeSnjR3uHTrBPBkS7p3dse+Rwxm3OKpBTj66PpujSLXP+67au7G2vSN3CSlhZq3x4xYNX7ScOilL+oPxSt92ZjSQ6PXwnS7J+DZdmGIq57GXT1klH2UAhg2BP/TcAS7B8e+MWXBxQ915lN3E7UhEGfu4G3Ps6Uw0Jx3xNfjkuI6Pg79UlfocCi1ry/NtMvFjhcApn6KT+Huc1mHhjZuNl4d0ldAQGg3T+xTCrZIasR3AxRbpgl5+PFNOEFLyYXlbaxX5DuvQwdw5eE+zWXx+FJOIC83LVC61iNg9hQTwuEz8kRaDjQ8QylRfnCPQKstQwaX1tVC6nQJcHRXrlVHQ0MqhoAX2xuIqXLNMap9WBtQY2pLvxynFZsUD1pW5oj1u4QryzngMyXK53RWfnzczo+hrC9ZraZk7lj00PGJI72MuBsacWCpBDP+FJKhq5mJOe4v9S6zbpUmjKBpo9HYSH2FFA8WDG1pPb0kt9qP/jD9pbbOtVYoMk695ez0EcnPAsYUC1q/X5O+hsC4tZpDYaWVAQvV+T56pH5gFh3y6IM+r/WZ+Kvpb02IFSNT9pN22OOydFhq+LTaYlnkukeJXecF3IvsAsLJuKSUiADHZqUwd4RJ74jzaXFgi+Qjm5QP7zLh8ablgZ8veXoBG12rNkSLC6L08zIDM5277L62iTghX9xi8HZp+y+S80C06kHcrSplnHop6fh2rBYvtyQjjFgigCnfZN753TRuFQ36nuhegbbw3bW5MrrEpZdhMLeyj3m9VFx23UaHnVxEEJiXvUArdv4NtQufKo5sBeXQ+vGCCIjQ+7LsOK5+2ghka1BKwY5DWkX0twlNSvZ422/FRObOeUkLRL/MO7mBfQRZzGjBGtqkpFyT9Gj3mt3jeSEMKU6BFJYecEb/0QHP+H88ik5MgfzdYAq+FdN/wNLeRAIubm1UVMka1ZRmsjl6DBUn7uv/7D44NT0XjJg1xfvGDjJW1fOK/9tZ31c0WJeuoQMtBomLp4T+2o+2E7WwHShtg8D+ZXfeG9zXnDbJlBRK6teItYP86xWTkfe5wWNlK1A/Vu3RbmYnl/eIT3n5lbZYDYtiUtG2k2wmEuEb5nYA4dErip6FIYduAdpZoGlZh2zQNnHk/PMHpIvue2NAaML1QgRqUs9t+tMoF+croxsCAoGNMN6UaIafDXcL+tMbYLo73Ys/Zm7dJM0qo2TxGirQhMBL/qeGdZG1PgzCAY9ub1SmAE0Ep43RUtMXOYeqBy8mO+xzOLZaIv/RmgOrJq4WZgUCy6H1DCQJWAIh/VItc8KBm1HeLItLfjz5YDOODvgqiXirEkQwpK7ykf3sjtQMSBh1Upw7OIKVHTR+v9sDkA8mkYCLx6Hi21AswVBctVbWbhEBFSo5iVF7gO4HQrRx5uqvbJa6y1Oxpm2QoMMpvZLK5t7DPA+f7ZoYE8Bc06vfJ01EpSUj92tDNptaGM4A/gg9XVVdpXKfu31S7BJnkh6M4HPnF3FoFqAPmKaRGILbXtDQl9pQ6QpmYhiXWLU2wyGzrkMFL3ZaheNgxfUpbdtWF1SJlsLsd+YSP1XOAtEmYHHNlaV5nA8mkWbMJL2kf0pO8LISTgxT2tfUeY9tSaneoRvPdokkM0tskPT1rZdgWEmmeG2MHtRLOf9rEAjD+upkH5PSsFOltJVVbIOPpbn+9+pY01CUnjx8Y1mszTb2QJCwHtcDKmykuvR162iLtawKfRcv91VZvjkHM/84+3A+fpO5wHmbRzBtaQrJOE2l7rUy4D54NxeVa6p4OC5kjdQjcYfbaP5bRkVTxzqXkiomK9HryuhxB3bx3qwAqo2YCxZo/I5Cxvyy2gmRwHTGQ8BQEMCIYgk6kmaNI8yuNQaQOdgAbrFhp/ud1Yfcf7fx9IhjInj7jXHdH3ebD9xg35M3rZFljaF42dCqRm0kwdB2/h5NtAL8J4rV8OvmerGPhlM8TNYvVrSVqwsEgicq/V7PO+VWw2fdiuuMvz3hKUSxAAO0Jpoq5cdS1UOOVHAyM1pvkZE/Z1KUCQ4qeMp9l4zCNINZ68B/PhXVQs73hECoKhx58QtM88GO3e3MzJ1RVnpLFWPpqRsQO6FjeYVrzc19O6CkLdPpvNfNbZ7qKRCkRpH4BUVDUCScjiizmF74dQqamc+UqWwQxApHWCmFRzhPhtYRUfrF+l+EwB7kcZJaf2WY/5hQt4STDR+e3+p//drNtYvj8A/ExwAcbCviSRmpx/HvFI0Dzh/knl4vcI9jXE2CeBzuIFI4S4QSGhJZGO7TPFxVc4m3jcKCZXYbbl+hQVN0KdA6JccBwlYVm20aLhd9bTlgaQ4AkQyJcCTEtS9wzYwPtyxe+f4zkNU1bjMR4lF3/Ch+GXvL6RBMWekZx8pPyM7DXZr9gUR1PjGPdoOrEryWCdyqhr0/6l155Xmm2/9lQ1/eT0iXui1qPPkVH1TL5jF9aKAeQoLYqwcjZUDoruGEXrb5JYMYeKD0MZV1baUXVJY55O7Ct3fDhDcZpTJR2QUvgKAzTzlfNd6a8bOsNMlSdqr7oSZeMhtjV01Ia1R/VsTWDcdPrupiA/Etjjr1oturDGteEvfMKvFzrMhBpzjDZobCojDK6J8e2WKLTuJCSyw8oCAPeLuBO/+Qc/SdUctqlJXL8MUXs7FbMv9LKXJQVgNXD2zrRWOJThhplK26PPtiR/ifqqEuDX2Y6uK2CAfNeR3awmoqGopz08cthmrGdJqkLJLumOZaQIQ9APxOVSXjui51jytMiTmk92wZRbSPGGc6kZFQKoMlr1atvpTOlZS4g/vQ871U7gSnouh5okpaPfJQ1pyaK+3tEfMW+hwp13l95CoXZgyNBOTzQ4gOE0aRM5RxgtmA78M2/6Q5AGIiH1taEm62vl86i3/IgtDl95Y4IX7sA0vjA8Cz3zU/z8FwVYM1JfZgcLknoKdzys8BtRwIR9YI1QUbcIDEunTT+Y1sAT5gvBE+p4KyEr9YtIEZnYKb8pGjHOlI/PDGeGNJ9BoyU6Ln1EqTrCTMa+LkXt3ozqTiSY692RjKfWo0oZ62XffN6iQdp6y+qrjji/TsLp+9+pOpCt7Na1VRo5SezT92UVIIuz0lR/7GpoCgeHnmsrAqYJNHn+RNd8eONQzunvaZfoYQ++f3o224IPs7tDTTvM1SFgTTEsPnls2qtMsnKDP51NUAx7gAHn4/qL9a3OmF9fKkizUC+SnENTPslmMT85hP62uuYkTS26hqat7VdUo3mLhf6BGIeCqyWkG6sH1XyaZiWcI2Pk21eakWzo9nnfZz5kuMOGL/hhP9b95vD0wJb7k1MnaulmchiMsT1KPhy9STdi3M4ZVHd09c8H6bH37VuTXTyfjwyRfvUF5xBWwgscH22L0opvS0DIC0OyghrZD44z7/XHcS94nNVSdKIJyy5MYdOD0AW+urDgppDFulxbtTm0ZBRdRSKIfgqVlNGrX6IbkMsWYHDJIUuZcrbMayDctD0VEP6rD/KFaBUo5KS/ngwalOErvjQdBViq7E5ZK2jvXwyu/s2m48u4dEjiSnPEVM9oKnncGkczS18MYlnXmB8sOHQesGdfODx2lXa218iJNn6Umf4MIxggmv6cDTkyfqlbG05sd10NL+JtudEmznbyOEFeZOpMirm84UO964oniQliHCDwjTFXZnOak0yjfhBJ7GVvM4gh18zlU92OMxpBxOiQNZuTbh84ZVtOiMMXFdp2MJ4PpugJHmHa7BTRnyPqME0t62lIcFs+2hISlkINn0iVepyQw6TaVwcvyCF+6+UUxyWuVgi0axtz9lOGvKnIeKiMS926Xa4GNKQSeBMYczxxN7WZ8SoQy6qC7C8bL9SU2K984smlGHKbRnwqpuAqns0wL07T+l4hKl7okJJcFqRVQFST5EytAUo+Is1Pi8DlvzzYcTOh3Gu+uDCOS4BdofItTkHsUoVuO76expQmxP0VD8Q4iv8O6FIgWDUv/XhTO8H/Tf4QoO3B+v" title="Mekko Graphics Chart"/>
          <p:cNvSpPr>
            <a:spLocks noChangeAspect="1"/>
          </p:cNvSpPr>
          <p:nvPr>
            <p:custDataLst>
              <p:tags r:id="rId3"/>
            </p:custDataLst>
          </p:nvPr>
        </p:nvSpPr>
        <p:spPr bwMode="gray">
          <a:xfrm>
            <a:off x="333165" y="1633817"/>
            <a:ext cx="11528635" cy="4928591"/>
          </a:xfrm>
          <a:prstGeom prst="rect">
            <a:avLst/>
          </a:prstGeom>
          <a:blipFill>
            <a:blip r:embed="rId9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Rectangle 47"/>
          <p:cNvSpPr/>
          <p:nvPr/>
        </p:nvSpPr>
        <p:spPr bwMode="gray">
          <a:xfrm>
            <a:off x="330200" y="1280004"/>
            <a:ext cx="11526837" cy="3538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 Earlier you estimated you spent about &lt;</a:t>
            </a:r>
            <a:r>
              <a:rPr kumimoji="0" lang="en-GB" sz="1000" b="0" i="1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end_on_self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gt; over the last 12 months. Approximately, </a:t>
            </a: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ow were those dollars split 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mong the </a:t>
            </a: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llowing brands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 </a:t>
            </a:r>
            <a:b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 Over the last 12 months, </a:t>
            </a: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ow much have you spent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n makeup for yourself?</a:t>
            </a:r>
          </a:p>
        </p:txBody>
      </p:sp>
      <p:sp>
        <p:nvSpPr>
          <p:cNvPr id="33" name="btfpNotesBox251361">
            <a:extLst>
              <a:ext uri="{FF2B5EF4-FFF2-40B4-BE49-F238E27FC236}">
                <a16:creationId xmlns:a16="http://schemas.microsoft.com/office/drawing/2014/main" id="{3E0A1ADC-2A0F-4FD4-86C7-688D6F69D4C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 SOW calculated based on weighted average</a:t>
            </a:r>
            <a:b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</a:t>
            </a:r>
          </a:p>
        </p:txBody>
      </p:sp>
      <p:grpSp>
        <p:nvGrpSpPr>
          <p:cNvPr id="61" name="btfpRunningAgenda1Level418601"/>
          <p:cNvGrpSpPr/>
          <p:nvPr>
            <p:custDataLst>
              <p:tags r:id="rId5"/>
            </p:custDataLst>
          </p:nvPr>
        </p:nvGrpSpPr>
        <p:grpSpPr>
          <a:xfrm>
            <a:off x="0" y="944429"/>
            <a:ext cx="3066097" cy="257442"/>
            <a:chOff x="0" y="876300"/>
            <a:chExt cx="3066097" cy="257442"/>
          </a:xfrm>
        </p:grpSpPr>
        <p:sp>
          <p:nvSpPr>
            <p:cNvPr id="60" name="btfpRunningAgenda1LevelBarLeft418601"/>
            <p:cNvSpPr/>
            <p:nvPr/>
          </p:nvSpPr>
          <p:spPr bwMode="gray">
            <a:xfrm>
              <a:off x="0" y="876300"/>
              <a:ext cx="2968533" cy="257442"/>
            </a:xfrm>
            <a:custGeom>
              <a:avLst/>
              <a:gdLst>
                <a:gd name="connsiteX0" fmla="*/ 942786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42786 w 1816204"/>
                <a:gd name="connsiteY0" fmla="*/ 0 h 257442"/>
                <a:gd name="connsiteX1" fmla="*/ 888066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1111101 w 1111101"/>
                <a:gd name="connsiteY0" fmla="*/ 0 h 257442"/>
                <a:gd name="connsiteX1" fmla="*/ 888065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79416 w 1279416"/>
                <a:gd name="connsiteY0" fmla="*/ 0 h 257442"/>
                <a:gd name="connsiteX1" fmla="*/ 1056380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4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447733 w 1447733"/>
                <a:gd name="connsiteY0" fmla="*/ 0 h 257442"/>
                <a:gd name="connsiteX1" fmla="*/ 1224695 w 1447733"/>
                <a:gd name="connsiteY1" fmla="*/ 257442 h 257442"/>
                <a:gd name="connsiteX2" fmla="*/ 0 w 1447733"/>
                <a:gd name="connsiteY2" fmla="*/ 257442 h 257442"/>
                <a:gd name="connsiteX3" fmla="*/ 1 w 1447733"/>
                <a:gd name="connsiteY3" fmla="*/ 0 h 257442"/>
                <a:gd name="connsiteX0" fmla="*/ 1447733 w 1447733"/>
                <a:gd name="connsiteY0" fmla="*/ 0 h 257442"/>
                <a:gd name="connsiteX1" fmla="*/ 1393012 w 1447733"/>
                <a:gd name="connsiteY1" fmla="*/ 257442 h 257442"/>
                <a:gd name="connsiteX2" fmla="*/ 0 w 1447733"/>
                <a:gd name="connsiteY2" fmla="*/ 257442 h 257442"/>
                <a:gd name="connsiteX3" fmla="*/ 1 w 1447733"/>
                <a:gd name="connsiteY3" fmla="*/ 0 h 257442"/>
                <a:gd name="connsiteX0" fmla="*/ 1447732 w 1447732"/>
                <a:gd name="connsiteY0" fmla="*/ 0 h 257442"/>
                <a:gd name="connsiteX1" fmla="*/ 1393011 w 1447732"/>
                <a:gd name="connsiteY1" fmla="*/ 257442 h 257442"/>
                <a:gd name="connsiteX2" fmla="*/ 0 w 1447732"/>
                <a:gd name="connsiteY2" fmla="*/ 257442 h 257442"/>
                <a:gd name="connsiteX3" fmla="*/ 0 w 1447732"/>
                <a:gd name="connsiteY3" fmla="*/ 0 h 257442"/>
                <a:gd name="connsiteX0" fmla="*/ 1447733 w 1447733"/>
                <a:gd name="connsiteY0" fmla="*/ 0 h 257442"/>
                <a:gd name="connsiteX1" fmla="*/ 1393012 w 1447733"/>
                <a:gd name="connsiteY1" fmla="*/ 257442 h 257442"/>
                <a:gd name="connsiteX2" fmla="*/ 1 w 1447733"/>
                <a:gd name="connsiteY2" fmla="*/ 257442 h 257442"/>
                <a:gd name="connsiteX3" fmla="*/ 0 w 1447733"/>
                <a:gd name="connsiteY3" fmla="*/ 0 h 257442"/>
                <a:gd name="connsiteX0" fmla="*/ 1608033 w 1608033"/>
                <a:gd name="connsiteY0" fmla="*/ 0 h 257442"/>
                <a:gd name="connsiteX1" fmla="*/ 1393012 w 1608033"/>
                <a:gd name="connsiteY1" fmla="*/ 257442 h 257442"/>
                <a:gd name="connsiteX2" fmla="*/ 1 w 1608033"/>
                <a:gd name="connsiteY2" fmla="*/ 257442 h 257442"/>
                <a:gd name="connsiteX3" fmla="*/ 0 w 1608033"/>
                <a:gd name="connsiteY3" fmla="*/ 0 h 257442"/>
                <a:gd name="connsiteX0" fmla="*/ 1608033 w 1608033"/>
                <a:gd name="connsiteY0" fmla="*/ 0 h 257442"/>
                <a:gd name="connsiteX1" fmla="*/ 1553312 w 1608033"/>
                <a:gd name="connsiteY1" fmla="*/ 257442 h 257442"/>
                <a:gd name="connsiteX2" fmla="*/ 1 w 1608033"/>
                <a:gd name="connsiteY2" fmla="*/ 257442 h 257442"/>
                <a:gd name="connsiteX3" fmla="*/ 0 w 1608033"/>
                <a:gd name="connsiteY3" fmla="*/ 0 h 257442"/>
                <a:gd name="connsiteX0" fmla="*/ 1608033 w 1608033"/>
                <a:gd name="connsiteY0" fmla="*/ 0 h 257442"/>
                <a:gd name="connsiteX1" fmla="*/ 1553312 w 1608033"/>
                <a:gd name="connsiteY1" fmla="*/ 257442 h 257442"/>
                <a:gd name="connsiteX2" fmla="*/ 1 w 1608033"/>
                <a:gd name="connsiteY2" fmla="*/ 257442 h 257442"/>
                <a:gd name="connsiteX3" fmla="*/ 0 w 1608033"/>
                <a:gd name="connsiteY3" fmla="*/ 0 h 257442"/>
                <a:gd name="connsiteX0" fmla="*/ 1608032 w 1608032"/>
                <a:gd name="connsiteY0" fmla="*/ 0 h 257442"/>
                <a:gd name="connsiteX1" fmla="*/ 1553311 w 1608032"/>
                <a:gd name="connsiteY1" fmla="*/ 257442 h 257442"/>
                <a:gd name="connsiteX2" fmla="*/ 0 w 1608032"/>
                <a:gd name="connsiteY2" fmla="*/ 257442 h 257442"/>
                <a:gd name="connsiteX3" fmla="*/ 0 w 1608032"/>
                <a:gd name="connsiteY3" fmla="*/ 0 h 257442"/>
                <a:gd name="connsiteX0" fmla="*/ 1886954 w 1886954"/>
                <a:gd name="connsiteY0" fmla="*/ 0 h 257442"/>
                <a:gd name="connsiteX1" fmla="*/ 1553311 w 1886954"/>
                <a:gd name="connsiteY1" fmla="*/ 257442 h 257442"/>
                <a:gd name="connsiteX2" fmla="*/ 0 w 1886954"/>
                <a:gd name="connsiteY2" fmla="*/ 257442 h 257442"/>
                <a:gd name="connsiteX3" fmla="*/ 0 w 1886954"/>
                <a:gd name="connsiteY3" fmla="*/ 0 h 257442"/>
                <a:gd name="connsiteX0" fmla="*/ 1886954 w 1886954"/>
                <a:gd name="connsiteY0" fmla="*/ 0 h 257442"/>
                <a:gd name="connsiteX1" fmla="*/ 1832233 w 1886954"/>
                <a:gd name="connsiteY1" fmla="*/ 257442 h 257442"/>
                <a:gd name="connsiteX2" fmla="*/ 0 w 1886954"/>
                <a:gd name="connsiteY2" fmla="*/ 257442 h 257442"/>
                <a:gd name="connsiteX3" fmla="*/ 0 w 1886954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1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1 w 1886955"/>
                <a:gd name="connsiteY3" fmla="*/ 0 h 257442"/>
                <a:gd name="connsiteX0" fmla="*/ 2140230 w 2140230"/>
                <a:gd name="connsiteY0" fmla="*/ 0 h 257442"/>
                <a:gd name="connsiteX1" fmla="*/ 1832234 w 2140230"/>
                <a:gd name="connsiteY1" fmla="*/ 257442 h 257442"/>
                <a:gd name="connsiteX2" fmla="*/ 0 w 2140230"/>
                <a:gd name="connsiteY2" fmla="*/ 257442 h 257442"/>
                <a:gd name="connsiteX3" fmla="*/ 1 w 2140230"/>
                <a:gd name="connsiteY3" fmla="*/ 0 h 257442"/>
                <a:gd name="connsiteX0" fmla="*/ 2140230 w 2140230"/>
                <a:gd name="connsiteY0" fmla="*/ 0 h 257442"/>
                <a:gd name="connsiteX1" fmla="*/ 2085508 w 2140230"/>
                <a:gd name="connsiteY1" fmla="*/ 257442 h 257442"/>
                <a:gd name="connsiteX2" fmla="*/ 0 w 2140230"/>
                <a:gd name="connsiteY2" fmla="*/ 257442 h 257442"/>
                <a:gd name="connsiteX3" fmla="*/ 1 w 2140230"/>
                <a:gd name="connsiteY3" fmla="*/ 0 h 257442"/>
                <a:gd name="connsiteX0" fmla="*/ 2140230 w 2140230"/>
                <a:gd name="connsiteY0" fmla="*/ 0 h 257442"/>
                <a:gd name="connsiteX1" fmla="*/ 2085508 w 2140230"/>
                <a:gd name="connsiteY1" fmla="*/ 257442 h 257442"/>
                <a:gd name="connsiteX2" fmla="*/ 0 w 2140230"/>
                <a:gd name="connsiteY2" fmla="*/ 257442 h 257442"/>
                <a:gd name="connsiteX3" fmla="*/ 1 w 2140230"/>
                <a:gd name="connsiteY3" fmla="*/ 0 h 257442"/>
                <a:gd name="connsiteX0" fmla="*/ 2140230 w 2140230"/>
                <a:gd name="connsiteY0" fmla="*/ 0 h 257442"/>
                <a:gd name="connsiteX1" fmla="*/ 2085508 w 2140230"/>
                <a:gd name="connsiteY1" fmla="*/ 257442 h 257442"/>
                <a:gd name="connsiteX2" fmla="*/ 0 w 2140230"/>
                <a:gd name="connsiteY2" fmla="*/ 257442 h 257442"/>
                <a:gd name="connsiteX3" fmla="*/ 0 w 2140230"/>
                <a:gd name="connsiteY3" fmla="*/ 0 h 257442"/>
                <a:gd name="connsiteX0" fmla="*/ 2343810 w 2343810"/>
                <a:gd name="connsiteY0" fmla="*/ 0 h 257442"/>
                <a:gd name="connsiteX1" fmla="*/ 2085508 w 2343810"/>
                <a:gd name="connsiteY1" fmla="*/ 257442 h 257442"/>
                <a:gd name="connsiteX2" fmla="*/ 0 w 2343810"/>
                <a:gd name="connsiteY2" fmla="*/ 257442 h 257442"/>
                <a:gd name="connsiteX3" fmla="*/ 0 w 2343810"/>
                <a:gd name="connsiteY3" fmla="*/ 0 h 257442"/>
                <a:gd name="connsiteX0" fmla="*/ 2343810 w 2343810"/>
                <a:gd name="connsiteY0" fmla="*/ 0 h 257442"/>
                <a:gd name="connsiteX1" fmla="*/ 2289089 w 2343810"/>
                <a:gd name="connsiteY1" fmla="*/ 257442 h 257442"/>
                <a:gd name="connsiteX2" fmla="*/ 0 w 2343810"/>
                <a:gd name="connsiteY2" fmla="*/ 257442 h 257442"/>
                <a:gd name="connsiteX3" fmla="*/ 0 w 2343810"/>
                <a:gd name="connsiteY3" fmla="*/ 0 h 257442"/>
                <a:gd name="connsiteX0" fmla="*/ 2343810 w 2343810"/>
                <a:gd name="connsiteY0" fmla="*/ 0 h 257442"/>
                <a:gd name="connsiteX1" fmla="*/ 2289089 w 2343810"/>
                <a:gd name="connsiteY1" fmla="*/ 257442 h 257442"/>
                <a:gd name="connsiteX2" fmla="*/ 0 w 2343810"/>
                <a:gd name="connsiteY2" fmla="*/ 257442 h 257442"/>
                <a:gd name="connsiteX3" fmla="*/ 0 w 2343810"/>
                <a:gd name="connsiteY3" fmla="*/ 0 h 257442"/>
                <a:gd name="connsiteX0" fmla="*/ 2343810 w 2343810"/>
                <a:gd name="connsiteY0" fmla="*/ 0 h 257442"/>
                <a:gd name="connsiteX1" fmla="*/ 2289089 w 2343810"/>
                <a:gd name="connsiteY1" fmla="*/ 257442 h 257442"/>
                <a:gd name="connsiteX2" fmla="*/ 0 w 2343810"/>
                <a:gd name="connsiteY2" fmla="*/ 257442 h 257442"/>
                <a:gd name="connsiteX3" fmla="*/ 0 w 2343810"/>
                <a:gd name="connsiteY3" fmla="*/ 0 h 257442"/>
                <a:gd name="connsiteX0" fmla="*/ 2655947 w 2655947"/>
                <a:gd name="connsiteY0" fmla="*/ 0 h 257442"/>
                <a:gd name="connsiteX1" fmla="*/ 2289089 w 2655947"/>
                <a:gd name="connsiteY1" fmla="*/ 257442 h 257442"/>
                <a:gd name="connsiteX2" fmla="*/ 0 w 2655947"/>
                <a:gd name="connsiteY2" fmla="*/ 257442 h 257442"/>
                <a:gd name="connsiteX3" fmla="*/ 0 w 2655947"/>
                <a:gd name="connsiteY3" fmla="*/ 0 h 257442"/>
                <a:gd name="connsiteX0" fmla="*/ 2655947 w 2655947"/>
                <a:gd name="connsiteY0" fmla="*/ 0 h 257442"/>
                <a:gd name="connsiteX1" fmla="*/ 2601226 w 2655947"/>
                <a:gd name="connsiteY1" fmla="*/ 257442 h 257442"/>
                <a:gd name="connsiteX2" fmla="*/ 0 w 2655947"/>
                <a:gd name="connsiteY2" fmla="*/ 257442 h 257442"/>
                <a:gd name="connsiteX3" fmla="*/ 0 w 2655947"/>
                <a:gd name="connsiteY3" fmla="*/ 0 h 257442"/>
                <a:gd name="connsiteX0" fmla="*/ 2655947 w 2655947"/>
                <a:gd name="connsiteY0" fmla="*/ 0 h 257442"/>
                <a:gd name="connsiteX1" fmla="*/ 2601226 w 2655947"/>
                <a:gd name="connsiteY1" fmla="*/ 257442 h 257442"/>
                <a:gd name="connsiteX2" fmla="*/ 0 w 2655947"/>
                <a:gd name="connsiteY2" fmla="*/ 257442 h 257442"/>
                <a:gd name="connsiteX3" fmla="*/ 0 w 2655947"/>
                <a:gd name="connsiteY3" fmla="*/ 0 h 257442"/>
                <a:gd name="connsiteX0" fmla="*/ 2655947 w 2655947"/>
                <a:gd name="connsiteY0" fmla="*/ 0 h 257442"/>
                <a:gd name="connsiteX1" fmla="*/ 2601226 w 2655947"/>
                <a:gd name="connsiteY1" fmla="*/ 257442 h 257442"/>
                <a:gd name="connsiteX2" fmla="*/ 0 w 2655947"/>
                <a:gd name="connsiteY2" fmla="*/ 257442 h 257442"/>
                <a:gd name="connsiteX3" fmla="*/ 0 w 2655947"/>
                <a:gd name="connsiteY3" fmla="*/ 0 h 257442"/>
                <a:gd name="connsiteX0" fmla="*/ 2968533 w 2968533"/>
                <a:gd name="connsiteY0" fmla="*/ 0 h 257442"/>
                <a:gd name="connsiteX1" fmla="*/ 2601226 w 2968533"/>
                <a:gd name="connsiteY1" fmla="*/ 257442 h 257442"/>
                <a:gd name="connsiteX2" fmla="*/ 0 w 2968533"/>
                <a:gd name="connsiteY2" fmla="*/ 257442 h 257442"/>
                <a:gd name="connsiteX3" fmla="*/ 0 w 2968533"/>
                <a:gd name="connsiteY3" fmla="*/ 0 h 257442"/>
                <a:gd name="connsiteX0" fmla="*/ 2968533 w 2968533"/>
                <a:gd name="connsiteY0" fmla="*/ 0 h 257442"/>
                <a:gd name="connsiteX1" fmla="*/ 2913812 w 2968533"/>
                <a:gd name="connsiteY1" fmla="*/ 257442 h 257442"/>
                <a:gd name="connsiteX2" fmla="*/ 0 w 2968533"/>
                <a:gd name="connsiteY2" fmla="*/ 257442 h 257442"/>
                <a:gd name="connsiteX3" fmla="*/ 0 w 2968533"/>
                <a:gd name="connsiteY3" fmla="*/ 0 h 257442"/>
                <a:gd name="connsiteX0" fmla="*/ 2968533 w 2968533"/>
                <a:gd name="connsiteY0" fmla="*/ 0 h 257442"/>
                <a:gd name="connsiteX1" fmla="*/ 2913812 w 2968533"/>
                <a:gd name="connsiteY1" fmla="*/ 257442 h 257442"/>
                <a:gd name="connsiteX2" fmla="*/ 0 w 2968533"/>
                <a:gd name="connsiteY2" fmla="*/ 257442 h 257442"/>
                <a:gd name="connsiteX3" fmla="*/ 0 w 2968533"/>
                <a:gd name="connsiteY3" fmla="*/ 0 h 257442"/>
                <a:gd name="connsiteX0" fmla="*/ 2968533 w 2968533"/>
                <a:gd name="connsiteY0" fmla="*/ 0 h 257442"/>
                <a:gd name="connsiteX1" fmla="*/ 2913812 w 2968533"/>
                <a:gd name="connsiteY1" fmla="*/ 257442 h 257442"/>
                <a:gd name="connsiteX2" fmla="*/ 0 w 2968533"/>
                <a:gd name="connsiteY2" fmla="*/ 257442 h 257442"/>
                <a:gd name="connsiteX3" fmla="*/ 0 w 2968533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68533" h="257442">
                  <a:moveTo>
                    <a:pt x="2968533" y="0"/>
                  </a:moveTo>
                  <a:lnTo>
                    <a:pt x="2913812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btfpRunningAgenda1LevelTextLeft418601"/>
            <p:cNvSpPr txBox="1"/>
            <p:nvPr/>
          </p:nvSpPr>
          <p:spPr bwMode="gray">
            <a:xfrm>
              <a:off x="0" y="876300"/>
              <a:ext cx="3066097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hare of wallet</a:t>
              </a:r>
            </a:p>
          </p:txBody>
        </p:sp>
      </p:grpSp>
      <p:grpSp>
        <p:nvGrpSpPr>
          <p:cNvPr id="5" name="btfpStatusSticker298252"/>
          <p:cNvGrpSpPr/>
          <p:nvPr>
            <p:custDataLst>
              <p:tags r:id="rId6"/>
            </p:custDataLst>
          </p:nvPr>
        </p:nvGrpSpPr>
        <p:grpSpPr>
          <a:xfrm>
            <a:off x="8746415" y="955344"/>
            <a:ext cx="1226940" cy="235611"/>
            <a:chOff x="-1737657" y="876300"/>
            <a:chExt cx="1226940" cy="235611"/>
          </a:xfrm>
        </p:grpSpPr>
        <p:sp>
          <p:nvSpPr>
            <p:cNvPr id="3" name="btfpStatusStickerText298252"/>
            <p:cNvSpPr txBox="1"/>
            <p:nvPr/>
          </p:nvSpPr>
          <p:spPr bwMode="gray">
            <a:xfrm>
              <a:off x="-1737657" y="876300"/>
              <a:ext cx="1226940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urrent</a:t>
              </a:r>
            </a:p>
          </p:txBody>
        </p:sp>
        <p:cxnSp>
          <p:nvCxnSpPr>
            <p:cNvPr id="4" name="btfpStatusStickerLine298252"/>
            <p:cNvCxnSpPr/>
            <p:nvPr/>
          </p:nvCxnSpPr>
          <p:spPr bwMode="gray">
            <a:xfrm rot="720000">
              <a:off x="-1737657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" name="Rounded Rectangle 21">
            <a:extLst>
              <a:ext uri="{FF2B5EF4-FFF2-40B4-BE49-F238E27FC236}">
                <a16:creationId xmlns:a16="http://schemas.microsoft.com/office/drawing/2014/main" id="{1EB3923C-83A3-4B0A-BD9A-9ABBAF875EA9}"/>
              </a:ext>
            </a:extLst>
          </p:cNvPr>
          <p:cNvSpPr/>
          <p:nvPr/>
        </p:nvSpPr>
        <p:spPr bwMode="gray">
          <a:xfrm>
            <a:off x="5446583" y="939222"/>
            <a:ext cx="3183122" cy="235611"/>
          </a:xfrm>
          <a:prstGeom prst="roundRect">
            <a:avLst/>
          </a:prstGeom>
          <a:solidFill>
            <a:srgbClr val="FF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CN: </a:t>
            </a: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ighted SOW by L12M spend (mid point)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8797439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btfpColumnIndicatorGroup2">
            <a:extLst>
              <a:ext uri="{FF2B5EF4-FFF2-40B4-BE49-F238E27FC236}">
                <a16:creationId xmlns:a16="http://schemas.microsoft.com/office/drawing/2014/main" id="{BC945E0C-3EA8-42F5-9DEE-AB35A22624CC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110675">
              <a:extLst>
                <a:ext uri="{FF2B5EF4-FFF2-40B4-BE49-F238E27FC236}">
                  <a16:creationId xmlns:a16="http://schemas.microsoft.com/office/drawing/2014/main" id="{229F4903-307B-4F03-91BE-064C13A68D50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2" name="btfpColumnGapBlocker190975">
              <a:extLst>
                <a:ext uri="{FF2B5EF4-FFF2-40B4-BE49-F238E27FC236}">
                  <a16:creationId xmlns:a16="http://schemas.microsoft.com/office/drawing/2014/main" id="{777964D5-3CCB-4773-B8A1-11D41E5F0198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0" name="btfpColumnIndicator301741">
              <a:extLst>
                <a:ext uri="{FF2B5EF4-FFF2-40B4-BE49-F238E27FC236}">
                  <a16:creationId xmlns:a16="http://schemas.microsoft.com/office/drawing/2014/main" id="{957B983B-909C-4FB3-9316-E78620FC4E28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553338">
              <a:extLst>
                <a:ext uri="{FF2B5EF4-FFF2-40B4-BE49-F238E27FC236}">
                  <a16:creationId xmlns:a16="http://schemas.microsoft.com/office/drawing/2014/main" id="{AD2BC579-74AF-41C8-8072-92B830C79D6F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btfpColumnIndicatorGroup1">
            <a:extLst>
              <a:ext uri="{FF2B5EF4-FFF2-40B4-BE49-F238E27FC236}">
                <a16:creationId xmlns:a16="http://schemas.microsoft.com/office/drawing/2014/main" id="{5CAA416C-7C88-41B2-A8AF-9A834566902A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268436">
              <a:extLst>
                <a:ext uri="{FF2B5EF4-FFF2-40B4-BE49-F238E27FC236}">
                  <a16:creationId xmlns:a16="http://schemas.microsoft.com/office/drawing/2014/main" id="{9336CA83-265F-40C5-B001-0DD93EBA5F4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1" name="btfpColumnGapBlocker126167">
              <a:extLst>
                <a:ext uri="{FF2B5EF4-FFF2-40B4-BE49-F238E27FC236}">
                  <a16:creationId xmlns:a16="http://schemas.microsoft.com/office/drawing/2014/main" id="{01751455-524F-49F1-AC5E-6519D437ACF1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9" name="btfpColumnIndicator382522">
              <a:extLst>
                <a:ext uri="{FF2B5EF4-FFF2-40B4-BE49-F238E27FC236}">
                  <a16:creationId xmlns:a16="http://schemas.microsoft.com/office/drawing/2014/main" id="{DFDF50A0-5E65-473A-9502-D6B1356E19E7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btfpColumnIndicator427346">
              <a:extLst>
                <a:ext uri="{FF2B5EF4-FFF2-40B4-BE49-F238E27FC236}">
                  <a16:creationId xmlns:a16="http://schemas.microsoft.com/office/drawing/2014/main" id="{2A645D9F-B5F6-485A-A095-3DBB69246919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B48648F-99B5-4FAE-8E00-CA8364AEB2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/>
              <a:t>Customer Overlap / Cross-brand purchase in L3M</a:t>
            </a:r>
          </a:p>
        </p:txBody>
      </p:sp>
      <p:sp>
        <p:nvSpPr>
          <p:cNvPr id="35" name="btfpBulletedList563354">
            <a:extLst>
              <a:ext uri="{FF2B5EF4-FFF2-40B4-BE49-F238E27FC236}">
                <a16:creationId xmlns:a16="http://schemas.microsoft.com/office/drawing/2014/main" id="{7A1CF0D2-1E09-48E1-A337-131383462A27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2696907" y="1420814"/>
            <a:ext cx="9160125" cy="565146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197825" marR="0" lvl="0" indent="-197825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rt from row heading. This is the type of brand that the respondent group purchased in L3M.</a:t>
            </a:r>
          </a:p>
          <a:p>
            <a:pPr marL="197825" marR="0" lvl="0" indent="-197825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o right… X% of people who </a:t>
            </a:r>
            <a:r>
              <a:rPr lang="en-US" sz="1050">
                <a:solidFill>
                  <a:srgbClr val="000000"/>
                </a:solidFill>
                <a:latin typeface="Arial"/>
              </a:rPr>
              <a:t>purchased in L3M 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rand A in the row heading, also purchased in L3M brand in the column heading</a:t>
            </a:r>
          </a:p>
        </p:txBody>
      </p:sp>
      <p:grpSp>
        <p:nvGrpSpPr>
          <p:cNvPr id="36" name="btfpRowHeaderBox964057">
            <a:extLst>
              <a:ext uri="{FF2B5EF4-FFF2-40B4-BE49-F238E27FC236}">
                <a16:creationId xmlns:a16="http://schemas.microsoft.com/office/drawing/2014/main" id="{E31E403F-5295-4DD7-8D6C-A1F69F3D6A4B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330200" y="1420814"/>
            <a:ext cx="2165350" cy="565146"/>
            <a:chOff x="330200" y="11638566"/>
            <a:chExt cx="2540000" cy="972979"/>
          </a:xfrm>
        </p:grpSpPr>
        <p:sp>
          <p:nvSpPr>
            <p:cNvPr id="37" name="btfpRowHeaderBoxText964057">
              <a:extLst>
                <a:ext uri="{FF2B5EF4-FFF2-40B4-BE49-F238E27FC236}">
                  <a16:creationId xmlns:a16="http://schemas.microsoft.com/office/drawing/2014/main" id="{4124A8DD-EAB7-4804-99DF-A728F489B377}"/>
                </a:ext>
              </a:extLst>
            </p:cNvPr>
            <p:cNvSpPr txBox="1"/>
            <p:nvPr/>
          </p:nvSpPr>
          <p:spPr bwMode="gray">
            <a:xfrm>
              <a:off x="330200" y="11638566"/>
              <a:ext cx="2540000" cy="972979"/>
            </a:xfrm>
            <a:prstGeom prst="rect">
              <a:avLst/>
            </a:prstGeom>
            <a:noFill/>
          </p:spPr>
          <p:txBody>
            <a:bodyPr vert="horz" wrap="square" lIns="36036" tIns="36036" rIns="180181" bIns="36036" rtlCol="0" anchor="t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ow to read this chart</a:t>
              </a:r>
            </a:p>
          </p:txBody>
        </p:sp>
        <p:cxnSp>
          <p:nvCxnSpPr>
            <p:cNvPr id="38" name="btfpRowHeaderBoxLine964057">
              <a:extLst>
                <a:ext uri="{FF2B5EF4-FFF2-40B4-BE49-F238E27FC236}">
                  <a16:creationId xmlns:a16="http://schemas.microsoft.com/office/drawing/2014/main" id="{AADF9BC7-D5DF-4595-8714-4F1B96A2E07A}"/>
                </a:ext>
              </a:extLst>
            </p:cNvPr>
            <p:cNvCxnSpPr/>
            <p:nvPr/>
          </p:nvCxnSpPr>
          <p:spPr bwMode="gray">
            <a:xfrm>
              <a:off x="2870200" y="11638566"/>
              <a:ext cx="0" cy="972979"/>
            </a:xfrm>
            <a:prstGeom prst="line">
              <a:avLst/>
            </a:prstGeom>
            <a:ln w="152400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7E4113DD-3961-46F6-8D58-73F5EB6F59FB}"/>
              </a:ext>
            </a:extLst>
          </p:cNvPr>
          <p:cNvGrpSpPr/>
          <p:nvPr/>
        </p:nvGrpSpPr>
        <p:grpSpPr>
          <a:xfrm>
            <a:off x="7586628" y="6342204"/>
            <a:ext cx="4270410" cy="196022"/>
            <a:chOff x="330200" y="6116357"/>
            <a:chExt cx="4270410" cy="196022"/>
          </a:xfrm>
        </p:grpSpPr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1ECA44E2-D94A-408D-B853-25A9395A5779}"/>
                </a:ext>
              </a:extLst>
            </p:cNvPr>
            <p:cNvSpPr/>
            <p:nvPr/>
          </p:nvSpPr>
          <p:spPr>
            <a:xfrm>
              <a:off x="1359705" y="6135418"/>
              <a:ext cx="3207329" cy="157900"/>
            </a:xfrm>
            <a:prstGeom prst="rect">
              <a:avLst/>
            </a:prstGeom>
            <a:gradFill flip="none" rotWithShape="1">
              <a:gsLst>
                <a:gs pos="0">
                  <a:srgbClr val="CC6868"/>
                </a:gs>
                <a:gs pos="53000">
                  <a:srgbClr val="ECEAD5"/>
                </a:gs>
                <a:gs pos="100000">
                  <a:srgbClr val="95BAAB"/>
                </a:gs>
              </a:gsLst>
              <a:lin ang="0" scaled="1"/>
              <a:tileRect/>
            </a:gra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180" tIns="34180" rIns="34180" bIns="34180" rtlCol="0" anchor="ctr"/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None/>
                <a:tabLst/>
                <a:defRPr/>
              </a:pPr>
              <a:endParaRPr kumimoji="0" lang="en-US" sz="18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5DA0AF04-AAC6-4EB7-80F8-0CE89C29C278}"/>
                </a:ext>
              </a:extLst>
            </p:cNvPr>
            <p:cNvSpPr txBox="1"/>
            <p:nvPr/>
          </p:nvSpPr>
          <p:spPr>
            <a:xfrm>
              <a:off x="330200" y="6116357"/>
              <a:ext cx="1029520" cy="196022"/>
            </a:xfrm>
            <a:prstGeom prst="rect">
              <a:avLst/>
            </a:prstGeom>
            <a:noFill/>
          </p:spPr>
          <p:txBody>
            <a:bodyPr wrap="none" lIns="31150" tIns="31150" rIns="31150" bIns="3115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65" b="1" i="1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gree of overlap: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33BB94DD-ABF0-485B-BDEE-06B378DC17D9}"/>
                </a:ext>
              </a:extLst>
            </p:cNvPr>
            <p:cNvSpPr/>
            <p:nvPr/>
          </p:nvSpPr>
          <p:spPr>
            <a:xfrm>
              <a:off x="1367495" y="6135418"/>
              <a:ext cx="288779" cy="157900"/>
            </a:xfrm>
            <a:prstGeom prst="rect">
              <a:avLst/>
            </a:prstGeom>
            <a:solidFill>
              <a:srgbClr val="F86A6B">
                <a:alpha val="0"/>
              </a:srgb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3167" tIns="33167" rIns="33167" bIns="33167" rtlCol="0" anchor="ctr"/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37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%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CF6218B1-8B4A-45A6-A94D-597B98157C43}"/>
                </a:ext>
              </a:extLst>
            </p:cNvPr>
            <p:cNvSpPr/>
            <p:nvPr/>
          </p:nvSpPr>
          <p:spPr>
            <a:xfrm>
              <a:off x="4201065" y="6135418"/>
              <a:ext cx="399545" cy="157900"/>
            </a:xfrm>
            <a:prstGeom prst="rect">
              <a:avLst/>
            </a:prstGeom>
            <a:solidFill>
              <a:srgbClr val="009900">
                <a:alpha val="0"/>
              </a:srgb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3167" tIns="33167" rIns="33167" bIns="33167" rtlCol="0" anchor="ctr"/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37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00%</a:t>
              </a:r>
            </a:p>
          </p:txBody>
        </p:sp>
      </p:grpSp>
      <p:grpSp>
        <p:nvGrpSpPr>
          <p:cNvPr id="53" name="btfpStatusSticker183101">
            <a:extLst>
              <a:ext uri="{FF2B5EF4-FFF2-40B4-BE49-F238E27FC236}">
                <a16:creationId xmlns:a16="http://schemas.microsoft.com/office/drawing/2014/main" id="{54877FF6-4E61-4332-A6F9-91511576705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100356" y="955344"/>
            <a:ext cx="1761444" cy="235611"/>
            <a:chOff x="10100356" y="955344"/>
            <a:chExt cx="1761444" cy="235611"/>
          </a:xfrm>
        </p:grpSpPr>
        <p:sp>
          <p:nvSpPr>
            <p:cNvPr id="54" name="btfpStatusStickerText183101">
              <a:extLst>
                <a:ext uri="{FF2B5EF4-FFF2-40B4-BE49-F238E27FC236}">
                  <a16:creationId xmlns:a16="http://schemas.microsoft.com/office/drawing/2014/main" id="{575D9BC6-86FC-463D-B432-AC8DDBD4151F}"/>
                </a:ext>
              </a:extLst>
            </p:cNvPr>
            <p:cNvSpPr txBox="1"/>
            <p:nvPr/>
          </p:nvSpPr>
          <p:spPr bwMode="gray">
            <a:xfrm>
              <a:off x="10100356" y="955344"/>
              <a:ext cx="17614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liminary</a:t>
              </a:r>
            </a:p>
          </p:txBody>
        </p:sp>
        <p:cxnSp>
          <p:nvCxnSpPr>
            <p:cNvPr id="55" name="btfpStatusStickerLine183101">
              <a:extLst>
                <a:ext uri="{FF2B5EF4-FFF2-40B4-BE49-F238E27FC236}">
                  <a16:creationId xmlns:a16="http://schemas.microsoft.com/office/drawing/2014/main" id="{32E015AE-3093-4FF4-8C4C-BA707362F97E}"/>
                </a:ext>
              </a:extLst>
            </p:cNvPr>
            <p:cNvCxnSpPr/>
            <p:nvPr/>
          </p:nvCxnSpPr>
          <p:spPr bwMode="gray">
            <a:xfrm rot="720000">
              <a:off x="10100356" y="955344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btfpStatusSticker993751">
            <a:extLst>
              <a:ext uri="{FF2B5EF4-FFF2-40B4-BE49-F238E27FC236}">
                <a16:creationId xmlns:a16="http://schemas.microsoft.com/office/drawing/2014/main" id="{2BD0E219-CBEB-47BA-AD7A-059F7D0CDA90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57602" y="955344"/>
            <a:ext cx="2515753" cy="235611"/>
            <a:chOff x="-3034485" y="876300"/>
            <a:chExt cx="2515753" cy="235611"/>
          </a:xfrm>
        </p:grpSpPr>
        <p:sp>
          <p:nvSpPr>
            <p:cNvPr id="4" name="btfpStatusStickerText993751">
              <a:extLst>
                <a:ext uri="{FF2B5EF4-FFF2-40B4-BE49-F238E27FC236}">
                  <a16:creationId xmlns:a16="http://schemas.microsoft.com/office/drawing/2014/main" id="{61F66386-8563-442D-9C40-6913EA87CB5B}"/>
                </a:ext>
              </a:extLst>
            </p:cNvPr>
            <p:cNvSpPr txBox="1"/>
            <p:nvPr/>
          </p:nvSpPr>
          <p:spPr bwMode="gray">
            <a:xfrm>
              <a:off x="-3034485" y="876300"/>
              <a:ext cx="2515753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PURCHASED IN L3M</a:t>
              </a:r>
            </a:p>
          </p:txBody>
        </p:sp>
        <p:cxnSp>
          <p:nvCxnSpPr>
            <p:cNvPr id="5" name="btfpStatusStickerLine993751">
              <a:extLst>
                <a:ext uri="{FF2B5EF4-FFF2-40B4-BE49-F238E27FC236}">
                  <a16:creationId xmlns:a16="http://schemas.microsoft.com/office/drawing/2014/main" id="{6A6AF118-7493-455D-B5E9-1837F8F756B5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3034485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8" name="btfpNotesBox437423">
            <a:extLst>
              <a:ext uri="{FF2B5EF4-FFF2-40B4-BE49-F238E27FC236}">
                <a16:creationId xmlns:a16="http://schemas.microsoft.com/office/drawing/2014/main" id="{375FDB69-CC09-4EDB-9C13-37BC981D9367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gray">
          <a:xfrm>
            <a:off x="351859" y="6314917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Note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brands with highest level of awareness within each category shown</a:t>
            </a:r>
            <a:endParaRPr lang="en-US" sz="800">
              <a:solidFill>
                <a:srgbClr val="000000"/>
              </a:solidFill>
            </a:endParaRPr>
          </a:p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A4D9E094-E0FA-4772-AC72-B2D91C809765}"/>
              </a:ext>
            </a:extLst>
          </p:cNvPr>
          <p:cNvGraphicFramePr>
            <a:graphicFrameLocks noGrp="1"/>
          </p:cNvGraphicFramePr>
          <p:nvPr/>
        </p:nvGraphicFramePr>
        <p:xfrm>
          <a:off x="590551" y="2390774"/>
          <a:ext cx="11266495" cy="3771903"/>
        </p:xfrm>
        <a:graphic>
          <a:graphicData uri="http://schemas.openxmlformats.org/drawingml/2006/table">
            <a:tbl>
              <a:tblPr/>
              <a:tblGrid>
                <a:gridCol w="1126648">
                  <a:extLst>
                    <a:ext uri="{9D8B030D-6E8A-4147-A177-3AD203B41FA5}">
                      <a16:colId xmlns:a16="http://schemas.microsoft.com/office/drawing/2014/main" val="3569091625"/>
                    </a:ext>
                  </a:extLst>
                </a:gridCol>
                <a:gridCol w="1339935">
                  <a:extLst>
                    <a:ext uri="{9D8B030D-6E8A-4147-A177-3AD203B41FA5}">
                      <a16:colId xmlns:a16="http://schemas.microsoft.com/office/drawing/2014/main" val="3464798690"/>
                    </a:ext>
                  </a:extLst>
                </a:gridCol>
                <a:gridCol w="799992">
                  <a:extLst>
                    <a:ext uri="{9D8B030D-6E8A-4147-A177-3AD203B41FA5}">
                      <a16:colId xmlns:a16="http://schemas.microsoft.com/office/drawing/2014/main" val="1830111220"/>
                    </a:ext>
                  </a:extLst>
                </a:gridCol>
                <a:gridCol w="799992">
                  <a:extLst>
                    <a:ext uri="{9D8B030D-6E8A-4147-A177-3AD203B41FA5}">
                      <a16:colId xmlns:a16="http://schemas.microsoft.com/office/drawing/2014/main" val="2281443249"/>
                    </a:ext>
                  </a:extLst>
                </a:gridCol>
                <a:gridCol w="799992">
                  <a:extLst>
                    <a:ext uri="{9D8B030D-6E8A-4147-A177-3AD203B41FA5}">
                      <a16:colId xmlns:a16="http://schemas.microsoft.com/office/drawing/2014/main" val="2549551982"/>
                    </a:ext>
                  </a:extLst>
                </a:gridCol>
                <a:gridCol w="799992">
                  <a:extLst>
                    <a:ext uri="{9D8B030D-6E8A-4147-A177-3AD203B41FA5}">
                      <a16:colId xmlns:a16="http://schemas.microsoft.com/office/drawing/2014/main" val="3012470040"/>
                    </a:ext>
                  </a:extLst>
                </a:gridCol>
                <a:gridCol w="799992">
                  <a:extLst>
                    <a:ext uri="{9D8B030D-6E8A-4147-A177-3AD203B41FA5}">
                      <a16:colId xmlns:a16="http://schemas.microsoft.com/office/drawing/2014/main" val="3305186236"/>
                    </a:ext>
                  </a:extLst>
                </a:gridCol>
                <a:gridCol w="799992">
                  <a:extLst>
                    <a:ext uri="{9D8B030D-6E8A-4147-A177-3AD203B41FA5}">
                      <a16:colId xmlns:a16="http://schemas.microsoft.com/office/drawing/2014/main" val="1438987910"/>
                    </a:ext>
                  </a:extLst>
                </a:gridCol>
                <a:gridCol w="799992">
                  <a:extLst>
                    <a:ext uri="{9D8B030D-6E8A-4147-A177-3AD203B41FA5}">
                      <a16:colId xmlns:a16="http://schemas.microsoft.com/office/drawing/2014/main" val="3865078343"/>
                    </a:ext>
                  </a:extLst>
                </a:gridCol>
                <a:gridCol w="799992">
                  <a:extLst>
                    <a:ext uri="{9D8B030D-6E8A-4147-A177-3AD203B41FA5}">
                      <a16:colId xmlns:a16="http://schemas.microsoft.com/office/drawing/2014/main" val="3728020470"/>
                    </a:ext>
                  </a:extLst>
                </a:gridCol>
                <a:gridCol w="799992">
                  <a:extLst>
                    <a:ext uri="{9D8B030D-6E8A-4147-A177-3AD203B41FA5}">
                      <a16:colId xmlns:a16="http://schemas.microsoft.com/office/drawing/2014/main" val="2407407348"/>
                    </a:ext>
                  </a:extLst>
                </a:gridCol>
                <a:gridCol w="799992">
                  <a:extLst>
                    <a:ext uri="{9D8B030D-6E8A-4147-A177-3AD203B41FA5}">
                      <a16:colId xmlns:a16="http://schemas.microsoft.com/office/drawing/2014/main" val="1570084226"/>
                    </a:ext>
                  </a:extLst>
                </a:gridCol>
                <a:gridCol w="799992">
                  <a:extLst>
                    <a:ext uri="{9D8B030D-6E8A-4147-A177-3AD203B41FA5}">
                      <a16:colId xmlns:a16="http://schemas.microsoft.com/office/drawing/2014/main" val="3318372029"/>
                    </a:ext>
                  </a:extLst>
                </a:gridCol>
              </a:tblGrid>
              <a:tr h="512383"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000" b="0" i="1" u="none" strike="noStrike">
                        <a:solidFill>
                          <a:srgbClr val="D9D9D9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enetration (purchased in L3M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Brand-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Brand-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Brand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Brand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Brand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Brand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Brand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Brand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Brand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Brand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Brand1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0679241"/>
                  </a:ext>
                </a:extLst>
              </a:tr>
              <a:tr h="296320"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Brand-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7BCAD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5DEC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DBC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DEC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D9C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4D5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8C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7D7C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DEC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3C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4D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7263471"/>
                  </a:ext>
                </a:extLst>
              </a:tr>
              <a:tr h="296320"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Brand-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888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7BCAD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948D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A3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A09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747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918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A4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C4B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767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938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4888696"/>
                  </a:ext>
                </a:extLst>
              </a:tr>
              <a:tr h="296320"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Brand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B2A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B1A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7BCAD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A3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58D8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A19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DFCC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2C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9C9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6D6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9E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777062"/>
                  </a:ext>
                </a:extLst>
              </a:tr>
              <a:tr h="296320"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Brand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AEA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4CEB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ACA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7BCAD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8D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C4B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A99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ADA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3C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7978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9E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6688603"/>
                  </a:ext>
                </a:extLst>
              </a:tr>
              <a:tr h="296320"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Brand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B4A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B8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888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D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7BCAD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8D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A299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A99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4E6D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9089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A5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1659895"/>
                  </a:ext>
                </a:extLst>
              </a:tr>
              <a:tr h="296320"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Brand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D6C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58C8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A69C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BFB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7D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7BCAD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ADA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ADA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8D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827D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9A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5787852"/>
                  </a:ext>
                </a:extLst>
              </a:tr>
              <a:tr h="296320"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Brand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5D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7D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1CD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9D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8D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8D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7BCAD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DFC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D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4CCB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7D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2835134"/>
                  </a:ext>
                </a:extLst>
              </a:tr>
              <a:tr h="296320"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Brand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D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D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DCC9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CAB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D7C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4CFB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6D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7BCAD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9D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A89D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DC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6209316"/>
                  </a:ext>
                </a:extLst>
              </a:tr>
              <a:tr h="296320"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Brand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807C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B8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7D79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A99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EAD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C9B9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7A7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A4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7BCAD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7B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6590935"/>
                  </a:ext>
                </a:extLst>
              </a:tr>
              <a:tr h="296320"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Brand1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6D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6D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1CD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5D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4D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8D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7D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6D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8D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7BCAD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DE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1357999"/>
                  </a:ext>
                </a:extLst>
              </a:tr>
              <a:tr h="296320"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Brand1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D1C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7D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9D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EAD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8D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EAD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8D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7D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D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4E6D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7BC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3488552"/>
                  </a:ext>
                </a:extLst>
              </a:tr>
            </a:tbl>
          </a:graphicData>
        </a:graphic>
      </p:graphicFrame>
      <p:sp>
        <p:nvSpPr>
          <p:cNvPr id="39" name="Rectangle 38">
            <a:extLst>
              <a:ext uri="{FF2B5EF4-FFF2-40B4-BE49-F238E27FC236}">
                <a16:creationId xmlns:a16="http://schemas.microsoft.com/office/drawing/2014/main" id="{DDF08B54-125C-4556-8A01-99F7DC1D43AE}"/>
              </a:ext>
            </a:extLst>
          </p:cNvPr>
          <p:cNvSpPr/>
          <p:nvPr/>
        </p:nvSpPr>
        <p:spPr bwMode="gray">
          <a:xfrm>
            <a:off x="3057524" y="2148805"/>
            <a:ext cx="4800601" cy="231112"/>
          </a:xfrm>
          <a:prstGeom prst="rect">
            <a:avLst/>
          </a:prstGeom>
          <a:solidFill>
            <a:srgbClr val="C00000">
              <a:alpha val="75000"/>
            </a:srgbClr>
          </a:solidFill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b="1" i="1">
                <a:solidFill>
                  <a:schemeClr val="bg1"/>
                </a:solidFill>
              </a:rPr>
              <a:t>Target brands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A2F7A1E-714B-4FB0-B107-D33FE87CC8B3}"/>
              </a:ext>
            </a:extLst>
          </p:cNvPr>
          <p:cNvSpPr/>
          <p:nvPr/>
        </p:nvSpPr>
        <p:spPr bwMode="gray">
          <a:xfrm>
            <a:off x="7858124" y="2148805"/>
            <a:ext cx="2390775" cy="231112"/>
          </a:xfrm>
          <a:prstGeom prst="rect">
            <a:avLst/>
          </a:prstGeom>
          <a:solidFill>
            <a:schemeClr val="accent5">
              <a:alpha val="75000"/>
            </a:schemeClr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b="1" i="1">
                <a:solidFill>
                  <a:schemeClr val="bg1"/>
                </a:solidFill>
              </a:rPr>
              <a:t>Plant-based (butter &amp; spreads)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C61CFFB4-70F4-4811-845D-EFE6DF07C3B9}"/>
              </a:ext>
            </a:extLst>
          </p:cNvPr>
          <p:cNvSpPr/>
          <p:nvPr/>
        </p:nvSpPr>
        <p:spPr bwMode="gray">
          <a:xfrm>
            <a:off x="10248899" y="2148805"/>
            <a:ext cx="1600201" cy="231112"/>
          </a:xfrm>
          <a:prstGeom prst="rect">
            <a:avLst/>
          </a:prstGeom>
          <a:solidFill>
            <a:schemeClr val="accent4">
              <a:alpha val="75000"/>
            </a:schemeClr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b="1" i="1">
                <a:solidFill>
                  <a:schemeClr val="bg1"/>
                </a:solidFill>
              </a:rPr>
              <a:t>Dairy (butter &amp; spreads)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D9C908FF-F477-4122-99B8-B2407152C4B3}"/>
              </a:ext>
            </a:extLst>
          </p:cNvPr>
          <p:cNvSpPr/>
          <p:nvPr/>
        </p:nvSpPr>
        <p:spPr bwMode="gray">
          <a:xfrm rot="16200000">
            <a:off x="-434682" y="3678862"/>
            <a:ext cx="1802814" cy="231112"/>
          </a:xfrm>
          <a:prstGeom prst="rect">
            <a:avLst/>
          </a:prstGeom>
          <a:solidFill>
            <a:srgbClr val="C00000">
              <a:alpha val="75000"/>
            </a:srgbClr>
          </a:solidFill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b="1" i="1">
                <a:solidFill>
                  <a:schemeClr val="bg1"/>
                </a:solidFill>
              </a:rPr>
              <a:t>Target brands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E58C462-6EC1-4539-97F2-00BC4D7578D7}"/>
              </a:ext>
            </a:extLst>
          </p:cNvPr>
          <p:cNvSpPr/>
          <p:nvPr/>
        </p:nvSpPr>
        <p:spPr bwMode="gray">
          <a:xfrm rot="16200000">
            <a:off x="34407" y="5021407"/>
            <a:ext cx="870324" cy="231112"/>
          </a:xfrm>
          <a:prstGeom prst="rect">
            <a:avLst/>
          </a:prstGeom>
          <a:solidFill>
            <a:schemeClr val="accent5">
              <a:alpha val="75000"/>
            </a:schemeClr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700" b="1" i="1">
                <a:solidFill>
                  <a:schemeClr val="bg1"/>
                </a:solidFill>
              </a:rPr>
              <a:t>Plant-based (butter &amp; spreads)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E4C88A29-2DB8-458C-8AF3-CD7A26428D31}"/>
              </a:ext>
            </a:extLst>
          </p:cNvPr>
          <p:cNvSpPr/>
          <p:nvPr/>
        </p:nvSpPr>
        <p:spPr bwMode="gray">
          <a:xfrm rot="16200000">
            <a:off x="167959" y="5745509"/>
            <a:ext cx="603220" cy="231112"/>
          </a:xfrm>
          <a:prstGeom prst="rect">
            <a:avLst/>
          </a:prstGeom>
          <a:solidFill>
            <a:schemeClr val="accent4">
              <a:alpha val="75000"/>
            </a:schemeClr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700" b="1" i="1">
                <a:solidFill>
                  <a:schemeClr val="bg1"/>
                </a:solidFill>
              </a:rPr>
              <a:t>Dairy (butter &amp; spreads)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48C71F4B-4755-49CD-B18C-E0EFC64948D1}"/>
              </a:ext>
            </a:extLst>
          </p:cNvPr>
          <p:cNvSpPr/>
          <p:nvPr/>
        </p:nvSpPr>
        <p:spPr bwMode="gray">
          <a:xfrm>
            <a:off x="9452343" y="2893011"/>
            <a:ext cx="796555" cy="1802814"/>
          </a:xfrm>
          <a:prstGeom prst="rect">
            <a:avLst/>
          </a:prstGeom>
          <a:noFill/>
          <a:ln w="25400">
            <a:solidFill>
              <a:schemeClr val="accent3"/>
            </a:solidFill>
            <a:prstDash val="solid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DAC80111-F288-4D24-A571-B6E4D54F89B8}"/>
              </a:ext>
            </a:extLst>
          </p:cNvPr>
          <p:cNvSpPr/>
          <p:nvPr/>
        </p:nvSpPr>
        <p:spPr bwMode="gray">
          <a:xfrm>
            <a:off x="7858124" y="3489031"/>
            <a:ext cx="1594219" cy="317426"/>
          </a:xfrm>
          <a:prstGeom prst="rect">
            <a:avLst/>
          </a:prstGeom>
          <a:noFill/>
          <a:ln w="25400">
            <a:solidFill>
              <a:schemeClr val="accent3"/>
            </a:solidFill>
            <a:prstDash val="solid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grpSp>
        <p:nvGrpSpPr>
          <p:cNvPr id="58" name="btfpRunningAgenda1Level418601">
            <a:extLst>
              <a:ext uri="{FF2B5EF4-FFF2-40B4-BE49-F238E27FC236}">
                <a16:creationId xmlns:a16="http://schemas.microsoft.com/office/drawing/2014/main" id="{01006159-D7EA-4A9D-9E74-93A449A67CF8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0" y="944429"/>
            <a:ext cx="3370181" cy="257442"/>
            <a:chOff x="0" y="876300"/>
            <a:chExt cx="3370181" cy="257442"/>
          </a:xfrm>
        </p:grpSpPr>
        <p:sp>
          <p:nvSpPr>
            <p:cNvPr id="59" name="btfpRunningAgenda1LevelBarLeft418601">
              <a:extLst>
                <a:ext uri="{FF2B5EF4-FFF2-40B4-BE49-F238E27FC236}">
                  <a16:creationId xmlns:a16="http://schemas.microsoft.com/office/drawing/2014/main" id="{24E556F6-B53A-45D2-868C-277F718203C3}"/>
                </a:ext>
              </a:extLst>
            </p:cNvPr>
            <p:cNvSpPr/>
            <p:nvPr/>
          </p:nvSpPr>
          <p:spPr bwMode="gray">
            <a:xfrm>
              <a:off x="0" y="876300"/>
              <a:ext cx="3370181" cy="257442"/>
            </a:xfrm>
            <a:custGeom>
              <a:avLst/>
              <a:gdLst>
                <a:gd name="connsiteX0" fmla="*/ 942786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42786 w 1816204"/>
                <a:gd name="connsiteY0" fmla="*/ 0 h 257442"/>
                <a:gd name="connsiteX1" fmla="*/ 888066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1111101 w 1111101"/>
                <a:gd name="connsiteY0" fmla="*/ 0 h 257442"/>
                <a:gd name="connsiteX1" fmla="*/ 888065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79416 w 1279416"/>
                <a:gd name="connsiteY0" fmla="*/ 0 h 257442"/>
                <a:gd name="connsiteX1" fmla="*/ 1056380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4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447733 w 1447733"/>
                <a:gd name="connsiteY0" fmla="*/ 0 h 257442"/>
                <a:gd name="connsiteX1" fmla="*/ 1224695 w 1447733"/>
                <a:gd name="connsiteY1" fmla="*/ 257442 h 257442"/>
                <a:gd name="connsiteX2" fmla="*/ 0 w 1447733"/>
                <a:gd name="connsiteY2" fmla="*/ 257442 h 257442"/>
                <a:gd name="connsiteX3" fmla="*/ 1 w 1447733"/>
                <a:gd name="connsiteY3" fmla="*/ 0 h 257442"/>
                <a:gd name="connsiteX0" fmla="*/ 1447733 w 1447733"/>
                <a:gd name="connsiteY0" fmla="*/ 0 h 257442"/>
                <a:gd name="connsiteX1" fmla="*/ 1393012 w 1447733"/>
                <a:gd name="connsiteY1" fmla="*/ 257442 h 257442"/>
                <a:gd name="connsiteX2" fmla="*/ 0 w 1447733"/>
                <a:gd name="connsiteY2" fmla="*/ 257442 h 257442"/>
                <a:gd name="connsiteX3" fmla="*/ 1 w 1447733"/>
                <a:gd name="connsiteY3" fmla="*/ 0 h 257442"/>
                <a:gd name="connsiteX0" fmla="*/ 1447732 w 1447732"/>
                <a:gd name="connsiteY0" fmla="*/ 0 h 257442"/>
                <a:gd name="connsiteX1" fmla="*/ 1393011 w 1447732"/>
                <a:gd name="connsiteY1" fmla="*/ 257442 h 257442"/>
                <a:gd name="connsiteX2" fmla="*/ 0 w 1447732"/>
                <a:gd name="connsiteY2" fmla="*/ 257442 h 257442"/>
                <a:gd name="connsiteX3" fmla="*/ 0 w 1447732"/>
                <a:gd name="connsiteY3" fmla="*/ 0 h 257442"/>
                <a:gd name="connsiteX0" fmla="*/ 1447733 w 1447733"/>
                <a:gd name="connsiteY0" fmla="*/ 0 h 257442"/>
                <a:gd name="connsiteX1" fmla="*/ 1393012 w 1447733"/>
                <a:gd name="connsiteY1" fmla="*/ 257442 h 257442"/>
                <a:gd name="connsiteX2" fmla="*/ 1 w 1447733"/>
                <a:gd name="connsiteY2" fmla="*/ 257442 h 257442"/>
                <a:gd name="connsiteX3" fmla="*/ 0 w 1447733"/>
                <a:gd name="connsiteY3" fmla="*/ 0 h 257442"/>
                <a:gd name="connsiteX0" fmla="*/ 1608033 w 1608033"/>
                <a:gd name="connsiteY0" fmla="*/ 0 h 257442"/>
                <a:gd name="connsiteX1" fmla="*/ 1393012 w 1608033"/>
                <a:gd name="connsiteY1" fmla="*/ 257442 h 257442"/>
                <a:gd name="connsiteX2" fmla="*/ 1 w 1608033"/>
                <a:gd name="connsiteY2" fmla="*/ 257442 h 257442"/>
                <a:gd name="connsiteX3" fmla="*/ 0 w 1608033"/>
                <a:gd name="connsiteY3" fmla="*/ 0 h 257442"/>
                <a:gd name="connsiteX0" fmla="*/ 1608033 w 1608033"/>
                <a:gd name="connsiteY0" fmla="*/ 0 h 257442"/>
                <a:gd name="connsiteX1" fmla="*/ 1553312 w 1608033"/>
                <a:gd name="connsiteY1" fmla="*/ 257442 h 257442"/>
                <a:gd name="connsiteX2" fmla="*/ 1 w 1608033"/>
                <a:gd name="connsiteY2" fmla="*/ 257442 h 257442"/>
                <a:gd name="connsiteX3" fmla="*/ 0 w 1608033"/>
                <a:gd name="connsiteY3" fmla="*/ 0 h 257442"/>
                <a:gd name="connsiteX0" fmla="*/ 1608033 w 1608033"/>
                <a:gd name="connsiteY0" fmla="*/ 0 h 257442"/>
                <a:gd name="connsiteX1" fmla="*/ 1553312 w 1608033"/>
                <a:gd name="connsiteY1" fmla="*/ 257442 h 257442"/>
                <a:gd name="connsiteX2" fmla="*/ 1 w 1608033"/>
                <a:gd name="connsiteY2" fmla="*/ 257442 h 257442"/>
                <a:gd name="connsiteX3" fmla="*/ 0 w 1608033"/>
                <a:gd name="connsiteY3" fmla="*/ 0 h 257442"/>
                <a:gd name="connsiteX0" fmla="*/ 1608032 w 1608032"/>
                <a:gd name="connsiteY0" fmla="*/ 0 h 257442"/>
                <a:gd name="connsiteX1" fmla="*/ 1553311 w 1608032"/>
                <a:gd name="connsiteY1" fmla="*/ 257442 h 257442"/>
                <a:gd name="connsiteX2" fmla="*/ 0 w 1608032"/>
                <a:gd name="connsiteY2" fmla="*/ 257442 h 257442"/>
                <a:gd name="connsiteX3" fmla="*/ 0 w 1608032"/>
                <a:gd name="connsiteY3" fmla="*/ 0 h 257442"/>
                <a:gd name="connsiteX0" fmla="*/ 1886954 w 1886954"/>
                <a:gd name="connsiteY0" fmla="*/ 0 h 257442"/>
                <a:gd name="connsiteX1" fmla="*/ 1553311 w 1886954"/>
                <a:gd name="connsiteY1" fmla="*/ 257442 h 257442"/>
                <a:gd name="connsiteX2" fmla="*/ 0 w 1886954"/>
                <a:gd name="connsiteY2" fmla="*/ 257442 h 257442"/>
                <a:gd name="connsiteX3" fmla="*/ 0 w 1886954"/>
                <a:gd name="connsiteY3" fmla="*/ 0 h 257442"/>
                <a:gd name="connsiteX0" fmla="*/ 1886954 w 1886954"/>
                <a:gd name="connsiteY0" fmla="*/ 0 h 257442"/>
                <a:gd name="connsiteX1" fmla="*/ 1832233 w 1886954"/>
                <a:gd name="connsiteY1" fmla="*/ 257442 h 257442"/>
                <a:gd name="connsiteX2" fmla="*/ 0 w 1886954"/>
                <a:gd name="connsiteY2" fmla="*/ 257442 h 257442"/>
                <a:gd name="connsiteX3" fmla="*/ 0 w 1886954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1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1 w 1886955"/>
                <a:gd name="connsiteY3" fmla="*/ 0 h 257442"/>
                <a:gd name="connsiteX0" fmla="*/ 2140230 w 2140230"/>
                <a:gd name="connsiteY0" fmla="*/ 0 h 257442"/>
                <a:gd name="connsiteX1" fmla="*/ 1832234 w 2140230"/>
                <a:gd name="connsiteY1" fmla="*/ 257442 h 257442"/>
                <a:gd name="connsiteX2" fmla="*/ 0 w 2140230"/>
                <a:gd name="connsiteY2" fmla="*/ 257442 h 257442"/>
                <a:gd name="connsiteX3" fmla="*/ 1 w 2140230"/>
                <a:gd name="connsiteY3" fmla="*/ 0 h 257442"/>
                <a:gd name="connsiteX0" fmla="*/ 2140230 w 2140230"/>
                <a:gd name="connsiteY0" fmla="*/ 0 h 257442"/>
                <a:gd name="connsiteX1" fmla="*/ 2085508 w 2140230"/>
                <a:gd name="connsiteY1" fmla="*/ 257442 h 257442"/>
                <a:gd name="connsiteX2" fmla="*/ 0 w 2140230"/>
                <a:gd name="connsiteY2" fmla="*/ 257442 h 257442"/>
                <a:gd name="connsiteX3" fmla="*/ 1 w 2140230"/>
                <a:gd name="connsiteY3" fmla="*/ 0 h 257442"/>
                <a:gd name="connsiteX0" fmla="*/ 2140230 w 2140230"/>
                <a:gd name="connsiteY0" fmla="*/ 0 h 257442"/>
                <a:gd name="connsiteX1" fmla="*/ 2085508 w 2140230"/>
                <a:gd name="connsiteY1" fmla="*/ 257442 h 257442"/>
                <a:gd name="connsiteX2" fmla="*/ 0 w 2140230"/>
                <a:gd name="connsiteY2" fmla="*/ 257442 h 257442"/>
                <a:gd name="connsiteX3" fmla="*/ 1 w 2140230"/>
                <a:gd name="connsiteY3" fmla="*/ 0 h 257442"/>
                <a:gd name="connsiteX0" fmla="*/ 2140230 w 2140230"/>
                <a:gd name="connsiteY0" fmla="*/ 0 h 257442"/>
                <a:gd name="connsiteX1" fmla="*/ 2085508 w 2140230"/>
                <a:gd name="connsiteY1" fmla="*/ 257442 h 257442"/>
                <a:gd name="connsiteX2" fmla="*/ 0 w 2140230"/>
                <a:gd name="connsiteY2" fmla="*/ 257442 h 257442"/>
                <a:gd name="connsiteX3" fmla="*/ 0 w 2140230"/>
                <a:gd name="connsiteY3" fmla="*/ 0 h 257442"/>
                <a:gd name="connsiteX0" fmla="*/ 2343810 w 2343810"/>
                <a:gd name="connsiteY0" fmla="*/ 0 h 257442"/>
                <a:gd name="connsiteX1" fmla="*/ 2085508 w 2343810"/>
                <a:gd name="connsiteY1" fmla="*/ 257442 h 257442"/>
                <a:gd name="connsiteX2" fmla="*/ 0 w 2343810"/>
                <a:gd name="connsiteY2" fmla="*/ 257442 h 257442"/>
                <a:gd name="connsiteX3" fmla="*/ 0 w 2343810"/>
                <a:gd name="connsiteY3" fmla="*/ 0 h 257442"/>
                <a:gd name="connsiteX0" fmla="*/ 2343810 w 2343810"/>
                <a:gd name="connsiteY0" fmla="*/ 0 h 257442"/>
                <a:gd name="connsiteX1" fmla="*/ 2289089 w 2343810"/>
                <a:gd name="connsiteY1" fmla="*/ 257442 h 257442"/>
                <a:gd name="connsiteX2" fmla="*/ 0 w 2343810"/>
                <a:gd name="connsiteY2" fmla="*/ 257442 h 257442"/>
                <a:gd name="connsiteX3" fmla="*/ 0 w 2343810"/>
                <a:gd name="connsiteY3" fmla="*/ 0 h 257442"/>
                <a:gd name="connsiteX0" fmla="*/ 2343810 w 2343810"/>
                <a:gd name="connsiteY0" fmla="*/ 0 h 257442"/>
                <a:gd name="connsiteX1" fmla="*/ 2289089 w 2343810"/>
                <a:gd name="connsiteY1" fmla="*/ 257442 h 257442"/>
                <a:gd name="connsiteX2" fmla="*/ 0 w 2343810"/>
                <a:gd name="connsiteY2" fmla="*/ 257442 h 257442"/>
                <a:gd name="connsiteX3" fmla="*/ 0 w 2343810"/>
                <a:gd name="connsiteY3" fmla="*/ 0 h 257442"/>
                <a:gd name="connsiteX0" fmla="*/ 2343810 w 2343810"/>
                <a:gd name="connsiteY0" fmla="*/ 0 h 257442"/>
                <a:gd name="connsiteX1" fmla="*/ 2289089 w 2343810"/>
                <a:gd name="connsiteY1" fmla="*/ 257442 h 257442"/>
                <a:gd name="connsiteX2" fmla="*/ 0 w 2343810"/>
                <a:gd name="connsiteY2" fmla="*/ 257442 h 257442"/>
                <a:gd name="connsiteX3" fmla="*/ 0 w 2343810"/>
                <a:gd name="connsiteY3" fmla="*/ 0 h 257442"/>
                <a:gd name="connsiteX0" fmla="*/ 2655947 w 2655947"/>
                <a:gd name="connsiteY0" fmla="*/ 0 h 257442"/>
                <a:gd name="connsiteX1" fmla="*/ 2289089 w 2655947"/>
                <a:gd name="connsiteY1" fmla="*/ 257442 h 257442"/>
                <a:gd name="connsiteX2" fmla="*/ 0 w 2655947"/>
                <a:gd name="connsiteY2" fmla="*/ 257442 h 257442"/>
                <a:gd name="connsiteX3" fmla="*/ 0 w 2655947"/>
                <a:gd name="connsiteY3" fmla="*/ 0 h 257442"/>
                <a:gd name="connsiteX0" fmla="*/ 2655947 w 2655947"/>
                <a:gd name="connsiteY0" fmla="*/ 0 h 257442"/>
                <a:gd name="connsiteX1" fmla="*/ 2601226 w 2655947"/>
                <a:gd name="connsiteY1" fmla="*/ 257442 h 257442"/>
                <a:gd name="connsiteX2" fmla="*/ 0 w 2655947"/>
                <a:gd name="connsiteY2" fmla="*/ 257442 h 257442"/>
                <a:gd name="connsiteX3" fmla="*/ 0 w 2655947"/>
                <a:gd name="connsiteY3" fmla="*/ 0 h 257442"/>
                <a:gd name="connsiteX0" fmla="*/ 2655947 w 2655947"/>
                <a:gd name="connsiteY0" fmla="*/ 0 h 257442"/>
                <a:gd name="connsiteX1" fmla="*/ 2601226 w 2655947"/>
                <a:gd name="connsiteY1" fmla="*/ 257442 h 257442"/>
                <a:gd name="connsiteX2" fmla="*/ 0 w 2655947"/>
                <a:gd name="connsiteY2" fmla="*/ 257442 h 257442"/>
                <a:gd name="connsiteX3" fmla="*/ 0 w 2655947"/>
                <a:gd name="connsiteY3" fmla="*/ 0 h 257442"/>
                <a:gd name="connsiteX0" fmla="*/ 2655947 w 2655947"/>
                <a:gd name="connsiteY0" fmla="*/ 0 h 257442"/>
                <a:gd name="connsiteX1" fmla="*/ 2601226 w 2655947"/>
                <a:gd name="connsiteY1" fmla="*/ 257442 h 257442"/>
                <a:gd name="connsiteX2" fmla="*/ 0 w 2655947"/>
                <a:gd name="connsiteY2" fmla="*/ 257442 h 257442"/>
                <a:gd name="connsiteX3" fmla="*/ 0 w 2655947"/>
                <a:gd name="connsiteY3" fmla="*/ 0 h 257442"/>
                <a:gd name="connsiteX0" fmla="*/ 2968533 w 2968533"/>
                <a:gd name="connsiteY0" fmla="*/ 0 h 257442"/>
                <a:gd name="connsiteX1" fmla="*/ 2601226 w 2968533"/>
                <a:gd name="connsiteY1" fmla="*/ 257442 h 257442"/>
                <a:gd name="connsiteX2" fmla="*/ 0 w 2968533"/>
                <a:gd name="connsiteY2" fmla="*/ 257442 h 257442"/>
                <a:gd name="connsiteX3" fmla="*/ 0 w 2968533"/>
                <a:gd name="connsiteY3" fmla="*/ 0 h 257442"/>
                <a:gd name="connsiteX0" fmla="*/ 2968533 w 2968533"/>
                <a:gd name="connsiteY0" fmla="*/ 0 h 257442"/>
                <a:gd name="connsiteX1" fmla="*/ 2913812 w 2968533"/>
                <a:gd name="connsiteY1" fmla="*/ 257442 h 257442"/>
                <a:gd name="connsiteX2" fmla="*/ 0 w 2968533"/>
                <a:gd name="connsiteY2" fmla="*/ 257442 h 257442"/>
                <a:gd name="connsiteX3" fmla="*/ 0 w 2968533"/>
                <a:gd name="connsiteY3" fmla="*/ 0 h 257442"/>
                <a:gd name="connsiteX0" fmla="*/ 2968533 w 2968533"/>
                <a:gd name="connsiteY0" fmla="*/ 0 h 257442"/>
                <a:gd name="connsiteX1" fmla="*/ 2913812 w 2968533"/>
                <a:gd name="connsiteY1" fmla="*/ 257442 h 257442"/>
                <a:gd name="connsiteX2" fmla="*/ 0 w 2968533"/>
                <a:gd name="connsiteY2" fmla="*/ 257442 h 257442"/>
                <a:gd name="connsiteX3" fmla="*/ 0 w 2968533"/>
                <a:gd name="connsiteY3" fmla="*/ 0 h 257442"/>
                <a:gd name="connsiteX0" fmla="*/ 2968533 w 2968533"/>
                <a:gd name="connsiteY0" fmla="*/ 0 h 257442"/>
                <a:gd name="connsiteX1" fmla="*/ 2913812 w 2968533"/>
                <a:gd name="connsiteY1" fmla="*/ 257442 h 257442"/>
                <a:gd name="connsiteX2" fmla="*/ 0 w 2968533"/>
                <a:gd name="connsiteY2" fmla="*/ 257442 h 257442"/>
                <a:gd name="connsiteX3" fmla="*/ 0 w 2968533"/>
                <a:gd name="connsiteY3" fmla="*/ 0 h 257442"/>
                <a:gd name="connsiteX0" fmla="*/ 950801 w 2913812"/>
                <a:gd name="connsiteY0" fmla="*/ 0 h 257442"/>
                <a:gd name="connsiteX1" fmla="*/ 2913812 w 2913812"/>
                <a:gd name="connsiteY1" fmla="*/ 257442 h 257442"/>
                <a:gd name="connsiteX2" fmla="*/ 0 w 2913812"/>
                <a:gd name="connsiteY2" fmla="*/ 257442 h 257442"/>
                <a:gd name="connsiteX3" fmla="*/ 0 w 291381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119115 w 1119115"/>
                <a:gd name="connsiteY0" fmla="*/ 0 h 257442"/>
                <a:gd name="connsiteX1" fmla="*/ 896079 w 1119115"/>
                <a:gd name="connsiteY1" fmla="*/ 257442 h 257442"/>
                <a:gd name="connsiteX2" fmla="*/ 0 w 1119115"/>
                <a:gd name="connsiteY2" fmla="*/ 257442 h 257442"/>
                <a:gd name="connsiteX3" fmla="*/ 0 w 1119115"/>
                <a:gd name="connsiteY3" fmla="*/ 0 h 257442"/>
                <a:gd name="connsiteX0" fmla="*/ 1119115 w 1119115"/>
                <a:gd name="connsiteY0" fmla="*/ 0 h 257442"/>
                <a:gd name="connsiteX1" fmla="*/ 1064394 w 1119115"/>
                <a:gd name="connsiteY1" fmla="*/ 257442 h 257442"/>
                <a:gd name="connsiteX2" fmla="*/ 0 w 1119115"/>
                <a:gd name="connsiteY2" fmla="*/ 257442 h 257442"/>
                <a:gd name="connsiteX3" fmla="*/ 0 w 1119115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279416 w 1279416"/>
                <a:gd name="connsiteY0" fmla="*/ 0 h 257442"/>
                <a:gd name="connsiteX1" fmla="*/ 10643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606878 w 1606878"/>
                <a:gd name="connsiteY0" fmla="*/ 0 h 257442"/>
                <a:gd name="connsiteX1" fmla="*/ 1224695 w 1606878"/>
                <a:gd name="connsiteY1" fmla="*/ 257442 h 257442"/>
                <a:gd name="connsiteX2" fmla="*/ 0 w 1606878"/>
                <a:gd name="connsiteY2" fmla="*/ 257442 h 257442"/>
                <a:gd name="connsiteX3" fmla="*/ 0 w 1606878"/>
                <a:gd name="connsiteY3" fmla="*/ 0 h 257442"/>
                <a:gd name="connsiteX0" fmla="*/ 1606878 w 1606878"/>
                <a:gd name="connsiteY0" fmla="*/ 0 h 257442"/>
                <a:gd name="connsiteX1" fmla="*/ 1552157 w 1606878"/>
                <a:gd name="connsiteY1" fmla="*/ 257442 h 257442"/>
                <a:gd name="connsiteX2" fmla="*/ 0 w 1606878"/>
                <a:gd name="connsiteY2" fmla="*/ 257442 h 257442"/>
                <a:gd name="connsiteX3" fmla="*/ 0 w 1606878"/>
                <a:gd name="connsiteY3" fmla="*/ 0 h 257442"/>
                <a:gd name="connsiteX0" fmla="*/ 1606878 w 1606878"/>
                <a:gd name="connsiteY0" fmla="*/ 0 h 257442"/>
                <a:gd name="connsiteX1" fmla="*/ 1552157 w 1606878"/>
                <a:gd name="connsiteY1" fmla="*/ 257442 h 257442"/>
                <a:gd name="connsiteX2" fmla="*/ 0 w 1606878"/>
                <a:gd name="connsiteY2" fmla="*/ 257442 h 257442"/>
                <a:gd name="connsiteX3" fmla="*/ 0 w 1606878"/>
                <a:gd name="connsiteY3" fmla="*/ 0 h 257442"/>
                <a:gd name="connsiteX0" fmla="*/ 1606878 w 1606878"/>
                <a:gd name="connsiteY0" fmla="*/ 0 h 257442"/>
                <a:gd name="connsiteX1" fmla="*/ 1552157 w 1606878"/>
                <a:gd name="connsiteY1" fmla="*/ 257442 h 257442"/>
                <a:gd name="connsiteX2" fmla="*/ 0 w 1606878"/>
                <a:gd name="connsiteY2" fmla="*/ 257442 h 257442"/>
                <a:gd name="connsiteX3" fmla="*/ 0 w 1606878"/>
                <a:gd name="connsiteY3" fmla="*/ 0 h 257442"/>
                <a:gd name="connsiteX0" fmla="*/ 1792827 w 1792827"/>
                <a:gd name="connsiteY0" fmla="*/ 0 h 257442"/>
                <a:gd name="connsiteX1" fmla="*/ 1552157 w 1792827"/>
                <a:gd name="connsiteY1" fmla="*/ 257442 h 257442"/>
                <a:gd name="connsiteX2" fmla="*/ 0 w 1792827"/>
                <a:gd name="connsiteY2" fmla="*/ 257442 h 257442"/>
                <a:gd name="connsiteX3" fmla="*/ 0 w 1792827"/>
                <a:gd name="connsiteY3" fmla="*/ 0 h 257442"/>
                <a:gd name="connsiteX0" fmla="*/ 1792827 w 1792827"/>
                <a:gd name="connsiteY0" fmla="*/ 0 h 257442"/>
                <a:gd name="connsiteX1" fmla="*/ 1738106 w 1792827"/>
                <a:gd name="connsiteY1" fmla="*/ 257442 h 257442"/>
                <a:gd name="connsiteX2" fmla="*/ 0 w 1792827"/>
                <a:gd name="connsiteY2" fmla="*/ 257442 h 257442"/>
                <a:gd name="connsiteX3" fmla="*/ 0 w 1792827"/>
                <a:gd name="connsiteY3" fmla="*/ 0 h 257442"/>
                <a:gd name="connsiteX0" fmla="*/ 1792827 w 1792827"/>
                <a:gd name="connsiteY0" fmla="*/ 0 h 257442"/>
                <a:gd name="connsiteX1" fmla="*/ 1738106 w 1792827"/>
                <a:gd name="connsiteY1" fmla="*/ 257442 h 257442"/>
                <a:gd name="connsiteX2" fmla="*/ 0 w 1792827"/>
                <a:gd name="connsiteY2" fmla="*/ 257442 h 257442"/>
                <a:gd name="connsiteX3" fmla="*/ 0 w 1792827"/>
                <a:gd name="connsiteY3" fmla="*/ 0 h 257442"/>
                <a:gd name="connsiteX0" fmla="*/ 1792827 w 1792827"/>
                <a:gd name="connsiteY0" fmla="*/ 0 h 257442"/>
                <a:gd name="connsiteX1" fmla="*/ 1738106 w 1792827"/>
                <a:gd name="connsiteY1" fmla="*/ 257442 h 257442"/>
                <a:gd name="connsiteX2" fmla="*/ 0 w 1792827"/>
                <a:gd name="connsiteY2" fmla="*/ 257442 h 257442"/>
                <a:gd name="connsiteX3" fmla="*/ 0 w 1792827"/>
                <a:gd name="connsiteY3" fmla="*/ 0 h 257442"/>
                <a:gd name="connsiteX0" fmla="*/ 1953127 w 1953127"/>
                <a:gd name="connsiteY0" fmla="*/ 0 h 257442"/>
                <a:gd name="connsiteX1" fmla="*/ 1738106 w 1953127"/>
                <a:gd name="connsiteY1" fmla="*/ 257442 h 257442"/>
                <a:gd name="connsiteX2" fmla="*/ 0 w 1953127"/>
                <a:gd name="connsiteY2" fmla="*/ 257442 h 257442"/>
                <a:gd name="connsiteX3" fmla="*/ 0 w 1953127"/>
                <a:gd name="connsiteY3" fmla="*/ 0 h 257442"/>
                <a:gd name="connsiteX0" fmla="*/ 1953127 w 1953127"/>
                <a:gd name="connsiteY0" fmla="*/ 0 h 257442"/>
                <a:gd name="connsiteX1" fmla="*/ 1898406 w 1953127"/>
                <a:gd name="connsiteY1" fmla="*/ 257442 h 257442"/>
                <a:gd name="connsiteX2" fmla="*/ 0 w 1953127"/>
                <a:gd name="connsiteY2" fmla="*/ 257442 h 257442"/>
                <a:gd name="connsiteX3" fmla="*/ 0 w 1953127"/>
                <a:gd name="connsiteY3" fmla="*/ 0 h 257442"/>
                <a:gd name="connsiteX0" fmla="*/ 1953127 w 1953127"/>
                <a:gd name="connsiteY0" fmla="*/ 0 h 257442"/>
                <a:gd name="connsiteX1" fmla="*/ 1898406 w 1953127"/>
                <a:gd name="connsiteY1" fmla="*/ 257442 h 257442"/>
                <a:gd name="connsiteX2" fmla="*/ 0 w 1953127"/>
                <a:gd name="connsiteY2" fmla="*/ 257442 h 257442"/>
                <a:gd name="connsiteX3" fmla="*/ 0 w 1953127"/>
                <a:gd name="connsiteY3" fmla="*/ 0 h 257442"/>
                <a:gd name="connsiteX0" fmla="*/ 1953127 w 1953127"/>
                <a:gd name="connsiteY0" fmla="*/ 0 h 257442"/>
                <a:gd name="connsiteX1" fmla="*/ 1898406 w 1953127"/>
                <a:gd name="connsiteY1" fmla="*/ 257442 h 257442"/>
                <a:gd name="connsiteX2" fmla="*/ 0 w 1953127"/>
                <a:gd name="connsiteY2" fmla="*/ 257442 h 257442"/>
                <a:gd name="connsiteX3" fmla="*/ 0 w 1953127"/>
                <a:gd name="connsiteY3" fmla="*/ 0 h 257442"/>
                <a:gd name="connsiteX0" fmla="*/ 2121442 w 2121442"/>
                <a:gd name="connsiteY0" fmla="*/ 0 h 257442"/>
                <a:gd name="connsiteX1" fmla="*/ 1898406 w 2121442"/>
                <a:gd name="connsiteY1" fmla="*/ 257442 h 257442"/>
                <a:gd name="connsiteX2" fmla="*/ 0 w 2121442"/>
                <a:gd name="connsiteY2" fmla="*/ 257442 h 257442"/>
                <a:gd name="connsiteX3" fmla="*/ 0 w 2121442"/>
                <a:gd name="connsiteY3" fmla="*/ 0 h 257442"/>
                <a:gd name="connsiteX0" fmla="*/ 2121442 w 2121442"/>
                <a:gd name="connsiteY0" fmla="*/ 0 h 257442"/>
                <a:gd name="connsiteX1" fmla="*/ 2066720 w 2121442"/>
                <a:gd name="connsiteY1" fmla="*/ 257442 h 257442"/>
                <a:gd name="connsiteX2" fmla="*/ 0 w 2121442"/>
                <a:gd name="connsiteY2" fmla="*/ 257442 h 257442"/>
                <a:gd name="connsiteX3" fmla="*/ 0 w 2121442"/>
                <a:gd name="connsiteY3" fmla="*/ 0 h 257442"/>
                <a:gd name="connsiteX0" fmla="*/ 2121443 w 2121443"/>
                <a:gd name="connsiteY0" fmla="*/ 0 h 257442"/>
                <a:gd name="connsiteX1" fmla="*/ 2066721 w 2121443"/>
                <a:gd name="connsiteY1" fmla="*/ 257442 h 257442"/>
                <a:gd name="connsiteX2" fmla="*/ 0 w 2121443"/>
                <a:gd name="connsiteY2" fmla="*/ 257442 h 257442"/>
                <a:gd name="connsiteX3" fmla="*/ 1 w 2121443"/>
                <a:gd name="connsiteY3" fmla="*/ 0 h 257442"/>
                <a:gd name="connsiteX0" fmla="*/ 2121443 w 2121443"/>
                <a:gd name="connsiteY0" fmla="*/ 0 h 257442"/>
                <a:gd name="connsiteX1" fmla="*/ 2066721 w 2121443"/>
                <a:gd name="connsiteY1" fmla="*/ 257442 h 257442"/>
                <a:gd name="connsiteX2" fmla="*/ 0 w 2121443"/>
                <a:gd name="connsiteY2" fmla="*/ 257442 h 257442"/>
                <a:gd name="connsiteX3" fmla="*/ 1 w 2121443"/>
                <a:gd name="connsiteY3" fmla="*/ 0 h 257442"/>
                <a:gd name="connsiteX0" fmla="*/ 2400365 w 2400365"/>
                <a:gd name="connsiteY0" fmla="*/ 0 h 257442"/>
                <a:gd name="connsiteX1" fmla="*/ 2066721 w 2400365"/>
                <a:gd name="connsiteY1" fmla="*/ 257442 h 257442"/>
                <a:gd name="connsiteX2" fmla="*/ 0 w 2400365"/>
                <a:gd name="connsiteY2" fmla="*/ 257442 h 257442"/>
                <a:gd name="connsiteX3" fmla="*/ 1 w 2400365"/>
                <a:gd name="connsiteY3" fmla="*/ 0 h 257442"/>
                <a:gd name="connsiteX0" fmla="*/ 2400365 w 2400365"/>
                <a:gd name="connsiteY0" fmla="*/ 0 h 257442"/>
                <a:gd name="connsiteX1" fmla="*/ 2345644 w 2400365"/>
                <a:gd name="connsiteY1" fmla="*/ 257442 h 257442"/>
                <a:gd name="connsiteX2" fmla="*/ 0 w 2400365"/>
                <a:gd name="connsiteY2" fmla="*/ 257442 h 257442"/>
                <a:gd name="connsiteX3" fmla="*/ 1 w 2400365"/>
                <a:gd name="connsiteY3" fmla="*/ 0 h 257442"/>
                <a:gd name="connsiteX0" fmla="*/ 2400364 w 2400364"/>
                <a:gd name="connsiteY0" fmla="*/ 0 h 257442"/>
                <a:gd name="connsiteX1" fmla="*/ 2345643 w 2400364"/>
                <a:gd name="connsiteY1" fmla="*/ 257442 h 257442"/>
                <a:gd name="connsiteX2" fmla="*/ 0 w 2400364"/>
                <a:gd name="connsiteY2" fmla="*/ 257442 h 257442"/>
                <a:gd name="connsiteX3" fmla="*/ 0 w 2400364"/>
                <a:gd name="connsiteY3" fmla="*/ 0 h 257442"/>
                <a:gd name="connsiteX0" fmla="*/ 2400365 w 2400365"/>
                <a:gd name="connsiteY0" fmla="*/ 0 h 257442"/>
                <a:gd name="connsiteX1" fmla="*/ 2345644 w 2400365"/>
                <a:gd name="connsiteY1" fmla="*/ 257442 h 257442"/>
                <a:gd name="connsiteX2" fmla="*/ 1 w 2400365"/>
                <a:gd name="connsiteY2" fmla="*/ 257442 h 257442"/>
                <a:gd name="connsiteX3" fmla="*/ 0 w 2400365"/>
                <a:gd name="connsiteY3" fmla="*/ 0 h 257442"/>
                <a:gd name="connsiteX0" fmla="*/ 2560665 w 2560665"/>
                <a:gd name="connsiteY0" fmla="*/ 0 h 257442"/>
                <a:gd name="connsiteX1" fmla="*/ 2345644 w 2560665"/>
                <a:gd name="connsiteY1" fmla="*/ 257442 h 257442"/>
                <a:gd name="connsiteX2" fmla="*/ 1 w 2560665"/>
                <a:gd name="connsiteY2" fmla="*/ 257442 h 257442"/>
                <a:gd name="connsiteX3" fmla="*/ 0 w 2560665"/>
                <a:gd name="connsiteY3" fmla="*/ 0 h 257442"/>
                <a:gd name="connsiteX0" fmla="*/ 2560665 w 2560665"/>
                <a:gd name="connsiteY0" fmla="*/ 0 h 257442"/>
                <a:gd name="connsiteX1" fmla="*/ 2505944 w 2560665"/>
                <a:gd name="connsiteY1" fmla="*/ 257442 h 257442"/>
                <a:gd name="connsiteX2" fmla="*/ 1 w 2560665"/>
                <a:gd name="connsiteY2" fmla="*/ 257442 h 257442"/>
                <a:gd name="connsiteX3" fmla="*/ 0 w 2560665"/>
                <a:gd name="connsiteY3" fmla="*/ 0 h 257442"/>
                <a:gd name="connsiteX0" fmla="*/ 2560665 w 2560665"/>
                <a:gd name="connsiteY0" fmla="*/ 0 h 257442"/>
                <a:gd name="connsiteX1" fmla="*/ 2505944 w 2560665"/>
                <a:gd name="connsiteY1" fmla="*/ 257442 h 257442"/>
                <a:gd name="connsiteX2" fmla="*/ 1 w 2560665"/>
                <a:gd name="connsiteY2" fmla="*/ 257442 h 257442"/>
                <a:gd name="connsiteX3" fmla="*/ 0 w 2560665"/>
                <a:gd name="connsiteY3" fmla="*/ 0 h 257442"/>
                <a:gd name="connsiteX0" fmla="*/ 2560664 w 2560664"/>
                <a:gd name="connsiteY0" fmla="*/ 0 h 257442"/>
                <a:gd name="connsiteX1" fmla="*/ 2505943 w 2560664"/>
                <a:gd name="connsiteY1" fmla="*/ 257442 h 257442"/>
                <a:gd name="connsiteX2" fmla="*/ 0 w 2560664"/>
                <a:gd name="connsiteY2" fmla="*/ 257442 h 257442"/>
                <a:gd name="connsiteX3" fmla="*/ 0 w 2560664"/>
                <a:gd name="connsiteY3" fmla="*/ 0 h 257442"/>
                <a:gd name="connsiteX0" fmla="*/ 2720964 w 2720964"/>
                <a:gd name="connsiteY0" fmla="*/ 0 h 257442"/>
                <a:gd name="connsiteX1" fmla="*/ 2505943 w 2720964"/>
                <a:gd name="connsiteY1" fmla="*/ 257442 h 257442"/>
                <a:gd name="connsiteX2" fmla="*/ 0 w 2720964"/>
                <a:gd name="connsiteY2" fmla="*/ 257442 h 257442"/>
                <a:gd name="connsiteX3" fmla="*/ 0 w 2720964"/>
                <a:gd name="connsiteY3" fmla="*/ 0 h 257442"/>
                <a:gd name="connsiteX0" fmla="*/ 2720964 w 2720964"/>
                <a:gd name="connsiteY0" fmla="*/ 0 h 257442"/>
                <a:gd name="connsiteX1" fmla="*/ 2666243 w 2720964"/>
                <a:gd name="connsiteY1" fmla="*/ 257442 h 257442"/>
                <a:gd name="connsiteX2" fmla="*/ 0 w 2720964"/>
                <a:gd name="connsiteY2" fmla="*/ 257442 h 257442"/>
                <a:gd name="connsiteX3" fmla="*/ 0 w 2720964"/>
                <a:gd name="connsiteY3" fmla="*/ 0 h 257442"/>
                <a:gd name="connsiteX0" fmla="*/ 2720965 w 2720965"/>
                <a:gd name="connsiteY0" fmla="*/ 0 h 257442"/>
                <a:gd name="connsiteX1" fmla="*/ 2666244 w 2720965"/>
                <a:gd name="connsiteY1" fmla="*/ 257442 h 257442"/>
                <a:gd name="connsiteX2" fmla="*/ 0 w 2720965"/>
                <a:gd name="connsiteY2" fmla="*/ 257442 h 257442"/>
                <a:gd name="connsiteX3" fmla="*/ 1 w 2720965"/>
                <a:gd name="connsiteY3" fmla="*/ 0 h 257442"/>
                <a:gd name="connsiteX0" fmla="*/ 2720965 w 2720965"/>
                <a:gd name="connsiteY0" fmla="*/ 0 h 257442"/>
                <a:gd name="connsiteX1" fmla="*/ 2666244 w 2720965"/>
                <a:gd name="connsiteY1" fmla="*/ 257442 h 257442"/>
                <a:gd name="connsiteX2" fmla="*/ 0 w 2720965"/>
                <a:gd name="connsiteY2" fmla="*/ 257442 h 257442"/>
                <a:gd name="connsiteX3" fmla="*/ 1 w 2720965"/>
                <a:gd name="connsiteY3" fmla="*/ 0 h 257442"/>
                <a:gd name="connsiteX0" fmla="*/ 2889282 w 2889282"/>
                <a:gd name="connsiteY0" fmla="*/ 0 h 257442"/>
                <a:gd name="connsiteX1" fmla="*/ 2666244 w 2889282"/>
                <a:gd name="connsiteY1" fmla="*/ 257442 h 257442"/>
                <a:gd name="connsiteX2" fmla="*/ 0 w 2889282"/>
                <a:gd name="connsiteY2" fmla="*/ 257442 h 257442"/>
                <a:gd name="connsiteX3" fmla="*/ 1 w 2889282"/>
                <a:gd name="connsiteY3" fmla="*/ 0 h 257442"/>
                <a:gd name="connsiteX0" fmla="*/ 2889282 w 2889282"/>
                <a:gd name="connsiteY0" fmla="*/ 0 h 257442"/>
                <a:gd name="connsiteX1" fmla="*/ 2834560 w 2889282"/>
                <a:gd name="connsiteY1" fmla="*/ 257442 h 257442"/>
                <a:gd name="connsiteX2" fmla="*/ 0 w 2889282"/>
                <a:gd name="connsiteY2" fmla="*/ 257442 h 257442"/>
                <a:gd name="connsiteX3" fmla="*/ 1 w 2889282"/>
                <a:gd name="connsiteY3" fmla="*/ 0 h 257442"/>
                <a:gd name="connsiteX0" fmla="*/ 2889282 w 2889282"/>
                <a:gd name="connsiteY0" fmla="*/ 0 h 257442"/>
                <a:gd name="connsiteX1" fmla="*/ 2834560 w 2889282"/>
                <a:gd name="connsiteY1" fmla="*/ 257442 h 257442"/>
                <a:gd name="connsiteX2" fmla="*/ 0 w 2889282"/>
                <a:gd name="connsiteY2" fmla="*/ 257442 h 257442"/>
                <a:gd name="connsiteX3" fmla="*/ 1 w 2889282"/>
                <a:gd name="connsiteY3" fmla="*/ 0 h 257442"/>
                <a:gd name="connsiteX0" fmla="*/ 2889282 w 2889282"/>
                <a:gd name="connsiteY0" fmla="*/ 0 h 257442"/>
                <a:gd name="connsiteX1" fmla="*/ 2834560 w 2889282"/>
                <a:gd name="connsiteY1" fmla="*/ 257442 h 257442"/>
                <a:gd name="connsiteX2" fmla="*/ 0 w 2889282"/>
                <a:gd name="connsiteY2" fmla="*/ 257442 h 257442"/>
                <a:gd name="connsiteX3" fmla="*/ 0 w 2889282"/>
                <a:gd name="connsiteY3" fmla="*/ 0 h 257442"/>
                <a:gd name="connsiteX0" fmla="*/ 3209881 w 3209881"/>
                <a:gd name="connsiteY0" fmla="*/ 0 h 257442"/>
                <a:gd name="connsiteX1" fmla="*/ 2834560 w 3209881"/>
                <a:gd name="connsiteY1" fmla="*/ 257442 h 257442"/>
                <a:gd name="connsiteX2" fmla="*/ 0 w 3209881"/>
                <a:gd name="connsiteY2" fmla="*/ 257442 h 257442"/>
                <a:gd name="connsiteX3" fmla="*/ 0 w 3209881"/>
                <a:gd name="connsiteY3" fmla="*/ 0 h 257442"/>
                <a:gd name="connsiteX0" fmla="*/ 3209881 w 3209881"/>
                <a:gd name="connsiteY0" fmla="*/ 0 h 257442"/>
                <a:gd name="connsiteX1" fmla="*/ 3155160 w 3209881"/>
                <a:gd name="connsiteY1" fmla="*/ 257442 h 257442"/>
                <a:gd name="connsiteX2" fmla="*/ 0 w 3209881"/>
                <a:gd name="connsiteY2" fmla="*/ 257442 h 257442"/>
                <a:gd name="connsiteX3" fmla="*/ 0 w 3209881"/>
                <a:gd name="connsiteY3" fmla="*/ 0 h 257442"/>
                <a:gd name="connsiteX0" fmla="*/ 3209881 w 3209881"/>
                <a:gd name="connsiteY0" fmla="*/ 0 h 257442"/>
                <a:gd name="connsiteX1" fmla="*/ 3155160 w 3209881"/>
                <a:gd name="connsiteY1" fmla="*/ 257442 h 257442"/>
                <a:gd name="connsiteX2" fmla="*/ 0 w 3209881"/>
                <a:gd name="connsiteY2" fmla="*/ 257442 h 257442"/>
                <a:gd name="connsiteX3" fmla="*/ 0 w 3209881"/>
                <a:gd name="connsiteY3" fmla="*/ 0 h 257442"/>
                <a:gd name="connsiteX0" fmla="*/ 3209881 w 3209881"/>
                <a:gd name="connsiteY0" fmla="*/ 0 h 257442"/>
                <a:gd name="connsiteX1" fmla="*/ 3155160 w 3209881"/>
                <a:gd name="connsiteY1" fmla="*/ 257442 h 257442"/>
                <a:gd name="connsiteX2" fmla="*/ 0 w 3209881"/>
                <a:gd name="connsiteY2" fmla="*/ 257442 h 257442"/>
                <a:gd name="connsiteX3" fmla="*/ 0 w 3209881"/>
                <a:gd name="connsiteY3" fmla="*/ 0 h 257442"/>
                <a:gd name="connsiteX0" fmla="*/ 3370181 w 3370181"/>
                <a:gd name="connsiteY0" fmla="*/ 0 h 257442"/>
                <a:gd name="connsiteX1" fmla="*/ 3155160 w 3370181"/>
                <a:gd name="connsiteY1" fmla="*/ 257442 h 257442"/>
                <a:gd name="connsiteX2" fmla="*/ 0 w 3370181"/>
                <a:gd name="connsiteY2" fmla="*/ 257442 h 257442"/>
                <a:gd name="connsiteX3" fmla="*/ 0 w 3370181"/>
                <a:gd name="connsiteY3" fmla="*/ 0 h 257442"/>
                <a:gd name="connsiteX0" fmla="*/ 3370181 w 3370181"/>
                <a:gd name="connsiteY0" fmla="*/ 0 h 257442"/>
                <a:gd name="connsiteX1" fmla="*/ 3315460 w 3370181"/>
                <a:gd name="connsiteY1" fmla="*/ 257442 h 257442"/>
                <a:gd name="connsiteX2" fmla="*/ 0 w 3370181"/>
                <a:gd name="connsiteY2" fmla="*/ 257442 h 257442"/>
                <a:gd name="connsiteX3" fmla="*/ 0 w 3370181"/>
                <a:gd name="connsiteY3" fmla="*/ 0 h 257442"/>
                <a:gd name="connsiteX0" fmla="*/ 3370181 w 3370181"/>
                <a:gd name="connsiteY0" fmla="*/ 0 h 257442"/>
                <a:gd name="connsiteX1" fmla="*/ 3315460 w 3370181"/>
                <a:gd name="connsiteY1" fmla="*/ 257442 h 257442"/>
                <a:gd name="connsiteX2" fmla="*/ 0 w 3370181"/>
                <a:gd name="connsiteY2" fmla="*/ 257442 h 257442"/>
                <a:gd name="connsiteX3" fmla="*/ 0 w 3370181"/>
                <a:gd name="connsiteY3" fmla="*/ 0 h 257442"/>
                <a:gd name="connsiteX0" fmla="*/ 3370181 w 3370181"/>
                <a:gd name="connsiteY0" fmla="*/ 0 h 257442"/>
                <a:gd name="connsiteX1" fmla="*/ 3315460 w 3370181"/>
                <a:gd name="connsiteY1" fmla="*/ 257442 h 257442"/>
                <a:gd name="connsiteX2" fmla="*/ 0 w 3370181"/>
                <a:gd name="connsiteY2" fmla="*/ 257442 h 257442"/>
                <a:gd name="connsiteX3" fmla="*/ 0 w 3370181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0181" h="257442">
                  <a:moveTo>
                    <a:pt x="3370181" y="0"/>
                  </a:moveTo>
                  <a:lnTo>
                    <a:pt x="3315460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btfpRunningAgenda1LevelTextLeft418601">
              <a:extLst>
                <a:ext uri="{FF2B5EF4-FFF2-40B4-BE49-F238E27FC236}">
                  <a16:creationId xmlns:a16="http://schemas.microsoft.com/office/drawing/2014/main" id="{42842233-1C6F-4561-9285-2E7A4033CA89}"/>
                </a:ext>
              </a:extLst>
            </p:cNvPr>
            <p:cNvSpPr txBox="1"/>
            <p:nvPr/>
          </p:nvSpPr>
          <p:spPr bwMode="gray">
            <a:xfrm>
              <a:off x="0" y="876300"/>
              <a:ext cx="3315460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USTOMER OVERLAP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18966117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" name="btfpColumnIndicatorGroup2">
            <a:extLst>
              <a:ext uri="{FF2B5EF4-FFF2-40B4-BE49-F238E27FC236}">
                <a16:creationId xmlns:a16="http://schemas.microsoft.com/office/drawing/2014/main" id="{92BC36C0-37BF-4BE8-B27C-E15FBE87987D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39" name="btfpColumnGapBlocker940770">
              <a:extLst>
                <a:ext uri="{FF2B5EF4-FFF2-40B4-BE49-F238E27FC236}">
                  <a16:creationId xmlns:a16="http://schemas.microsoft.com/office/drawing/2014/main" id="{FD424E1D-087E-4668-8BE8-3A8B9FDC17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3" name="btfpColumnGapBlocker762275">
              <a:extLst>
                <a:ext uri="{FF2B5EF4-FFF2-40B4-BE49-F238E27FC236}">
                  <a16:creationId xmlns:a16="http://schemas.microsoft.com/office/drawing/2014/main" id="{9E18659A-6E19-4AEF-A882-3EE9173B4026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1" name="btfpColumnIndicator565513">
              <a:extLst>
                <a:ext uri="{FF2B5EF4-FFF2-40B4-BE49-F238E27FC236}">
                  <a16:creationId xmlns:a16="http://schemas.microsoft.com/office/drawing/2014/main" id="{00EF27E2-0C40-4241-B8FF-F81B9C50EBC8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btfpColumnIndicator282030">
              <a:extLst>
                <a:ext uri="{FF2B5EF4-FFF2-40B4-BE49-F238E27FC236}">
                  <a16:creationId xmlns:a16="http://schemas.microsoft.com/office/drawing/2014/main" id="{0450666A-00F1-43C1-92E3-601F18C0EE5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btfpColumnIndicatorGroup1">
            <a:extLst>
              <a:ext uri="{FF2B5EF4-FFF2-40B4-BE49-F238E27FC236}">
                <a16:creationId xmlns:a16="http://schemas.microsoft.com/office/drawing/2014/main" id="{D1D32E6E-957B-4861-BAB0-8D3516CD6ADC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35" name="btfpColumnGapBlocker831783">
              <a:extLst>
                <a:ext uri="{FF2B5EF4-FFF2-40B4-BE49-F238E27FC236}">
                  <a16:creationId xmlns:a16="http://schemas.microsoft.com/office/drawing/2014/main" id="{D888EA30-D732-4AE2-AC6A-577E9B403855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2" name="btfpColumnGapBlocker861724">
              <a:extLst>
                <a:ext uri="{FF2B5EF4-FFF2-40B4-BE49-F238E27FC236}">
                  <a16:creationId xmlns:a16="http://schemas.microsoft.com/office/drawing/2014/main" id="{7467056D-DDCA-46CD-9180-0452387CD817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9" name="btfpColumnIndicator991068">
              <a:extLst>
                <a:ext uri="{FF2B5EF4-FFF2-40B4-BE49-F238E27FC236}">
                  <a16:creationId xmlns:a16="http://schemas.microsoft.com/office/drawing/2014/main" id="{74394354-CF35-47BF-B9C0-D66AAA3253A6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btfpColumnIndicator388359">
              <a:extLst>
                <a:ext uri="{FF2B5EF4-FFF2-40B4-BE49-F238E27FC236}">
                  <a16:creationId xmlns:a16="http://schemas.microsoft.com/office/drawing/2014/main" id="{289E0066-F8C2-4CF8-964D-6E9685EB7A78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Rectangle 12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dGaCoojY4qc7BV7QmMX7IdiSRGfRpneBB4JEjMYr/bJeMKqRUlCNsiTFY9PEUk3fUrTb1TRVBwS3saMl0RIEbogICTMyjy5UKz/EbD4pM1/ZcXJTkpqeoN0OB5N6iH97cmAmQq52lFD1Bw83kZNuagTSWLlS63PoHiI1qTFpPWev04RXK8dAKc4ct0dfRlqXr2w0QfrwxUNwnWIXx3u+vaAdN3L+rJayOz2ohq+rvskHI0ah4hrGpC8vvyulSNef/Z8fLWpajABBAugIvjzB6ZXbKJgAaBGldzPEkbmjJCzcFHTDgZBShMMRuv6A7jJv3hsrziC6qHtGf1bSGoW3kh7Dtj1motY+Gl3GT5djsfOpq43lIztpNz1XuC7MgRfW/wNk8wqPsw0LzTb6AYzyFInuGJuFprCiLXkTBbgstJ6CX+8tlQS3q/kT3DXJQ9+hhxcTUA1LXyPLNAq+LlWqGcJSp/cLUkC+c623+ZUHLTX6elBxjGSyd942Bd3NlarSXiZMysJHOTCtD7d4aGnoc7YW5gb4oK40+cCncDanSwWb8cTOQ2jaMqc90HlAJieQ3xkEeynG4fepF4hYs5+uc9eMLB/1kxnNbE1uGbOw2/NRB9Zbf2mPNur2hCYWHK3KKyvC0pJuIRWHNpXOHCUSV0zXh4WV2JCDH8gyaja7yCAOejk5szDqAq/UhaEuR4u2LvCsKtSrMnf72v08EmmtVkrxkCcZgZxTqD6Dkenl9AEDqWrpD/qKPayYP9jelwj+hn8emN/MPhkkHZ2g6BCO3yvrKsCz11f7WKjy6Ak7WXBQrleKa8hnGffmSVsQ2e1SMb8g/ku5QrbM7ixfAbt8zFGnJ3YW2X5k9wuOsLl7Vy+O3e4wpND47mHGFh27714GK6pGuJroT7CqG5u/O3wvxNKVuIV25eFJvksNWicxxExrurefrOhbgzy8Mjcc4z9e/D7pJg+t14WIEieTOkuxWkGIOLR9gh2T7Kl7KrfGnFcYbMgzXaHtpNFeIXAV3o9YbVj7xMdf+QToCbOSv9mU0XmpJ/Ej8Y2B4bwvw3e/JpadUxbh97d4nXER/lgB0GQ3Ax7NPp9mukyo9MmBYmQ/8Y8r94Lo5GoDwrlS7rRR9VxOxPVZCh8DyYuHfda5uFSYEEuyuFWKWX9OPWw4XuEn+ITo2OqVZEkNt03byRG2FS4uDeeHR8vVaFmyA31oI7UmMFuaUJsRswmKqrZvYNfm2DjcfVkpkNEwqCtl39nDJEFs0naIVQ6C8XYfvANhBx/jJ8G9NHLsTPyo8NotXlvLCnbu0GfevzH+xVdFsStPcduvS/fUOfHIgeO384V9LDmVjcT82T3ELTsIf2Vs2EECDQwdoJl/jQCoFsWq9IEb1rqbuCgPtLudj2WgYwJH5QKMpPkx0x/t9r+geJc9r3I7HtwLLrdRYQPum/gfFoQvt4fPJQE8GI3jO5U/kYVaw/x1XHre+x/quik62YBN9ZDsSJQxhXu0co4ZXxVZITT0nLigUdu33LcCRcPXg2pgfbacaTN3T7uPJW+x3H6HYw0/gtgtouEjOMk4LplhgipZyQTAmJXGgLMW5f289tmNLHzbM4HRpi6qVG/a1RxXG79xY8RhdNxQF2C+ll32o5vBStF8CFd6G8aLO3fY8btAL8HMYtXNMNrtYtR5t5IMP1sMpHWv5ntodbhctrWhS/XudivfvOXA52wG6DqrIYyqaUeiIRxd/9V7uUw8Plb2v3ZzpgVmqmEJVMjSsU0RJdzZ59oGIfLrY47aQcWWrLz2MnwjdvwIqO2TOJiTQn+8MZsSbCQmnRO0OBajVqKnb0wOAFvTw1ZTSdPoN8Kgp23L5Dz8bgmvvQaKTnwa1rZf7QcxgbUgGfHhowiSrrtzDYR+PvF2HJVP0Gh3u4GG6fFlhPk3LFbHO786w0F4td75O3y8wEa1pTGCUIxMBr1FhbD/ss7eM04z9hMORfBqK+KSSRhMfnh+ZD8qv3kmwpJ3dMq1Wa+UucgGuAKxhHbTsuHuB2vK7Yeeva5E4eDUTMp184ADd0navcFR8J8JToEd5ChxU7eeSJSglHjr8nhWKd48WSpU6ROvE6njsEcuVgfd04USC0KTCiCNd9oLI1c2GDkq2i0UmOgDulTZjxHCXIg+PCqd7v29j0Ag2fNOlG4XyUmYwQq5h5wy8FdhdJn7rhR+hckp76lfajRmG1nGfOcCKhfpxjZnQ5QB0Qe0yax0GTPYpSCYNR/2TN8/pE5BF1z2GeWx7fvUSQpCdYmLzMqjxZWsbebX9RHH5I6zOiB8iaTNAg9RAICjUlhLSGqH8url+HGg5jrKZy4vK87Mlw5E4VMfPHc8WzYVsHASeyJtSWKFXf3bxe5y+aLY18nOXNPlBgQkYOATqkcN8YmQks71JXyr6gY0F3C6Kihff6SrWP20T79UdHcZMzAuNWAqEpyvOhegRUM5hbomMEUoFdwRZXItdxFLUqvX3AkdFc+5+vHamEa2tDovlVNttmHdNLd20B+5YdjjqS8FO2JGGGht0hedG9UiYQuO/PjwENsqJlhIhKqQ8vJ69lCLdKK69qMNhw18eEdS5V6P749q0GSBWEOWI2N+j/zEvivJSVZ/v0csHdy3k4lqyvo7WmqZPfJlCMWG8xE2jIwFBTD4g4xG0QhdrRe0bYD0W6ZMKfeKZXqOZcuiDFWYWklu+qSlDH22CUxosKIjmI9fZzA6EcNPBPBh9iFwdt+uAPaquMIIu7pms/kDdku30pJwQtLsDRhGSWnrlHyy/HoIVqdty7QGdGhZGdaxR3HMsvpbCx9kyS9M70hMOB7kWMAmMGAvHXm/8B2kUz4s0+Xqj3dXbx/20PbtumDlIMGv+IpKAF6zGc5Dt9pFPhnyWcn5lUMd547/xyUMBuQrOt9BYXHxf9AvAOU4DGtdnIZzFiSfD5+xarsVgAmcmZF7+kd3de9yM/sc/0fv0u92rMJjgLjo6j8ztRGy3fVG86DtfPxnLQmBNTF8y5t/SYhlSK8wHW9FyWaZizMqbkg22u1W1sLCbdSqgBAvL7IjYxMAJHo7bvMafzIADHY7ZZq1oEvxz/Ds+HXL/q93G76VpSvJ7ciHXFvjD3PrzmURdWQcsOmY5f1NulX9QF2io0kCoqsuofP9UwsxSWY392oAu5AwtKpD/3bZPJ6BRQW73uMrGGuOJX2iNGM1JMAB+KQclrj2E4bQTZNCbZ9JvleFfRxgKYnwUjLsNwwwMZe7pnEUlRymXiYnyOp3mln10BQGANq5rky1+uM5hGjGxxxwcp9XhMbaoDKeBlxPVg/RuNLLaB87XtWll0RlDuz8H2ogjLjUdiY4Yc2La9L2GWBi03rToSpmNlNe5BU2A1QoDeqMBWPEz2JXWor1WAz3pqQIFN2lLteJRFYsAiwiqVkTzpBlNCNuwADQ1+wee363MMuILlHDRZ83kcdmrAQZg9cbvrCCG+PzqpzIEpnRojPIiwlpeN2qxH228knc0at0pFxIJpDrLbVxgm9vOwfLUmsPyU4EIihcDmUSRgpmug4zT1jonGIul0PfCoAsbfw8I2W6+kB4L/jm04UV3676RnL7BjTiIVHR9j0VglUQMd7RjcI64pf1CyxHeVRbnLghnPUqQbv/edRpNgShPLCpDpsw1YUEzi7WXS/lohtPVZD4jrwp39Ps3k3IbJgFvHKkmFvABIE2xxAUeRzhzFJ2haTJG53Fk0rj8eWWzKB00C0d+lfTkz/iHi2LV0vljKPdUGTsYnXbcsfiRdMyzSqeOr3gUoVpbH35Ab8eXKhRxBrckr7k4uerFhxHmeLyU8Hg+LGWCdn/yjf/hIcG9VncDHW4xrn+6BBc3GqQNWcN6UwuSgG83gI54tNOfMS/jWb2HrifyP5+2mEvnq2mk95GUoMExzZgOsoSUZ/n5aQgzO/x2Q/5rLs0RxcMFehMuq/hLaqNpvAhUN+kJzA6CFWQpA2RVylKfI9FiDIBHOGiIq6lz4H0vWdocWTSgcfpBIWSk5W+byy+OPn2tDmOQ8daUXWXL7IRJvoU8x4liCjBaFTPdbJCUmmfhOWc/o1ClDaE4OvmUS8uhD7wTw2A0uO69s0AgADKSAwf1aSrZALglHKiuZkDBLV2t3NWkw7MTrHGz57W+VVsFPeEQDJCIlUm2mfXIz/qpMIcMk7Bivi5ya2+rl76ckRMqUW4ErCLRl3GrQGdlLe5nLiBv4Ixj5hNBsAI9C58IZT3x0+8S3RWNRI4KHJ2kMk9cacFq1+xeWip2QCqsUiZPJwi6mUtK8KtbaLu3lflrPDk4bGvXukxZJjCBA8GcRPQRY0p+JCIyRTfGpRA3fHuRCDjjuMlJXlyHgVrMHFS775y25y4HvOkRtRTyK2YJNl+xAyHTd/6dZh9f/+jWnJhyS48V96Yaa2LfHnVZoz24iuoLyJQivHiABrdVrMROrD2ukL7vKBw3dk4kioB8SQhfztyT58KxvdHBzH337SXaFlspqm+mgMP3aQATvKh1j0jYA50/im1Whtj2E9BWoo9PvUoFJIAV3m0TPQnPsMCgY6YYFfO5Tei37SutBdSl/GZWOxWbdkOXvykajReGz5h2ZdOYmjPl0uFlYGSReC9CJWdzJ7BxVi/PtbS9mmJRwWllt49YNHyc5V7jR9zQZ77Rd4Wl3KEBZ78gv4+YxweNoJVd6n2qHFoEsNuAuCOtdOM7ldNBTc6qN7WN7BHPAfjYS0R/73jtY8VhFQ0Vn/3ci35omyCMNw7i605OPFJhaKRo/IyB9ZjsoQPCiDTtL1Xoebr5HA1uxuHUrsJF0XWnXFZU4UWHn4sve5XkzxjR/JcXh2FWRENUIYBkese5Gug3Rx8yqRj8I/BiJhstyNmQzeO3ogBynGbqdvYKSUGqcFrfn3GlWQBiBNAl0GitNbziQy9Ur8uOUFboN6YvJvS9pG+AGpswMa5zin+wQhyiw2p7cQi3uVFpZJRW/UQJOkYwHPAyuY/Vs00ANM/3b1p2PalhhonjFl634dxD67Prp1CPrlv+R2nlqcUkg2+LXK11cJDKHH1bh7RiD1P/F9xNvhUmfBO3ZiZG6171piA1fKJw7Sun5e1se7tpe66ajaMimpO3EG1f7r9mbq6HXv1k8E8+w4ALwatIiJf35rxy7a4EYAgBhBJBm9VF1IalcyNBxAYGvUvGiPuj0rVR9eHe4qPRKQTcEtFkI3rUxhj44pW/vptUrFDCQmTU7rTuZlP/liF0XszBp0zST52kiNGva87Bm8xRYw2AdgqZ/iqrmu1R3py7e6jFvsb7hW70MSX6SkcVFa/6qH5N3gYK/5LnhutbXwjtX60qR4xW6Ere32JeUXLk6ytVO5t0NzYwXDvqBZhvIcvOEhcOmtlr1bF/NFV99/H5JEJwJbnIYGI/xMucCBF4fZG9Bwju3dwZKGxZJMSfPori3Ta+CNdR1hcOEOsuu37ZjHikfRz/CL49NCyJxfcp5AwZXR1PF7QPwxEXbXkZtk+xn8dmuNBdMLd2/72DzoFPRU+PpK0A/kdTVFD0Trw9SW/PNbk/47GHmRuN4imcLpaLYVK6Tyvorh8PuLv3IAriL2BrHWFWL/SOcB3sFF7Ou1zRg4dusroqi2nwu00PzJy/k8ASnsqYlIf4jWRqQO+Jsa7TpXvlwnRKgvP9mL9Ztv7zr2TMWBVGzFn0fAq71ySaNm3v7vzL+ObJO8IRawNSmFi2oCb1BLy6RQh5i5ytATAHsS/BR37Tt1XhRCdfllDqmUh5VGKUddmykosOrvafEYgJqJG77nbmDG1EpLMQaMwUWFB+qrRX0guAWdXiGf8gE5KaUSfB27qQ6xAgeqVIG85SJaECIK+9riMu44dy1Ybm3FAlZk2rm9hfkGSWSNgpp1+SXSGZsiZ0NgjihOUCAlp1nt7z1zqtDS3s3LwU+3v0OU15WRHkusIaL1HOhQcrlH+ghYA5n9LaHjCG28jOtkSIOF0UVsbhEvS0vwQXvAEzWv0LXwDkG+PrZ3uRWAhDnjUsPMVJ0G3tcmdfiQlfVapELVPqKfvsg/DYh9syP9nBG89JZelhbUpclBhxWKqLIKNmheqy4nJm8RP98pl0kFJDssCr0kPRBCF6N7FrDEOJTwKhbKsm62EnyuvVHbG8vma1aYnrFTsNo5fDLi31O01Q+UDTJBbQ8yRDt2qx6EfVs85qHQkHxUjYdM2SlzoRYn5E2q7KBJUW12IqvAARVaiumAXu2+o4cNG8BRzsZcSmo6Bk5LtpCKnwY931McpWm2yqtpLQxmELX2M80wXv9Io1xzDBjn78ja2eq6CI5I/5SdnqEE7ftPgzmn7D2/uu7SPiTmg92saAwiTWGPrnT8Ol2tBdXkJK+pzmy8h/RAT+ElP1wxmWsgX1Tnw+1nBiC/7M8dj4YXQsnc7cS2BnCo9SquS5blStWO/NyTtrelnPsZVLn6McLKhw2z1ltnNN/Ikdzc5LaAEbBfu7zqfrtyEh8bri7pF1+7N6zEobYWSbO3AutWbt1r/x0oDu0zKjMBt7+sTlPL0ozWyDy8wi7mfN+VAcfalHM9DYTz45ZNdFGknW1gdlEpT20wn0ysjxzZnA9BWTqG2rr76yMdPxgoUGPO5PGb4md66r1crdE9etACWVzMykVVTPh6hoQBWKH4yRLHf06PazXDRdJFpk5EEuG9URxgM0qN9ouGS4rb2vOfuUzuIcnnRtXbgwisMqWjWXzO6EDcZEOrvUFmxMOeHldjubSM2CIbuWUCOEbUjfOlJFTsaFpE7oY5PVWV8Snv+/NaPwBewDzRPY3FBMvDxxVb4YzLEXOsjRHQHmByp+G2YwtBykNikfzODq5TD1yBoaI2mK9GXtF7E1iyakLi6BAcPCJ2qd6dUofz6AaIG6mqs9xdvDKACnC3Bcaj3h6bhgNl7C8+eYaYpA3urno9rcQ6AMY9KtSYGc58fz0l2R5n40DRyFX/b7lc62x8uP8tDDgEbvEqf4hhJr2M/8DaeUHKmrb1QEYPnwHQjF6CJ7suKdEs5Ou4CoIBQ5sq1Twe0t+99pcBxM6i/YYE8tHAJ0GVn8OZxIrO8sKR+O7nCzWKdD5P2lkkzJi6fcDKKIh+cI0pDHOOY657K131WMSFBYWl9q5EJM4eDNglXWYD3FEuexWuygwjFYtgb9Q4rbqTNwearRSioshZjfwjYQ3JXIAa8PoE1LDHg3rs3+7Uec99JmCLWJx4ShqOui/SgJu1Zhe7qlEtZWQGY8cnHo91fKdO6okbJfVr8fWcGCW7X1s6vHnHKDOSlOFyWBBJgmXBR4VXVxnxA2shn9LhkxKrY0p3ffX0OHTALLe3GWOTLPStpoILAkqcVsDB2T79j3e68SItz0AvvFRBrkpkcfPA4+oG1Rt6md5ZCsQpwdGD53s3D5d3Pv8z9DQTIt+5VFxbdhsOQp/e7vnEcDtDwSWGwX88EhmTIk7HR8QJDat46BCVMrRjbxGFY5mvc5wzUGBMv9LAqUJXl0PFDcVGFfs8eCYVnZc7EGRq6tA6iEoAjnacT7PmG6J3pGdaRuG4z1XOJ1jAUAjQr3mfLBEReIW+lzzfJT6LKiSrq3gkJAu70DAYXFvUG7hHYBmYDXV/jAIAKyUBJQ46pyIvSXFraXLqavGrJyJl7TbYwuaBWGZstCZvyzXzG1ixPNRiT1D++vuA/c46B7rNO94ZLP53qlv04WS6PppP+/zQRaMjOd65OMK+4/L7RDq5ALtN0liutGjyoPLZo7+Myllbhy3oGiID5oVci6ZpuQn6oa46vFTdXGhYLil5fBmVjDN9A1hsTrHkmn7tTQpu70+6nyJHb+pPZFPKKe4czRL5pkVbGAwYEDAFh9NarIKvecewUHZ7YwkKMyHrlaoisMg2JpG9+44RaBPA8ldlz0vFEXlaeZsdNPQPBR/GULmcnAaPgpA+KEZxQ/wLvkZ+kKukQHBpwjUNa1OcP4TJ4SR9CO67vOO+3/KNVZVp4H7fgInx0847AYbciFsQ1BLkp3FZv6iNID1oIHlDdEVjuSN7bzgm0NFR7PvGrLz9lXWqnWSUiuu4gTyEzHx1SYtU/x9Z9t9LsotFPy2lwc/8q1vhY092HUQgIlR7s59FjJtEzUHLcT9RY4QTwsZkeU10/3ZZ1JsWbwshoPqYPmqbkIfsAeq8Tm4kvEhaFWJSKfh2WYHrhOBCRmWb9WIRJrRwpebQQZ40jxFh4qDHGXUtGdkFHYm2kReS8lzMVSi3chvBhpfkXOqreZtbOSdiMvOiND5ti9Kvp9uru8hbDBBVo0cC0MYSWdJRvyBohQ4x3Wiuxyjp+NTBgOfT+1HiEziVJrrKsSjzOeXnaFE/ro4tQx+fig+KYeJiRL20vwiGYK7Uc7VMpMwsNdRu0GZjwkwjnuzjet1KrDgkqP7Tj9N6W/alDS4x54xEaE8GbtnNU6pJEszUUh8mDDeptxrj0DhNntKaTanFHTyYg3Pz3aYxk2ASpGvxsIyjJhm5eEGOc+WAUvF+Jmd/ebpzu7bI1Lb6sxOtVENl9mrpQToCr26lv3n5QAD5990bdveVnI4G9PSsFNMV1yma+170q6p6XgzbzYMEoLC1Y+6kE93HKdSJk0H0+Kq9UoWluFy++CJLDlhtLhiNqaOdmsYO3canVdFEe9Lut+n/o2iA8lP9vSxBrhfcmL0cxAGJguBoFG+Ybw0GJUHoPe0cOMcYmvyxp96aav11B5yOpl4bwjtPE/UxiUeV1Sd62HoJYExNF2+Hd1cmdw7csxVPBao8zbusBJxH1x9cepAEerX8lx16nzjoz0BTvipNn47U3QKHH0e/hd49q6X/fHA0NOmKUogycGC/GcyuU0HqXWM5xARUt35tegthMV1/2/dtU9arXLWd46l4ixR3RZz099hJjA/No0pAyPuDeepZjkNVSjyb9rlp+yV5hHiK12lil4yGZ33bkf23bBogtwCrdkWZoID2r3zYlPFdc6zbKm8WNG+BFABdvghayV5839jw84o1E5plbzMB24lR18BysHNYNRXTqj8buLZ+dikxc4LlEVIrpgPdFjMyPvNn6iGeBbFmtTUbIvaihomN92YQrE7QwSnj/KwzvQqjnn4ja3oBOnn/rhOXubb7nnzN7L54rIIsAi423fXgdV59d9mKEsKajYuk2hF8OC+bnf4JBDGJjjws9kUf9LA14jwUfD5bzkg0jpdIADy62DOY3LRoonkvc/aEe+FUE9rB3vEfPA4NYiSXhf6HaRsaJS8og1DbeHFuDmV0hDxwoB8TgpQIAs+L7pk56RZ2ocm0CEsmffOf3xd2PgGpy7XlIRJuICD1LEAMveTyXnLXJSCnx4MTM530Tpu5hMZNr48WwEWLRDC+POpr1gxZ4n86gAPRrJM2lfLkgS967cgWGNl2G4cAybRcGZUUMmgRbPOpB2mTtU9GbAAqgKB1Vbf7DqrWNmJa3CQfq72WqVjz/AFn+XWFkPukqLZu7t1SHu1Mv2gg2/E2gQNGtZQg/ORcFGxYGtl7l7nvyhlStWZgGFlgStEMJZRB1a4EsSFmZX0fnLn7/KuqmLnwKvxoFaXVhR3Z0a7lllw2H4w7siaD0omZxVuwPPW3Dcc2NGHDUiuNre5yyb0KyK3i15Do1Oa8QEsoei+zZAQX9QiEUjaa5JZpUtWnCS21R/ZUt0uDOhbuMk3r+E5ueoOvPovRW5P9XkUEXtenT920xrXelBpICmR8lS4XWimPeW/lbNNAlDSj0aH6qMkVREA8fHyO3ahx8C7kaHnxtxIf2f6rBhQzNO+nALWzWzCBx3MA+TlUSxlTW57hCUttDw6UYk/OVbgWmPr2VMiAT/LEPGdIREZxAK2elkJrTnSk1kp1RgzoT/SKvenQTGhhVl7DG6vIRPztnIy5nnkcAw9yQwezS8BLjadXcC9prLGz5pEHCKX6FQIzc4w4RIhw649XQ7qtA02gHPyDf+61F31usVptGUdQEdC/Q6rv1LfY3sRk4DUK2ERok/ZXCCJQNoQh9Y6K1VnqO7oG8Rtmys0vnCgptSXdGiD17jTOB5LK3lzBAXiGpuIjNKCIN6MormF5mEiPi33apUgqMKnH6bp4k3Bhoaa2cLh3QjNkG6hO7yfAsoc43/d8bOJ7b0H8NesqxxxxC1jv3IteQ41XCBzMD+u7Kn13iWFfsse7atF7olNiNZcMIP0PqdPY3RLfHXFDUK6WGD9ZZdwRWmKQ83JhDr6aUHS8BV1OxrpTbe4ZINPetjdbUzXX4xnjcfkDQTQy7uY9mGzxYgGGc+u1pn2oDSEpxLNsl3Op0DHgpzBz7B9KLlmHmlgVMHRb/yqmECtDnJQoRvoyPeY1X7qAa2HhFTDhdQQE63tfULwO49f3asPM1duDpyUmxMnp7Yp/vVG2kSJTX1gfjgrm5kU5IazO2C3x3ptrR7RXpOgA6GlAvAaZ2Ui0FVI9rLh49UFpJCl90a5PQd5A7QPp92Dg+aafaODM+18DdTCf46zyTHGTYY/QkGjJn2+DETYZSKWUIf/Of8ZiELqmoiAjFny2zrtaCzd7+iCnf06jdAfka6yWVw7Hdj/DQZmNYG2p+euyiCv6xPOw0n+GHieqoTdCnw/4hIj7mdIiijPeQ3eCmITEHajlN5LGcU57GWKGKg0fPqLW56WRzFBEFDdOa+11fJNMbM8z5d2I6s1YOiAugl+csG2fXA1F3wzZnZoEiveJVpSIjceqDUe4deElYtnDZOj9cBB/QJLnoeHybEfwS5rjEv0tSy7g09lfpc/4i6TXr/KbHCS09yjklwFX8zYhL1fSgUegHf9g5Pfs2LPMvmpo2tQAgwY03d1HEtO4mUFCmpiT1804qB3lHdhLkd7eZNvDeYEyxMpwrz8ZQiZ0jsZGlO+4sRXeiAvVxQTEkEhv0JGgGRVqC3zQgpzeEoRM/qhibZlkOlVVJT1tKG+qgKS9qAhneZtS2MOaHLe4zgWuyfeEfNf2NmcN7ZlGA6XtZ+ZMX5at0OTetReISwo3ok1nkzFOSznNeC1UfC0KnAgFHfeIBCg90T2OuELqZ3qitQ/67sJusygKCMFjOA2kf9hjetuuJH7byMlwUcDDakD9YUocveeEHJGL+UlUfL0TPrL7y3JKrRVZVVu3epTsoeP1OQx98hZSZJkLykWKx15MwGpU+PCCSP8kfKfHG6DOe5ompfGXNb2b/WAFj5tpnfVMnQ6vaW7uAp7c/KOMZVAgv9To03TIXeQqfLfBvgU8i1VNO0pT0Mst3HLmncrOXqv8LVhEOAdVbDFpIg0iqPbxR/Xvrz1hTojrSgiuPYVHs4wFU/bTY5t032VYjaHY2ORkXzUr4DDQF4IERZMp7BsHHNRvKhY7md0N+HWOCsHQlNKtVIllGAw7F5dE0G8vEX9UgAO7BRnBr5DTXtsHdshEgb5ilFZDtQrYwroycav8m0+AH+Ld5yEkQ5UVspVTO+XKf2kUH+95FNGYd/rFzHPIRpzNPB9LMeIgSpF+6uqz0WcqpS/Ukzs3nO2siBP6OulnoIXKCoNqBgWHQBw6+eW6MqfDhpYjMH/R2hMFXUyMRIFpXAkNwjSB/POSBX4S0csLQJ/CGNtzjzP0GiCN4s0tau8a+UwLhkMmyNcQD76oUVAc2ptC1G8NqBgC8oR059o2ycZ6SMVG2A2mJgYbuOhfm6c+e1TYmjYX3HozCTSXidpWdiImeA5udNP/iCWxrNs7OXmzAVA+IVu8KAEpcx25pEY4lkERUXa5j7xuov+AJKw/6GW5PBOVbiL1kmDqkalHG86RQ6/QAB0IViF/RiTgzSPCT8hVgSlFp6AqVM839YOppCcUEqqMBO9tUWHfg8GdFlMKwyk1+wQHHIKLF70Oa8G3eZTco1TU1/BFTtzjS4fgeO81IK8H+6kifPYs5QeuyMolM0sTPEn0+LqKQLcWnddtlVlL4ogC/ZjPE80vxsdYE9Gv+go+mAYS21GZ3XYYVXR+cuvp1dmc9HorLJyjWtANjqx0nZt5oQdfNnkcQxznY8LFGDLE81h5cQUXWKgOSIdVF3mCxFRz2fR5B+2Xaw/glral9LQx72EhizEDHh6qD+CxrPQtsk/vRy6yfKKNpxHg570hlwQPz35XLuvQ31C6hWuR6KGaVAt2SCuqYD4Vyl9OwbbUhR5nd8mkiKZGRIqzAjsqFlSbuR19p9x/183uVrtlElSyZ5igtQelu5KK3b7dqbzTW/f2pY6VuPsBzsaZznEtG5z6qvxwhPDRRwUzabdkrDtbSGM4D+DgtfRk8utu323kpnKygh27MXjLKm/5VTor6EfoVJkZhHG7/ZIgrOaIdhS4r3neWPAqaXyTMrE4b4HkR1ixnQpvOYZu6ZpIHW/X7HLlCj44Mi9ucuWNlzpsm6awzJycqUvK8pOLMJ46fCeCetEixtTZFyrqtGJZ7CGoc4D65HQNqx87+5yB8t42JGxtAMJwrIQPKfTC5kdY8/hn2esiJZ8uMxgn97xFa/iU60KCp7wddk2ohwR/b+dKWfeXDr9nB8Ixod+b3bvI/UHsd4TJ6FCyeMkSzj2DcU1lA5izUqQvfs0bnSzzqrYVk3IT1D5RLVXESa2ShmSxT8c7v09GwZvfZ23TBpfv4WNuNuaPIk0ZZ0GQ0MOy3IaqKIq/vSgaD0TB+h5eLkkoH/vHx28inimHyDIauRdZZXIvo0rRHNn7vu4bvFsTXcILPk91D9cl7Ix4TJ2kQOLIdHv+NU7tRQHqy0GiXpdKrcyvnMokfuJPGpaONSRoo1PMzsv2V64N7vmPuHMDLJCYla0i+LuacT+54ocTh+5DHoP6J+kCjT5zNsP+nGj5FWtG9a5pXxwB3wGAYNcSRKZBAmAD5uaDFmZKcGVPoczRgPjQeh7owjaLZ1x2xR6y/oq2VSvdB9nzDfS2ABZ8/bUUBl0/g13TYjNxV62bL934BjJzDmXkUymMQDvd3u1COrKZgCqe0D7WjyrQ/dmpZoQh5Wh485+JM2duAcOOY7boKVFKrPDAGeAi0GCSMesKV5+7RogemnNfUWGcIDnyR7/FOSuOiDLaRS4+M7vcekTRBNsPMDfG/j1GqLjq/iXNhNDru3PVrlvM5CbFADPgZrc2PQvSh/G1xh14RdbABq+ImSYK1u/YeQHR/06JZUzEw1+QSIWB+YajUYjGELu9a4GEJSlhtsooK8iRdRtiX/lms3CuZg6xYJHcw4Y3gy+gLhxIcCno1ea05YmjDRixxDDPx0qim4Nbe5UKAFTygBP7EjBuywFaEzwvlnS+0KqLxaeMwPW7kwTa8/uEFCCuS4AWTgCQBa+gSq5TV9QnrwG9AiOxjWryluTCar+yz7xKbsYaC7xuw7Cu0y2F5hyqQBr1lgwbAihyT6qUJEIYB0TUjdxSxuSFrwRmiPqo+ETbuOpb2Dn+A/F3GPjFGMOstoJONmjVPzPCqhi+k530rBtqQI0lvpbTep/OE9c4yH3edjIVjNJlAkO7e8xvNc+F7tO1uLqTY1YiiRk1032EXPnA8czYs4fq84IJuPEz9qzCQFCua+4ZYy/ijCW8T9hd2EA8703p5si70D/yd77USO7oamZ/r6JElcqQ9qVBwo6Y25wq2xvM9opTTwD+SpnMfpbiNPBFsTXHORvbMtyOHt1mnynsdssJM8HEfhi4Zotbwra6Ah3Ey/dsEizmYecNR6Xytaow68wUm+IrgdvTXyFrCpUqQ2VHlbYCoDqhwXoErW0HHiVEvxK3Wdkk/tTMiysNlIYnjB7Xbh4KmFp6pIoq0hcmgFKF/7cTKROET/49XdZHXFQ1YUiwJyFf+FRlI/nw/iKFJFrB9pOjWpqARrKcgX/9o41YWPeUjYLeFuVcDR6fknZXO7yLg1FfRn7V5ejp75tISkPxYK/4x0t0NM3B8mUvifu4sddf6Bjy8UOTAXDfyKUKIG/KbdgS3PruhQ/gTXDdpdjpTp4LFGY1NlmCTQN5DmMniFhAXZLnFEZac7gH56W1trZhXYVfeIIWUlk/XoYVzhb8ry1PwOvcxLchIkqr0xUmEbK5rRS98GeVM4HIsh2uW0N6D8IkK0YqFRde++XbIUQUQ75rjgNPTcmBUEV48NTlRtIulCHmED5Vh5gvyPZpm2ZRlF+RomknAUbZLABfKnMfzb/hP8nBpotyme0rgU5TYNwvFCFLNgvGh3NmkQV3+oaVNf9mHbCZKXWGpVL1wpEWE5YKmLTWLJSBiX2nqSOJHaSRUOwwoAsARRgVc3lw9S2i7W2ySIos5sgNlSHjLV7IYiYvtfHHzorfJdEX14kxiiMyvprEMoIaWSLvNNF81tTtD1HfqnjmI0Gn/77yAIkA7/IeAtrd9P2RPK6PlIvMrDMFGZUKRAd3ShB9OmFl4w6pS3fOOFW0goCx9XgnKCCK7DnBnwu1Mqgs5kV8Xud0gxzpTlYjNVdHvbsuRNfMmmZg1K2+XyJnp9fsfSrjWZ/ISjTW54ujLMYsQHWkpsmYcaTAS+aprjrLv07uBnWMFKc3uW8dXIaHVGq+WSaF00RYtyCMWcyodyrEMw20eLxeuhMSHr6LFo7x1MOVUPp+pzyFJX4PXtsP17+a4ipr4lFdZgDktJDK1tIRdiri7jo5enNrZAyw4noVGLVv4jJxtlDBkSgsKTV4wQKStvzAee5Pb4cx2B7SHd/ZRt9c3VuslEtbrzw5mRR8cKz1m5KdaCnaoDpsgA5M6Xg/TH0zyLtuhtAuttVWT0Oh/VbwVH994KBK5knzfQ18mn0UFIaxmlEqemoO12IxZ1k6aH/uA0AyvbPmW+17rfFVo3aDI9gjo26F+1Le9RMIv4+u6HJVyr6ZJMuLFcKbq0I1646DYGjxCWS8yOiRNzMlKM4ddscZlDVDEnZYCXb4bSf8LNJoNJMoB/p01rArmPMTrAfIe7cXIbTvzdSEm1WqgWKT2xQ6X36r+ZB0ChZqClkz6MamCn3PKjyreI9pANuAv8SWMCtHSWKQ8wc1Wef53wMgT9lQN2/F60Kj48PYKT9gpX4+VdyIAPWafqCQJ/LEuYNFG6B97vJiC4CkCzEsM1KSDRquZT2tNq1uB3cH7yyJHDJeY1XCOVzn9M/DDPtgzBOuRl6e0m1jYFtoiGL4DKvjSzixUXmColi1qz6d8UVFBr3Nvbe37xzCAl9QV4LqFZjBNqWws9/kvJSPmrXYRWtLNshQYCFzdkLsdVHkUDXcV8mLH+CQICT6f+LunZQo6ZcUfdthxkrIoCnZ5ZkEGZmR/L8d7ErkWq4B0YrFKL5l0X/lovm+NtVw6Z28hEZLNbQyo83Yr+J8OyshuLk34fLW+/qJowOz5+y6kl1SaY8bhKGnSIKkRZ2xK9DZvA4ZI45c+yq2jAhd9QWlXd5IF3fDedGbUAZIIB8O5XbRnGmKbqGTZzbGAbeM5LdFrF90oXTdsVbOEEyLD9bTh9ce1IecJSvsEsAh3RaE4DoBJRVhyQAQl4K1ZVZXxdQlA9EJY9YJBi1X9PN7S/ZjXeqB3SgXAHOURS98De07fjDwv2LSoK5m0tQkzv9akyN8LNoZ7knRh6vkKU8Bj2hL9ejjnjo13/okO3/7nC4BT/dRSKgnQZhgXd4rOFRV/+khzfPqxiszJAB1X3+swVM+ussZ04DFnclzFrYpOttJ9UjiJlGKSWN/KBqopmiQ3vrabKsH8x2inIkYj7F+QfFtHgkVSAM3NxA8hDLBoD+D6COSPzZFVetZDkKm/XHl3bOXXy6R6wmiUGORYNtONc92u4vt3GchtkMSmMPKfWdLMpbesAFnqn6K/Y1kRBpn5INM3MkFgr2eRVS5U9esdjdDtIzoq5XdwwS5pnjRR+s/TmULGrYtKVSMUbFBhti/fxlTCXXEwzn24CL8iyRuUUtHQX7BOhhz8TI9MDLBj7656d3tmVQN9NygB98DQDocJv0WgNjF4qtXfpXLF09Bd7hOqT7j56P+ilJxMeXpnHvSGRxiKd5+BVkvtsge/XcxSf1Gp94pcHqy2yn51ARPF7t2RCeoGink3PHu3IWYQ5fJ/Y1C4FcQ+cTLAl+RmXjhXTdFIzWLcW2rP5+lxnjFZ6kOluBdXGXDCRRP9DkP3sJt66W1w1VENr7E9IBl0DH1eI1ANuWL7lOjfEbXzK0eQ27lm/RF2GxvaV9DNWCndhOPUvXPa4KK0qH+t8Apdl4X1jlsgFtUD+LBz5B32fyaQK6bTpdMHX9gttItxkCf17ydh5h7T+MhUzFFED0nkT6SpppqN0oY41PR6jDFtEeR+mPEL0DLHcixEhwVEocQ22u5nEUREwqGBgf612UiPCmna/rIggbH9SM8V6ifV1aX0V/PCqMgrg+9RinLzq7w/1r/kLUDbAd5MKybLvCBZrqAzm4COSV3C/LGuw/9h9sHXkrIUGxR8I5IoerGyW3PnPE/2/nirNh8miAOTYz7ef4ARYbtfptU5MNx3yhsybVnKI4RKv7N9EUBAhifpNH6ImT5knIVJVizh06F8YHXKBl632TmytEfkpIi6ntSohSWwyA7Qljb/nI93Cr4c+olGPX2frrE4yhcCOPR43Q1oe7HwR/Weurz+biBmFkTkXW4PP0u1MWIMo3PObYLF9OZzlNstGklQBayDuETYVdY1s76RE2gFYZQpxKU+DNr1NQZ2Y1wpFI+6NHurDOPv64eDR/Xzg8hG5dNUa58+o/p4gueozoWTLhycxSmLQGUSaNHxoFeluGEIoyhxOVMAvj3MjKMRpcmVX8E2V2MUMALYmZ5SzjyCCDOkvuzGqAHRENYinAzFFdc74jvHY7qTBgJb3aOzKJr68hpMLG8r8WnY5ctbFsExnoJGyVNX/sqwoqhBzzAOBhcqjTsHLkBBEFJtuOLfKZp0x8sVrxQcDcTQHo0eVODVpNrEwY2qh9AplQn64O+qfSxGRvMKptquJDzJej9kRrh4dmgGe+5+J9FrfhY8Pa70l9qs6Owp5Z2cpXw9l+UhNiUiqczoLfyniIJMer8RPmZzSZ7Sl2SKtEberxQM3E1/B9zL5B4jwXkaxK54qNF39088BMAVvHCXErmTqO/H2g0GYMA2vPKMWgdeJUDKyWyW3tvGWFUZ0yHoksVbYxXzuTu6XIwwYKWaGZ5V96y4E0T06Yx83qbb+B+LHbB9TZCM9kj5UzshUofjckvvmK4uHHeHj3o+4QkiUqsccKeWl8xdlgKZjlSR3Tc91AEnwlcHjffkxvmTXkgW3jHcO6yjreorSWbXKa4b1YQRvnb+faOIGVZsBInra9xUkIhf8F+KX6IFVjjq2VZnssGd3M2wn0Xn5qwgIbs5aawKO8yUeOcNTpAc3GZTlL8upGpgAQmYusVXrAx8g1EymICERdzk1ZRb+CZXn4wJMblYbxsD/WSWC6sfRV3J7vofDLn0aQt+587frWeb58aMswODamrHoPlARZq9x11Nxe7/5insWdibHQ9xs8VqmB50hdj7hJcKbhD/Z52UE07JbB+JKzsDVjm8HbJTJxvne/w2dP2E4ZlsAQLPgoxbTS10ORVSXaTF/Y7eZLt0WhpLuqMA5OoNC9DpaeenCB3GG4wxn1hwKdbsSfV+p9O9vp07rjU7wE4EaPQVSSHX2VlpwViIAy/Jvm2r+56gW87OjcuvOAzkad/L/vHBo6X3lEl6QZsFWvx2N2O/1Hvyt9EmVqkzR5slz5imhfSdRnnXrET09vj++xDEn/nzgMwKEn7vM8Cnm/dI8/RLylK/btcK1YbVELJ29eIEqILnJxBXrEg/Rqpj0+MrUIrXYxeUT65tqn5IDi3onNrkam6tdtXdbMuJbm4bC8AGYC7C8seFV3G6ackAWVaJLNZeKCoXPqfI0vGx3cjNNKkkIxfG62t/JDMzEoWVsOBywCTuKRalmi6Mp/jTE/p07dt/0LStdibv/u+WeuZBx5zdZKGOGs+1dKkt8rYTgttcMEQkPEhIpnzDwZAoImwnxzne1qwuUoyEPtIh4psjjGlVWZalUF03zzk6u0kpNTugR+E2xPNpm623iuwhtuKmLNoHzH680tBSAvfkFAEpaE3FZIIqYh6lc8RC72rBAUG4G0Yb59PCh8+dKiEdoN598MPbrTFhfXyl89HN4XTK/a8rOm79zUHWyB7Vx5ZaXwQ7uBvs8mhjS/IDsMI4u4HPSKY3d9dYSgFLgcUNMbzxYwcJKzzYrrNmF42Z8z9/PlWUanUDIZf3hH4p+FbGI4WI3zkKRstXQgOfGPzGpLgFt1TQAIs/fjNkcKfpWMlHHgR+T/JkvicSFSPyzlDbVcFtz7DsP4OtTP4FtOe1sBPtcPSVEJ6yD3tOo5DOYDZyT1C5HxvvaUjcAMgftMtOKr9oPxowNgnvNxy1o+fX3XwA7H8zSh9P3E4ZmNALbKZLqFy15NrhJhLlFvUP6ZpQa9Mdt8bNpfLQm3X3Tj25G/XJBNpUXApK42HCHLw0psfrY+STN6o/77ca/uHIOCdPfpRosOKoof2NqG0Ou32gW6pLnaSrY+tpvzcN21PiBPrRElbDCW6+RL2U91HWUEDwe7gcd3xkRAVwTkv6co9JMC6w6t9dBQangcoQSUirqjFrz4XrFIdD/UFbr8VJfvNMUxZZ9q43hQbPKKq6C3Bj2aXOjGjAVzj/sPzXlJNu6Dd5ZBz7yIkYLLuEdbw+i/OXekoO83kBSjnq2VIwngoPGML5dstc9rzUKwvgwi/0TO9yUz5u5PgJviAHjgENOq0/g40iJLAALjd2/8B+nZnu5XHbgmyZx+CWr/RpqtVdQWNN4q+X0s8l2pW6NOLJKgCFd4PUiNu4SVlqc7P2zGJ3YAz2xZUpFAZ0tB6oigxuLSobqdecD7Tp7n4wqYSAPjgGUT3sqTvB5XXWprxRU3dR9A2hJo8YknBGfqplBqYYdlpda7hLT+kQ5qd5XBiF/iIC5F3T6+Q2cho28kzSXKOacn1VNa1rR6N4jRaidsWWSyfZh/o4tWPHCd8J0Rd7WlWLl0kQb7tKFxwk6siPqgaBUwGYFxZtKgn78THgZLQAH4XzcAhaW7GsVT7sXMDmj5c0X2VDTgeBmMG+mXLprvw9y2UxuzIbxXt8u6vGbZutTnfVqZ6+F7WN5mwcCkXbnBK3cDYCBozyukOqXQF68nrzIwy9P80Iuwkpm/bvxv18KXm8imiFhIxmF7cIPVHUWqnost/FUy+L4utzvlixmXy1lGBYQw/HfUWKp1PWm5DzSnIrTt0am/EtvHUZxlT2hDEGdrWm8jKQsYnRrnPo3uk/cyT4p/F8gsWSjDmRVDZqJk+P9ktzaCcYK2OuKHmGdwDpXIVc6W8xxFgZHKTNybXFov3P31a+4NqFudFVpl3h7JgaHqLOITPvoBY0LnzWDhRy2Hl6jZEXGbpaTqtbEcGBfHg/nr+FOox3grn9ZzcZ2e63ZslcAFk2HkFi13uvnxH1x9LxJqFi+dRg6ppDaMBHI8Uzy0OHp3WiluPAdjh+1Thzp26kc3jatdHFG42mi/YoprOGI9RhcECfIZsK1Rz0QSuLavLY1yOjCpw33wPBXucd4DeDrtrOE/kI6OdOCUr1W283dOmj8V3nq077mRVywk6M48jYWlGr0i/uJqjaAUnPAgtz0VvF8ZbUKh4YVJmVdoEtBJimlH8uCJXxLTKp64LXxKUaNKcb+pmmKa0gWZKHu+l2ku/PfquXhGC2f0e0aWxAsOW2GUZtREvHsDQzxcyVlUjD9G+Ybi8dzeR2pviidJKteea5M0N4sWxypSV10t1kSWhHQp5QZEelRNNkSnqLjyOaqXjPiUZpqW8Q/C2Pk3Ks5QyLRUL3fzXZtqpJDOeNOLJpMMk0Uj4JRtmU8XZBoIacvM170r0X6OycsGMKrXARKHN7GFPV/id+KvHI+gAurtyI1M2GF/lA5zEjugIC9ffE1w/PKoSsi4+oGQDFslj9q51LNmFhPQyHfLSvcGY3xTtHuJICV7Nrj786ck1nt4M8HprqkxN0ceLetCeoBWcR+/Frb39M7T0x3j/mOkxB+S3PQFBTBzMG4hAzp677Z6hkynNQB5FLf6Z4T+MEK0fCsEGCFKMdVSJm+B1LmE80B5wFMo8hUJoFXJiedsOVrKkf58vqrOtxbUactHILRw9DVvSS6rVrpKw9CP+yYOdi4uCLscNdzUU0DBLqx1dA0W7xGGFugQZuH0s4M4jJY4PbzJ3qGDsEbg1fhAKqRANRKVR/x+N7ixhGhUKURTipnN5O8JjGyHwnG5bkBF5+3v/GC+vOndLIA/6cN8VNwRNgLwY4Ak2DG25p9hqyogyyEWRWQw2ingnBBXfLJEQsiBj4Iy6w1fRHBFlSJcTxEdZtZUIDJPNw17dBguXICtpAl6z8/rGe90fEFlNWKw4Db09LCHJLsr9p1BYePVjVu+tFf5zmfLFatU71e1J3FW8z9rPwFcLwsGlDszRmBfzF8sntzwklBrsbd0FevtVvq01QHx3IJENljvFmOF3FMMuEG3aV4Ck+YbisTXSdndpOqRv8U3wDbKPzGuox8Sf/Lt5plEr7lKFsDrNd51Rbx3liJC3cHsYSx8LG5W7t47xj4OTRKnYfvQCHj4MJgUu66aM1zKV+6ZpQe7R5OvrTUmCk5B3j5HgwbW1MUng39LVk3HCd7N26SpIRJ/NCascq8b9nvwSasX/irJLlj5hc3ssQ0kLunn6bUkwBS+5Tuj65KTZvgY3dmXOCivosJISP0xj8q3Md+nPOQOGsd+g/t3RQ+cM+DdWtXMeVCPfqRD0PvIEbxQZiMRgUs/2rFxBtm0cuDIZo1/DjqOhgwFNUqadzCmlpkM2uGuX5i2l2q702/+1LZuWsf/pEgXgUQ62GjLLj+wyF9wUmnBOHx2hY26M7CQb5v5fWz4X0fqOq//d4H+9teExmkzA8AAQBdSbTbUbOllPOR2mKLY/PfHt4JnrIswKGJSKAEqhzuLz+3sPnvKfeogDdGu89H4//DNb/A19KH49aZLhD9sJQCWJCdAXPtdZZigtbh55yPeEmpnwc5yyDSrRtGIJ1z0+DI4+nXcps+RiwAgYV40+3iTtnh97yHQOVGM1LBbJgHsZXbrDCzhzpiyyqfpZzm9PGzsWma4R9FTIpB2hPVVllJoh9hCQm/qIktQ9lEIteeTTH9cOaAK1wsjamQHwfuDuy7ji1t8qrMFOd9+YWhdx5nfdunlHzaBmMy3serPlVN7+wKS8LZTI/BtzceQno0PMLKEMZoad9EagV+U6GjlDZtrDHq5gzDCYXNXs5OOuLKCjiS1M8koLegA8kA9FXHuCKM3KXJzemc/1itpurIs0R9ceISw7lnoRpOvj/kqmxJaF58lAZEr4lFk7VkURUg9nQLX5L64tr3E3pbQjh6EYslK2+Kqglo+0QHuc8lBbKfm4oWDuF6h32p2185ftVuHGa4qCCuJkt6fDWITUGy2vPrUw44noFbMTH6lQGd3hxZRMndd5Ep82C3DtXcVSyVCW1fo+nrZ2jGJNh6fLxzU1TNic8sluzujSNOJs1guYnYG6y3EngHbdz98KR6Dv5VD++AYdnibXmZfzTlmGAMyZx5VUu/1DZpusINB1mpeoVi9PCWlFzg9yU53TDTOVrrhNWFUhMOCAwdlcaudKTYqXxK4de1lFh6wrjpxNZDhSJyVGGQDN1EEnd8rHUGKIvJXmeDunEc6LQBOIDMnzNUK4s6RAX75JJSvHhgt0Kx5viWUpOR5fDubH2MKQ5FOSKB7IZek8EaOFb1f9NgQ59YY8ah7tTkrcgaap99+uM5qvhB3DjnEtL/iuiL6qUVXL5t/pakeVpBK8MdxlDO45xS7PjIGU0pnqoAfTMoGT3yqRTBxfGG/egCi6en0WHvyZcd+1UoZVDjcRHmwSXObtsYcpwkEeSdExUMWDh0XB1cQqeQXe8WR8yJW8xfP4ilo71fC5gJHG6vAaza7GDfAyZ/m83XYIVLOk+ilgJ4o2+CydgBsQcy9k75KuyqSLXsuhVZWaA6mRkp5ZTS2DjSte0mJ4JbgQCtlu2Nf6LhhoNzRHdf8btRS72u6nYmPpTrwEgvqefkVdZq26iwHwIiDpUv8kypiZrAsrBurod6E9Sa4eR55FrWA+xgxDGK+5CiONEn4KJcBgkPK/eNIQ0Eat+5cEXZhwCm+aRHaptt0tNTzvZ7OxJjM+Hjgn7nIZVFXlFkyB7u50WTbwEqI9d//1YtifT4tLyvZg059yvd+4iLVnvDVSBWUo5i7uenZIsCvB/lbfSu8dAjEcWCNxX2XOjTwLZCQk2RsrwF0Kfh7+8HIytAptj8yB/gwKbOPrJ7TPHt2zhUHpHYAEgmV3yF7x3wdfiTbyWkZETUKOOGwqazgA7TKtzfb+RO7CPGMOFvTikr3HtZ014qGEWrqWcUxTQUaLgKJ7/xDRIhAkKWgEzglMEmmbNGJcBg40TIsdhn7ImiuTB2tFOg7VPx9laHLZSimYgl071r87d+CgqMHBFVoc0AW/hDwOYivHirbUWFIXc2KRjjcz9bSgpfIcy3rdbgKDtiotIdixQHojH2WXJZMsSB3n03ugkVCmtWUDzv24nd78J+qgT4unu7L+UKzMuoDMa0e8mDaQ+T7Euy8+zOy319kjBxGqzh+2m2wm/C46rcxWZwZmYR0axRK3DLwXh1Rd14ytrKjwkMopxoCC4REYbvULs9BCxZMi81QScEk68tXmYdpcdvSuCvBZ6rWfK+M3a2E4l/RILJAIymSgeiRkaE8NS3dYRYj35ZDqovAPsgnjrtSVWlgJzIgolTL6z7n8dFgxClPRoXHv6IBY2KdtcwhkHgiSoJtG0PO/SlyN6fM3LeuJ1ceAA+pdFAb6m0qEnSS99cAwxRgh/BvUMeYDBJxGhwOQU8RpLVYqYCWfpJeqR2LgUnRHNoEeXzeAOCbtuUWQ1GsZSlK0NTQPGskb3TDU1SxAxx9znqv0QJputrsl6XsHOyRrG1wtacRxUhg8wBxUX5EWaSgkX/t+CSoUN4jQEvMJKCsBZvoNQdgy3mcMQIfA1hjYooTVntq7FLUpaxNhJihN3DmMvrzmjUE9czUdQD/Fb3xqvimcZJEhOM0FLncaf/MBOPefTbXrQ4GoqURsv0ZvM8jXgyM8x98D4dkngqThRWJ+3CHiHPL+BpjS4x14TKkG1unMotHg1tk3WyARTSm7xJHEM3Ve9SqjG90Slt8hVFsALaZ/wuC0Tfhr2BmcMskl817XtpBo99eEQhGdnxRVKcABa0jI4WH+dk9m7rMcRgL/vg0Hm13NCqJXBt4pAZNh526owKfcRU0mwcyD5KSm++uV/s5Ta34XV9r1dnm9K0tEc/4MXKIZSisKTor5F9uqvwjCZzChvItbb9WAa2eY6/RzQgmYigcRjPVfs+ubFiQseU5uEbsjP5Sj7nNu7U+p60qym9MkdseMCaGcyx1Rn9p/EIMWRi2OsBLQMG1zCIdUPyljuRYXvauOrDOHbyXlnnlF3askYRwzmI4uFznLSPI2TBnpyP0LfT2rDZPz3SZQDU0p755E6RYwb8ABBO6SI6Al7IUGDwoj3V9Y1sp2UWyd4c9a9hMndBtdx8UnAnYBXtGbZeolrenhxB1x40DeXR44ClrdtxroOlF33oCZ9P7jkPNUrLFYUHXabsoTlsuhuDv2X4MXshgRKCMo4A7LnoCnVdDaZKGkKW5bBo/tdFXpa7mR7H3MGGNiosazTlpa31NeGulbneRnW5WwvE6Y0Ghtrm/Z9rPsoiXhkihQOaNEDhYr3lSi1BxCI9wZbKuI4aRIcd/jeAVYyphv2ymytGi9gANWe7YAW2vfuFmWkGE/pzA4USoYiQpFlkHmJC01mtiJ4sVZaE4uy4H3eIrseaUccjR+mM6y3vYHQGaj4PeWAzyt8gGCNDXv37Qb3fStVZGz7c4nJ4R123sy2XPtgWR2x+6UYZaIiM9ZteUUg0FlFXpcRumf6p8WTPGIkB0kpwX+SayhX57eR1+EmdZLYwA5nXCPxiy16LlvvqfSwwP0dP6+/CXAyZuHB82NZf6os2JBG1ZdJbFZGmFncSVo2bLC7mniH1Th/P2ruGhjBmYA2FxBDoJ31bcU+kPZt3pCR/9m35S5krKfg9Je097HN25qCr9R3MJ0QG60T36gAPhaS8g9fmOOjFeH9aWE5Qjywx9jyTbHOB0BTesiYik4zYXdNfnDhGWrLlaTkCnMRl0/0xY6MYBrQx53p8fn9cWUsG146HTcyUlVDDQ3IRCnkEHxL/2i3ifar7E2g5x80P3CBWum0TRF4L1Ylfp/1B5odqnDlUKyshJ9BDi806QKqmWIQXVHiMtopj0CyL/AW+kvrY3hSzQqy/N4QOlHKab7Moy07WPajlpoeeBP9vBI1R6ZtJNs+OuMH+qN4q7CEjLLsRpQUVJa9Li/nUbKBFi2ty3K0nNke5mfFZF9ijiYnmeWSTSQ2F+aNEQTySmdl584SRkUH0goQdv+8BDTebXefl8IIf4Okw8IYVdBuqg7Wu+jO5EPkK2xK+qIsl6c5ERuPVM5Bmu5hoSAnR3HSaKYnGugJs8kgotD3urSEknuwJK9Kw5YMvXB02YtxLytOP2DCd2mXs/k+Grxnu7YqYL7H6Jx2CXQ76o25yAhs1h+RSQRlZbDolqR/u8iQ4i0P83oN2RINClAxqbtc3U4DDIjj2i5knPGs5TLjmmm+sWyuZ1usob6a5fkVjYYGCGZfc9k1Y3jIIzw3ui7Y/BVOe5PhXPTLUtcUSWAKG4ixGwTCvCYZeXkFpgoYh1HLYIybeUqbsLcWRuIkV4vhT6VmrhquQgM1wczQOblQ1xjElgIeFM61DOgJa5fZhKbQ+Qjbqw4JSaztIy7HmB0uxFKQlMtD0QBJexmfMhV3Ld8df992dI/2XMS4VJpEDSLfatGoZqLbyYoR8HNcVR7Ca9UzsANxrO6+VRqoenANN7wTvCCDl772fi9uxoyKQkvCQv3DOgGk2RJil148LYb8PHfyxReNDu+tgarUDcrMGS1Qizb8zU8FhqqNlWiyNVTRAyE5bH+bRW8OcOgXWTdn9NOZLbEaIGdDcDIdnLu3JsL072WFPhZSqVtV6wZfFTXJwYuJb7RAbl78yelpYRk9/ko0a9PAwJvkg1MbrMdPJ4l2K19c4jEuSj2HI2cReuxn2H6EPj26pWNjm7uHaugGaTdz4Y9FIda+K0iwK9dg0ybD4JPdA2/5pIi/DlSJGLU0pwF7QawXCz9jmq321dTw+PAGtGYVXAWCZCj6ki12ToZtk3Ftwyy4qn8gS3ifmgF1nr8QK9iZ+ScFovr7M52thp8ucwuoUT0egnJw3AAs9Hek+np3sQ0ayGfolbrWd+bHIZWwIAX2moP0QZK0Id3HmpWfGcRtgEuQU/sDZzXTBJ8rkw6qK8TGlkeGxNOwcr/cnFzu3Otit0pEH/3HaiZeC5zYMW2x7mmvEMcEDq5COfEsgxormpmTrmFlQDh6kqhWx97eCeSG0As0+8nEhLmvKw6nCufmmH7f5/RznCayFqH1iiWZgIo1z5zRyhRZbz+9ibiFZj1IvLCeF9iy2hxPiD3SYXb07/kSvuSfoJLZIE/zv+gVm+Yf4lnejGviv1ZQXWk2a+JabhZG+fQ9F8H1zfErKNVriXexRz8RLX9Os/KIxPEibWiMMcgMA2BkCuZf6VlL7SAWA/xOkA/NmfRKgGdtRtCi1xJs5AUiQNBs2eSLdn5nnWseqcA17FTmqC6Mlx0p/nqAIN+LZAQ6tI0UR80MI3eX1mY8uTGbG2ep+YR0N7S84ixjMRoeemchJwuBWGkEvr8j+OIqXgxkBpj8yf6ozBGu4SUSxFMEbMBMnP8hA/q3uTbMVkzcUeERWllfGlo577ZC2vsQfMGqBFy3w8Sikjn3DP9ndbM3OKI/Kyrb/IokQPNDMDNzCZqu3m7oqhgF1Y50/fuFrBFT6pwc4RGzCm753G639qAg2pRSo2AigHA9X7pQWoZjzoc2atfkc8xPdWPt7JO+NXq5zvMxGAcl/CMLxvDDamODVt/iHatD5GKoTPcOEzCfPHqU6DK3uKVx3Z3PxT0b8/y0d1sdBbli/34nSewqZXV9AG3W8h3dbDildlRmW5URSBv4fsGe8HcILskJ3ZK8g7KdDQD/MjEfrf132HFFT0W739uscMb2DEhVbGYblu7A4ZJ9ZJejMgGm5rKFVfJsxt+8cncQ0XI3kDhV1W6NTZgGT8KyiTR4CSOrv2fu2ffvV2orsJbz1V348oV9Qg3ONVuH8S8GV4FapgUU8Fe8htBZw50pxjw5dpeQojmZ2RSk/4/ZA0WRHYcdSJFnwlNRV0NuEIiukUFv9NgSkAPxZKRc8eFUp0a6nCvR7dyhirHWNpNx0+8MhvMr2Iqs7tHshJEn7yqAdjYUD00Vz+uQ+lUpbDRDWbR6Yx7/LNs1oTHu6gACveu4wTudQxW+h6Kcy2p+lLnbywCKLz3hAbsdMGsaw18HShA5ILxld8mwgszWhey9bAa793vbhVlbF+b+pTrBUEFOZy86m9JEKV7BDo6GqBef2sCf0SURMgDZnj5OnLJa6azJH75vr6jj8sR4CNldGC5tXRSEl7kOSkB2ifF+5oJAgspwJ3K4z76/34TfMD90tcN4LN2+Z6t/Ah+JzsbcXjHz2MUVDvclUTVNVgnc96TYa3M3Qe0VR452fwmp3SKb5qhZ5xKaEO1hplPQ2pGj+0pB6K5XS7il5khcU8m8TzSEdD5N6HOjXGuwKXbRdZSegF3ouSUJQ2rHCOCinZWMRMAa7UaXZs1jXtjRdnBNO2XWB0U/b9zmjaFhYRStUpE3i+PhII5tIr8Dwo/r2EEYefusq+V7TuP3b/3TETGeseoh/sebbhLCJDvnSRJSCY0f7AL5KhQa5l1rNLumH5mHI3yZ1WwkBEjkRDdKgjswD4zJbZ9g3SNBKK/5lljbAsx6I/QP6H3tRVjybIq3877RP0JflxY1p4sgHw8BABLyZd0/mtzRQIvFqh497bB1aCaw8u8YHsVya3vZG0EF3KxaUwz+A7Ns4vtJqxTTWZJzXkZjD8oXIVmquhFMbIylbwZzjR3I5jBrGjkjLhcROgq2rZ/dGThHNweYI7sMZO8bCxAx5IuO9lCgvnedGV7ehc1sX6dRRah58WyhhkDoogArLWjeDxfONddosYDm2qbLswYFu1gUAV5HBidoyqSauIinIR/IR0KcwNxSCuy8o1uvNLCpD73FCvMOaf3ElxWFakU9+92dRRtcs5xkUvlSIajhy3yoAGUZkA9o9Wpa1bwnYzNItd4KzAG4wROrXMoaVM0hQEFwQ6sHXAZ+eXWAQbp4ai1Q4gjVaHAqTW9kb4NzWaaiMomKQR//PuLdH9oglSqIVISuHD7GCML5cN+KFIKyaIPUPNA/OkBrCohVO32jJi/0MCCD9GQ+8IwyUl3o7wu9SbGl9vUU8QR8Xjd+kE0HxcxstNsg7pvOnHGju4AhkCUrhT0kIF30SRBfY/WDYmQSmg9gifS/TxiMZZW0SIwJ1NBig06d4oH2Dlhsz1qVJvn2PMRHpPajzfMiHhFpb3eC5JoUf9RvyZdD5ovgfZMPhqTUhgJucfpZR118xhLxsWfKbCS4Uieq5eXia/g1DDL0C/Eahu9MfngEhrVrXp7OQsApYRUeo2JDDXQhAd42NY3v0g22ReGv9Qlweax/RGn0CRRZZ2PDwSV74CNs5yWGnzjj6Q0o1F+w0E9rbSYZAH9xWgwKzmVl6vF9UGxEx8ktLUegTJ5n/NGu8lDm6oNavk/ykqBVSB6I+3gW09xpZoYGheSesl5VxARksTYHUeGyT6hmOt5eJur5VSRHrfOAzv3lq+qrA1VTMgyOhDyeOpQhgGwxTt1aSKR68eUr/v9zCJ9o9UPuE1S37DLGWhXMF5wdnvxQ7J2hi2SzDwsPyZMulivydvX+7gFYsDiPi942j8rFmm86G/d5tBLAJJ6j1Y1FQwHrJd8wqBejAvcj19nimw6iTszmiBlNze/3qGsk06sRpzfL6A+lygsAUjdUgGW6CnDU1B7wNiBgPXGENFA+ea1QTGIl24bb3pDv1/kwADHlZ0Y52KuJcjgrZC/gyzRjrdoouUqG59DJs+912czi/10yUd4KrxA9eR43MRkRFUhnz+9jvtn3MYUBiySwsVBY6RGchDRNWgtz313JI8s3++4uRGYRNC6qGf1JODuuo22eo4CEbH8WGavNKbNqJd1V75ZjHETQEkNru8/jlvbbGq+b0ziyLVR5fSlL7gQ5ft2pyjI3NSYU5rP+ZI1Ib8Zmd2pPk3J23/TuJD8lZrP8MiZUCy3NsE7LefNrbyMhYJoi82EH2QEP/jdEIZ9rM2w4aBWogZPOideIjPR5Lva45PHHHxqllpgbtSXiZUUTS54Zz6MnL556GPF4qRGnbr19P1bVTCO4OninhyRdfTs1QPm+bXsVaAD1aRFHyPxh1Qo6mZma9VBdTblOfQyeZo6IABowR8Mek6Wpm9mWOyrp+QtVZZpcbFuBXSlLvaV+pf3hbLDBRkTmoiPOnyL8VLgEj2+iE6SYrfW1rTKTTKbR+XdvfvCyWK6k5IXx5bmc5sxXcjIJHGnhpP63DXjZrdAU5sxFhCd/eychnar8WdQ1RgYTVUVtrdBnMMvitnFvIuLQwnx8RVfq8UdS1e6IThpq4sTmrPRBQ7/adFQUaS5hS4LjlbrRBHK9l0zQ47rjTLqZx+9C/WKlUpnVatHYpz6wXiquIyFBIKlvy3M/g1JDZDMiEAG9pKMd3kWse9huNE+HPvEAdQSXL2lOlaWIoJQLScZHvWLUXVPsrw2qe2oLEqsTsIlCxJcKYItEcIlltypEserOwYtXN4vlHilqPKUQobSZZxMqxk5ADOKieHz6K9FNIF0ZQzGKn8ppM+B19iCumLQ8/qsoLCl5zz8wf0juVyWXXjJ/H/i9oh7prcZ5bGaSeXZIvQNMtiwJgPdHR9+BRFdOIC56CR6xXUG0URdxD0znwNGhNkb0ogtKCAF+CtjtjousDt+SDfOWnojBNtducnfhbuXANMnKtIT7hRGO14kzOrJaS8cvJLjBy1msiU1ROmQ/3X95og2jMmWFmyqBeqLPlq8TknM9LJtCcki1zWaDIXbTlODfhzVmlzmsV/di9NyFFfW2mmLAXx3hGh2kOYbMmLV/aQChhuuo9Z0qGVl7iSQOrnvugSfmIJ4sQmipKRnbdxzsoMTs3dcOD+P7yLnMaSD7Q/uhdl3c0+Gm8SzmfTx5BFEZ6g6+8MboJPALxee5r1ND5rNByCIeAWEJ+561eCwHMjcuGu5dnTJS54uYJ00tHBsyTyM8GF8Phv7I/+dsAraNaOfNrXNmRl04biKokmP+fI/VnRHbVTDtwnTbFoH8AZrANJnbNRbPMqia0yDb9WYCjxs1h4/G8cMsANwOSO4RTgKJk3j4H5+mpCLEeGsgj9WS/eoTIpHtqxK/eywLM0k7EFtGJmXaiThixa1okK+RlFimPhxzB3EeJrVeDg2CojHrkEtkZzZbEcOtUQSvFkJXccKwWcls60RFOpCgZ+c38cbqvbDMXwxk6HAEv4eAWFp+iReUjfVq/Ueujq5QPzUv9xi2V0J5gZHEBbIPiW80SognFm7+vquLJ6nUIdOP8bhqqR6q4XA3OuyADMEBm4m0PdEvqnZsH0R3O8Ke6Q+vkPm3Ss7a2rYO+cgpSt9m8sHDXo4i/dZAVqx9WJsFTFQa429p4XM8oeziOBCe/DLN3XBTiXlWlxR7W29PcLK2E/+ZBhtYnanzrP0/jxk1hAzWfhhKc25AYeT0bQpl5tL12JgsH78/S3hMiMkiShpMtW1qncw+IdsRuZpgpyEDd4q/wf/LbjulIcD493ZivfYYdIIUZDb67Q7tBAXYTTZufCCZ/pIGEy1sykiL9kFG/0GEGW62IzHePunTFMod6EONMSbS4IWmkRclY+/2LvofGUA3hsOd3FQgcDnse61MfIVMp9X+4VhhfCnxtHzPk+Sy9F0/hPINSfKTAm7AUtWfTc4k2dwdKAAT2fskafHLt0FYsH2wafX7U0saOISku13mFcaeFltF8oRiWC/tMDwVssZyyn+z0v4T7kbx7g3qd96gWYjRn5wWNmWMAVxW2AT9NWjT08Cgc4EO0mJ1M0YAUhhYWsc2WoaKpbwAV1hY09hyqLjzjYN0edfF+JGvVVpE9040q8TNcvyEKRft8kaFyrI8Oy3I31fqMke8W/SSiTTXopXULQOvstGvvRtfaz/mW4xlOSyLnaf4Thah4OlXF4csRKJPlFy4eS/Qu/M5UGGxWQTP/ahxgLtXTMdbHVrPtHFd6xqjDSdFJX2NpuGj7QrwGJMtJ8jtJr/jykL2nuokiPIU6U97uz1H/GV+UaHry+GtwoMW40Q+5ouc0Hn9JtFV/i2oYHvvkQ945J1m8xFb+jP7FiTRUCKsNo1o3WLIF/RW5ibd3umbJLJm5FWcv5wj+FUt5FM8wr8GAQ/I7P+5tz/siapdhSiH1bDXJ8LgbZCQYSmyeMfAjIuGRHOjSqZN/eoGVf/FRAyWUEiMemawovwPe9PqPoAeraUPTq6O6SvaYHKgZFmoMl9s2spHXHdoyk1lI+CjljYy4nFwvpmTCYqUSy/hSqWNkBMKfwMsoUFQM8Uwd49gTEcvgMlsphPb4q+7lfWomxQjgstb/e/6xzMLrOqLznMeolDUeTNz2P3iuDYcbrGliPzbhOF0UqFUjjHIiHryuFQSlKe0LatkDNrFFHHTSqiN2DXjsjTdKzyduFyhgROK1N4LaeGHn1TFqYDLA/uCIPjRd97K4zXVwXKFoCq99BtWsEzRu9iLeNxYoBzJxjjJV46YSnNBkfGtXyBLU2l0mSKYMMSKUxFin+/XfmaLTGaihsmYPgJn4DqgKso7pB0Vy1mv/2QFGgNfgJxD8vBzGy55HwG1yIm13pQJHknmZJvigoBROmwNReONXkYKWsF0HIN9LaQNlTSkWEmv51pH3ksopw0dQs/lhmZzsIWwSvKE82YwM8BpqPgfv0WKeGPgGa8rR3U7Cgk4oJTxDNJR44QYw/24E+wHAaGqePlGWhvPYpTYa2NdsH1vnimO4bixzLLhTPGkz3h5kWrqR1cTyFMp4RytKbcZtRadKOnGuAQaDc9ba8Ur1HLJKRJOeO0Hp9z0SIwvE2PMpInefR+63Q7QyM09f91FQM/MtlYdhzHFoIjmno9zcuJVSINdO5PLuyJ6esDyrDCqudrW3NI+IBfH4kT1pZ65xMPDqbEuHHL4R/9GtrggY4XToEwYiWW5JuFwIH9YQcje8Az7VhRbskJ4PDLFgIuD3hXLZnmGvI1S48Dtgjpi4C9RDC48seaO2W9mSsIXX5RzIo+OwFCgyyfjPt/Yi/JBLyxVzkOv8YC4qB0RrVQxoya+ItRaOEZkyXq6msQlNfEhnLYEWYRBg5U3DY+PbOe6byLGgQIAc8PYdl1Z11Cvm8K4+KlnJMMiKmSO6U23d2YNe0N8jvt9ACS0r4oUKueIn2BogqS1gS2hmMpOUVGnybtv6GzIf3WdFItw/E+uA2fmb6GImWNI8NxOE0IZMETDW7WU6hP02Unzt95eloEzMimPjq1u9mfUO+UXSZ/lsbTxYwTx+l8WTpBHld2DG7OHuSfkjK9L2L+uT8i2odyAqiWlr4q/MND9CXpOmXX2foakPBHWKKsSZP2StH9rfmduwItz2DGYXdAnjH9RNrN3Rr1Wq4T45NY0Ee74GD242StJ9buwPyAdzrtZAXR5f/IKgFy6bVv/xLdT/ju8yQSNI3sZ0V1fAc3TtxJqqECjIt1m0RPXsFMG/Q3s85jJe3A8HTj//SyqB2he9ahFVwVVK6zXfhbuVkbaSxHgXCxRGJARlr/4FHneKgyrEFrg6Yu1QfUbLr1Qo7+WH4vb5cSsXzPyBk2t+YdqFLkYViIoFMQZzE0lOb7ZHCZo07nCfH5EzzlcEwQP8Sptu9WyLVxfLB4Ztt3UrQ5VhCiN7bEg+vtby1PocWxjyyvFekIWMH6ogPQ2dROzMbLh/zcS2rvaPe/skcH3Rlpza/5aq/chQxhus1y8b56woqGych98uL34hWCKsrk0i30kMXOFG+QfZNrGEHvNnAgnBoKWocPK3bIpnEh7beM+xqQepnjUcdnnLa9erwa6IDB47/DAJEAZDErApDC6dcw9Pzz00si01vJFNlVucl+lZTHyDzzlS09JxRXVf7imdU7J+y9Fy9IUqtxfm7tYVu2SXPvI4pZAg8OCsmnWbahxZVPtelqpmT7t2ggnbqqtu4TGFPZfXUX9fojHwOUaoW4uP6/2UhSW05vbJCJmSoa1iKp2XYHzANKBEMwcgMldWkgPmPuwfVqSKCFddPYjbchIF7CUBtgOCnplOj0EurnLotNEm5f8mw/Mkf+MBMQTnisdqwQ9KaGN59J9x+i2pgYbZJbAEL4roB1mzhR9LWBLxvp0NCbI4V6QWhK2U+XnSlMrINkIvqEYEnl2kTqCKMpTyKqUFfyt3JlwFEAlmikNRBWLKAl5xEd4jaHW2hTN+4vKQL0vOVHV+Nl5xeUazfYC1h4YVqPY5A1e0ZNdwVf+4p7b0MGlazxlgxAgt7/SzqrGZC46uT67in/1CNFjvgwiGXNqd49x53K0S+Z6tqCAXkz29XG7gbkcDzX2u9ygmUMlKudvsXK2kQB70V6ZNGCc+sDn7G05vKmuzMjAcXkzqum5kzEY3IeHmVRILgyltpauF9h3wHBPNm8cGSkDWR5u3WID4uaJBlINgxtcoKioeWefn2xMtiSsWbClC2ASINJ4G780MT2/M9pDcAjMX4fj8EFIQyYAVx+oVQvMApgPvyA7iT6W2nByCnGEMujHHdRd/dMsywly5twPW7VIAMzpPklhXbKOGvn7/X8Kyap9r0ms5v+k2QCF6l2SeeN7hYLYGQ9jbTu1hoamySvAz9r5zrKFIrKdCyhKBfGWum3wL/27s9IHmqiAXBmZ7sgvDyWK+C74ilxQuqPkwag81QZxD39BDAx4SyR8+L+ioZmnr5uzSlj1F8ECq2khDoorfwLeh1hnDNqgVTxxDCG1q4kfWlhJI0rzC6hgC8y5VF6JWJ5LtHqL7UUNP2G0V/T5JIyZtFwpbjN6GxxWGPk/71/0SPdBGsqhk3iEdSDmp50CtCmM32nZnfEUAbpUKKTmWWVp7T675hatVbXbfKu5bGJ5an8KPvYZXzQGutpVH6R7qpiyJ00fINFDSZjU3qmGJJ0zlyTDyGk7ide1z5zhFHYR37rDv38x3Ds9mCfZt2h2HMT9exfj//X2j7W2u6Ml93i63Q4oHXhLlrYcRXgmEevJzedOFiePdGmTMJqq1r+u9ZXwyGd2lLNutybPVYq8ybq337pIpTY0E0ljJrM8Ud/KmVLxo4g8iNUZ3XzUlk5ypCJxqxdOsqW6AST92M7vL+UMnp7NeWm74AR+s0JY2hxCHBTD51VCaznFUCgseiWhGB4X8StCxRzDNJ7ycjoORf9ETADRzCUV2LaXSZaprvgWTD5rEYPRQkTBxPynLV4vi7Ozpk703gGP1eobLRzB1IXRbWEqylxFUWsODXdSyBYzeYSTlKHSb6ZVngJo2LbAv0hAb0w31U9vbVftOYzj6x0gBjy5geGmIwo1KnuKWNRCcpT3ROC91aFvek21aywtcqXkmYWzo9bQvWHabFeiTqxydKBB2jbhNoUr7nT/Z9djRflF0IJrMV+QvUvpmGsUOVt4bS5ZbabWUhqOXRnRARyf2o5YAjtOzXztGNkWs8M0hXbAbuE5CS/+r+ilfDG4Jrbwmtx4jceYriIYWa4aKd0f1X8U+HVMEw7R/fYSD6EfudAgEw9TW7dE8SQKOZkvTcLIK1mJAxTTvOvJqfbTJuqVxgKNano5RO71zfCR/+9WtXi+b45avU7Io7jISFfFr7hvRuijiBVtpk2kxa6xO9RPR6YfhNQxONc5oyz1w2dzig29vq9wBlx56m9DW3lSxjgF3ycTX4sYeuE++VOx4e2D150A2Eq2U/cMAFawxjjlgS1CcI5BFZi3QdUyzxoDrvITTTs/Lz24G2VMQB2zAoyfA0Itubagw6dOXZ9JSXSn7nAszewBHgMylE7tb3j+PBLmvx/Rul38PIqhONNTHOlld9fmv2sccxBd9mdI/gI8QtoMnPqxI3rPQvHGmbD12RHUaYymiHulVcGqhlqYGMRYCK6COTw1FeFK0Y2pEV1Nx1FdlYECJPH+frbhxqFMGPRlikxNNz8oZfCivDbiuIekm27rUmnXJS3HSA1YIH1damn4VT6EwRcpLK29+/g1G4FeVAvu+wxURrlTZxMBdWPncuv7M/aU2Ji3tza46lWR5vKFbqhlqXmKPqknno8I8jCAgFDpreffr7B+eJn93cekCJfICLrdLmAb7+j0crBYU+RIriq6lw/P8CYIWVzHVbKC6/prdC++GAnMyOD7NqMZjqRRwweaZG0s5ke0F128KK95mNW60H3bTVPvGdYNyS+lwoNM4QfNaBDAe2LfRpSIZ3zSUegieMy/b+UcuOjlZ8zi9wGYShJlfHPF3oIzxaUpX7PawzGRjEfi8FhhSlvmJRNaT6QJtp05gR/ehdK30NRlLzBzT7vviwkXVO1cSGMMAN3ImYct945MUx9FaxwY7r5Ej+P8UmEzQa95853xlZBzedhJZNJwvZ5BoQR2b6o0+3+sXTlYnaZIlqba8HzepSmubWGhxSEBTpjq+ecIMATdEfZTbRjGmg5amI7VtDZ2SI8CX7GBSuEVt7Crme8wDJ5PdU0/ndSm00tUZb2mtfXjSBn93cbzYK6yrXPzQOwpMv9BmaYfE8V1/lLN4w5HlP0vHi2s4PkiYIxTb7/ymhA5G3j9r9QHc7jbERdj5M/U/6QCXXv5Xlc5EBB3SMAILgr7Wrt0TqdN9B/4E3kBzRW1jjrp1tpkAz91wq/nhHrY/pO/uy2XzljMs4uf2aSoFJ3HVkWUdiAP/dEbZhi84yrmgk8WEdYLjqKKtAh4aJSl5KldrjbW8HUqtfrnoWbJgBx9bHgnJgkJwppFI0VC6fSdw/ipZdwtE2afYILt23NouqDPznxGNYau90hhaIlMyrB45iZCYySfkkaU3+EFKauKWUvq57XJp2f7zsjzqkgX4gUlw3pNrqBqY59R9WbZeAheR7RhhXIQy+a8yGjuXfbOJ944K4yxob+9jmrIj289L847O9hrejS7pgCkxjEWxY3I9G4rHpaNS3Apod8eIhNh7Gg+FuKAF4AZc7TLfHvb0rGLAYimjTRmU42mPuoTSnLxWzuN0hNgK/b+v6pHo4/VKaCsXPZi4ZSoNptMqEcdnYFefc2KHcGrI6kTCHhYwfFbWIWYDHD1z9ljHmkdLLWvmRtkzTLB0j9y/Hed4zL7hP/a6+WRK77geCG4uCxZuKRdz3WChMKi2WH3wKvjYbzC6Y76+qglfB2XHcBOf2ARiAEuRE4Vw/pKDJzkqnJNa7kRZsS5v6YEUG85Yr1/GHil927zJas2gRi1AqfpR4/dA2QHi901Ryj+BH3wsIerguqm5y/HCKaKufyHa/dxvMywZMDqbTt8nhAoFfi5DktBGw6vNSk/zSVSiHrqLucelqnslTI8arHehlWXBc62MHlcs8/ChoMVGzAJVGxgNeEsDAnZlm+yc1k5eyY2XVgNiSfDyavf1GwrNN8mq3L4fTjWdbVGG5P5mUyR+VxVxO9QbE4XPoEfZGxy7eH/wDqre6wZ9JmOLRguC9bG2Np1/w4lpZjFpih2PwSyZW4qGne/evL/v6NfkD+zsEhkOlLUyYamyk0U8vvGczpNm9Yv4mpUN7mUhZedh0g5ZfnbqRSeZBkd/BYQDLL4L7++RCVQAX+1cnp+EIULTYk7MLq3yrbMJMMSlV2wT8uxfXASfQJjbX5maldQPtYllXBFXGcqzJ54lhveB6hQER/1fUtjnHs/ng8cMeaO7CU1ZIX2B1ywM76J/9qWCt7jg8c7+uhUXmFrnaipPcIc4Goi1BNuGGMJLi0tsGQaZt59UIdERepIBm8NhH5yjO5sew1LJuesAzEW1zWOd8CN+tliZb4Z/kw4zVbrkQvgdikMHrM8paqzVEuKr5OICJcZNFWhrnaY1Ae3/0/rGNdz1bA+05CoeJNKaKpStYpSSgR87qwsCJ3hamyTv5Dw+sNp9M5wQ7gda4dY/B/DrAI6KI6eZ5JPMOXHIpnUIhttFRaSsfr+KhwZ5AWsFRUPoQJNkakb11p6WSQ7c33c1UCLPCN/V599Rj/TOkVGR9gd2UcWfyFIY9wfYn9fBIJqTPT+h9WnuhejmWlwWkISGh+JsT6Zs0lQy/pyLrvtIFB7RW0YBhZsQXOmR7D5aiFOsv/wvMyZAYrxIyZGhSsK52V202LpP/ZcWFrAT8mnOmIKd9V61dqZhYYBRW5X9JBkl0HsIjI/iOTE0q2c+OPoab6jsyqnEcOJWGsWqTCTy3kJSiDupGwaDf+0CyO48Dv9i55cUQTSQ54hCKfvg0KhID+f9+rw+2Dw4n8+sifmDFlNSd6mJAwJ651fcyMMj1ocjGSkgw2Jey0txcii5zQrKvr7K547M8o9Eu5dAyq3aUoLeM6/gheTJmfV8lgRxH6iSKaEy+2GJFa/Ap3GQFvUbZA8fTRxOB5uFQgFfufiPPE8NWAG1WdDk2e3rECREW8HoS0xLrRf1V90Y4+kIS2U98BE0yaU/vkG/2o6DvaMgkHSzx886UCaiLBGL/NA2jaE4fi1xlmx5/S+GgspgF03TYm3O4JS+det5dvoZwWMrWke1HpMi8GdhbMGFKcOz9hbC/bo+xu+G4jQKjC0p2gmFmhAk7W7v9qjDe/CrfdmlIM6p8xc4VVdfsuMnV+XLwqgVvzs5UHd4vL9tqqEmn/N5kXXqNArYFmMsAiWwe0E4DphsRLMZvRkTl4K4GUiikTMUHDUNIgQpaR/wj3FwaIkhr3Wa/WilImxc9O5+BvAdjW1IiNbRgajcUqKviFQ9rB3Guia/FYCCtewYa4ScBD91kJuL5aS6fO3OqaGFE2GiZVuHbeRu8yl2q2iSRbY2rIWMez+nlZ/S2RMxj68rjsJXmp3ES4FqGHQpn4aVponSXrK5d2sMBgkIa7JsXZUoieIsP1pIhU6B8GZ5wPQeIEeTVfhEgE34IkvYifLZsHkZ6pSfxqimUjXUJaDyN24VGCy4HWJts1UhHEMWbQg0ReQo7Zrou9hoyrPEbTVhDJYX/pOlGwGoMuui7hmIaEtS1b/kxePMVMDLcVANZaQ2V7c3sHAoF5vfwPz/WAxIYxuOI2vgCXzrPLfgdY/IGjvkg1gj4psTOFeeSqb9I6fezGu0dIafbYporEBKIKkQeU1rT4WVroYs1S9BBBJA/G95wE9NeOg64TNa9VcmYv31Ybnx+DMJY609LqDBjonYJu76nhb6U+vl02sJLSJY+PDQ9Adh6J6VSH14U4Dsv1JUnMrKvutyFEcLqq4LWO5UZ2FYcdl2B1QwjVWwjUD1mARAcHhXViPzaOMYDTNA2fVI9OyhbCoRoRYvCSBNIp3OXZPl3EzG/S6qM4Eh4XPqDwF8bdnSjRq+a9OCrjmmzy3yJkh8doSQ3SB/JBTQG2UanIp/MLzLuVdyftGlAR/1tN3vCgbAvbrY9xYpFcRUwql7rg2zH5zQwbvtr9n4XEkZOjU2++z6Xi5PL3XqfzCL733u0oEDzrOLSjCoy/6WpRWvm15g1x3Nc5hwuGkX7DVYm2C/Dd1hZ9tcDyRLdbydCa3OUpGso/S+W/Nxh7yaJ6mW4C791ZhTQJt8dUr95faTim7XJSCnQAst7w+XTa+WjKiN4zpGNzMku7xAYvnB2UcI2LAdTETmQ/gZoKVuLeRcj/HLfuV+D6QKdCdewsB2kVIuqnCTMGl/9r9kTC0wrBAEzTO/CWKFfBdeWA/1IajPE6LpBUk5t8aynmDB6kRrVXYgPox0KDrrKz/NT6CgPFy8FxgKdYgLAeTFNHTeYV3C7+59UUhZVP4CM9aGh5kwwwic0Jd0ODIpUTYqg7g9kSnWPE3iANvi+Y7METqB3wb7f3fwFV+ZRqM0bZMsq4cucKDlfQMh4wTM9eFimW7ZSa8aVBIkHcAjx8r5NNYBBGvtlrrfPv2sFWHddJWN6JUPTNGYpepZo0E2EjnO376LQ6PR26j4hmiGUFvpXtCv8NrGTrmTxW/InklX+BWy07THFldWUS+Xej4z+D3cgoM/Q6exDeVaE+t6R86+crwDctKxerrVrkKvMq9MD/1y/l2Qxgcm825SIlRkPbyixpodH8yq7hi09WFkCyhjFLm/EXepNTtkHHnUWIDY+FqeQKxPaiTPkmYWHvONpdovw6GqI50FdfkpjwAk4h9kGKJiguzqs8buETfxbux+FpECO70RIE/Cnwc25zbQgNib0A9lajSTMSibwdXwW50NyMv6RI8o2UOf5scrEsbpjuQ6M95Z4hdIvFp4pK4qcyu9fzpfkwgoznY9Kh3PAxzETjlfMgzV+VI8ifOf34H4vLsE/n20rZwtq4Zy369N591fCcnFZ8i1T0IM6Duvnsy6jU7/OsxjjW3o/8u1snrKeCAe+EDErjbDillgNZPNOzfzr9UCa1cz70vIQcI34GlJHDM/UggZ+Bux4GfCCwpML6J0XcWYv7P3Y6/E1h/OpBtQy75n1dddZDnJIgXwCIsAaJSrMCGeNwHoQdghCmHeTES/kFxKDYqXDpv2wp6ZUXuaScWw/FaUIweOcHKT/NJLJnILv3Yp/s+ZyrJxwm8Rh9n/Bvn8eo5JNv2TZfmtiZIWq6odbYrs/G/wrDvm0DntVUo3VCv6jDT87hAAEHXeQpue7hI75OXH8dtMtU10IYsz3kCbZA0FWBAr1CAnS4Ch5oNuwDARuTc4nFM9se1wKz9bnYe/bsWAO6EO/e8M6U5Zbg9e9sLyB1Q9x5iWYpsnywuz9oo0+lgR0dScLig/Ru5BohKG8ZFNy8nMW9Kd8CiJRgXr7vFgc52QXfb3I1xDgYtLRPRSyV+FaM4V7rVPpw39gtDI6GKEoIc1VV1d5Iw4U1BvSWmss0U+DdR2kECYyWYWk12jjAyhsv4IDeusG54PT/l+Zq/e9bNRR+nHvHVH6hoQOhUI5l4CUbM7whFJ4D6iP3c/WHVAS0xPQ2kys+wn1UuN73KXB8RIxHPG/WFzF/QPKrUgAwf8bnJ3vlhkocvRK25ePT3UaRIiNQDQi/6rzWd6g54cTPvtc8nNOLm9dCFiPQHxfya1oGYUU6+ylccb+HRfehMlwdhCypH1VvfDsCRT/PF5zNd5DUBDYCyCk9FM+/+xywa3gUeS1t2NOSGo9LfGQFXh407sLljc7Mm8dkEfq2MbQZneLSRLoUbZuvlcRWPxEf7VX5p2Rl5ZEmbsiecAM/ZbNEcmYLal7BB3Wzg8eUjofUxvovT+IQ1s/izsAOIcjb52822ZhdauEwMxrOpztL0udYIyHSt7XNJDMrmx/V6x/MqPyiQMoZVlJ1pNnXRZC9tn1ST51KCvByixzGeoIwn0toA1J5K1htyiuA00iac6Of8ttiPHZbwIkHSVuEQzqw5VvkHLqv6aNU1fCfcjP/mPbxMCHYqQ99eWlu15WU2EzZNnSK+RdHwvWuXZGCadayOIXrqy9WDd9tcFwj/GswYiZ77I9g8ipsPf+M4GOlJkrtxog0w1EdXP3BXJ7SgOdpaflCa3FD8bBxqA/mBdJF91UtxHMAhBV7ec0eC4K5rLK9B4CpHSWSui2+t8vyReQMlyDYDQIQIqDtz0a9u86OfDo/+Aph49IRz2Qy0/27Qkr+bCSlC3xGqtN87/Sa1Y9i0yapVXSDp7tcRM4ZkSaF/8JFHz0p10Ydrp1ynINM2Fwaupa1QtKOwX3LeuB0r1vxHZU1m8eHrNi6+S7xfCTeSNmf+McEB/NVvTvo5/3b9Lh5aex32uqp1cg8ZposKTQZpVIawMMKvxFTacyjU9dT9WwQMKNZmm2uZH7kwbeb0NXvcZ5+pGICWNtxDiDZyTSGQsmsd/ZovJKfBF0w5Teo52ZEMC2MB5OIRPk/Ycwvbv+jZvziufnd5vuelH3aUr+pjpq7dePEsWLdE6MkdY0Fy1eAZj3WpO9P+QIuFSAdG7/PDMwubHV14oVdkoIXMgSjwv+4vMWtzkV+YI3p/xEEkZiiyqb5S82QwOR9QO9SCQjHwCtqGbSzEV0/M7SEaI3nahz5p7Qo0aL3daOR9CxSvtjXbR+U5OrYHRA7vz8YQWthS1CvX07oaTEqVJjn2VQWTakWVngnrBa07fxcpTw1mjjTRKh2HrETTg9RYyTzp7kqT5JgDqTiifcOzg+5IwLrH/0Je7Sfu63eJZg/HtC/oSKIUgZby60PtAU/2OTG1uZ0OH3f5SKZ1HU1ws4uLdEcPfwt6qaubkkNMOwZgWuRNBBPdXjktVV5Ot5trkqMCDktGmtEBxXZ6AoCx5jAep8s15fHQ5DYXqGVPAiPQ6zVhoRZ81ox6DS2QF+1WCxM1AdlSEgEsmYe7g++a6MUz9IUd+OPVcpe5qyEl0qE6rZTdZRE/wwrWxjo0W+oiwDk0ptvmWV49NJ4JhFhBXq8VxLYh4irkdNouE4iIG77tFST4QfbaxmWbkMP89mP2Xux1DLEbUNawzImEqMy6zF08oZLBqOCru73HWmk6cTD5qBBN/gi0HuFHZ5CWCZMZHQxv58ZZIQ7EwZm8Bfk/7YTLYXHMe2PhYB1qn963LCqFdvnReMMdJgBJJBLvGCGbw89hw77XiIFGJyLJXHwIdE0on82r2qanYDlPTAoUYWCLBioxKkH/LJplqZEh0Wstpb8B8VX+VPY0sbjwGx3aQ7R8TPwu58UnS20zuwaJf+faF6P58ifBvdIVcspcSTCRIFHjUhqSzUWdn7SZMrp92QoAibBQQYn28xy98e8roEqAiBUR/bZqr/Zy5S3It6jS2xrtEkwoRSF+TGoyNccGE9odmS3KgcsMr1ZiQPBv3g91e2lsChGXuFnCbdIxGOmU30UFsJZao1jEENECVoF1xCqHmm+MpXLxGV7ckdAP5QiWLCsPcrskeJXUjC5wkgDIGkpytMekmFcxaq94DZJVtJavTDfi99/WJj3hOXtk4ooiT9n76cZZ+g764V3DXH9wTYW5VabalSTQoMlrKdp8nA/o15o91ZMmG5YbMsdAYvIATN1+cEms5XPEjiKGaiMMVeCj4E6mug4TxJPeOp4GZy9i2upEFfbEtV1Rtdy74WdQbuXa1oMnzRbNg0zBfJedzLyKtPPlgT6fW3jnHMEAgp3rDoN69TQWCXpJJq3FDR9lgjtwyNWh9RfW4Jtr1ZpNPUrcOjySxtF7r99hB0DM4dFSJjC92szFnc/O9NbacD2SK/T2t4crhlJahx3suTo1bLT2YB/Yh11083Gr/7InNtgvNtKVZMUEroKURCdlMulQpFAy8oVhXI56or9eCtPg4sUKUvFPQ9f0cqT6se4aqcl6q4eKBI5IyMo45YnjXNXf/nzO9/3cbRW+tZSGTFYx+Fk9ilAsltu9BafLDJzjR9vnNzQIuZzyafCT8zt39NDRN2UaNPLruUNuR4p6pLFGIuVSbGFH1NLZTdLQEevfYbWLV1awunsEknABjWolP/WdAooWZ3ZatKsvztPxS/JiZ8vEqRZj8hoGYyumQo4BF7mkRAok5U2BbchOWM2lJecSsddvBUwI4Utum1RRGk/gt68Kx5ieW4FnWXOaCIxiu2PeZnSiYD9WbGImy2dAYEt5f/+FpOcODmf57IZqhDQvhfnS/w1b16vulGc9Dym/zIsRv5LCXVaTl3BOstt7U4dmd7Cm1WOru1i50KON2Pf9AyXjLnoloKQYfMagp+94dmVIV/zf/Vezl9buD0q1YK5XjXmzSrUYh8w7sPrCAzk+04G1g76l7MJwr4oBVgIgnJjsVc8k9SVSurSEdV6szew//YeQNDLXei+URQJz53rb8Fpc4nVBVysuQbvsHkqDVviKbFQFqivqPw2GurQLA4BzalPA1lKfR3wfI7JxIt8f88bc5ajiFlZ670V8QpTSjRNEMELZTkr3C4aINHl1dM9NnZVMJ7dFFC6Kw+/bSmcdYmDw8zphUmtlDYagAmN0W7GLnNnpiWtnNT98dVC27zqRTAivvvvQy3sbArrGxWj9qJa2wIIsE0qExfdCSxoT3Iv4sywsxhDkXjs0DbSbuQyQE+kMIaETE92c2h5uxgeSllF5iDp+tbaP43vMcvqHgKAVsI4fAr/ahf4xExoAl5FOurqwlTHXWzSct8Bu+qssEk46y2a3UuGNJsjThChLqFL+5wuqcvDLqjMzATLwkC4PfABRrkgioC2L7j5esftjRlGmYbpGjDBDfzgUhEV9MUzQ9J4HfzBWjpZB6tIu0qr2qPbGC3MgUlky9qqDAlbAZ1fO8cQ4goN2J8l5AkmBjItjqPcdHzIrVlTdQr3MqdP4aWwPNnE1p/+lg9tDcAGucaH7mahUtPVBeY4COfyQ1eBb2Fqh4KuhneNsLLskjACyHr2GD+W9/bsHdRiConTNVkvWdOjrY9tWpiQMMSLZBVsnea6FSLQtJ27jMR8=" title="Mekko Graphics Chart">
            <a:extLst>
              <a:ext uri="{FF2B5EF4-FFF2-40B4-BE49-F238E27FC236}">
                <a16:creationId xmlns:a16="http://schemas.microsoft.com/office/drawing/2014/main" id="{5D02B53D-BE19-45FD-AF22-A24986CCAA44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 bwMode="gray">
          <a:xfrm>
            <a:off x="330200" y="1376407"/>
            <a:ext cx="11525143" cy="5295265"/>
          </a:xfrm>
          <a:prstGeom prst="rect">
            <a:avLst/>
          </a:prstGeom>
          <a:blipFill>
            <a:blip r:embed="rId9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60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89BE8C74-21F9-4482-BDF5-704A84CBF7F1}"/>
              </a:ext>
            </a:extLst>
          </p:cNvPr>
          <p:cNvSpPr/>
          <p:nvPr/>
        </p:nvSpPr>
        <p:spPr>
          <a:xfrm rot="18253429">
            <a:off x="3426481" y="3716035"/>
            <a:ext cx="2625417" cy="1549522"/>
          </a:xfrm>
          <a:prstGeom prst="ellipse">
            <a:avLst/>
          </a:prstGeom>
          <a:solidFill>
            <a:srgbClr val="CC6666">
              <a:alpha val="16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/>
          <a:lstStyle/>
          <a:p>
            <a:pPr algn="ctr"/>
            <a:endParaRPr lang="en-US" sz="1899">
              <a:solidFill>
                <a:srgbClr val="FFFFFF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D80E21-DE98-4439-9695-4D18C6ED00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/>
              <a:t>Customer Overlap / Repertoire analysis</a:t>
            </a:r>
            <a:endParaRPr lang="en-US"/>
          </a:p>
        </p:txBody>
      </p:sp>
      <p:sp>
        <p:nvSpPr>
          <p:cNvPr id="14" name="Title 27">
            <a:extLst>
              <a:ext uri="{FF2B5EF4-FFF2-40B4-BE49-F238E27FC236}">
                <a16:creationId xmlns:a16="http://schemas.microsoft.com/office/drawing/2014/main" id="{1204B9DA-BA90-47E5-B0A7-1B92F5E97511}"/>
              </a:ext>
            </a:extLst>
          </p:cNvPr>
          <p:cNvSpPr txBox="1">
            <a:spLocks/>
          </p:cNvSpPr>
          <p:nvPr/>
        </p:nvSpPr>
        <p:spPr bwMode="gray">
          <a:xfrm>
            <a:off x="334964" y="1700317"/>
            <a:ext cx="11522074" cy="338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7469" tIns="27469" rIns="27469" bIns="27469" numCol="1" rtlCol="0" anchor="ctr" anchorCtr="0" compatLnSpc="1">
            <a:prstTxWarp prst="textNoShape">
              <a:avLst/>
            </a:prstTxWarp>
            <a:spAutoFit/>
          </a:bodyPr>
          <a:lstStyle>
            <a:lvl1pPr algn="l" defTabSz="981334" rtl="0" eaLnBrk="1" latinLnBrk="0" hangingPunct="1">
              <a:spcBef>
                <a:spcPct val="0"/>
              </a:spcBef>
              <a:buNone/>
              <a:defRPr sz="2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921" i="1">
                <a:solidFill>
                  <a:prstClr val="black"/>
                </a:solidFill>
              </a:rPr>
              <a:t>Distance between bubbles indicates the level of overlap between the consumers</a:t>
            </a:r>
          </a:p>
          <a:p>
            <a:r>
              <a:rPr lang="en-US" sz="921" i="1">
                <a:solidFill>
                  <a:prstClr val="black"/>
                </a:solidFill>
              </a:rPr>
              <a:t>(bubbles that are close together have been disproportionally bought in the L3M by the same persons)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FF21EF1-F317-4B96-BE48-8F99D7F32BE4}"/>
              </a:ext>
            </a:extLst>
          </p:cNvPr>
          <p:cNvSpPr/>
          <p:nvPr/>
        </p:nvSpPr>
        <p:spPr bwMode="gray">
          <a:xfrm>
            <a:off x="330200" y="1313968"/>
            <a:ext cx="11526838" cy="3545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buNone/>
            </a:pPr>
            <a:r>
              <a:rPr lang="en-US" sz="1000" b="1" i="1">
                <a:solidFill>
                  <a:srgbClr val="000000"/>
                </a:solidFill>
              </a:rPr>
              <a:t>Q13:</a:t>
            </a:r>
            <a:r>
              <a:rPr lang="en-US" sz="1000" i="1">
                <a:solidFill>
                  <a:srgbClr val="000000"/>
                </a:solidFill>
              </a:rPr>
              <a:t> How </a:t>
            </a:r>
            <a:r>
              <a:rPr lang="en-US" sz="1000" b="1" i="1">
                <a:solidFill>
                  <a:srgbClr val="000000"/>
                </a:solidFill>
              </a:rPr>
              <a:t>familiar </a:t>
            </a:r>
            <a:r>
              <a:rPr lang="en-US" sz="1000" i="1">
                <a:solidFill>
                  <a:srgbClr val="000000"/>
                </a:solidFill>
              </a:rPr>
              <a:t>are you with each of the following brands of butter and spreads?</a:t>
            </a:r>
          </a:p>
        </p:txBody>
      </p:sp>
      <p:grpSp>
        <p:nvGrpSpPr>
          <p:cNvPr id="22" name="btfpStatusSticker183101">
            <a:extLst>
              <a:ext uri="{FF2B5EF4-FFF2-40B4-BE49-F238E27FC236}">
                <a16:creationId xmlns:a16="http://schemas.microsoft.com/office/drawing/2014/main" id="{906F3392-29C0-4B7A-968D-65DCB26E908B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100356" y="955344"/>
            <a:ext cx="1761444" cy="235611"/>
            <a:chOff x="10100356" y="955344"/>
            <a:chExt cx="1761444" cy="235611"/>
          </a:xfrm>
        </p:grpSpPr>
        <p:sp>
          <p:nvSpPr>
            <p:cNvPr id="23" name="btfpStatusStickerText183101">
              <a:extLst>
                <a:ext uri="{FF2B5EF4-FFF2-40B4-BE49-F238E27FC236}">
                  <a16:creationId xmlns:a16="http://schemas.microsoft.com/office/drawing/2014/main" id="{158A88CE-31E4-498E-BF5D-CEBEE55B27DA}"/>
                </a:ext>
              </a:extLst>
            </p:cNvPr>
            <p:cNvSpPr txBox="1"/>
            <p:nvPr/>
          </p:nvSpPr>
          <p:spPr bwMode="gray">
            <a:xfrm>
              <a:off x="10100356" y="955344"/>
              <a:ext cx="17614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liminary</a:t>
              </a:r>
            </a:p>
          </p:txBody>
        </p:sp>
        <p:cxnSp>
          <p:nvCxnSpPr>
            <p:cNvPr id="24" name="btfpStatusStickerLine183101">
              <a:extLst>
                <a:ext uri="{FF2B5EF4-FFF2-40B4-BE49-F238E27FC236}">
                  <a16:creationId xmlns:a16="http://schemas.microsoft.com/office/drawing/2014/main" id="{CF4200B0-1DCB-41B1-A8F7-F9E957B0E3C0}"/>
                </a:ext>
              </a:extLst>
            </p:cNvPr>
            <p:cNvCxnSpPr/>
            <p:nvPr/>
          </p:nvCxnSpPr>
          <p:spPr bwMode="gray">
            <a:xfrm rot="720000">
              <a:off x="10100356" y="955344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Oval 25">
            <a:extLst>
              <a:ext uri="{FF2B5EF4-FFF2-40B4-BE49-F238E27FC236}">
                <a16:creationId xmlns:a16="http://schemas.microsoft.com/office/drawing/2014/main" id="{89232C7B-EEF7-4FA9-8482-78F23E2DDFF9}"/>
              </a:ext>
            </a:extLst>
          </p:cNvPr>
          <p:cNvSpPr/>
          <p:nvPr/>
        </p:nvSpPr>
        <p:spPr>
          <a:xfrm>
            <a:off x="10599084" y="4352852"/>
            <a:ext cx="847466" cy="392402"/>
          </a:xfrm>
          <a:prstGeom prst="ellipse">
            <a:avLst/>
          </a:prstGeom>
          <a:solidFill>
            <a:srgbClr val="CC6666">
              <a:alpha val="16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/>
          <a:lstStyle/>
          <a:p>
            <a:pPr marL="0" indent="0" algn="ctr">
              <a:buNone/>
            </a:pPr>
            <a:r>
              <a:rPr lang="en-US" sz="760">
                <a:solidFill>
                  <a:schemeClr val="tx1"/>
                </a:solidFill>
              </a:rPr>
              <a:t>Purchased in L3M together</a:t>
            </a:r>
          </a:p>
        </p:txBody>
      </p:sp>
      <p:sp>
        <p:nvSpPr>
          <p:cNvPr id="27" name="TextBox 14">
            <a:extLst>
              <a:ext uri="{FF2B5EF4-FFF2-40B4-BE49-F238E27FC236}">
                <a16:creationId xmlns:a16="http://schemas.microsoft.com/office/drawing/2014/main" id="{4C1F2A30-3FB5-4DF6-9B3B-AF9BE11F8669}"/>
              </a:ext>
            </a:extLst>
          </p:cNvPr>
          <p:cNvSpPr txBox="1"/>
          <p:nvPr/>
        </p:nvSpPr>
        <p:spPr>
          <a:xfrm>
            <a:off x="10696199" y="4922169"/>
            <a:ext cx="653236" cy="559424"/>
          </a:xfrm>
          <a:prstGeom prst="rect">
            <a:avLst/>
          </a:prstGeom>
          <a:solidFill>
            <a:srgbClr val="FFFFFF"/>
          </a:solidFill>
        </p:spPr>
        <p:txBody>
          <a:bodyPr wrap="square" lIns="0" tIns="33167" rIns="0" bIns="33167" rtlCol="0">
            <a:spAutoFit/>
          </a:bodyPr>
          <a:lstStyle/>
          <a:p>
            <a:pPr marL="0" indent="0" algn="ctr">
              <a:buNone/>
            </a:pPr>
            <a:r>
              <a:rPr lang="en-US" sz="800">
                <a:solidFill>
                  <a:srgbClr val="000000"/>
                </a:solidFill>
              </a:rPr>
              <a:t>20% purchase in L3M</a:t>
            </a:r>
            <a:br>
              <a:rPr lang="en-US" sz="800">
                <a:solidFill>
                  <a:srgbClr val="000000"/>
                </a:solidFill>
              </a:rPr>
            </a:br>
            <a:r>
              <a:rPr lang="en-US" sz="800">
                <a:solidFill>
                  <a:srgbClr val="000000"/>
                </a:solidFill>
              </a:rPr>
              <a:t>penetration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04BEBEE5-E11E-45F3-AFC0-FA00E37E967D}"/>
              </a:ext>
            </a:extLst>
          </p:cNvPr>
          <p:cNvSpPr/>
          <p:nvPr/>
        </p:nvSpPr>
        <p:spPr>
          <a:xfrm rot="16200000">
            <a:off x="661202" y="3404395"/>
            <a:ext cx="2763827" cy="1609730"/>
          </a:xfrm>
          <a:prstGeom prst="ellipse">
            <a:avLst/>
          </a:prstGeom>
          <a:solidFill>
            <a:srgbClr val="CC6666">
              <a:alpha val="16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/>
          <a:lstStyle/>
          <a:p>
            <a:pPr algn="ctr"/>
            <a:endParaRPr lang="en-US" sz="1899">
              <a:solidFill>
                <a:srgbClr val="FFFFFF"/>
              </a:solidFill>
            </a:endParaRPr>
          </a:p>
        </p:txBody>
      </p:sp>
      <p:sp>
        <p:nvSpPr>
          <p:cNvPr id="34" name="btfpNotesBox437423">
            <a:extLst>
              <a:ext uri="{FF2B5EF4-FFF2-40B4-BE49-F238E27FC236}">
                <a16:creationId xmlns:a16="http://schemas.microsoft.com/office/drawing/2014/main" id="{717B1DE9-7092-45BB-8483-AC7EBD2CF5B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200" y="6314917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 Penetration in the bubbles on the chart above </a:t>
            </a:r>
            <a:r>
              <a:rPr lang="en-GB" sz="800">
                <a:solidFill>
                  <a:srgbClr val="000000"/>
                </a:solidFill>
                <a:latin typeface="Arial"/>
              </a:rPr>
              <a:t>indicates buyers in L3M 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</a:t>
            </a:r>
          </a:p>
        </p:txBody>
      </p:sp>
      <p:grpSp>
        <p:nvGrpSpPr>
          <p:cNvPr id="36" name="btfpStatusSticker993751">
            <a:extLst>
              <a:ext uri="{FF2B5EF4-FFF2-40B4-BE49-F238E27FC236}">
                <a16:creationId xmlns:a16="http://schemas.microsoft.com/office/drawing/2014/main" id="{E8A3020F-22F7-4363-9325-98A764DB5BC3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57602" y="955344"/>
            <a:ext cx="2515753" cy="235611"/>
            <a:chOff x="-3034485" y="876300"/>
            <a:chExt cx="2515753" cy="235611"/>
          </a:xfrm>
        </p:grpSpPr>
        <p:sp>
          <p:nvSpPr>
            <p:cNvPr id="37" name="btfpStatusStickerText993751">
              <a:extLst>
                <a:ext uri="{FF2B5EF4-FFF2-40B4-BE49-F238E27FC236}">
                  <a16:creationId xmlns:a16="http://schemas.microsoft.com/office/drawing/2014/main" id="{515A70C7-FF6D-4127-8F50-ED6B482B14E1}"/>
                </a:ext>
              </a:extLst>
            </p:cNvPr>
            <p:cNvSpPr txBox="1"/>
            <p:nvPr/>
          </p:nvSpPr>
          <p:spPr bwMode="gray">
            <a:xfrm>
              <a:off x="-3034485" y="876300"/>
              <a:ext cx="2515753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PURCHASED IN L3M</a:t>
              </a:r>
            </a:p>
          </p:txBody>
        </p:sp>
        <p:cxnSp>
          <p:nvCxnSpPr>
            <p:cNvPr id="38" name="btfpStatusStickerLine993751">
              <a:extLst>
                <a:ext uri="{FF2B5EF4-FFF2-40B4-BE49-F238E27FC236}">
                  <a16:creationId xmlns:a16="http://schemas.microsoft.com/office/drawing/2014/main" id="{D0FAE5CB-9427-412F-8048-D3A2DE07BB9C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3034485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46100482-4A28-4F9E-9B4C-160181FD6D7E}"/>
              </a:ext>
            </a:extLst>
          </p:cNvPr>
          <p:cNvGrpSpPr/>
          <p:nvPr/>
        </p:nvGrpSpPr>
        <p:grpSpPr>
          <a:xfrm>
            <a:off x="7807325" y="5972016"/>
            <a:ext cx="2660809" cy="108109"/>
            <a:chOff x="7807325" y="5972016"/>
            <a:chExt cx="2660809" cy="108109"/>
          </a:xfrm>
        </p:grpSpPr>
        <p:sp>
          <p:nvSpPr>
            <p:cNvPr id="44" name="btfpLegendSquare997524">
              <a:extLst>
                <a:ext uri="{FF2B5EF4-FFF2-40B4-BE49-F238E27FC236}">
                  <a16:creationId xmlns:a16="http://schemas.microsoft.com/office/drawing/2014/main" id="{D7D2EA8C-B8C6-4C29-91FD-B5369E3B3882}"/>
                </a:ext>
              </a:extLst>
            </p:cNvPr>
            <p:cNvSpPr/>
            <p:nvPr/>
          </p:nvSpPr>
          <p:spPr bwMode="gray">
            <a:xfrm>
              <a:off x="7807325" y="5972016"/>
              <a:ext cx="108109" cy="108109"/>
            </a:xfrm>
            <a:prstGeom prst="rect">
              <a:avLst/>
            </a:prstGeom>
            <a:solidFill>
              <a:srgbClr val="CC1010"/>
            </a:solidFill>
            <a:ln w="190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0181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800">
                  <a:solidFill>
                    <a:srgbClr val="333333"/>
                  </a:solidFill>
                </a:rPr>
                <a:t>Target brands</a:t>
              </a:r>
            </a:p>
          </p:txBody>
        </p:sp>
        <p:sp>
          <p:nvSpPr>
            <p:cNvPr id="45" name="btfpLegendSquare281556">
              <a:extLst>
                <a:ext uri="{FF2B5EF4-FFF2-40B4-BE49-F238E27FC236}">
                  <a16:creationId xmlns:a16="http://schemas.microsoft.com/office/drawing/2014/main" id="{B1D529A6-EFB8-41BF-BB1E-A063C14C10EF}"/>
                </a:ext>
              </a:extLst>
            </p:cNvPr>
            <p:cNvSpPr/>
            <p:nvPr/>
          </p:nvSpPr>
          <p:spPr bwMode="gray">
            <a:xfrm>
              <a:off x="10360025" y="5972016"/>
              <a:ext cx="108109" cy="108109"/>
            </a:xfrm>
            <a:prstGeom prst="rect">
              <a:avLst/>
            </a:prstGeom>
            <a:solidFill>
              <a:srgbClr val="A3BCD3"/>
            </a:solidFill>
            <a:ln w="190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0181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800">
                  <a:solidFill>
                    <a:srgbClr val="333333"/>
                  </a:solidFill>
                </a:rPr>
                <a:t>Dairy (butter &amp; spreads)</a:t>
              </a:r>
            </a:p>
          </p:txBody>
        </p:sp>
        <p:sp>
          <p:nvSpPr>
            <p:cNvPr id="46" name="btfpLegendSquare281556">
              <a:extLst>
                <a:ext uri="{FF2B5EF4-FFF2-40B4-BE49-F238E27FC236}">
                  <a16:creationId xmlns:a16="http://schemas.microsoft.com/office/drawing/2014/main" id="{A95A4174-FFE2-4E9F-8DE0-35F9BA39A549}"/>
                </a:ext>
              </a:extLst>
            </p:cNvPr>
            <p:cNvSpPr/>
            <p:nvPr/>
          </p:nvSpPr>
          <p:spPr bwMode="gray">
            <a:xfrm>
              <a:off x="8769350" y="5972016"/>
              <a:ext cx="108109" cy="108109"/>
            </a:xfrm>
            <a:prstGeom prst="rect">
              <a:avLst/>
            </a:prstGeom>
            <a:solidFill>
              <a:srgbClr val="BEBAAC"/>
            </a:solidFill>
            <a:ln w="190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0181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800">
                  <a:solidFill>
                    <a:srgbClr val="333333"/>
                  </a:solidFill>
                </a:rPr>
                <a:t>Plant-based (butter &amp; spreads)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26F4B461-AEE7-4291-915B-8BA454C34723}"/>
              </a:ext>
            </a:extLst>
          </p:cNvPr>
          <p:cNvGrpSpPr/>
          <p:nvPr/>
        </p:nvGrpSpPr>
        <p:grpSpPr>
          <a:xfrm>
            <a:off x="7724775" y="5726118"/>
            <a:ext cx="3981450" cy="455607"/>
            <a:chOff x="7724775" y="5726118"/>
            <a:chExt cx="3981450" cy="455607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2488C084-04FA-46DA-BD4C-BD0F6FDE7C7A}"/>
                </a:ext>
              </a:extLst>
            </p:cNvPr>
            <p:cNvSpPr/>
            <p:nvPr/>
          </p:nvSpPr>
          <p:spPr bwMode="gray">
            <a:xfrm>
              <a:off x="7724775" y="5848350"/>
              <a:ext cx="3981450" cy="333375"/>
            </a:xfrm>
            <a:prstGeom prst="rect">
              <a:avLst/>
            </a:prstGeom>
            <a:noFill/>
            <a:ln w="6350">
              <a:solidFill>
                <a:srgbClr val="5C5C5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spcBef>
                  <a:spcPts val="0"/>
                </a:spcBef>
                <a:buNone/>
              </a:pPr>
              <a:endParaRPr lang="en-US" sz="1000">
                <a:solidFill>
                  <a:schemeClr val="bg1"/>
                </a:solidFill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816E0CF3-1A93-43E0-86A5-5349A8105E7C}"/>
                </a:ext>
              </a:extLst>
            </p:cNvPr>
            <p:cNvSpPr txBox="1"/>
            <p:nvPr/>
          </p:nvSpPr>
          <p:spPr bwMode="gray">
            <a:xfrm>
              <a:off x="7776890" y="5726118"/>
              <a:ext cx="491875" cy="201597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lIns="36000" tIns="36000" rIns="36000" bIns="36000" rtlCol="0" anchor="ctr">
              <a:spAutoFit/>
            </a:bodyPr>
            <a:lstStyle/>
            <a:p>
              <a:pPr marL="0" indent="0">
                <a:buNone/>
              </a:pPr>
              <a:r>
                <a:rPr lang="en-US" sz="900" b="1" i="1">
                  <a:solidFill>
                    <a:srgbClr val="000000"/>
                  </a:solidFill>
                </a:rPr>
                <a:t>Legend</a:t>
              </a:r>
            </a:p>
          </p:txBody>
        </p:sp>
      </p:grpSp>
      <p:sp>
        <p:nvSpPr>
          <p:cNvPr id="52" name="CommentBox">
            <a:extLst>
              <a:ext uri="{FF2B5EF4-FFF2-40B4-BE49-F238E27FC236}">
                <a16:creationId xmlns:a16="http://schemas.microsoft.com/office/drawing/2014/main" id="{21082BF9-CECA-4A33-891D-9C83A22E9282}"/>
              </a:ext>
            </a:extLst>
          </p:cNvPr>
          <p:cNvSpPr/>
          <p:nvPr/>
        </p:nvSpPr>
        <p:spPr bwMode="gray">
          <a:xfrm>
            <a:off x="9587156" y="1379786"/>
            <a:ext cx="2871321" cy="1349917"/>
          </a:xfrm>
          <a:prstGeom prst="wedgeRoundRectCallout">
            <a:avLst>
              <a:gd name="adj1" fmla="val -40000"/>
              <a:gd name="adj2" fmla="val 40000"/>
              <a:gd name="adj3" fmla="val 16667"/>
            </a:avLst>
          </a:prstGeom>
          <a:solidFill>
            <a:srgbClr val="CC0000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000" b="1">
                <a:solidFill>
                  <a:srgbClr val="FFFFFF"/>
                </a:solidFill>
                <a:latin typeface="Verdana" panose="020B0604030504040204" pitchFamily="34" charset="0"/>
              </a:rPr>
              <a:t>BCN: How to read the slide?</a:t>
            </a:r>
          </a:p>
          <a:p>
            <a:pPr marL="0" indent="0">
              <a:spcBef>
                <a:spcPts val="0"/>
              </a:spcBef>
              <a:buNone/>
            </a:pPr>
            <a:endParaRPr lang="en-US" sz="1000" b="1">
              <a:solidFill>
                <a:srgbClr val="FFFFFF"/>
              </a:solidFill>
              <a:latin typeface="Verdana" panose="020B060403050404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000">
                <a:solidFill>
                  <a:srgbClr val="FFFFFF"/>
                </a:solidFill>
                <a:latin typeface="Verdana" panose="020B0604030504040204" pitchFamily="34" charset="0"/>
              </a:rPr>
              <a:t>Distance between bubbles indicates level of overlap between consumers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000">
                <a:solidFill>
                  <a:srgbClr val="FFFFFF"/>
                </a:solidFill>
                <a:latin typeface="Verdana" panose="020B0604030504040204" pitchFamily="34" charset="0"/>
              </a:rPr>
              <a:t>Bubble size indicates consideration penetration (40% standard bubble)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000">
                <a:solidFill>
                  <a:srgbClr val="FFFFFF"/>
                </a:solidFill>
                <a:latin typeface="Verdana" panose="020B0604030504040204" pitchFamily="34" charset="0"/>
              </a:rPr>
              <a:t>SPSS generated analysis – no particular axis title for X and Y-axis</a:t>
            </a:r>
          </a:p>
        </p:txBody>
      </p:sp>
      <p:grpSp>
        <p:nvGrpSpPr>
          <p:cNvPr id="53" name="btfpRunningAgenda1Level418601">
            <a:extLst>
              <a:ext uri="{FF2B5EF4-FFF2-40B4-BE49-F238E27FC236}">
                <a16:creationId xmlns:a16="http://schemas.microsoft.com/office/drawing/2014/main" id="{EC512AD5-B95D-4FB7-9ED4-06541B0AEB55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0" y="944429"/>
            <a:ext cx="3370181" cy="257442"/>
            <a:chOff x="0" y="876300"/>
            <a:chExt cx="3370181" cy="257442"/>
          </a:xfrm>
        </p:grpSpPr>
        <p:sp>
          <p:nvSpPr>
            <p:cNvPr id="54" name="btfpRunningAgenda1LevelBarLeft418601">
              <a:extLst>
                <a:ext uri="{FF2B5EF4-FFF2-40B4-BE49-F238E27FC236}">
                  <a16:creationId xmlns:a16="http://schemas.microsoft.com/office/drawing/2014/main" id="{1198C385-1080-48CD-803D-0A1F5D09531F}"/>
                </a:ext>
              </a:extLst>
            </p:cNvPr>
            <p:cNvSpPr/>
            <p:nvPr/>
          </p:nvSpPr>
          <p:spPr bwMode="gray">
            <a:xfrm>
              <a:off x="0" y="876300"/>
              <a:ext cx="3370181" cy="257442"/>
            </a:xfrm>
            <a:custGeom>
              <a:avLst/>
              <a:gdLst>
                <a:gd name="connsiteX0" fmla="*/ 942786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42786 w 1816204"/>
                <a:gd name="connsiteY0" fmla="*/ 0 h 257442"/>
                <a:gd name="connsiteX1" fmla="*/ 888066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1111101 w 1111101"/>
                <a:gd name="connsiteY0" fmla="*/ 0 h 257442"/>
                <a:gd name="connsiteX1" fmla="*/ 888065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79416 w 1279416"/>
                <a:gd name="connsiteY0" fmla="*/ 0 h 257442"/>
                <a:gd name="connsiteX1" fmla="*/ 1056380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4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447733 w 1447733"/>
                <a:gd name="connsiteY0" fmla="*/ 0 h 257442"/>
                <a:gd name="connsiteX1" fmla="*/ 1224695 w 1447733"/>
                <a:gd name="connsiteY1" fmla="*/ 257442 h 257442"/>
                <a:gd name="connsiteX2" fmla="*/ 0 w 1447733"/>
                <a:gd name="connsiteY2" fmla="*/ 257442 h 257442"/>
                <a:gd name="connsiteX3" fmla="*/ 1 w 1447733"/>
                <a:gd name="connsiteY3" fmla="*/ 0 h 257442"/>
                <a:gd name="connsiteX0" fmla="*/ 1447733 w 1447733"/>
                <a:gd name="connsiteY0" fmla="*/ 0 h 257442"/>
                <a:gd name="connsiteX1" fmla="*/ 1393012 w 1447733"/>
                <a:gd name="connsiteY1" fmla="*/ 257442 h 257442"/>
                <a:gd name="connsiteX2" fmla="*/ 0 w 1447733"/>
                <a:gd name="connsiteY2" fmla="*/ 257442 h 257442"/>
                <a:gd name="connsiteX3" fmla="*/ 1 w 1447733"/>
                <a:gd name="connsiteY3" fmla="*/ 0 h 257442"/>
                <a:gd name="connsiteX0" fmla="*/ 1447732 w 1447732"/>
                <a:gd name="connsiteY0" fmla="*/ 0 h 257442"/>
                <a:gd name="connsiteX1" fmla="*/ 1393011 w 1447732"/>
                <a:gd name="connsiteY1" fmla="*/ 257442 h 257442"/>
                <a:gd name="connsiteX2" fmla="*/ 0 w 1447732"/>
                <a:gd name="connsiteY2" fmla="*/ 257442 h 257442"/>
                <a:gd name="connsiteX3" fmla="*/ 0 w 1447732"/>
                <a:gd name="connsiteY3" fmla="*/ 0 h 257442"/>
                <a:gd name="connsiteX0" fmla="*/ 1447733 w 1447733"/>
                <a:gd name="connsiteY0" fmla="*/ 0 h 257442"/>
                <a:gd name="connsiteX1" fmla="*/ 1393012 w 1447733"/>
                <a:gd name="connsiteY1" fmla="*/ 257442 h 257442"/>
                <a:gd name="connsiteX2" fmla="*/ 1 w 1447733"/>
                <a:gd name="connsiteY2" fmla="*/ 257442 h 257442"/>
                <a:gd name="connsiteX3" fmla="*/ 0 w 1447733"/>
                <a:gd name="connsiteY3" fmla="*/ 0 h 257442"/>
                <a:gd name="connsiteX0" fmla="*/ 1608033 w 1608033"/>
                <a:gd name="connsiteY0" fmla="*/ 0 h 257442"/>
                <a:gd name="connsiteX1" fmla="*/ 1393012 w 1608033"/>
                <a:gd name="connsiteY1" fmla="*/ 257442 h 257442"/>
                <a:gd name="connsiteX2" fmla="*/ 1 w 1608033"/>
                <a:gd name="connsiteY2" fmla="*/ 257442 h 257442"/>
                <a:gd name="connsiteX3" fmla="*/ 0 w 1608033"/>
                <a:gd name="connsiteY3" fmla="*/ 0 h 257442"/>
                <a:gd name="connsiteX0" fmla="*/ 1608033 w 1608033"/>
                <a:gd name="connsiteY0" fmla="*/ 0 h 257442"/>
                <a:gd name="connsiteX1" fmla="*/ 1553312 w 1608033"/>
                <a:gd name="connsiteY1" fmla="*/ 257442 h 257442"/>
                <a:gd name="connsiteX2" fmla="*/ 1 w 1608033"/>
                <a:gd name="connsiteY2" fmla="*/ 257442 h 257442"/>
                <a:gd name="connsiteX3" fmla="*/ 0 w 1608033"/>
                <a:gd name="connsiteY3" fmla="*/ 0 h 257442"/>
                <a:gd name="connsiteX0" fmla="*/ 1608033 w 1608033"/>
                <a:gd name="connsiteY0" fmla="*/ 0 h 257442"/>
                <a:gd name="connsiteX1" fmla="*/ 1553312 w 1608033"/>
                <a:gd name="connsiteY1" fmla="*/ 257442 h 257442"/>
                <a:gd name="connsiteX2" fmla="*/ 1 w 1608033"/>
                <a:gd name="connsiteY2" fmla="*/ 257442 h 257442"/>
                <a:gd name="connsiteX3" fmla="*/ 0 w 1608033"/>
                <a:gd name="connsiteY3" fmla="*/ 0 h 257442"/>
                <a:gd name="connsiteX0" fmla="*/ 1608032 w 1608032"/>
                <a:gd name="connsiteY0" fmla="*/ 0 h 257442"/>
                <a:gd name="connsiteX1" fmla="*/ 1553311 w 1608032"/>
                <a:gd name="connsiteY1" fmla="*/ 257442 h 257442"/>
                <a:gd name="connsiteX2" fmla="*/ 0 w 1608032"/>
                <a:gd name="connsiteY2" fmla="*/ 257442 h 257442"/>
                <a:gd name="connsiteX3" fmla="*/ 0 w 1608032"/>
                <a:gd name="connsiteY3" fmla="*/ 0 h 257442"/>
                <a:gd name="connsiteX0" fmla="*/ 1886954 w 1886954"/>
                <a:gd name="connsiteY0" fmla="*/ 0 h 257442"/>
                <a:gd name="connsiteX1" fmla="*/ 1553311 w 1886954"/>
                <a:gd name="connsiteY1" fmla="*/ 257442 h 257442"/>
                <a:gd name="connsiteX2" fmla="*/ 0 w 1886954"/>
                <a:gd name="connsiteY2" fmla="*/ 257442 h 257442"/>
                <a:gd name="connsiteX3" fmla="*/ 0 w 1886954"/>
                <a:gd name="connsiteY3" fmla="*/ 0 h 257442"/>
                <a:gd name="connsiteX0" fmla="*/ 1886954 w 1886954"/>
                <a:gd name="connsiteY0" fmla="*/ 0 h 257442"/>
                <a:gd name="connsiteX1" fmla="*/ 1832233 w 1886954"/>
                <a:gd name="connsiteY1" fmla="*/ 257442 h 257442"/>
                <a:gd name="connsiteX2" fmla="*/ 0 w 1886954"/>
                <a:gd name="connsiteY2" fmla="*/ 257442 h 257442"/>
                <a:gd name="connsiteX3" fmla="*/ 0 w 1886954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1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1 w 1886955"/>
                <a:gd name="connsiteY3" fmla="*/ 0 h 257442"/>
                <a:gd name="connsiteX0" fmla="*/ 2140230 w 2140230"/>
                <a:gd name="connsiteY0" fmla="*/ 0 h 257442"/>
                <a:gd name="connsiteX1" fmla="*/ 1832234 w 2140230"/>
                <a:gd name="connsiteY1" fmla="*/ 257442 h 257442"/>
                <a:gd name="connsiteX2" fmla="*/ 0 w 2140230"/>
                <a:gd name="connsiteY2" fmla="*/ 257442 h 257442"/>
                <a:gd name="connsiteX3" fmla="*/ 1 w 2140230"/>
                <a:gd name="connsiteY3" fmla="*/ 0 h 257442"/>
                <a:gd name="connsiteX0" fmla="*/ 2140230 w 2140230"/>
                <a:gd name="connsiteY0" fmla="*/ 0 h 257442"/>
                <a:gd name="connsiteX1" fmla="*/ 2085508 w 2140230"/>
                <a:gd name="connsiteY1" fmla="*/ 257442 h 257442"/>
                <a:gd name="connsiteX2" fmla="*/ 0 w 2140230"/>
                <a:gd name="connsiteY2" fmla="*/ 257442 h 257442"/>
                <a:gd name="connsiteX3" fmla="*/ 1 w 2140230"/>
                <a:gd name="connsiteY3" fmla="*/ 0 h 257442"/>
                <a:gd name="connsiteX0" fmla="*/ 2140230 w 2140230"/>
                <a:gd name="connsiteY0" fmla="*/ 0 h 257442"/>
                <a:gd name="connsiteX1" fmla="*/ 2085508 w 2140230"/>
                <a:gd name="connsiteY1" fmla="*/ 257442 h 257442"/>
                <a:gd name="connsiteX2" fmla="*/ 0 w 2140230"/>
                <a:gd name="connsiteY2" fmla="*/ 257442 h 257442"/>
                <a:gd name="connsiteX3" fmla="*/ 1 w 2140230"/>
                <a:gd name="connsiteY3" fmla="*/ 0 h 257442"/>
                <a:gd name="connsiteX0" fmla="*/ 2140230 w 2140230"/>
                <a:gd name="connsiteY0" fmla="*/ 0 h 257442"/>
                <a:gd name="connsiteX1" fmla="*/ 2085508 w 2140230"/>
                <a:gd name="connsiteY1" fmla="*/ 257442 h 257442"/>
                <a:gd name="connsiteX2" fmla="*/ 0 w 2140230"/>
                <a:gd name="connsiteY2" fmla="*/ 257442 h 257442"/>
                <a:gd name="connsiteX3" fmla="*/ 0 w 2140230"/>
                <a:gd name="connsiteY3" fmla="*/ 0 h 257442"/>
                <a:gd name="connsiteX0" fmla="*/ 2343810 w 2343810"/>
                <a:gd name="connsiteY0" fmla="*/ 0 h 257442"/>
                <a:gd name="connsiteX1" fmla="*/ 2085508 w 2343810"/>
                <a:gd name="connsiteY1" fmla="*/ 257442 h 257442"/>
                <a:gd name="connsiteX2" fmla="*/ 0 w 2343810"/>
                <a:gd name="connsiteY2" fmla="*/ 257442 h 257442"/>
                <a:gd name="connsiteX3" fmla="*/ 0 w 2343810"/>
                <a:gd name="connsiteY3" fmla="*/ 0 h 257442"/>
                <a:gd name="connsiteX0" fmla="*/ 2343810 w 2343810"/>
                <a:gd name="connsiteY0" fmla="*/ 0 h 257442"/>
                <a:gd name="connsiteX1" fmla="*/ 2289089 w 2343810"/>
                <a:gd name="connsiteY1" fmla="*/ 257442 h 257442"/>
                <a:gd name="connsiteX2" fmla="*/ 0 w 2343810"/>
                <a:gd name="connsiteY2" fmla="*/ 257442 h 257442"/>
                <a:gd name="connsiteX3" fmla="*/ 0 w 2343810"/>
                <a:gd name="connsiteY3" fmla="*/ 0 h 257442"/>
                <a:gd name="connsiteX0" fmla="*/ 2343810 w 2343810"/>
                <a:gd name="connsiteY0" fmla="*/ 0 h 257442"/>
                <a:gd name="connsiteX1" fmla="*/ 2289089 w 2343810"/>
                <a:gd name="connsiteY1" fmla="*/ 257442 h 257442"/>
                <a:gd name="connsiteX2" fmla="*/ 0 w 2343810"/>
                <a:gd name="connsiteY2" fmla="*/ 257442 h 257442"/>
                <a:gd name="connsiteX3" fmla="*/ 0 w 2343810"/>
                <a:gd name="connsiteY3" fmla="*/ 0 h 257442"/>
                <a:gd name="connsiteX0" fmla="*/ 2343810 w 2343810"/>
                <a:gd name="connsiteY0" fmla="*/ 0 h 257442"/>
                <a:gd name="connsiteX1" fmla="*/ 2289089 w 2343810"/>
                <a:gd name="connsiteY1" fmla="*/ 257442 h 257442"/>
                <a:gd name="connsiteX2" fmla="*/ 0 w 2343810"/>
                <a:gd name="connsiteY2" fmla="*/ 257442 h 257442"/>
                <a:gd name="connsiteX3" fmla="*/ 0 w 2343810"/>
                <a:gd name="connsiteY3" fmla="*/ 0 h 257442"/>
                <a:gd name="connsiteX0" fmla="*/ 2655947 w 2655947"/>
                <a:gd name="connsiteY0" fmla="*/ 0 h 257442"/>
                <a:gd name="connsiteX1" fmla="*/ 2289089 w 2655947"/>
                <a:gd name="connsiteY1" fmla="*/ 257442 h 257442"/>
                <a:gd name="connsiteX2" fmla="*/ 0 w 2655947"/>
                <a:gd name="connsiteY2" fmla="*/ 257442 h 257442"/>
                <a:gd name="connsiteX3" fmla="*/ 0 w 2655947"/>
                <a:gd name="connsiteY3" fmla="*/ 0 h 257442"/>
                <a:gd name="connsiteX0" fmla="*/ 2655947 w 2655947"/>
                <a:gd name="connsiteY0" fmla="*/ 0 h 257442"/>
                <a:gd name="connsiteX1" fmla="*/ 2601226 w 2655947"/>
                <a:gd name="connsiteY1" fmla="*/ 257442 h 257442"/>
                <a:gd name="connsiteX2" fmla="*/ 0 w 2655947"/>
                <a:gd name="connsiteY2" fmla="*/ 257442 h 257442"/>
                <a:gd name="connsiteX3" fmla="*/ 0 w 2655947"/>
                <a:gd name="connsiteY3" fmla="*/ 0 h 257442"/>
                <a:gd name="connsiteX0" fmla="*/ 2655947 w 2655947"/>
                <a:gd name="connsiteY0" fmla="*/ 0 h 257442"/>
                <a:gd name="connsiteX1" fmla="*/ 2601226 w 2655947"/>
                <a:gd name="connsiteY1" fmla="*/ 257442 h 257442"/>
                <a:gd name="connsiteX2" fmla="*/ 0 w 2655947"/>
                <a:gd name="connsiteY2" fmla="*/ 257442 h 257442"/>
                <a:gd name="connsiteX3" fmla="*/ 0 w 2655947"/>
                <a:gd name="connsiteY3" fmla="*/ 0 h 257442"/>
                <a:gd name="connsiteX0" fmla="*/ 2655947 w 2655947"/>
                <a:gd name="connsiteY0" fmla="*/ 0 h 257442"/>
                <a:gd name="connsiteX1" fmla="*/ 2601226 w 2655947"/>
                <a:gd name="connsiteY1" fmla="*/ 257442 h 257442"/>
                <a:gd name="connsiteX2" fmla="*/ 0 w 2655947"/>
                <a:gd name="connsiteY2" fmla="*/ 257442 h 257442"/>
                <a:gd name="connsiteX3" fmla="*/ 0 w 2655947"/>
                <a:gd name="connsiteY3" fmla="*/ 0 h 257442"/>
                <a:gd name="connsiteX0" fmla="*/ 2968533 w 2968533"/>
                <a:gd name="connsiteY0" fmla="*/ 0 h 257442"/>
                <a:gd name="connsiteX1" fmla="*/ 2601226 w 2968533"/>
                <a:gd name="connsiteY1" fmla="*/ 257442 h 257442"/>
                <a:gd name="connsiteX2" fmla="*/ 0 w 2968533"/>
                <a:gd name="connsiteY2" fmla="*/ 257442 h 257442"/>
                <a:gd name="connsiteX3" fmla="*/ 0 w 2968533"/>
                <a:gd name="connsiteY3" fmla="*/ 0 h 257442"/>
                <a:gd name="connsiteX0" fmla="*/ 2968533 w 2968533"/>
                <a:gd name="connsiteY0" fmla="*/ 0 h 257442"/>
                <a:gd name="connsiteX1" fmla="*/ 2913812 w 2968533"/>
                <a:gd name="connsiteY1" fmla="*/ 257442 h 257442"/>
                <a:gd name="connsiteX2" fmla="*/ 0 w 2968533"/>
                <a:gd name="connsiteY2" fmla="*/ 257442 h 257442"/>
                <a:gd name="connsiteX3" fmla="*/ 0 w 2968533"/>
                <a:gd name="connsiteY3" fmla="*/ 0 h 257442"/>
                <a:gd name="connsiteX0" fmla="*/ 2968533 w 2968533"/>
                <a:gd name="connsiteY0" fmla="*/ 0 h 257442"/>
                <a:gd name="connsiteX1" fmla="*/ 2913812 w 2968533"/>
                <a:gd name="connsiteY1" fmla="*/ 257442 h 257442"/>
                <a:gd name="connsiteX2" fmla="*/ 0 w 2968533"/>
                <a:gd name="connsiteY2" fmla="*/ 257442 h 257442"/>
                <a:gd name="connsiteX3" fmla="*/ 0 w 2968533"/>
                <a:gd name="connsiteY3" fmla="*/ 0 h 257442"/>
                <a:gd name="connsiteX0" fmla="*/ 2968533 w 2968533"/>
                <a:gd name="connsiteY0" fmla="*/ 0 h 257442"/>
                <a:gd name="connsiteX1" fmla="*/ 2913812 w 2968533"/>
                <a:gd name="connsiteY1" fmla="*/ 257442 h 257442"/>
                <a:gd name="connsiteX2" fmla="*/ 0 w 2968533"/>
                <a:gd name="connsiteY2" fmla="*/ 257442 h 257442"/>
                <a:gd name="connsiteX3" fmla="*/ 0 w 2968533"/>
                <a:gd name="connsiteY3" fmla="*/ 0 h 257442"/>
                <a:gd name="connsiteX0" fmla="*/ 950801 w 2913812"/>
                <a:gd name="connsiteY0" fmla="*/ 0 h 257442"/>
                <a:gd name="connsiteX1" fmla="*/ 2913812 w 2913812"/>
                <a:gd name="connsiteY1" fmla="*/ 257442 h 257442"/>
                <a:gd name="connsiteX2" fmla="*/ 0 w 2913812"/>
                <a:gd name="connsiteY2" fmla="*/ 257442 h 257442"/>
                <a:gd name="connsiteX3" fmla="*/ 0 w 291381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119115 w 1119115"/>
                <a:gd name="connsiteY0" fmla="*/ 0 h 257442"/>
                <a:gd name="connsiteX1" fmla="*/ 896079 w 1119115"/>
                <a:gd name="connsiteY1" fmla="*/ 257442 h 257442"/>
                <a:gd name="connsiteX2" fmla="*/ 0 w 1119115"/>
                <a:gd name="connsiteY2" fmla="*/ 257442 h 257442"/>
                <a:gd name="connsiteX3" fmla="*/ 0 w 1119115"/>
                <a:gd name="connsiteY3" fmla="*/ 0 h 257442"/>
                <a:gd name="connsiteX0" fmla="*/ 1119115 w 1119115"/>
                <a:gd name="connsiteY0" fmla="*/ 0 h 257442"/>
                <a:gd name="connsiteX1" fmla="*/ 1064394 w 1119115"/>
                <a:gd name="connsiteY1" fmla="*/ 257442 h 257442"/>
                <a:gd name="connsiteX2" fmla="*/ 0 w 1119115"/>
                <a:gd name="connsiteY2" fmla="*/ 257442 h 257442"/>
                <a:gd name="connsiteX3" fmla="*/ 0 w 1119115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279416 w 1279416"/>
                <a:gd name="connsiteY0" fmla="*/ 0 h 257442"/>
                <a:gd name="connsiteX1" fmla="*/ 10643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606878 w 1606878"/>
                <a:gd name="connsiteY0" fmla="*/ 0 h 257442"/>
                <a:gd name="connsiteX1" fmla="*/ 1224695 w 1606878"/>
                <a:gd name="connsiteY1" fmla="*/ 257442 h 257442"/>
                <a:gd name="connsiteX2" fmla="*/ 0 w 1606878"/>
                <a:gd name="connsiteY2" fmla="*/ 257442 h 257442"/>
                <a:gd name="connsiteX3" fmla="*/ 0 w 1606878"/>
                <a:gd name="connsiteY3" fmla="*/ 0 h 257442"/>
                <a:gd name="connsiteX0" fmla="*/ 1606878 w 1606878"/>
                <a:gd name="connsiteY0" fmla="*/ 0 h 257442"/>
                <a:gd name="connsiteX1" fmla="*/ 1552157 w 1606878"/>
                <a:gd name="connsiteY1" fmla="*/ 257442 h 257442"/>
                <a:gd name="connsiteX2" fmla="*/ 0 w 1606878"/>
                <a:gd name="connsiteY2" fmla="*/ 257442 h 257442"/>
                <a:gd name="connsiteX3" fmla="*/ 0 w 1606878"/>
                <a:gd name="connsiteY3" fmla="*/ 0 h 257442"/>
                <a:gd name="connsiteX0" fmla="*/ 1606878 w 1606878"/>
                <a:gd name="connsiteY0" fmla="*/ 0 h 257442"/>
                <a:gd name="connsiteX1" fmla="*/ 1552157 w 1606878"/>
                <a:gd name="connsiteY1" fmla="*/ 257442 h 257442"/>
                <a:gd name="connsiteX2" fmla="*/ 0 w 1606878"/>
                <a:gd name="connsiteY2" fmla="*/ 257442 h 257442"/>
                <a:gd name="connsiteX3" fmla="*/ 0 w 1606878"/>
                <a:gd name="connsiteY3" fmla="*/ 0 h 257442"/>
                <a:gd name="connsiteX0" fmla="*/ 1606878 w 1606878"/>
                <a:gd name="connsiteY0" fmla="*/ 0 h 257442"/>
                <a:gd name="connsiteX1" fmla="*/ 1552157 w 1606878"/>
                <a:gd name="connsiteY1" fmla="*/ 257442 h 257442"/>
                <a:gd name="connsiteX2" fmla="*/ 0 w 1606878"/>
                <a:gd name="connsiteY2" fmla="*/ 257442 h 257442"/>
                <a:gd name="connsiteX3" fmla="*/ 0 w 1606878"/>
                <a:gd name="connsiteY3" fmla="*/ 0 h 257442"/>
                <a:gd name="connsiteX0" fmla="*/ 1792827 w 1792827"/>
                <a:gd name="connsiteY0" fmla="*/ 0 h 257442"/>
                <a:gd name="connsiteX1" fmla="*/ 1552157 w 1792827"/>
                <a:gd name="connsiteY1" fmla="*/ 257442 h 257442"/>
                <a:gd name="connsiteX2" fmla="*/ 0 w 1792827"/>
                <a:gd name="connsiteY2" fmla="*/ 257442 h 257442"/>
                <a:gd name="connsiteX3" fmla="*/ 0 w 1792827"/>
                <a:gd name="connsiteY3" fmla="*/ 0 h 257442"/>
                <a:gd name="connsiteX0" fmla="*/ 1792827 w 1792827"/>
                <a:gd name="connsiteY0" fmla="*/ 0 h 257442"/>
                <a:gd name="connsiteX1" fmla="*/ 1738106 w 1792827"/>
                <a:gd name="connsiteY1" fmla="*/ 257442 h 257442"/>
                <a:gd name="connsiteX2" fmla="*/ 0 w 1792827"/>
                <a:gd name="connsiteY2" fmla="*/ 257442 h 257442"/>
                <a:gd name="connsiteX3" fmla="*/ 0 w 1792827"/>
                <a:gd name="connsiteY3" fmla="*/ 0 h 257442"/>
                <a:gd name="connsiteX0" fmla="*/ 1792827 w 1792827"/>
                <a:gd name="connsiteY0" fmla="*/ 0 h 257442"/>
                <a:gd name="connsiteX1" fmla="*/ 1738106 w 1792827"/>
                <a:gd name="connsiteY1" fmla="*/ 257442 h 257442"/>
                <a:gd name="connsiteX2" fmla="*/ 0 w 1792827"/>
                <a:gd name="connsiteY2" fmla="*/ 257442 h 257442"/>
                <a:gd name="connsiteX3" fmla="*/ 0 w 1792827"/>
                <a:gd name="connsiteY3" fmla="*/ 0 h 257442"/>
                <a:gd name="connsiteX0" fmla="*/ 1792827 w 1792827"/>
                <a:gd name="connsiteY0" fmla="*/ 0 h 257442"/>
                <a:gd name="connsiteX1" fmla="*/ 1738106 w 1792827"/>
                <a:gd name="connsiteY1" fmla="*/ 257442 h 257442"/>
                <a:gd name="connsiteX2" fmla="*/ 0 w 1792827"/>
                <a:gd name="connsiteY2" fmla="*/ 257442 h 257442"/>
                <a:gd name="connsiteX3" fmla="*/ 0 w 1792827"/>
                <a:gd name="connsiteY3" fmla="*/ 0 h 257442"/>
                <a:gd name="connsiteX0" fmla="*/ 1953127 w 1953127"/>
                <a:gd name="connsiteY0" fmla="*/ 0 h 257442"/>
                <a:gd name="connsiteX1" fmla="*/ 1738106 w 1953127"/>
                <a:gd name="connsiteY1" fmla="*/ 257442 h 257442"/>
                <a:gd name="connsiteX2" fmla="*/ 0 w 1953127"/>
                <a:gd name="connsiteY2" fmla="*/ 257442 h 257442"/>
                <a:gd name="connsiteX3" fmla="*/ 0 w 1953127"/>
                <a:gd name="connsiteY3" fmla="*/ 0 h 257442"/>
                <a:gd name="connsiteX0" fmla="*/ 1953127 w 1953127"/>
                <a:gd name="connsiteY0" fmla="*/ 0 h 257442"/>
                <a:gd name="connsiteX1" fmla="*/ 1898406 w 1953127"/>
                <a:gd name="connsiteY1" fmla="*/ 257442 h 257442"/>
                <a:gd name="connsiteX2" fmla="*/ 0 w 1953127"/>
                <a:gd name="connsiteY2" fmla="*/ 257442 h 257442"/>
                <a:gd name="connsiteX3" fmla="*/ 0 w 1953127"/>
                <a:gd name="connsiteY3" fmla="*/ 0 h 257442"/>
                <a:gd name="connsiteX0" fmla="*/ 1953127 w 1953127"/>
                <a:gd name="connsiteY0" fmla="*/ 0 h 257442"/>
                <a:gd name="connsiteX1" fmla="*/ 1898406 w 1953127"/>
                <a:gd name="connsiteY1" fmla="*/ 257442 h 257442"/>
                <a:gd name="connsiteX2" fmla="*/ 0 w 1953127"/>
                <a:gd name="connsiteY2" fmla="*/ 257442 h 257442"/>
                <a:gd name="connsiteX3" fmla="*/ 0 w 1953127"/>
                <a:gd name="connsiteY3" fmla="*/ 0 h 257442"/>
                <a:gd name="connsiteX0" fmla="*/ 1953127 w 1953127"/>
                <a:gd name="connsiteY0" fmla="*/ 0 h 257442"/>
                <a:gd name="connsiteX1" fmla="*/ 1898406 w 1953127"/>
                <a:gd name="connsiteY1" fmla="*/ 257442 h 257442"/>
                <a:gd name="connsiteX2" fmla="*/ 0 w 1953127"/>
                <a:gd name="connsiteY2" fmla="*/ 257442 h 257442"/>
                <a:gd name="connsiteX3" fmla="*/ 0 w 1953127"/>
                <a:gd name="connsiteY3" fmla="*/ 0 h 257442"/>
                <a:gd name="connsiteX0" fmla="*/ 2121442 w 2121442"/>
                <a:gd name="connsiteY0" fmla="*/ 0 h 257442"/>
                <a:gd name="connsiteX1" fmla="*/ 1898406 w 2121442"/>
                <a:gd name="connsiteY1" fmla="*/ 257442 h 257442"/>
                <a:gd name="connsiteX2" fmla="*/ 0 w 2121442"/>
                <a:gd name="connsiteY2" fmla="*/ 257442 h 257442"/>
                <a:gd name="connsiteX3" fmla="*/ 0 w 2121442"/>
                <a:gd name="connsiteY3" fmla="*/ 0 h 257442"/>
                <a:gd name="connsiteX0" fmla="*/ 2121442 w 2121442"/>
                <a:gd name="connsiteY0" fmla="*/ 0 h 257442"/>
                <a:gd name="connsiteX1" fmla="*/ 2066720 w 2121442"/>
                <a:gd name="connsiteY1" fmla="*/ 257442 h 257442"/>
                <a:gd name="connsiteX2" fmla="*/ 0 w 2121442"/>
                <a:gd name="connsiteY2" fmla="*/ 257442 h 257442"/>
                <a:gd name="connsiteX3" fmla="*/ 0 w 2121442"/>
                <a:gd name="connsiteY3" fmla="*/ 0 h 257442"/>
                <a:gd name="connsiteX0" fmla="*/ 2121443 w 2121443"/>
                <a:gd name="connsiteY0" fmla="*/ 0 h 257442"/>
                <a:gd name="connsiteX1" fmla="*/ 2066721 w 2121443"/>
                <a:gd name="connsiteY1" fmla="*/ 257442 h 257442"/>
                <a:gd name="connsiteX2" fmla="*/ 0 w 2121443"/>
                <a:gd name="connsiteY2" fmla="*/ 257442 h 257442"/>
                <a:gd name="connsiteX3" fmla="*/ 1 w 2121443"/>
                <a:gd name="connsiteY3" fmla="*/ 0 h 257442"/>
                <a:gd name="connsiteX0" fmla="*/ 2121443 w 2121443"/>
                <a:gd name="connsiteY0" fmla="*/ 0 h 257442"/>
                <a:gd name="connsiteX1" fmla="*/ 2066721 w 2121443"/>
                <a:gd name="connsiteY1" fmla="*/ 257442 h 257442"/>
                <a:gd name="connsiteX2" fmla="*/ 0 w 2121443"/>
                <a:gd name="connsiteY2" fmla="*/ 257442 h 257442"/>
                <a:gd name="connsiteX3" fmla="*/ 1 w 2121443"/>
                <a:gd name="connsiteY3" fmla="*/ 0 h 257442"/>
                <a:gd name="connsiteX0" fmla="*/ 2400365 w 2400365"/>
                <a:gd name="connsiteY0" fmla="*/ 0 h 257442"/>
                <a:gd name="connsiteX1" fmla="*/ 2066721 w 2400365"/>
                <a:gd name="connsiteY1" fmla="*/ 257442 h 257442"/>
                <a:gd name="connsiteX2" fmla="*/ 0 w 2400365"/>
                <a:gd name="connsiteY2" fmla="*/ 257442 h 257442"/>
                <a:gd name="connsiteX3" fmla="*/ 1 w 2400365"/>
                <a:gd name="connsiteY3" fmla="*/ 0 h 257442"/>
                <a:gd name="connsiteX0" fmla="*/ 2400365 w 2400365"/>
                <a:gd name="connsiteY0" fmla="*/ 0 h 257442"/>
                <a:gd name="connsiteX1" fmla="*/ 2345644 w 2400365"/>
                <a:gd name="connsiteY1" fmla="*/ 257442 h 257442"/>
                <a:gd name="connsiteX2" fmla="*/ 0 w 2400365"/>
                <a:gd name="connsiteY2" fmla="*/ 257442 h 257442"/>
                <a:gd name="connsiteX3" fmla="*/ 1 w 2400365"/>
                <a:gd name="connsiteY3" fmla="*/ 0 h 257442"/>
                <a:gd name="connsiteX0" fmla="*/ 2400364 w 2400364"/>
                <a:gd name="connsiteY0" fmla="*/ 0 h 257442"/>
                <a:gd name="connsiteX1" fmla="*/ 2345643 w 2400364"/>
                <a:gd name="connsiteY1" fmla="*/ 257442 h 257442"/>
                <a:gd name="connsiteX2" fmla="*/ 0 w 2400364"/>
                <a:gd name="connsiteY2" fmla="*/ 257442 h 257442"/>
                <a:gd name="connsiteX3" fmla="*/ 0 w 2400364"/>
                <a:gd name="connsiteY3" fmla="*/ 0 h 257442"/>
                <a:gd name="connsiteX0" fmla="*/ 2400365 w 2400365"/>
                <a:gd name="connsiteY0" fmla="*/ 0 h 257442"/>
                <a:gd name="connsiteX1" fmla="*/ 2345644 w 2400365"/>
                <a:gd name="connsiteY1" fmla="*/ 257442 h 257442"/>
                <a:gd name="connsiteX2" fmla="*/ 1 w 2400365"/>
                <a:gd name="connsiteY2" fmla="*/ 257442 h 257442"/>
                <a:gd name="connsiteX3" fmla="*/ 0 w 2400365"/>
                <a:gd name="connsiteY3" fmla="*/ 0 h 257442"/>
                <a:gd name="connsiteX0" fmla="*/ 2560665 w 2560665"/>
                <a:gd name="connsiteY0" fmla="*/ 0 h 257442"/>
                <a:gd name="connsiteX1" fmla="*/ 2345644 w 2560665"/>
                <a:gd name="connsiteY1" fmla="*/ 257442 h 257442"/>
                <a:gd name="connsiteX2" fmla="*/ 1 w 2560665"/>
                <a:gd name="connsiteY2" fmla="*/ 257442 h 257442"/>
                <a:gd name="connsiteX3" fmla="*/ 0 w 2560665"/>
                <a:gd name="connsiteY3" fmla="*/ 0 h 257442"/>
                <a:gd name="connsiteX0" fmla="*/ 2560665 w 2560665"/>
                <a:gd name="connsiteY0" fmla="*/ 0 h 257442"/>
                <a:gd name="connsiteX1" fmla="*/ 2505944 w 2560665"/>
                <a:gd name="connsiteY1" fmla="*/ 257442 h 257442"/>
                <a:gd name="connsiteX2" fmla="*/ 1 w 2560665"/>
                <a:gd name="connsiteY2" fmla="*/ 257442 h 257442"/>
                <a:gd name="connsiteX3" fmla="*/ 0 w 2560665"/>
                <a:gd name="connsiteY3" fmla="*/ 0 h 257442"/>
                <a:gd name="connsiteX0" fmla="*/ 2560665 w 2560665"/>
                <a:gd name="connsiteY0" fmla="*/ 0 h 257442"/>
                <a:gd name="connsiteX1" fmla="*/ 2505944 w 2560665"/>
                <a:gd name="connsiteY1" fmla="*/ 257442 h 257442"/>
                <a:gd name="connsiteX2" fmla="*/ 1 w 2560665"/>
                <a:gd name="connsiteY2" fmla="*/ 257442 h 257442"/>
                <a:gd name="connsiteX3" fmla="*/ 0 w 2560665"/>
                <a:gd name="connsiteY3" fmla="*/ 0 h 257442"/>
                <a:gd name="connsiteX0" fmla="*/ 2560664 w 2560664"/>
                <a:gd name="connsiteY0" fmla="*/ 0 h 257442"/>
                <a:gd name="connsiteX1" fmla="*/ 2505943 w 2560664"/>
                <a:gd name="connsiteY1" fmla="*/ 257442 h 257442"/>
                <a:gd name="connsiteX2" fmla="*/ 0 w 2560664"/>
                <a:gd name="connsiteY2" fmla="*/ 257442 h 257442"/>
                <a:gd name="connsiteX3" fmla="*/ 0 w 2560664"/>
                <a:gd name="connsiteY3" fmla="*/ 0 h 257442"/>
                <a:gd name="connsiteX0" fmla="*/ 2720964 w 2720964"/>
                <a:gd name="connsiteY0" fmla="*/ 0 h 257442"/>
                <a:gd name="connsiteX1" fmla="*/ 2505943 w 2720964"/>
                <a:gd name="connsiteY1" fmla="*/ 257442 h 257442"/>
                <a:gd name="connsiteX2" fmla="*/ 0 w 2720964"/>
                <a:gd name="connsiteY2" fmla="*/ 257442 h 257442"/>
                <a:gd name="connsiteX3" fmla="*/ 0 w 2720964"/>
                <a:gd name="connsiteY3" fmla="*/ 0 h 257442"/>
                <a:gd name="connsiteX0" fmla="*/ 2720964 w 2720964"/>
                <a:gd name="connsiteY0" fmla="*/ 0 h 257442"/>
                <a:gd name="connsiteX1" fmla="*/ 2666243 w 2720964"/>
                <a:gd name="connsiteY1" fmla="*/ 257442 h 257442"/>
                <a:gd name="connsiteX2" fmla="*/ 0 w 2720964"/>
                <a:gd name="connsiteY2" fmla="*/ 257442 h 257442"/>
                <a:gd name="connsiteX3" fmla="*/ 0 w 2720964"/>
                <a:gd name="connsiteY3" fmla="*/ 0 h 257442"/>
                <a:gd name="connsiteX0" fmla="*/ 2720965 w 2720965"/>
                <a:gd name="connsiteY0" fmla="*/ 0 h 257442"/>
                <a:gd name="connsiteX1" fmla="*/ 2666244 w 2720965"/>
                <a:gd name="connsiteY1" fmla="*/ 257442 h 257442"/>
                <a:gd name="connsiteX2" fmla="*/ 0 w 2720965"/>
                <a:gd name="connsiteY2" fmla="*/ 257442 h 257442"/>
                <a:gd name="connsiteX3" fmla="*/ 1 w 2720965"/>
                <a:gd name="connsiteY3" fmla="*/ 0 h 257442"/>
                <a:gd name="connsiteX0" fmla="*/ 2720965 w 2720965"/>
                <a:gd name="connsiteY0" fmla="*/ 0 h 257442"/>
                <a:gd name="connsiteX1" fmla="*/ 2666244 w 2720965"/>
                <a:gd name="connsiteY1" fmla="*/ 257442 h 257442"/>
                <a:gd name="connsiteX2" fmla="*/ 0 w 2720965"/>
                <a:gd name="connsiteY2" fmla="*/ 257442 h 257442"/>
                <a:gd name="connsiteX3" fmla="*/ 1 w 2720965"/>
                <a:gd name="connsiteY3" fmla="*/ 0 h 257442"/>
                <a:gd name="connsiteX0" fmla="*/ 2889282 w 2889282"/>
                <a:gd name="connsiteY0" fmla="*/ 0 h 257442"/>
                <a:gd name="connsiteX1" fmla="*/ 2666244 w 2889282"/>
                <a:gd name="connsiteY1" fmla="*/ 257442 h 257442"/>
                <a:gd name="connsiteX2" fmla="*/ 0 w 2889282"/>
                <a:gd name="connsiteY2" fmla="*/ 257442 h 257442"/>
                <a:gd name="connsiteX3" fmla="*/ 1 w 2889282"/>
                <a:gd name="connsiteY3" fmla="*/ 0 h 257442"/>
                <a:gd name="connsiteX0" fmla="*/ 2889282 w 2889282"/>
                <a:gd name="connsiteY0" fmla="*/ 0 h 257442"/>
                <a:gd name="connsiteX1" fmla="*/ 2834560 w 2889282"/>
                <a:gd name="connsiteY1" fmla="*/ 257442 h 257442"/>
                <a:gd name="connsiteX2" fmla="*/ 0 w 2889282"/>
                <a:gd name="connsiteY2" fmla="*/ 257442 h 257442"/>
                <a:gd name="connsiteX3" fmla="*/ 1 w 2889282"/>
                <a:gd name="connsiteY3" fmla="*/ 0 h 257442"/>
                <a:gd name="connsiteX0" fmla="*/ 2889282 w 2889282"/>
                <a:gd name="connsiteY0" fmla="*/ 0 h 257442"/>
                <a:gd name="connsiteX1" fmla="*/ 2834560 w 2889282"/>
                <a:gd name="connsiteY1" fmla="*/ 257442 h 257442"/>
                <a:gd name="connsiteX2" fmla="*/ 0 w 2889282"/>
                <a:gd name="connsiteY2" fmla="*/ 257442 h 257442"/>
                <a:gd name="connsiteX3" fmla="*/ 1 w 2889282"/>
                <a:gd name="connsiteY3" fmla="*/ 0 h 257442"/>
                <a:gd name="connsiteX0" fmla="*/ 2889282 w 2889282"/>
                <a:gd name="connsiteY0" fmla="*/ 0 h 257442"/>
                <a:gd name="connsiteX1" fmla="*/ 2834560 w 2889282"/>
                <a:gd name="connsiteY1" fmla="*/ 257442 h 257442"/>
                <a:gd name="connsiteX2" fmla="*/ 0 w 2889282"/>
                <a:gd name="connsiteY2" fmla="*/ 257442 h 257442"/>
                <a:gd name="connsiteX3" fmla="*/ 0 w 2889282"/>
                <a:gd name="connsiteY3" fmla="*/ 0 h 257442"/>
                <a:gd name="connsiteX0" fmla="*/ 3209881 w 3209881"/>
                <a:gd name="connsiteY0" fmla="*/ 0 h 257442"/>
                <a:gd name="connsiteX1" fmla="*/ 2834560 w 3209881"/>
                <a:gd name="connsiteY1" fmla="*/ 257442 h 257442"/>
                <a:gd name="connsiteX2" fmla="*/ 0 w 3209881"/>
                <a:gd name="connsiteY2" fmla="*/ 257442 h 257442"/>
                <a:gd name="connsiteX3" fmla="*/ 0 w 3209881"/>
                <a:gd name="connsiteY3" fmla="*/ 0 h 257442"/>
                <a:gd name="connsiteX0" fmla="*/ 3209881 w 3209881"/>
                <a:gd name="connsiteY0" fmla="*/ 0 h 257442"/>
                <a:gd name="connsiteX1" fmla="*/ 3155160 w 3209881"/>
                <a:gd name="connsiteY1" fmla="*/ 257442 h 257442"/>
                <a:gd name="connsiteX2" fmla="*/ 0 w 3209881"/>
                <a:gd name="connsiteY2" fmla="*/ 257442 h 257442"/>
                <a:gd name="connsiteX3" fmla="*/ 0 w 3209881"/>
                <a:gd name="connsiteY3" fmla="*/ 0 h 257442"/>
                <a:gd name="connsiteX0" fmla="*/ 3209881 w 3209881"/>
                <a:gd name="connsiteY0" fmla="*/ 0 h 257442"/>
                <a:gd name="connsiteX1" fmla="*/ 3155160 w 3209881"/>
                <a:gd name="connsiteY1" fmla="*/ 257442 h 257442"/>
                <a:gd name="connsiteX2" fmla="*/ 0 w 3209881"/>
                <a:gd name="connsiteY2" fmla="*/ 257442 h 257442"/>
                <a:gd name="connsiteX3" fmla="*/ 0 w 3209881"/>
                <a:gd name="connsiteY3" fmla="*/ 0 h 257442"/>
                <a:gd name="connsiteX0" fmla="*/ 3209881 w 3209881"/>
                <a:gd name="connsiteY0" fmla="*/ 0 h 257442"/>
                <a:gd name="connsiteX1" fmla="*/ 3155160 w 3209881"/>
                <a:gd name="connsiteY1" fmla="*/ 257442 h 257442"/>
                <a:gd name="connsiteX2" fmla="*/ 0 w 3209881"/>
                <a:gd name="connsiteY2" fmla="*/ 257442 h 257442"/>
                <a:gd name="connsiteX3" fmla="*/ 0 w 3209881"/>
                <a:gd name="connsiteY3" fmla="*/ 0 h 257442"/>
                <a:gd name="connsiteX0" fmla="*/ 3370181 w 3370181"/>
                <a:gd name="connsiteY0" fmla="*/ 0 h 257442"/>
                <a:gd name="connsiteX1" fmla="*/ 3155160 w 3370181"/>
                <a:gd name="connsiteY1" fmla="*/ 257442 h 257442"/>
                <a:gd name="connsiteX2" fmla="*/ 0 w 3370181"/>
                <a:gd name="connsiteY2" fmla="*/ 257442 h 257442"/>
                <a:gd name="connsiteX3" fmla="*/ 0 w 3370181"/>
                <a:gd name="connsiteY3" fmla="*/ 0 h 257442"/>
                <a:gd name="connsiteX0" fmla="*/ 3370181 w 3370181"/>
                <a:gd name="connsiteY0" fmla="*/ 0 h 257442"/>
                <a:gd name="connsiteX1" fmla="*/ 3315460 w 3370181"/>
                <a:gd name="connsiteY1" fmla="*/ 257442 h 257442"/>
                <a:gd name="connsiteX2" fmla="*/ 0 w 3370181"/>
                <a:gd name="connsiteY2" fmla="*/ 257442 h 257442"/>
                <a:gd name="connsiteX3" fmla="*/ 0 w 3370181"/>
                <a:gd name="connsiteY3" fmla="*/ 0 h 257442"/>
                <a:gd name="connsiteX0" fmla="*/ 3370181 w 3370181"/>
                <a:gd name="connsiteY0" fmla="*/ 0 h 257442"/>
                <a:gd name="connsiteX1" fmla="*/ 3315460 w 3370181"/>
                <a:gd name="connsiteY1" fmla="*/ 257442 h 257442"/>
                <a:gd name="connsiteX2" fmla="*/ 0 w 3370181"/>
                <a:gd name="connsiteY2" fmla="*/ 257442 h 257442"/>
                <a:gd name="connsiteX3" fmla="*/ 0 w 3370181"/>
                <a:gd name="connsiteY3" fmla="*/ 0 h 257442"/>
                <a:gd name="connsiteX0" fmla="*/ 3370181 w 3370181"/>
                <a:gd name="connsiteY0" fmla="*/ 0 h 257442"/>
                <a:gd name="connsiteX1" fmla="*/ 3315460 w 3370181"/>
                <a:gd name="connsiteY1" fmla="*/ 257442 h 257442"/>
                <a:gd name="connsiteX2" fmla="*/ 0 w 3370181"/>
                <a:gd name="connsiteY2" fmla="*/ 257442 h 257442"/>
                <a:gd name="connsiteX3" fmla="*/ 0 w 3370181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0181" h="257442">
                  <a:moveTo>
                    <a:pt x="3370181" y="0"/>
                  </a:moveTo>
                  <a:lnTo>
                    <a:pt x="3315460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" name="btfpRunningAgenda1LevelTextLeft418601">
              <a:extLst>
                <a:ext uri="{FF2B5EF4-FFF2-40B4-BE49-F238E27FC236}">
                  <a16:creationId xmlns:a16="http://schemas.microsoft.com/office/drawing/2014/main" id="{E4278E2A-8DC5-4CE6-9A84-2B41E453C945}"/>
                </a:ext>
              </a:extLst>
            </p:cNvPr>
            <p:cNvSpPr txBox="1"/>
            <p:nvPr/>
          </p:nvSpPr>
          <p:spPr bwMode="gray">
            <a:xfrm>
              <a:off x="0" y="876300"/>
              <a:ext cx="3315460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USTOMER OVERLAP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36598409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btfpColumnIndicatorGroup2">
            <a:extLst>
              <a:ext uri="{FF2B5EF4-FFF2-40B4-BE49-F238E27FC236}">
                <a16:creationId xmlns:a16="http://schemas.microsoft.com/office/drawing/2014/main" id="{CA32E99A-2030-4BD3-AA6C-EFDC735A8780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9" name="btfpColumnGapBlocker312059">
              <a:extLst>
                <a:ext uri="{FF2B5EF4-FFF2-40B4-BE49-F238E27FC236}">
                  <a16:creationId xmlns:a16="http://schemas.microsoft.com/office/drawing/2014/main" id="{558473AF-F116-40FB-8753-C72C4D3C0C73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7" name="btfpColumnGapBlocker445341">
              <a:extLst>
                <a:ext uri="{FF2B5EF4-FFF2-40B4-BE49-F238E27FC236}">
                  <a16:creationId xmlns:a16="http://schemas.microsoft.com/office/drawing/2014/main" id="{43C4F5F9-6D10-4E79-AF8B-3F926FFD3765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441115">
              <a:extLst>
                <a:ext uri="{FF2B5EF4-FFF2-40B4-BE49-F238E27FC236}">
                  <a16:creationId xmlns:a16="http://schemas.microsoft.com/office/drawing/2014/main" id="{2D610AF9-A495-4E02-ABAF-0DB9F9D24E93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316468">
              <a:extLst>
                <a:ext uri="{FF2B5EF4-FFF2-40B4-BE49-F238E27FC236}">
                  <a16:creationId xmlns:a16="http://schemas.microsoft.com/office/drawing/2014/main" id="{9A456C8A-4049-441E-98D0-592BEC7B88DE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btfpColumnIndicatorGroup1">
            <a:extLst>
              <a:ext uri="{FF2B5EF4-FFF2-40B4-BE49-F238E27FC236}">
                <a16:creationId xmlns:a16="http://schemas.microsoft.com/office/drawing/2014/main" id="{273899AE-5028-4228-91CD-5B681E0FA82A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8" name="btfpColumnGapBlocker457656">
              <a:extLst>
                <a:ext uri="{FF2B5EF4-FFF2-40B4-BE49-F238E27FC236}">
                  <a16:creationId xmlns:a16="http://schemas.microsoft.com/office/drawing/2014/main" id="{403BFA2E-604E-4F43-9D62-4EDBB7E2A82C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6" name="btfpColumnGapBlocker870484">
              <a:extLst>
                <a:ext uri="{FF2B5EF4-FFF2-40B4-BE49-F238E27FC236}">
                  <a16:creationId xmlns:a16="http://schemas.microsoft.com/office/drawing/2014/main" id="{EB1381C2-2610-48D0-B885-02EB588E55B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" name="btfpColumnIndicator271684">
              <a:extLst>
                <a:ext uri="{FF2B5EF4-FFF2-40B4-BE49-F238E27FC236}">
                  <a16:creationId xmlns:a16="http://schemas.microsoft.com/office/drawing/2014/main" id="{52273364-6D88-456B-AA9F-B798097A8340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" name="btfpColumnIndicator309613">
              <a:extLst>
                <a:ext uri="{FF2B5EF4-FFF2-40B4-BE49-F238E27FC236}">
                  <a16:creationId xmlns:a16="http://schemas.microsoft.com/office/drawing/2014/main" id="{ABBC5DD1-4280-483F-BED9-D96EE1F9B1A2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13552089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btfpColumnIndicatorGroup2">
            <a:extLst>
              <a:ext uri="{FF2B5EF4-FFF2-40B4-BE49-F238E27FC236}">
                <a16:creationId xmlns:a16="http://schemas.microsoft.com/office/drawing/2014/main" id="{C3601007-8C36-439E-9C59-9BC17498F5C1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7" name="btfpColumnGapBlocker423655">
              <a:extLst>
                <a:ext uri="{FF2B5EF4-FFF2-40B4-BE49-F238E27FC236}">
                  <a16:creationId xmlns:a16="http://schemas.microsoft.com/office/drawing/2014/main" id="{92447A4F-B6A6-443A-8D16-12A58570AC37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4" name="btfpColumnGapBlocker470351">
              <a:extLst>
                <a:ext uri="{FF2B5EF4-FFF2-40B4-BE49-F238E27FC236}">
                  <a16:creationId xmlns:a16="http://schemas.microsoft.com/office/drawing/2014/main" id="{C3167E66-86A6-41C1-B177-4954BE2507A9}"/>
                </a:ext>
              </a:extLst>
            </p:cNvPr>
            <p:cNvSpPr/>
            <p:nvPr/>
          </p:nvSpPr>
          <p:spPr bwMode="gray">
            <a:xfrm>
              <a:off x="5825728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2" name="btfpColumnIndicator857765">
              <a:extLst>
                <a:ext uri="{FF2B5EF4-FFF2-40B4-BE49-F238E27FC236}">
                  <a16:creationId xmlns:a16="http://schemas.microsoft.com/office/drawing/2014/main" id="{C91E86F1-FBBA-43A3-BEC3-17BCF3279FC2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btfpColumnIndicator495743">
              <a:extLst>
                <a:ext uri="{FF2B5EF4-FFF2-40B4-BE49-F238E27FC236}">
                  <a16:creationId xmlns:a16="http://schemas.microsoft.com/office/drawing/2014/main" id="{DA88C985-492E-4D0F-8F22-A98F7C4FAA03}"/>
                </a:ext>
              </a:extLst>
            </p:cNvPr>
            <p:cNvCxnSpPr/>
            <p:nvPr/>
          </p:nvCxnSpPr>
          <p:spPr bwMode="gray">
            <a:xfrm flipV="1">
              <a:off x="636627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btfpColumnGapBlocker932724">
              <a:extLst>
                <a:ext uri="{FF2B5EF4-FFF2-40B4-BE49-F238E27FC236}">
                  <a16:creationId xmlns:a16="http://schemas.microsoft.com/office/drawing/2014/main" id="{438966CB-2232-4B26-9F72-A339D6404AF9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" name="btfpColumnIndicator665480">
              <a:extLst>
                <a:ext uri="{FF2B5EF4-FFF2-40B4-BE49-F238E27FC236}">
                  <a16:creationId xmlns:a16="http://schemas.microsoft.com/office/drawing/2014/main" id="{219CE4E6-E2D8-4F61-8FCE-080E2D547C80}"/>
                </a:ext>
              </a:extLst>
            </p:cNvPr>
            <p:cNvCxnSpPr/>
            <p:nvPr/>
          </p:nvCxnSpPr>
          <p:spPr bwMode="gray">
            <a:xfrm flipV="1">
              <a:off x="582572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693994">
              <a:extLst>
                <a:ext uri="{FF2B5EF4-FFF2-40B4-BE49-F238E27FC236}">
                  <a16:creationId xmlns:a16="http://schemas.microsoft.com/office/drawing/2014/main" id="{D94AFFB4-118E-4614-AD5B-A94142F410E0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btfpColumnIndicatorGroup1">
            <a:extLst>
              <a:ext uri="{FF2B5EF4-FFF2-40B4-BE49-F238E27FC236}">
                <a16:creationId xmlns:a16="http://schemas.microsoft.com/office/drawing/2014/main" id="{C3EBB66B-4A15-4EFE-99FD-6AF7744F418A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5" name="btfpColumnGapBlocker953870">
              <a:extLst>
                <a:ext uri="{FF2B5EF4-FFF2-40B4-BE49-F238E27FC236}">
                  <a16:creationId xmlns:a16="http://schemas.microsoft.com/office/drawing/2014/main" id="{14CF0A65-A7B8-407F-902B-7495306BECBA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3" name="btfpColumnGapBlocker728809">
              <a:extLst>
                <a:ext uri="{FF2B5EF4-FFF2-40B4-BE49-F238E27FC236}">
                  <a16:creationId xmlns:a16="http://schemas.microsoft.com/office/drawing/2014/main" id="{51FD2F1A-0F7F-4250-A545-4A75727E77C5}"/>
                </a:ext>
              </a:extLst>
            </p:cNvPr>
            <p:cNvSpPr/>
            <p:nvPr/>
          </p:nvSpPr>
          <p:spPr bwMode="gray">
            <a:xfrm>
              <a:off x="5825728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1" name="btfpColumnIndicator202799">
              <a:extLst>
                <a:ext uri="{FF2B5EF4-FFF2-40B4-BE49-F238E27FC236}">
                  <a16:creationId xmlns:a16="http://schemas.microsoft.com/office/drawing/2014/main" id="{3BF8A387-7B3C-4F56-9026-ACDE27608B43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btfpColumnIndicator910734">
              <a:extLst>
                <a:ext uri="{FF2B5EF4-FFF2-40B4-BE49-F238E27FC236}">
                  <a16:creationId xmlns:a16="http://schemas.microsoft.com/office/drawing/2014/main" id="{5271115F-CC1B-4200-A74A-CE75DDBDF83A}"/>
                </a:ext>
              </a:extLst>
            </p:cNvPr>
            <p:cNvCxnSpPr/>
            <p:nvPr/>
          </p:nvCxnSpPr>
          <p:spPr bwMode="gray">
            <a:xfrm flipV="1">
              <a:off x="636627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btfpColumnGapBlocker155698">
              <a:extLst>
                <a:ext uri="{FF2B5EF4-FFF2-40B4-BE49-F238E27FC236}">
                  <a16:creationId xmlns:a16="http://schemas.microsoft.com/office/drawing/2014/main" id="{04DE1F1D-B3C8-4854-8D74-E7A8A15E7120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206652">
              <a:extLst>
                <a:ext uri="{FF2B5EF4-FFF2-40B4-BE49-F238E27FC236}">
                  <a16:creationId xmlns:a16="http://schemas.microsoft.com/office/drawing/2014/main" id="{C86B62EE-CA81-49B6-B7BB-9496DDD149A5}"/>
                </a:ext>
              </a:extLst>
            </p:cNvPr>
            <p:cNvCxnSpPr/>
            <p:nvPr/>
          </p:nvCxnSpPr>
          <p:spPr bwMode="gray">
            <a:xfrm flipV="1">
              <a:off x="582572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698302">
              <a:extLst>
                <a:ext uri="{FF2B5EF4-FFF2-40B4-BE49-F238E27FC236}">
                  <a16:creationId xmlns:a16="http://schemas.microsoft.com/office/drawing/2014/main" id="{D68975A3-3C35-4D7A-90ED-9E0B3584DD60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CA5BB85-BF4D-486E-B995-D7B4C97DAB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b="1">
                <a:solidFill>
                  <a:srgbClr val="000000"/>
                </a:solidFill>
              </a:rPr>
              <a:t>Demographics</a:t>
            </a:r>
            <a:r>
              <a:rPr lang="en-GB" b="1">
                <a:solidFill>
                  <a:srgbClr val="000000"/>
                </a:solidFill>
              </a:rPr>
              <a:t>: </a:t>
            </a:r>
            <a:r>
              <a:rPr lang="en-GB"/>
              <a:t>Survey </a:t>
            </a:r>
            <a:r>
              <a:rPr lang="en-AU"/>
              <a:t>covers a diverse set of respondents across gender, age, location, income and ethnic groups</a:t>
            </a:r>
          </a:p>
        </p:txBody>
      </p:sp>
      <p:sp>
        <p:nvSpPr>
          <p:cNvPr id="16" name="btfpMGChart551751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sIis/Dw562/ylZarflkzpXsotLVJSCrZYtF7RsGG1e5iqe9MG7z60qZK3vpZqzyZtFVBi094pZscNmYtOyJ+gEByA1xH7Bj2c36EiWyuokqXstVhKAMzqEl3qnbW21iw6HU3tn9ZxBpH4S8SEaZhu0QvZFzEZXIgJrA6kzdz3gNSncoJE/L52VYKaKFV4mp/9oA6bISWP+1mS85QsPrOJND+rsTsHH3+7slVdxGvf3GMwTXlTPSPRcG7+87yoOrmULjv+CVsAXyV6wo6m+2vx48IUjehHx7OA5QoHuQL5/vxIXCU+fi5VUJoSyKvqO1ZB4s5RpOBH0pcFM1FeInKvhB1GlWRPzKZ8F/5DLkwFBPM82wmeqIGiwpD/HlNExKvyWkg5/PW+yGC8GPgPiFY3NtIggS5TbWAPvZP8CMzTUFdtRcjxKxArMbicbfbXjVO7aH6jmYdPMtiW6D6HYBxMYQiev4mywX0cBl9QOjUZBsX6fTGQnfG3Dbd9rQ8t/mUfKiqdFm61W8OIg2bh/bhsFf/r4S5BELSRk0ykjWtIUtuHLOk8qSV+jeYfsSO1505Ddm0CnAvsAFLTgAEKnPZvR38j6Bk4Zsok3TEbGFpuGpu3gRjTnkv34XMk8xkWanxTrsl2sm6QXaFYrXtZXMCvCKDV/bQNe64OdHpIt8gDY+9L7xv9pZRexu1KbLhRW7Avi2hkZrW3BPCxhIooRKyKzT9Zo6O4Ue8p+P2XdE14KtQnZXAYFHmCij9eWD11ArxH29gpTu4IxbiDZrJKgSeuf21C3Yo1/IyQSMePO2AhArDfP4laqJYtxegw8faeFvyhRL56wrso0od3KxxcxXxnbT7EAjhHuyJkKwNde1kqY6aewOJsa87QqPDCHwfF+4gbMzt7tKd0whZK4OVTp5q6HsUSYRnOJiH7X4guFGzf/66RfVr3oISNA/1z5rbOBQJuWGQSg+u0hinH3ZADYBPARJIsLGfk0i6n8vNsKX+jVt1JAmfDnVOsqnyZCxw8Ce+jTf+b0AdYA9rRJKq1mkWSZT/Cq883/gPYH5LnpcnRFlw32AADEY40Iroje3mHA3SOiHJwJfkQ3KMlnJqgSbKPQu5ASAZFM6tjwcGQyuBJD1Cd6q0yUKefGMvujvtAIWVyjJ3AF/2lWKePYoRf/qVCPKfV21Wxo0zaOjM+J6TDSm2WFbvVb+hIR+LRoHbJLH4w1KRMJ1RESGHRAqOVZYTS1CC+hlInskGlAMVJX/KbMh9dVdcBqwGZzhLcrBSps1/2zJZKxpI2bIJGFqz9AwfgsP45H30Oj9NRrShyf9IKKOLbZ5nPBk0mqUzd7GGoFaby9fFtZBlQMJfObt3I7EqzK+XAv4EFdzb8RsavI7UvCoOKxxIUxdnfEsSuVUftG4hIhY6hUMdlBfi+CIvM0kSoDnSDVy6TP1IsqXbyN/BEOGcwwq5o7KqQfRTFssJVufUl6TDdwGTXVT95VhbmZCioGMT+5kqZh1cs6SsN23Et9/VW2MYrO7S8bTtLZa1JT8lJEwuJ9Sf7l6wzJS7kPXe+zJrGwkMko35jqWHazn4CbP9uSYXWcjkiuBAFFyx667bdGDG78DaW1gSKdSzbdQfYrmhLDFuXFzOdTlM7OMQcVg6N2G8vFi6R+yOxJPf/MHzTHhS01mAZ/fYm6RgRGJ6fe9xvaARpeNQqSAHVXTf65NoPd0vHaMRuSf1Q+UYEwYic4mYI+kxo3u5bWGve8RNfsU9i54ujG2MQef9ImpWIwgCJ73rzmXvbv4y8/UQcKB5Hikn+6LRpO90SxaLZGDIvjK1SNsT4pFVHUUpFPO7sWLekHo7npROx3BP44GvPvRpwnnJ69KdrjlbcbE1avvJQtKSSCgFS+gG41ZEj1JFwEZXIwApv3O138eByZ5TCbd6rlEPAy9u8wOwjiesbAILiD0vqqJprjHo2594zon5Vel5JSEm0ix1WsKodmOcYiOXQBm5tE4c+rYdsTiB6iZzyfDqJG/oMtssE+gggiFfLX3YvAA+PzJlNug1MDMLCZG7sUO3DT5K6YuiwYfrpZDgbCcxlMyvsnASGN9MBJE6YKE6zSXxP3kDDMVPNywRSOv5sJGukdw80T8n/5g+gFY6yXit3IM7D4MmpfIy/NwqUSy9m28uCG77CReice/48txlzC42psHTR/w6E7dJuZ+VFykR+nFIKa3eJYzpyue2m6pqM5GWx246HcE4KCAuWHzyugBiaRcRJhr4OYx9T3jyR9aGEaNevNdkBlwXSoaHcGY171lXVZq1uoMQQ8GefHteAeYpBS4uMy4nhGzUduf13V2hgYJIyjiKvc5LEk/ZpOJU3TWmekwBwW/ioYYMzxjJW5iIbGj0rSlM/E1gpqRzgJDKHbm5nsrvUNVOrc55Y1ybTZhnryczBhVzLjZpbnTKVBAnxCbYjfCUukLq+39d46PQFBz8pDJttqwFrvr9CYst9MmJ8gRN29mTI+o0Nwcf0KjZcOOC6Vjp7hV7Mvw3wXGzDce6b7uONb+69vry51+18uzg1UQfzRGwNmCenuGvW/BccaY/3EQwzP79uxxuJj//vX+s0rYf8C3hj4kEtmJCZ6WUnDIslAvpLpbVHSwvDZijbxGJum6lSBP0baolufkNsJmiDb85GzlGdeDeBftYrXL0AHyMfFBz5esG1cthSdM7jMP7rs3Imog2K3GiHoNcPFT29/+BibtppwD+h3Zv5D9y+Ei/mbv0F/fSbB3tcGfZXNqB3nnQdTFlEsYZm2Zej5te8EaNPdM8Zw74T2D67jXWo0E3AO1xZkCGctjmCV6uEIF8fyofKEIVAmtHW9ASkkOZ7ZPoCejRg1gCsCCLY1l9fzwhTxbK0+D+pMX6dVNTZhciTsqX1/Wo1fRRB3H+Y0vgavHs4nzmii32WYeJOL74FmFMLx/ZHUxU+njbIJG+FXGW3W6axEElY/LOn4ZDW8jbBZXIgNfHAHQOAOhcvLOJE++MF61lMtkLldF1YLOYlzSOJxbVhdjoPIZ/kMK4QmKR/wThQibFUvx+ZDA7PRCwKC0Zuf5zNAbVXvJUr41xYKr8E465PCQ0wUJnCor3ZanA/mkrtY113QIyeTsT41s9490Jsg2d4uNT4mPT9jiebivUVuraUj4vJk/YPo5+9bR6W8MMdr2CfoXkiH5DFveVUkCOPR+gD441eSi6FizOakY6m9y5EWmtMbQhUrEtJZintZUN0Fs2tylYJesEUX0kcuwd7PQWPJT9wN+hB1U4S9MqykmBnsEI+hMVREtAQWUuu2c2/ybhzUq0Tl2hWZMupV6xdv9oLZ28efCTjlSn9FZzfYVpVd07rMRLt6kynI4+/G8lD5Wyf2W0EgJdMOSV96oXIk88yzx8MbsPQCMhrnuyFEVDrYWhhh3eb99fZWJoOXIl9QKG9G62JE37JlFN3fpbiYNffYlhJlrC2DvAL89niOgwDvq7yF7FCMrKpnQqz+a52lVO+/8j21TvY4oGOERl+6ZUyQa3FjsHdiGIReSNakWswlpq9bIPdttheYqDQp+MsnOqIgD1spW9cOknUfGNtEL23aoLAK+znjOWdW5DNmDbuSI+xL3V6sG5ONnr6rFmW6WVvEo9qSlBCOWtz2m7Ey3oQlGBNq653rdQ7rkxB4vPCqKFf04EG75WTxKCLiTwhcTLinXt6yMy5lzzbKAG3sZWFGUgrPzlPgWBPp4Y5i5mn2FC5iX8kKq2cz4kqVZPuzUTYG+AxNfOFuD8DNyNreh7a3ZK0KFz4ql5oqC/CX39oz+puNots/5/6GOTHZ5WRMabtHCOdbe4K1BuoIdHR9EEJADQ9arr+RGagPY/A4WABgwYkXSyrtyaRW17k6Wb9lSKqk2ujRMK99uZjGHSuEyjw38yVXd1b1+tfCT2Ii4o/rK+LDW/+iofttFaB9W/97Zv72KKPTGrtubfL41kZWPED+zaY+x9ZYe62/XJJfAA7Or+MRkkZukXH7Q+iJcUeZxVOgHL0AY5fvSVdUgvrwYWzwOMJgrMowXmOR/tWecEEm2BC/8yivFGfvar5uLDptnb/b9GdzZTaPgEDhkXBZ4uhjpm+nxYx+7cuCVWpHQWwYESwR60HiFkCAKHsS/e6WJb/jYCRFn/ExZpXHhrYXp99yMHbwtCpsDKYvU+Hr0nFAmdL/FljT5hXvz+R9C6URA2Ce8jCVNX8RcwsoF+kn7wRQkadQQfVEk4LIFQvlteK8RJ1HpeOj/9V+8mMze9YcyvkDOYbLCT96Qzp0rEjac1FLeWXHHur8xdAj5KMqQ+OmfFVxuyn8Lys6zqhOca1iPlYjemdVgKk5JO3yb7gAh8Digb5p227qeP+dgDlJSUV916bghXywMUgd3pVU5qgDlop3WtYylxZPA4r90KE6M2jqyYqCPF7Yhh3BndXH1gEDWUMW/h++/1OnPeLllw/qUV4hMJdO6hbTkNMmYPHos4iDxvoeBFytKMd+gltNgwNLKgqyZ/fCucpr8x3ICKvzepjE1qhCnKwB9eNCfNKF2J1tjeBv2H9CEcmWD+WE7jC8F0xnlYSlYMikiBVIB0pGHaV74MKfSAfKiKbI+jC8khI08cBOkK/ihyHMgjjKZaSKcTGXCuWvi1OgGp0TP+s2iIgTJowRLyF6Lgdq4Hz2LlB5j4pPTUuuQTqG3gBfmvftx+Jsg43mw01kEpFwqmW9U2YkSXw3C9R8Zqq/xd9RJ0mxkmlZIr5AZ/D/hkJhs7JQx+mryfF7mmwWNV5brg4uWU1CfG4rCKYxx461oJwy6CxXf3dGcujUqbNWXKVUcDFPBfJJb8N9M1TbsQeuY5fPKVcB+JbkF8onfwrmvrmS8s1pv97PO/s9ZvyRStbC8hogVFbaHGUcSHidEDeGtkSsh5lKfhCOzAtWX3x57TgWDVeOkr5oetgB+H2Hg6rOq7D8EdNG1UEgvC1J07jIXDrNK4DBJzTFy4paVZQU+qCy42tXAaTvMTGmBvcuvFFRqP0Np+5Uw8ejqzcS69IquU3qmDcVL0W8WmwOYXIPciTwrcfjxrWe0byAVf3+4wBb5zXtpc56dGjiskI6bwSIgx0CYumJTNfSaAdFbDipF3xUUeNlufp7M4+N0/vqp+4zbgq4AbTmx+Flyl8WJc7SIff/O0gHNWE8rTAo4yypvtbpuU/9C0pZoDTcN7mKPlyIWQUUMtsBywY03Rvawc3jpSSjKfDmMG6xDqaPVtBATS2KouXDQ9EiHBS5dHqGLUvC/vmMBMJetmN40157iU+CaIaYxC3o8rBzVFIo0KfyR82ykdDuyQDdWCJH6fVENiQPQ5JS0Fczsd+kuG6A84x+GQhfmBoUX6512LXqn6CmdoiH8NHpxQc2dEeyXsBc3vpUZr9AyDS3Zb2ps+EO62iuWh/PRaZ7FqlbKFVFnHWXsujoQLAMKXyWClMOPHl3hjDIClEntllrU0hMsX1PrkQEzOEqUug6ZXhT2JsR7xQL7NLg/mn5+C2Pv0F/VbRRdHAaTvHPtDSjzVww7pula6098zoQT4HC88TKyDH/53c6yFWVkcGj+CSUjImWp98vBI6tEShcIwv40sanKzcIqnW9dl/cEwqeXIjUBPuKB7x6tTwAlbrHrQSRjK5YtOX0FH/DU9APnVwzkxE3jz5/GLL68zT9vOST0dsETAoB7BVhG+sXaDRtTsEGTiZGTxOTkryWWmLYR6LXpQ5OlPylMu4ILzPJAEt5xbe6kY12yedciCOjZPIgTajv5tWpS2oSIm4vVtnzolfUw7vChit83rpqjU9kkEIiGf1AH1yaovfAnuactUGCAbqaCzIPYpAZJylki204WSlLJvcIJfQC8/XXZPcMtMypcnNcPyhpcvlRnrXD3sdRMtsOALWdssVM+uJ3DR/WplmOVgCju4O8Qu+L9m3/Lsk8WDr0TSAZgjcLxopGEsP5Z7MvEfUDrKDY52T9x5zGfMxuFG6uIaWBOBmBHmvCgEW5vUw3o4FSaj6GNX3dT3mR4XK9ApSRr4VLAhDMvUm82xoI028EsPrMj2cY6vnke6t6BNaYdIaq7QFlczSgyoxISfcJO0s2ijm6H2l2ptQwyelhPImSVDDzbZJBTdlM5Qzse6PHGj8e3EnQmVoMedmii+7PuV6wELhIbTWWv9utpIOHs5cZGCtoJQPq6p1+eghJJb8Z9C3oXvA6kFFYqbImMeJFh0CpoUE7cNZFtlsi4iWbx9AuI2J1WIDaZ548b6RDsIXyC9QwrwhjRD4UDUA0MMM+OKGYy5NKfHJSvP2pAnhppiUlwT4sH+C6YENw7LwhryDmFR/Xl/5enD7k3iJcgrWtLtkyxJ/5sUyOj9rF9bDoekKxbwwJ/Xbc+7wj92+B2iwayCX5nSazm0cSdKppqwBRP3Mb1WT/HjRlr/4qGDH6gJCiDwoNHpIQDEtELCTKF/oPAYxXqqmDNsAagxS6zUuRrYMuim6L+R3tcf7f1SXd4l3kxQ/us6ibL9Axn2wVB4BDXJVySyX7r3u9+Zs1c7sQQLJGhO0HqLHB+MjZcyelq4AKHOVja0BQGIbgJjDy/BeDzte/gI5B74zQY71ZIPAq39BkgNeWSR7LgRsvB32TFBUFC2ylfkGOT/8kMQ9RsTYjTc0mNQFRdEy8N3lihom59EUvbb9ngMmsL1iHZ8ZPk5Azi04z585md79KgcDXavd8OWtXAngaeN/2AqLjSngwiqayQik3yK1G/jW1R3GqQ+fxre7k2M7+UULTfO0qEpLHSHsyUSGA4nxCYg5NIz32d9ZZMr6o1Oh8xDi7hh9XbBoymf9rOyxBpF98w2fNeNdkfC0kPBCXVGS3a1yCcFSelyDn1gcEjYwu4OJn/AwOW8VwAbbN5rHRc39DPN1hcwYPcut7eKoORi29Wqn2KaHNVt9lq996QkdKpAXYv4BawX6ZPorCiFchXlLgYzNNH292cXzdrLk5UWAodjaWhLsY9taBlc3hAgwrjCWyhScYKXfNeB//D4HrDYbEVv4z8SaIMPSqi8uCcXtqr8r7i7khQTek2Cne55dPgvpgbH5VX7H4YvpPkx8uGhvrsFEF0jufQSVSoUOpxMlESIsx6jtt0hRSlt2ic43a4a14vC+PTNUsZN7saabJwcd/8KTAc6+DECqcGTngjUvLnX1IRq7E3IyNqh/8hp5wiB87MHqYLh7a0M8Cu8+acg86Q0aaOSVrpqqGy20KRcXmTykm3rvHq7RUZR5n2cHaoFduSPG/R0fu0Af3OjW55bL2uoZ36Jo6ZfxjEsZ0h+Tnw9NQfTqkmBumu5wXcXpf/nnJc6Yud/nJDSvL5bxLrljLIwBuPhhC7X/8CVu/w4ZrNv6RCLOjyBM4xSHYFWf3OV5x1ghUD3D1h8F8o7Gp/OxC1pJvJ77liqOmIGiBeFL55Nj4dV+6XnRoxZQzL745XCViTvU2Ffo1EayOlHb3IHifq9VYIwj5pipgHXpGEL/KkuiiY/oezJgA98133lLFtdOYZ+9xI16mZYdaQeHo0txLFwa+gCbt+gG4QqM+sM8y2YCOoIDJ5FOteg1/zciqv5gZ68N/0EBghhVljFSYH1s9G2IvYoAxelbwhZnT8kLS/M+LZ1W/saVfYrHlyvZ4OoCBVS78aeCPp2HpAVlWynjSOzSyuDyk+/TFldI1BSo4rS+MG0Pzr7Hsy2Vyqqt3Onzw+gykXK3kv732iu5d5J8HRxVL53Z4esDhG1EzTPtxtuXRiEBru5rRcwbIccy4HanIDEw+QGwWIPRovWyHBMdVN8i8x4x9/QTf82uGjq+H6EY5/t6rXdS3rbhnRp9ybmv/HedvIA5J1lkxVWS6nIZZ0XjQimAjkAsq+MJk/QUn7k+yVrjd65fHIZ6coRvPp5pwBKbnm+2TBaFNEykViwgU5AGiw9vR5OuLl+LaFeEH5CDuPmbQb2w46Xo7OUUXULW9VbOEHJn22t/2z7nP/SCchX72naubC7++3JmdwPiUt2BIlhWS2FqDV5fWmQh0+tX9c1sLKes/vTniL/MjfHhmNiFfmG/gE5goCn0ZPmGIjE0hhDxULaNyDsftiLeV14tP9EaIJvjmQMIAFi64kPltPzW/qapg8DmbE/lIk7tT038xeQdrkAhaaKlnWl1VAszpNQxusFLypaFBf2lwfRuiAkAvoGI+2mr1abik1sEQq4tTj4hb4REf4jKRMyP3gmI8iuNkf4O3dThTMuRQOpYcWp9BDOWrMhXvDdTvPAV8TIHhSg4Qo5OEZ+oBKfGnOU2XUaFXlbisBGcvzQnRLaJd2mhdOYyS0T4igofACv469zeOLNEfRsC/5BTxH0huSLJEWDxl/ugoFJhMt6if/g8FXpAKPvinBH/3E07YzJyRMbRscnJ304wpYxAsdDk3K2jmBvWSocI8VADKgC3KvjTe527Y3mC4AAllwJoYmIEqG0sCSMWKopW1n2VPX5rkXv3VqfogBDv5Pgps/c4NgRnpYPJQKxQ37ZSSZK5zXbZasNVvyZGsLezPSSv875MOpj+Q6A1KXTuGy4A2kq9EKauGJMZi49VliTtsTVhmyCvuR7slSp3k0C3YZa09jY5J7IBmBA71VSrjBdyj32Lih59sJL+VaA9OFqL/umWyoj02n2//dDSRqaaNz2/XYTpJ0k4IjoGNA6+MPd/fZHMxmtSZziQu/z4yR33OnRYsc2sZKWuAZVS9HDMy5g2erswK13YYyIou4qfwpmX5UCAy3vWUfgDa3l9KQ+AEay0TdoMZmBMVxD6wK+ZoYcCb4+TFzbnzkNaLGUqqIYHjtXz39/FWj10zdkxxwadKWESImgDthfMVNOe+gLNE5kvw2+SPa5WrolN0N7cUm0QMNzlo6Jew5lVmKolat09WD5oSWDKo4b2iGjvzR2V9Xgamh6wZZKGEjQMUE3arYTk6F47key2GuMAJLALD/27+/UvxSIxSsgZouj7YIvYn5XUWNDIKiGnfi7NRZggY2sBtXFPRayyfu5mDTuQ7akGvgu3AmOFjlaCMW4M64avRixi1ob7vMpEUm5qALZhjesdT2GJFxLJILQRu2on2fRHcWS0dXjSJACKnbUQjQtkeNd7NwgIS4U//NMefKSLriuGUYgaI9vPwCIjvTTjtho6hUJ9RqQay8kngxk9rZriCn33e6kDlw9IwE0SDayjK6TfVweMg1KOSIvWfay3BbMZCAUCycwPCf7i3jp2rthbtjJskh4NzZThajirR7hAoDJX+3O5nM/YGesr8zgCmXJg22Oyt/5Yzz7gpfABcGftrgzKRO1Llpi8eAIy8/f+24+doYkT4Udi9eGDnegnFxOmtAnoDMtoMrBKU0xQGXdtSBDbbEch0FlKTj9VvB0IC/5iVBlbdCZtdAfukakna6Jb70cDoaFudpH3TBKf2aC3/iVxORZtC3FXq9PXlkBgo+iO/gG+9n+gzI1IqBzVEyXzHl9pml9VggXUKuIoZgfflSAGAomAZ32hxDr432g0if84HK/1r5Bwd3bWGR8/ZIaHgpKo/lwDS0f8pzrmRUeOl6tvo7pFfVuF1Ux9y7U1OMzHWfJNRT6uUJJNgLdCvUGeWmmPeiZbMFmC9/OoByBkl6bQUqMWX2kF/kcAKv8DQOKhQlBigfyBSQAe0Ngma417Bwhq+NXVz6l6QNqspwxT7BSW/eaf213lVXO5ZQecDWVXhPPIuGrGT9UBDbZehnVq0Y/Db358NWb7ahUdRVu1t+Gf+YwsHs/ufrHfDqZyjvOCRQigJhsP2GLu5aWJFkQhFT+4+Ne/eTkLWCKSkFQzqbyE7lK8LuzNibruEkzX5v5X8dO6ocIx2iVeg3VuHYuc3vB+Ur14Ix2I9YI+0vyOW2n8Ikp3EuceLg4vJFfmMvPDZsQXNIj1COx9MHRRAhmxUpZY0ngu6nREDye+a+NzswTVG/7UrcVAhjr3E0iIVe6aXwB0r2ygIqGg/bI5O/qOgvMV+2FL6DTSPnlHJlrGc8AA5P9CX/4xhdKa2Xt3mwWPMA5kpFaLG+UfCEliEffYF997aZS9UsgtJfrmOcvdLoz0vbEiPaCvHVzsE/FvCDhgeEsFVR73XjSQGJTsU+qtDe2bXYoLbU2LFenoNI/Dn/4wS36BmLFCvyT0CckltwaIqzGVNFKq6OFQad3KjfC3ZhyM47OIXUhvpC+6by7AqcnukA8+clQKKkt73QK9kbgXEq7XbfTYT9VNmQ+HbbIFuKcFKiVYFHwFl+CZ3AZOD+GKOnq3npIMpoMF7OYo5rSaVce7hdSiVFB+4u6bazvFDePOhdCHikrP/nwFwJPDes26ntzFtmNwJd7FlVVKuWI1Jscv+mtwM6EIvsZg+UjGhTMXflp5zndCMGn2ktaeQOiS1G4qv68DbvbKO93Mf5ytSfyQ/H+M6vhMgAVlYwb9q4ZEWSz0mJgEb2uINg6qEXVgtsdYl6LR80bY1ChwEVa+pHCfna5aNkYW71wX5mFkS+D6/ds/7gIIBtGXPCVvrL+E3+dlVhgENuWFnzNHu/Mvs2v7YbsFfJ39IZ9gb+M3pDZt/MnwxQoVAFxYAjnMcTvm9vlEwSB5DKD8oN7NHPMPJzQXpromt9A2WfhnJ4alOl+xH72P7/2HBKrM/Y3Wrb09+GqrFjrU9QloTJaVdhIe3NbbXAOFz75w9TFVUDGnIn1hHUtbddziK0BdbLsCplSUdrvBRnnNsnlzralf+2xSstglzvRSf7y665NQ/twz/2g8zLeew7ICkaKjy3jxqQ6gOWN2Im8iGGbDeCuLjB82/oteDLNWvlddwmzr+/RLrCyCKbZxb1DN1PbGRveBHTJraChHlnfJPiRaLQTtX6sYLeKidvlPcLR89rqpt2FUIS7Ns610RnZUeOxE46C3FAs1DO7CCzjWbMyMnot6nsjmNZY+m8HY6UNI/LBuLunr02sUtjwscyp/e/kUJhZ4wkPNExMuXu+Lm8Snbq0IAFyDC8MDuJTR5M/UZEigf0o8gR7R9OWBtSF9qffl30jwhN0Rjo1w3pFOaKXbyhvp9TmX+qAK3qMjLJigIRPerAco0iERK9+qBmXzITND3rpaWcxAIIixcgfuSMZyh1Kfk1+hLbaLypECa4+1D+OtWIlGku0Tjis1sG6M5+QUTP2juVhVQcELYmWvqkDQM4cMzJS+zTqtaWGEuXMAu3pQPXKokVrGDvzHk/7YmMcI5Zv6od1ZiQhIQPEeJwfKieC1Mj8p5Nqvvhb6kVitRYT9BbsO48QtCdiXLhmNC8lVUzoJVIe3hPXZ+N2QqI83K6dRaVmGgFoHsyOChc9fIQUNIlbJa9qJ1GTYhZLdnshS6Dn0uCDFbQ2tYr+NCved97SK2xFQPBKAUY2oAfXS8vUszv/0Iv5qdAT1BTe7xutXC0sglnG7iV7PPWkHDZUOjMiXq/M/LI8c/BivXp35zR9kie11RAP8+bqviUTPUOqGXAZoRTYFC+x3FUP6+FpBNnIITCzNS8MpITo9OXqMF64Or5YWYw/xNWdPwZIw8efFkRag+r9vZ3Z9iLZdX6rGvrMxddYedzvtiCmm8ecU9oVthPlKkB2kjbyzWnOXGOkvcnZZQrfTdMUQUYGK61H9wIyw372JDc603NqMXU7dQM2ZlZaBf8QoaJMkEq+EQQJZ//AVh7Bzv5MwKWzzdLn5gJvYAZsdpP+Z6/dNjAt6Wm6+ad2N6dZEpLQuIinGJl+FuF2hKWjUSMci9/qtQpzkJrecwx+Bd2ShE9tpBxbCZvUnr1vyJVK0dNcx6xnwOe+N3YJrKXs2RYC3DiGnN0xRl67jiYyse679JjgFlSr0ivVPDwDhGd80+QqnyWkme7/YsWH3FRi1uShRtVPVLFfJJALy43EQvloEUdFyFU4AopWZu32PnL3/2tYZNhjzFP76cDXhVq0VWSj7LoyFVFoYeVqJ/6Mt+MDF8h6C2Zko2qmmqMnKqRRhUzyW8oI6orx0C+ARLjS4Soep03IXyZDKv20W1T1CshMDdzLTxZKEW9v32Wkmabs8fOtPoEgfjM2SPyXSKhu0BfJcgkNHnXCP7E/txXJeaGzznPXvw4fOXoF9aNVnYbxtmsZqIbhyZdxtsZ6PTau4MBVwjjNKszpgPwuJDDq5QBJUjQqu5gJRF1io3R1CLwv9DxToAnYeNjQQmiztPuzls5xeoOMSuG3kboCYbBe3Wedps45ojMe45PMBNhJsBUoiZ6nu7TCTqpUXStkFxuKa8vZmGVr5HfYW9Au349c3LBP5Ix/I01ZbhafGVMd0iEKhAY7I7t63dJf5IBm175sFKFKh+ZRTebOCvizoZJ0B6UQ6miIvfE3tRiiOuX/RZiJsZ6y/4mY3Kyh8XAkaVJCLgUU5EmHCX2jz/KuH8hyCU9kiiUIR8bRTJODmUV4vDJcPwHR0YSwnnvJzcY2EaI08BZTuPRM6LdmyaOieJQe6gDOdt69Nm+VExmfAJReum8bF9b+D1PPsjX9GlQrPSmGIffDfG97HBRHo69YSsosYQuSHy6UffeZSWZhc0jEt8NV8z2rP2EshPoBQ3ooW57DAwVndqh2ifmxVmdlLHrOMwczZqSkO2llKPJ12waaaJ2k9hhXTufA0dzI+wH7vIQglLO9KqqLHFKENJQtaY1Flp109eHGBPX35B2sbi2pwT0Fu9YeE/bXpseLhqZDJtbAF41YqPLBnNE6kCnKc6zUDv5ArRYB9a+LWqSSHIyncV3kPrXzeZjAOBxq1lQZ6vuADqpp3Zzzt8uaDzZYEquPyzWOD3rAvByJJMnnOTGlNu8dLauIW9Agwao0GnZdGgA+tmqm24bJjMamyvqtCy7Dw2bONl7FCfSoK3RYDT+c06NojyXCZJpC71fTIraL39I7uwwbK3gTNQp4igOFHpEYGt5Ozag2MxdVX33BDfXc90spZ+lbabSOsMDoLIqzLGRXgVZl3YRxoK8y9Z1UVltvfH7g5m8ljevf7SCj8MN1eNt2qpwyIzGedCImwzx2ZCSzCsk7fwDxOD1d4W3NtvvVRFg3mx+/asP3DjOu9wZehaUAVEq0wWpEvMEg1QTPEvnNMc+GIsqBqfDyvDm1QSZ+ijjuId8ytrxx9x7CkXqyny7xwDfy91+ju6URFocEPTE/NjVTGBX54+UNPu8oout4jhLmtYCmiZD8abQCmRX03zfxfsN/9Z/gshPhD414npBq9/s02DjpaS+8yRjFrApYaUBY0SMY3lhSwNjVbDe6s6trAmVE10B/j3rzKgI8f98/FHxLBk25fAznk1C0dZzVNEt+jGI8rLpWOOEkqhQ7AQqFKEDeFt284794vQSJ6NnwevNb5efPgKM/YPgJZ+xvkCoIs0vQXwF1WP/rgiffEtPRPOsjzOYcgtIjPThs7tkeaf5o0QTRhK9+4k8EJyNTqd87w1dilcUeR5PNQ84nN2ZgzM0CzyduI2uLfkSK8Rj1hKqzXW/Ky2RqdgBRwY0lAvYqldlmw0A2OwgMG46aGYiV6wFzAwQ+A7vFgDWI4tY9khgHi/TIPXL5xeVgNWxjU7yTT/sqnjCNIyoEpHFmfuHg4G+m8+g0KruTQ+OX9RA/3Wc4GsxPvlguSH9fZmTqjlyP4ife56MIwDxDpGK6kMJF3FDMx3qQarmyp7Q3ZZpwZgTWJ66ahzyfmgVHIE20I3Jvo+M++i4xqtpvxSOESCTPBw+XNk+CqWJzXVoIoTaAXvmoLjo4+DShi5BnO/p7dkJErisZYKkOjZP5wsDt0N740pAts7NPWUMslijCWZGLThFHdSPp4J40Ib+nNmCdGIBfTyluH86j0xd472xehx0puEZ+z90M+cqZY+/6RJ+94nvgkrneWqswwShvU9Sb8fzoeuTdc+6gAywQc5uvFUOJXIQrlsJsxeRebuhwy6KIpmGBAx8RGOXfnCzPCqqh9Rm+Fu73vxHGckgMexmAtgfN/Dby0HO7iQErhenmVQMBh23q/vv4EJgw2cxcDJC/k1iZLmlHjr8DeX6iBJII223zB3Tw6fyJpWDqNIwLiDNkje1PzWwtDrtBiHmY0CvwEGx57vbSl6tSvj3cmcTgOpNWd8sYh1Ujv2mDN4I41edyRMmoPfN6t6etCVJjHLwtxZtasEd9AP5aSn83GyQZ2vHWWjfruozCAd83RHuNpbdrIod4qkfdMEmxrDiwNxTKLyHS1VM+5y0cazzuGi8cVdsBNlYbYqYmRYCI6jU8WmNFNdvwtRmnOah6qQFuDb9zTedWSUN65i/cGXin4cszb9Y6Skq8xxNkp2C2KjISecndJqiGLBmN9BVRQ2xlHmRpq2wu1S03RzyEHtxFDyvATTJzf8DrOB0SSb+5bBszCiUKgLK4lgogAQWuHVozjUQvmOw9/BjzIPfD4DulyYL5hA9tR9axPm7t4erjuCHeoKhGSn6FHSyR8CLMasjc7Ilm4egd7SP6WH1FA53fqjOdt6YAjSBJUVH/0lH0PEuRPPq7MZgAPINkB775kTpcaz/q8Ttj1ExkDoKhXWXI2PdcB2GuWa/WU7a+GrLTXh6eCcFd6544vFRq4CdpDvkMkFGzZKriA1MGRuz7mMPF3DttCuqj56H/IeeMxl2mU4NTyI0Kq0KVQpN28Ts6pKgwqowyp/EGWzwwffS+4ki30szyGtS/YGquhYv3YdkF/4Hmr+1cdxDRK3hjkuv+MBzL+277Ug8FpwKKDf5h0zKbwnDfTzv/+RWSkpH0/sFBjGl1q5zL7Ix8iJPoidM8/9a8bQd3OxvPy+5n9hHXrorteccnxu2HjWNvkRM4Kzs2N/Pn+b4osKgCpp0ax3n3gAkrKfS7BjeKNVdJ9Occna+t0jSBpo2owvqzyD5A6fRApA8dw1lux8Nj2vD8VZFvEjdtMfc9BKgbeWX3rWqQw6Jl5WlAsdvBS5NEQG3JRtb0NeK+/+hvljTP2iBgsH//zCcEJs74Ye/Ul2Qa23o5gYVhFRZ+PJN0T3SLMcpd6o0y0+jKVK/niVNhPiafuVLa2vPZ4UJNp/Ahz9NyvFOLz4ipCiaDu/Gf9epFI5y2YJ8g+bg9gHYoF3wkovk7VfqFIPq1uNFSl/3TA7gGqp0T7SqkS+7tYYDkNN1pWf/Vj6Vh7r/WsXsWN9qUTfycS0yH0A1aaz/Z1jh9xQZ/9dX0I4zwGPLv0QvfJ0D/jDPb8SQzx/+xj2HOdM5Tql3TUxfhsaw3GV/Ib4yWcJouXG+a0r8elf3NTg4E74JcKUcdUwHtbywasC7CKyJ+PrtlDJGr4aGvh/dPMOs/4T+jdorxzEynj7eoYtMQwnu/pP6byhS2OSD67JUtuctvfhasVFxu7Kf/SyLB/u/a6bFDb6yYRhqR1HlZo63OpsZwmOprcbFvZstLCvxG4Pz/WbpMGQg0xP/RnSffiKzUUsmbgdteP87nxJFfa48fVRa32dxqqiRnnegLwltEHO8qBEeQjZ0GoEAHjr2/HAotDuJFjW61VKR9D4BhQ2eI1lLh7sT7MwUUcx9Gi88WpyJTR8xYVQFfYQ+Cr05uH0QFYVIOuhO4NMbQsKM/0Yy6nhBSIb0wMPuUZoSrw6e9sfmLxw0DryxE2pLILR8mHHtCMmxIX6b5T0ZjCENd/JGm/JjuRtl82v5TAZTT6LIuDxMMTi5MjFe/Ob4WLvVQqM6CAEqFXZybhCI1VzrFaj9wMPhF4nlOP0dc6hXIBWa85ownGcGgyFV6USIMhOzmYNggzRTI2RfjVPdlYTsYxC8pvIbK0JyIu5Ta2ZhmCvRY1QOmFCpnaYQXL3os8rrzlEDJTrG06kjyVg6szdyYSnHdDbSqdiWIF9Inap84nokLW9VuVrBmbLQO+T5tJXq7FrT7aLvBK5VcM3MYjYNNEMjolS72TH5cg1y7F6oOaop60VQt/Ye4N0+rjKBd7kpSQ/Flo1aNt6tDMJ+h29cHStLxrrvL5aEAATTlQBNgvnY4NCQZEOnQaypDbrZP4WNZAWLzjtYpAxvfDdlfUiKbvbFG1fOyR43LK2sK6Ej8Ak3jJVzWl7MCaF8hS1K6NWW7Oyjrq4yqLhz5woeFoKzCjBljU7THWQAkzZNrKiI81ipy2FqLUpSQ2LR8TFp0kWIPP8v11dfNwbU0Mo946f5cXn1R6mqO2WszZhUsq72A/3hN2B6y7RCTq9VMwxaRvMzvehfzwjvEiT2PU+whQmVqvYFwYx/ezuJeZd87dqVFi/uUPKABzc5J3DZMUoItGnP4MxmHy5GB/h87jgi6AYsBpmOpHvma9dmRhWn9xq01syEfSgf9YiwNNZK5UiV1jBxN04i66RZ3IoaqjiRcYDnzQQVHDt5JzkuP1wvRrgdIKvz4ZzFh9pUXCCEVo1+5O89ITwrlp7JGRCQSur1XNeBmYgczymHqGQ7894GPMHgELyl6Z/nfwsbpfyqe0jR2I0CVmwsCfjI6l8M0g8Ta77dq3/Hw2ZoHzXf0AM7cP9Tus08uXrhoYAwxWJ98TyiPS0vLpqOSdwPS/R8ZM0fBu8pWxHWOPwtA/SzJzM9tmXw1pO8S9yNX89WOp2chn7K62vWn2/F4aq1yWbxxL5HbD6rDABjWz2AnTBQgL7qftgOuj0Znd+XUtaX8gCSEryZfW8bIvf8WTJV6EPpz+vwO3AMV73Anx7QLNIg7yrcAKov+fdQ8kMtqaOsKJUhjth6lxqSbcIbO2LU96M44gn/impegPf5SKR4S2/5tK56ZsBuS2Kxv6Xq4XMTAdaUJnN3Z2e5Oo5Ckl8C6ONtX4B5dTJPsCX5w8tWE+Yqil0RtUDuprb1/rsydSfsJIvdh7xzCqMWLv5trzfgtjp4YbQKlMsvUiCxmv3ux8tECluWqF1d238rf7vESNfXiIbaSDt4UClU5S30IHAFXeUuxSaZs2xbCAQGXfrb7Vfuway9M30CMaoa22yVcB5e+o0d+qrvgz2n3AalqT3Q7LXwVRYVA6+U6NVn85MgEDz5y8e6P3wE+65fm9foUGvfCTUxECfIXARF7FqmGgRgrHHt7sPK+I/TRH2CyGrIqO+Mc16yRGDONWiTUXrNx8wKxptbl+aHaquDkj/qbc9tTvR1FpFY3zGpnD25sMgFaDUiQUViWBjCXxMSGr1rbImOY1nRN4VgE/KnGoh/VtLePnNTIlRPCnGW7yDvBbOimS6UmkNyj4O5Php6jUNi2fKaQW1IIlsaxdEgkKsba40QgA2oAjgcdULFkcDP+/lMzrFPm0JAz50A0xcBKM9jnRcf6WxgPy98RoId6HKi8M77WcY26HpN2pQA5ctAWL5HmaXFv36bW1RIPTxvwNVpI0BevrkVOTxoadsKWvaYEAvzQtDXYMgZjQVtezzeLfH3W9DMRKAcgg9MIs6x3vZlu8HUYhp+FU65oLB6uSxmyIR8GIIaS8E89BWG7JuuxYHyD0peZZXjeYzjfa7XPb0BsP+m4/cMyZ+hoMwQ7PxUgTvx5FC82dUic/wxxxykcVfQaCO0d+mDCt814z46OxMuFOePPdQON9o4c2Lz+u43lHJsdf6ENvOFxTiK+1TZ5jACLNGbF25vULyNdS7sVuPe82DYtk3kTSaXFN2F3byDKINSKHinN5fLPP2cZU3le5T5IcFt8ewckZ8vyDGGSscSaUZnlqW8SUht6Y26Lw9kBoq7SvkeQExxV+jCFtw43u4CKVNB9UGV6a/W9FluXxtWpyUIhpq84T5DnBi2Yo0h+gIBfLOCCogjQ8Lt/+8GiSSkt21/sQV1iuOUraj8DoYkZNTsbpAc3Zoc/nVb+LMzAosZxP3QAxjn+2uhXWFe+m/LXBVNMBUHrkEvvt7k4RmrTgNu0XFlv09FWHjiAFhUKnZWGqaI1E4uePath5HR5YJmd9fqsGhEaYUvxu2DNV4AZ4LDah9C77UG04f7WOI7OtRY8ukIlU6p4H/M39DJ9Itd+auk1UZTuecOn+ndM1qTMszZU53CMP6SDOjAp+aga7MZwaW0a3Kx6pUorGtoEEEtLM3JDw7Pdi5COMCVgbvM1f73CM1rRXAL5wbic6jl3gkuAfs2u3un0q2YqDtQb93HZ6s+ea5Z6WxkHcsGrW71F6Xfmg89Ia8hMBleZ/S/R+ATITF0hW/f4G928OZW9U0CyL59FC2J140KiK/syQ5/5umwQXNt7ycX2RwyC4JB0BXZkWtKfeFaZHXf/WsSTzOls09DhJK/25gwRjCAVnqHsfglUejq8gkrDIGRDQ4fI79pi1/zcqfENRFhMYn+ilvP0gj5N6/uLKSpH8qF58cpPl1VGd5fFBPeSjFts0rVsxbC9nwHWbS+Uq8eTj0cTqPF4WNWna2RehWDKa7nXarTa2rHgWDk3WOI/aPgWSaHqHmg8UBEjOJ0q2YFFmNf4dOnxJmkavx1zYkfrIzr20aIyVHJhuvBOn/vtsWmp2RUHQsjcRU/v4nMYvKJ7z2vqIut+lC8PRNA7mWoBqRHLp1IcXGVv0aq0SILbk21aGN7Z/Pf+MRzFc3R+7TTuP8MMdXmQDDwm1SHcF49vjHVD2cfaS1yabAIY82P3u4i/+6yfkShjNfrb7llyEmIffvYRcvLkqhEl7v9M9i6jgCIyRWrBFa8jbn5aDGy1fsZWqgm/R4Scx1ljxMMO08oIrJt9f7G8gGM8tDGlQF9YXCVQwNyCq5iSUEYjUYoogRvwM+NrGYUEgBKwJvUUgjO0DtKVTK9HMoUM9LtiKfkTe3hxQT09kq8oyRe28XKbcJAlRXIBvyoJlRWjh7deJE4EkYeA3szFArI7pO7OOwjyUBzNO4KRDxTrRq5ueLWsvrdF4OJoSKX2NZzRN8I5zV3s9KTlSzlxt36lpuLlzKQyiBgpO6P56SXljr7LrOM6AbKPAazUdRVVKEKGf+xU4AiEuyqvDyCoIomjLToNMV935L9GAbQZb0Yylr60lMYXtBM2NZ4JBsWtfmS14DhOuEpQ4B8SsmM9VDSWkXe762LpnB5qsTPhuIVIltzrKKrLBrQGK8QbhUgVMYvIgDLHuHRPiiwb+58kxwhxBwMXstJ2gTIryqiEz+F4jDkzwCHbL99jN/aof/jGACbSwI6QfnStFBIv2ADwljVxNlpAlDYL9RBesdFZ6P7eqoUFeSJhNgiJ23ALkpkhzSB20xAkejs7nmvJuH5wBRaOjjUDDG1N4eIS+u1aZD9BoWbrMxh9ARjSfhues7s/nMYEoQbtIJ4IpvDEq51/V1cIaML3+bJrg6vv84CWt9qCnzAN/vQ4djGT8Jj792V8/wGrDjtFVVDSOvQQV8XkAmoNL1un2FoiYTKHIERJQst0eRVhSTydo35tgHvyGKxT3Z/D2f0xdO/FTaycj9pX5Wz9Bb+zhetpdWKMzDH41afoLc9ygtCTrkl6Mz49/Pq95dJsSFZG5DAhrMiDYTv/CI58DEecaU7oYf9WC/sAMcp7JV6sucTVi9HRjvixRPyF/hotxhl38Yy9hdIS2/m8a8kc27hGvX+R2BEnKOtitfr/6mHPSrLiTyQjQeiNZgvU/BACYcTXLFoYmWRtzMm4O9kN36FrBjJAp85oORQ2skbSkwaD1FdqiHePD8VAlG3IS1X5SWSZkNjOzWN5TGJX1jSGRDPRJMWUUqaiVZeyr9OW0QlV5vUEz512fw6FFbcBkrbR5c0CGdfeLTiwwBmN0CbS+vXE8EC9+nNRxiYlAh27dAQyfcDkks+jFpUMrFD3wP0Cm5WVAouezUwEVugSVNUlzLooaiZBH38BUD7PULE9NwQ1xl3AJBJJgubpk2DIW5BcG9Afm4QhWPyCodgnx54A7JEGBVey2Ynm23Ne/RG4UNo0e7YgXUG3VvBHpNWKEtUGomXpGfe+6NLGjAToJmaVqfDkw7QUQprLJQL2Rgqp7kPbBLOh9tU0xH+Sc68X2cM2CZGmyjg/FpVYiAKO36tne4sOeS52BHGrJ1CrOQJf3dmYFfWfkxilqDcQY4T3TalFCvg8YBhIx3KgVTDlrXQIC4PP5HIWmTJnYVPJSoVLYTquoDDmlpuht7WX8ajMvvthAQqHU6Pt9z4qkMC840RaOcKBZwMboxtQmqxXWBdYBaemGvWCRrRAqPa4qwLS1NnJB5FkSmhExQf+6nXI4rLprsiyi5S/YJExNSNtmd8OHAfJJP92BjCg7PHawYk+mDYQrDgFyxFKWjLUdF+hoItXSh4jcI3rkKL2tMplemibRcE6BxnbX5BBDQ6tS60T6HrI43c1pN2WcnDQV8fb2oZm1j1WgwoarLLaGt3qd8Pa9JJbtUmhyLJ+NoezQrT7QpFegNDSU5xtzBKXXH3OmLv4rvDzRK2FTkofjbWW4cIUYL/pJdlwoXSxFlBMsAznRo/wlMNrHP2D37Ud/rHfB2Tny2u/xlIfSz5qWVbeQ+MmldtG8PUdnEgVQTeUF6E6DozfiPrse1Ak5ko251151DmXqfrwnWtzk9InU9ThJRDFMqDHLZ60yZvfqT3mjJ7zuCXgMysjQXz3OnqZQAN/fCnV+G9yskKdMy31jWf/pyvH0QV3AU+3I+k+/yGLhDdGf2utClBKllBQba/fy+HXl5q/4QDCJscFyiu0XfI8VD6NUpAp53vWO7e4ubBbVfnKEnDs6AY1aZGVKp7fNRGLLafESV7DDMvxNPSFyWNRgBZnvJJt3bAoIgBK3zaX/bqKVJjCOWPUEjzZAlDABy+LOhDzQUVivvcOby04R9kVIojQVGqaSqLiy8FnqyEcXw2txRjE0mnPsSK/nvAZZ7GRI7iiwy7eAA4cvdJJVnteumWu76Of172pH0nuQIF0G8lo6NukCuZrLfjkNbBRGY1G6Rw6PipA2BSA1DClo0ZSY0MHBmjlprkea+/q63dTf/qrYpbJcK4R7iIM4YO/G9VFMEHHfR7um0Ipv7eCbbVnT9iu76hcQCSuiaEtFpgZoV0eIE2a5VxSETZ83CtBr8zorcRDlKr3nEjq0ww2xEBSwCcEMiBZMaLf8dDCf9Eai97/8+2tqG+b9Bxk/H43EOUTr5M869mlO8rN4h6s7lX6/ynDtljexhsmU1lhFJzBE9Ho6VGMWDcj1/TbxFCzrzpb1sIRmgyRgmXYhosfvJzwGHOG48AzZ79rRpxaQ1byd++rrxtop58mpbTe9gYrhPlFg1u8TJyoxxEzcQt695hd9jlZmn8N5O3O08AGdWYOHff7mnPjZbgAZAzA7ooqn1th88teO1cGrZVJRooDRyz/ai+DR2e/rloQM7hS5NKJ9Ns3FpzCBh7afVsN17bCHdXY3tg/WTjb9yIRh+IciV/D+FElF/x44A8O4k+HYgMR+wSxvDy1PtxeAVlp3MEpCHfIsJ0q3zX4G4Zfgihpn9z7LwIvG7gzx9gjIQ5tVDWyL5ULYdFwQRiZkZNOX0xsOaAZJVwIGOKRz2OOzOcrhQ8rf5eD+CPFjf8vBtkP/GULaS7u88l9NqAoeXHKyyDMq15rgtKbV4P14DzNTZNWYORR5GOHqkb9fh0ePqTZOPX4ituZv57iTb4MmtLPBVM8gxKUEnU1SX8xzciw13avdnsLxEiedLqBqv4MTBLqWkctEL3iS4Fso6FgrxG1lU85tuKJVKKb+0xl9B7ykgpPJWP0ghCu29JY0eJ2SeNjYLqzOjFu9s45mxse3yu+YLsnLwL6TGokL6RTSZhBj8SiO5816E3cVmxriwIbmhrC5B941UR/E9hX22vmbuWHnmOwi4FJGuKUi8Y//cUIA0cJv8030B+2rtWRXOUJEmxvCyEvo3DIAu102d7g7/vkLvE3Bq5hNOOMZOjfOAaT9B139Yv86nrwBJfE6ve5Zrkl+eKLmx/gBVp2OInHg2IYWyOL/ylyhG0v5tD1UFELXOqZxJ3GA3nHXzF4Ryj58RSQNg4W26wpqNgyjiIyVdOCyEfJWqCJMpI2ljBRWQ/Oy6P4YNP5D5PmyJXt5oj+7NCpyanSAod6sVkA85q6ODKoorrOWEgDlDfyFy/A55bKF0ZNoYp0xuyXeGuRKuOpa/MxyH30xIcvFZg4Hw1jRb9eG7VE7qiNbRZmJZevWXg3/HO81P6Wdr/1ymB3knGdMZ59suAwaDizXeFZ4kn2jVEOQ2wtkpIWDopKBlTZKbY4oJ5JMqFDFneEWifW52fQi44sGoTterOiutJm/hU26NQLE5obeyS/XHQB5aQmJ1iusscoFGXZnCF+yYdyeksgs9Aa5Hjfe/hfBeQXQRaMhHpi2u54uIJAl2/8Ip9jTz1vW1vih1ghW8/bUG9znGg3N3MfDsykKe2+3Rsj1zTdmjt3Yy90lOg/d1jw9AGklvqH1Z9fM7+iOdJV0AN8BOSDHQ+25A9DnEzxdegr0q1plUOvDdBNUR8eR0Cg8SbZS3Voc151KEQr/gFmCojGBg517k0/7Boy9xLOFYhFEUnP9Lmk3S+fVPSO3izRm6Jcncy7iLjDXgHolgcsL/EYe/WainYV2wDqWLsCmlfqTWP23vJ8o6N8n27miFNuAcJDZno4Yd9a4STVY9Fr2r7gq/leo5GPHvJ+5QXL+CmcN8CM3UOesk7wOcxzzEdANXLMFlccCi8sCXb+j+HXTo1jQC0/W8COSaGZUBkDPwlCO7Pn4tdPDXAZYO1aWTPIAzSDPG4aZiknaX5KlWgpfGRSNQfYKt6FMdfXZYv/keMK77/T9ZV42kH3Wx663IMCps3qSLuxozev6XVa/JRwShZ306dxaneyJZMChYy9spIFbZhR4WqTdUv49QhXY54j2hOuOrsBCOwMQXyTxFUl2lMR6ud7gnFForRdRMgEQLLxfcBPhRB5EtUBEHb5mfcdmII8FG0e5A10Um2mkoGg8x+na1j0Z+AdbAR2MrAF/pGrfdG597GxJu73ZY4mTvyXmS6qcCMEzTQfJF6PRB5rJdjZWymcN+kKgxGbO/d+EEpPskvMfNVqyHkgF98Mqz4qA53rKnPuLSjkkhiWCRPJH7+axCFRCalsWCCioYK/kcEnqw56qdLnd2ph2bz5QIvc+woypRagcey/4o46vhtMYgDc6sOU+WeJJYv2YECsvU4RC2mqjcKkraHviebbi1T8XshtC6cv7o7hFsByv5/6dew56nLNyE/VGytkmjZhOBwZQdC1lCUWNosIeWzcrk1bRe+Ii6wJyLUjnLA/EeuDlR552U2+3HgJR1qPT6AYyEuPoiGTomSzQbe4FeDG72+UGiWbLWOagL3kqiewDSIAwlbCaZiznQ2YedJP1GHAqRNIbvVKMpWXzc+Wkm1e+PSIajwXRwEcw2j7GUGs2bVZkLsBUb21lOH9aSAxNy4UQAjsA5QRwrkLmbFzQsaQ7tIK4PX18t92Gam9Ki24S3TT4rPpVO3mkaeWbNBS474rYgJ9EnNN5Xlbgidxyr55ivrWuksoM0O+EjmJAkS9n2OTigDhvJfqRHvgdjcr2vjQp8j6B6ELFfa/QPpwXD0RsZfHp7igKHwuY33Hhw7Y0qfY6ZPHkVMnIb5WID1jMTQishmbZwIB8gUzTd3cnRCZm1uioVQHtotwA46ImrVCdOw5Ns8fmLQA22QLVaOIEYJR4IAeGpT7RWeCc56bhOA+XmZRqwf5zdn3iev5WTEOf/SUaVfJwgb+7iea24NZq8qwLTrYt5yHTcIDpLOj9otHlCnXDox5SITwwbvgzrlngpBuCqdYtD5g1PZaKl05vrlvOGCFfiw8lGv5Q3nr0XCQFnNq3I1ql66fzCy5ZHqCUrX8Rs2QG0DywMKQznnYwH4ruXMIc3rMqVPWhgCOcPdSiMhq88h8TOFULz857UYzIsHHPby772XDnFAjX1+cWLyqt8Uliybf6RYHn+SU88NHsNpHTOKK6XtB0//mfpbtei57WkfFBTHKQoU6sqHkRgb9J43+gpyVk8UFGj/qETIvQ+f4ly8kM/QwcWj+MsH5kcO9O/9KeEF4AWc7Jgs8i3G9eKrBUQucBfAIHVxANJdLYGOXQfqP5blV4yHN6NbZ7CNS2XJYDlwv+l4gHwU9WF1+WhDJI6TE+XqNFzzJoRlBmMXFgf0QxCkEPLCe38yIjYMKSGhB7V0luB3BB/a4br7/sjKH8g+mmH+sJYOG//z1iq7gBbHqGRlQB9ZPgD7FAjdfaWK7SCqfS40dZ5t2zC/y+3pypbL8diDuOseQw8Mr5x+vo28PnUvo57V96TNTdFPyYHi7ceKktIP4+GOTymNZho5TaI8g+9p8fP5qRFybsfcbLp0KoD7j35j3rY1T2LlJJ+0R0eAQu0=">
            <a:extLst>
              <a:ext uri="{FF2B5EF4-FFF2-40B4-BE49-F238E27FC236}">
                <a16:creationId xmlns:a16="http://schemas.microsoft.com/office/drawing/2014/main" id="{1034FED9-2B69-4325-8C2F-82F112F78006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 bwMode="gray">
          <a:xfrm>
            <a:off x="2742483" y="2098760"/>
            <a:ext cx="1869122" cy="4177892"/>
          </a:xfrm>
          <a:prstGeom prst="rect">
            <a:avLst/>
          </a:prstGeom>
          <a:blipFill>
            <a:blip r:embed="rId17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21" name="btfpColumnHeaderBox587463">
            <a:extLst>
              <a:ext uri="{FF2B5EF4-FFF2-40B4-BE49-F238E27FC236}">
                <a16:creationId xmlns:a16="http://schemas.microsoft.com/office/drawing/2014/main" id="{271FD1FB-E88C-44DC-8B6B-21300EC14A63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9987915" y="1270000"/>
            <a:ext cx="1869122" cy="318997"/>
            <a:chOff x="9987915" y="1270000"/>
            <a:chExt cx="1873885" cy="318997"/>
          </a:xfrm>
        </p:grpSpPr>
        <p:sp>
          <p:nvSpPr>
            <p:cNvPr id="119" name="btfpColumnHeaderBoxText587463">
              <a:extLst>
                <a:ext uri="{FF2B5EF4-FFF2-40B4-BE49-F238E27FC236}">
                  <a16:creationId xmlns:a16="http://schemas.microsoft.com/office/drawing/2014/main" id="{99C91028-1F67-427A-8020-CC7284455DE6}"/>
                </a:ext>
              </a:extLst>
            </p:cNvPr>
            <p:cNvSpPr txBox="1"/>
            <p:nvPr/>
          </p:nvSpPr>
          <p:spPr bwMode="gray">
            <a:xfrm>
              <a:off x="9987915" y="1270000"/>
              <a:ext cx="1873885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ole</a:t>
              </a:r>
              <a:endParaRPr kumimoji="0" lang="en-AU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20" name="btfpColumnHeaderBoxLine587463">
              <a:extLst>
                <a:ext uri="{FF2B5EF4-FFF2-40B4-BE49-F238E27FC236}">
                  <a16:creationId xmlns:a16="http://schemas.microsoft.com/office/drawing/2014/main" id="{17F79414-F855-49FA-80CA-C13478C038D4}"/>
                </a:ext>
              </a:extLst>
            </p:cNvPr>
            <p:cNvCxnSpPr/>
            <p:nvPr/>
          </p:nvCxnSpPr>
          <p:spPr bwMode="gray">
            <a:xfrm>
              <a:off x="9987915" y="1588997"/>
              <a:ext cx="187388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4" name="btfpColumnHeaderBox164498">
            <a:extLst>
              <a:ext uri="{FF2B5EF4-FFF2-40B4-BE49-F238E27FC236}">
                <a16:creationId xmlns:a16="http://schemas.microsoft.com/office/drawing/2014/main" id="{13F00A99-73C5-45D4-9756-EAFC95CD9692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573487" y="1270000"/>
            <a:ext cx="1869122" cy="318997"/>
            <a:chOff x="7573487" y="1270000"/>
            <a:chExt cx="1873885" cy="318997"/>
          </a:xfrm>
        </p:grpSpPr>
        <p:sp>
          <p:nvSpPr>
            <p:cNvPr id="122" name="btfpColumnHeaderBoxText164498">
              <a:extLst>
                <a:ext uri="{FF2B5EF4-FFF2-40B4-BE49-F238E27FC236}">
                  <a16:creationId xmlns:a16="http://schemas.microsoft.com/office/drawing/2014/main" id="{1225F934-7D97-43AA-A406-E42BFE4445C0}"/>
                </a:ext>
              </a:extLst>
            </p:cNvPr>
            <p:cNvSpPr txBox="1"/>
            <p:nvPr/>
          </p:nvSpPr>
          <p:spPr bwMode="gray">
            <a:xfrm>
              <a:off x="7573487" y="1270000"/>
              <a:ext cx="1873885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dustry</a:t>
              </a:r>
              <a:endParaRPr kumimoji="0" lang="en-AU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23" name="btfpColumnHeaderBoxLine164498">
              <a:extLst>
                <a:ext uri="{FF2B5EF4-FFF2-40B4-BE49-F238E27FC236}">
                  <a16:creationId xmlns:a16="http://schemas.microsoft.com/office/drawing/2014/main" id="{B3761324-1721-41BE-BF3E-355026157FCF}"/>
                </a:ext>
              </a:extLst>
            </p:cNvPr>
            <p:cNvCxnSpPr/>
            <p:nvPr/>
          </p:nvCxnSpPr>
          <p:spPr bwMode="gray">
            <a:xfrm>
              <a:off x="7573487" y="1588997"/>
              <a:ext cx="187388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7" name="btfpColumnHeaderBox610456">
            <a:extLst>
              <a:ext uri="{FF2B5EF4-FFF2-40B4-BE49-F238E27FC236}">
                <a16:creationId xmlns:a16="http://schemas.microsoft.com/office/drawing/2014/main" id="{B909E665-CE78-4FFF-8E4D-FBF9A20E7EE9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5159058" y="1264536"/>
            <a:ext cx="1869122" cy="315913"/>
            <a:chOff x="5159058" y="1264536"/>
            <a:chExt cx="1873885" cy="315913"/>
          </a:xfrm>
        </p:grpSpPr>
        <p:sp>
          <p:nvSpPr>
            <p:cNvPr id="125" name="btfpColumnHeaderBoxText610456">
              <a:extLst>
                <a:ext uri="{FF2B5EF4-FFF2-40B4-BE49-F238E27FC236}">
                  <a16:creationId xmlns:a16="http://schemas.microsoft.com/office/drawing/2014/main" id="{C99CA549-0DD3-49EA-A240-71C4694C0072}"/>
                </a:ext>
              </a:extLst>
            </p:cNvPr>
            <p:cNvSpPr txBox="1"/>
            <p:nvPr/>
          </p:nvSpPr>
          <p:spPr bwMode="gray">
            <a:xfrm>
              <a:off x="5159058" y="1264536"/>
              <a:ext cx="1873885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ge</a:t>
              </a:r>
              <a:endParaRPr kumimoji="0" lang="en-AU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26" name="btfpColumnHeaderBoxLine610456">
              <a:extLst>
                <a:ext uri="{FF2B5EF4-FFF2-40B4-BE49-F238E27FC236}">
                  <a16:creationId xmlns:a16="http://schemas.microsoft.com/office/drawing/2014/main" id="{7BCB958B-97B5-4F55-828C-626F576FC492}"/>
                </a:ext>
              </a:extLst>
            </p:cNvPr>
            <p:cNvCxnSpPr/>
            <p:nvPr/>
          </p:nvCxnSpPr>
          <p:spPr bwMode="gray">
            <a:xfrm>
              <a:off x="5159058" y="1580449"/>
              <a:ext cx="187388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0" name="btfpColumnHeaderBox481559">
            <a:extLst>
              <a:ext uri="{FF2B5EF4-FFF2-40B4-BE49-F238E27FC236}">
                <a16:creationId xmlns:a16="http://schemas.microsoft.com/office/drawing/2014/main" id="{AFD9952C-DB97-41D5-9CD4-0A68CC748F1A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2744629" y="1270000"/>
            <a:ext cx="1869122" cy="318997"/>
            <a:chOff x="2744629" y="1270000"/>
            <a:chExt cx="1873885" cy="318997"/>
          </a:xfrm>
        </p:grpSpPr>
        <p:sp>
          <p:nvSpPr>
            <p:cNvPr id="128" name="btfpColumnHeaderBoxText481559">
              <a:extLst>
                <a:ext uri="{FF2B5EF4-FFF2-40B4-BE49-F238E27FC236}">
                  <a16:creationId xmlns:a16="http://schemas.microsoft.com/office/drawing/2014/main" id="{6D6B9DF2-F1AB-4B39-96B5-22C830C0E240}"/>
                </a:ext>
              </a:extLst>
            </p:cNvPr>
            <p:cNvSpPr txBox="1"/>
            <p:nvPr/>
          </p:nvSpPr>
          <p:spPr bwMode="gray">
            <a:xfrm>
              <a:off x="2744629" y="1270000"/>
              <a:ext cx="1873885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ender</a:t>
              </a:r>
              <a:endParaRPr kumimoji="0" lang="en-AU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29" name="btfpColumnHeaderBoxLine481559">
              <a:extLst>
                <a:ext uri="{FF2B5EF4-FFF2-40B4-BE49-F238E27FC236}">
                  <a16:creationId xmlns:a16="http://schemas.microsoft.com/office/drawing/2014/main" id="{D26F6349-0568-49E4-9072-D9619E31AA27}"/>
                </a:ext>
              </a:extLst>
            </p:cNvPr>
            <p:cNvCxnSpPr/>
            <p:nvPr/>
          </p:nvCxnSpPr>
          <p:spPr bwMode="gray">
            <a:xfrm>
              <a:off x="2744629" y="1588997"/>
              <a:ext cx="187388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3" name="btfpColumnHeaderBox961069">
            <a:extLst>
              <a:ext uri="{FF2B5EF4-FFF2-40B4-BE49-F238E27FC236}">
                <a16:creationId xmlns:a16="http://schemas.microsoft.com/office/drawing/2014/main" id="{4BB8BCB6-E0D0-411C-8BE5-A1F3FBB518F7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330201" y="1270000"/>
            <a:ext cx="1869122" cy="318997"/>
            <a:chOff x="330200" y="1270000"/>
            <a:chExt cx="1873885" cy="318997"/>
          </a:xfrm>
        </p:grpSpPr>
        <p:sp>
          <p:nvSpPr>
            <p:cNvPr id="131" name="btfpColumnHeaderBoxText961069">
              <a:extLst>
                <a:ext uri="{FF2B5EF4-FFF2-40B4-BE49-F238E27FC236}">
                  <a16:creationId xmlns:a16="http://schemas.microsoft.com/office/drawing/2014/main" id="{4A747C9A-5698-4A9A-9EFD-DA4372D881A9}"/>
                </a:ext>
              </a:extLst>
            </p:cNvPr>
            <p:cNvSpPr txBox="1"/>
            <p:nvPr/>
          </p:nvSpPr>
          <p:spPr bwMode="gray">
            <a:xfrm>
              <a:off x="330200" y="1270000"/>
              <a:ext cx="1873885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untry</a:t>
              </a:r>
              <a:endParaRPr kumimoji="0" lang="en-AU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32" name="btfpColumnHeaderBoxLine961069">
              <a:extLst>
                <a:ext uri="{FF2B5EF4-FFF2-40B4-BE49-F238E27FC236}">
                  <a16:creationId xmlns:a16="http://schemas.microsoft.com/office/drawing/2014/main" id="{C23BCF52-9662-40F7-BF34-186A8D2A336D}"/>
                </a:ext>
              </a:extLst>
            </p:cNvPr>
            <p:cNvCxnSpPr/>
            <p:nvPr/>
          </p:nvCxnSpPr>
          <p:spPr bwMode="gray">
            <a:xfrm>
              <a:off x="330200" y="1588997"/>
              <a:ext cx="187388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2" name="btfpMGChart551751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sIis/Dw562/ylZarflkzpXsotLVJSCrZYtF7RsGG1e5iqe9MG7z60qZK3vpZqzyZtFVBi094pZscNmYtOyJ+gEByA1xH7Bj2c36EiWyuokqXstVhKAMzqEl3qnbW21iw6HU3tn9ZxBpH4S8SEaZhu0QvZFzEZXIgJrA6kzdz3gNSncoJE/L52VYKaKFV4mp/9oA6bISWP+1mS85QsPrOJND+rsTsHH3+7slVdxGvf3GMwTXlTPSPRcG7+87yoOrmULjv+CVsAXyV6wo6m+2vx48IUjehHx7OA5QoHuQL5/vYBTi5dncSfPznmq2FLxzTDnxCnXaQE1l2LZ0/UiDOddGLVcD8xsbv8ijI7IUlWCizC1fUVmGYnecoIStYh5kUZVhfi5KH2XL1I6LKzWli7Mc+wClVgRaSHioA00zihjLCzt6jb77kkwqb61/zDHGVMMB7BN7b0ZY/2VZbSz8RAE7wHD7u+P0xqzUO1BJnlBJecS3gF83YddB0kWs7oZHsIf6TW9Bw8s7R4Bi9ag9OjQ+ZLT21Fn5eOqArXmoA7A/eUNGz/oLIhT5mx+A1aHdoJIdbTnbY1GAc8LzpGH5gJlVuxQoWawwzMBIaLhtHKnxu32HJ09SqxWB3/jqpcD17MNIMkazDrZk5K4lRQeFkzJv2o1aH4ywE/6NCpyw4VnuangborPdKtbKzA3cxnhhB4k9KdhnuEomAmIZVJzfSOkqDUPHYMG5eIk3WSPzRmgnZ5RIss4a+U+mqiQtH42YfFJwrDtsaVTnQb+wklGswg92PO0Mo0CdvMOS7Es2dTueGDpVT/4jsjbfpxJX6juKxcH+O7ycCTaGlUi1h55KOGiIeewLBK86dwJrALUhWCeJqdJzcN5X85dEY6pvWj5isiqWbkkpFtnkuYqH7t0JXeMs7xq7wBe7ZWna2UezmrT2lUHWYdAEpzoC9B2h2el4ANZRqH82TxKsz2QZM8C35n7Ce/prohXG9SZBLLUj5aAlX+/Ayeh3/8SJ5N5FP3rG9v1g0So/qqZuJLBH+RBaEh59skL+DJMznRZqGStkmd2InD+DdfBeFYrsJspKAnmbwiC+rgcXSZ9RcLI/rZBSsqJyfy6Hjr+TiU7sCHo49rImITV4ARGJ9pRiWknCe3QMknnwz1tmwNbozpCgzygzy9THNZOzM1ILRcfKVHMnljOJLKqxuQSuEfMDqz4A0vBeeH3zSb2B7BRcrqwAHNNvMjHYvTJP8+huGaGO00MUbAk4cZACc7G405D4GixmQl2/OVaMt8zFLacmqIUjOBuzxX2zvkmYqv+GwYCYCyoO3vCskCREkTp4kQqeucxYhv4sHbTmNIbEfzjIj/4GvaJ+n1o+BK8Vi9HkrGkAAldCHL959oKGHt5exDbYHT9dkjjFNcqlVWnBoTwZkYL6aBUZ/MsHRh2y0waQjgEBYaonwT8K9b6UTEEccfMpQ/EQh5HCteh71bUsOM3I4w44+mSSG6I+YnZQtwy64pkfguV7v5LtGnUy9DZzIqKXfflP10/VBo/n5UeXnl+IZtTrZ6NicSjDdP9NsOkRAMQvlGbbLpjn+nlfBb4lNuFWTQgasFbvQ8cA8mGmON9P2qbjS446Pc/DxAq4kw+uylhPGIgdWt3TT8Wnf+Xe3wBD9kJTh7wHtjXI35flHZkS8B5wkDcWrMW5EvGbTS0SLq4D/6M2eCAXsHYnMo7LXesEHQpVPLdVuMfnX2sYE827Z++Y9BIguou+xxTRRc5TbMpUpwE/nxGaZn2+yY08omi4FsmmyFFz6rkXDfPRMsXSwKPv7rRpvc0nonr/AdzEP0Wv8G/W9odbW5tgAU1cZmNUeb2AlxmF1AjnIDReoHfeosewv2iALiucNqbGUEFNqE6cmCRhYoatzPE4eq2FIFehQbvC30xc5+D+9YptWlX3XsbJ6Kzvt1XV+aKe2bzUWv6zCTSeFN8q0Wa+T+/EqSzp5KVqK8MJ1yJ1tW3S68Ljb4t+O5ZOufcVreqpl8PEK5Axn4cDfaE/VQ6Uhjg/l521kZ5FiHAcbzo1ufqLzDGd0XtLQzBuXe6oLOR0IQeHG7tnjYnKYCQdSp9vzI+591GBoVygBhUjgWfEGJD0lOZ261+3lskHMNrCOJQ9CkD7yVATiCPeLZq7cxT1l9lio8L1Hk78BjEhaI1VrNoAvdBGuKBckddxLfu5mwF6TM8Ez5cp6V0vACB2Ha96ELX/0BWAvuO3ylox26bQ3QH3JelNIccebDMX/Ow535UXjnGix+KO89mTGaOSdpduS97HG27ljRf0Ey1qIvrmfvVD1wlGFQeyaG7+DmbmBHec9OMaxWDziE7XUjNTK8oKfSarxu1kwUOdvYx7V1UflTu5Lot6Q6sRRsdsdTsS7HSIu3CvcieZQMBk6VPIJnRhQK3qWntfCIo30I7I+sKCp3fS+ZtpVIXW+KJHWdRqTmHpeuLaxeyfJo5mVNViVHWsCjpnNwRwd3Jlf5gj+7gqDEs9S3M6sDC0Hxyc2QyFZb+z5Att20BuUINxnM/xMOuvauhjWs2Tg/MJ7c3yMZ4DB21ztYAzsm6w3GFSv37lAE9x8rjyYXJMPIGSIHlHhMnO7hWGfOPEXIPDNjZonuCDZZhA9cFsM2VkSm8wut2WxgBw6LdyvIKx4U60MiwcLNma0omhaAukzxASa7QSBuF52vqNoR86H5qZ/XGT+GpiA6Mv0XzUEXZRiT0r5dCNxK260OO7pUkKhvO1DvtS9K97Fmyluluz3gVHFyI+Cq5R9Slk1Dhisny5Uun+gNvvWOnj7AdyhBht/0aVEEnEW39/mz0JmFVYULUGmH4YVMlrHzbyVPAZaEtvuak+5E0ANvWomo5UvpzT6ONAhTD3iNcTaFi+tPoVy8ePa99T23QWTLg9xt3pKmfwzMeZIC3OpHfbPhPL4o6f9g32j7iqPy9Ybm+kZiBm91pXQJ/l1d4clEzO5qvHqEKAIGUdPS+Wx9CKR7ud/RUFUTEC9OwkmDAnnE6YSEK9dQPZf6iPI44k1HtABH7OTj9mKCd3PFR4NgcyVWgoaXy/iEarwLuYc7wMz54kAIKK6A4uhY+53DFrBuFgB/fm+d4mVWWZChPNqGyFyGA21uKSL5EH61FCAFXo4kxFlONdth8icfrYqCnQYSnSzgiJV7sdCuQFyNa6iUoV/N8GaSfj7QWW51izYsq9V3f3+Jh28fiMEzdIuF8ao9Cb/6kYDzpNZpqWRRSws7oAgKc2ACB1OmfE3BUt0ZgrjWeH+LpWr4Pe2Mj0vW8b2fgEBmF4En907q0HpIAq4s/2NQ9ohFQaIhQ2ulszQVzI5N6UdoqIL6Ns8hMr2tOXlA2oLxoRAiw/5ffFXvBXYgmKx3hoI0QOk+j3P3S1ZZpJVN1+rxB7jzleLn1wo2MR5UgmZskFLhBCKAOLUwQB0d4L3xXVUkHOaqB9zCzZtQPoCqZjSnwzza+S+x4tfFI+h9tz5YopiWwT2AT2zpRqSM7ggfU5wnoGS+UpwBAxqu37O+9C909tkWpZ9/fSICnUXK+2QNKAKKCpP7iQCIqdP4XOPwu/qrwWHqYYmsCJZRN2giLUfpvur1zDztVK332TD2jIvv/miaLWNN8nCvL1CgIUMoi3kTvsSuHDlPN7hPSkMsviazQAK3pOlhajkk3MDcJrpjl8tU98m2pLiUktGMSiVvPaY9fKJhjwnspD57f+ldHyQkCoyxJQ9y7GiUsxeHsenlkXtU+JyV5WCo6FGI0WxSsxqL/N7I3+EgTjqbA/0mYfCF2cdlzdkNungj+MBYlv8iDOK4JE1u+ZhtvRjng7zm2n5jJQijZGH60+IuRrbfj5lqO58JiMyNyf+efxTUdAgKS8UUgAhzZ1ikSChxZsjIP/jyG2EKCdPxsn0Al+1BOjau1vKje/763ny1+GOuVtkJ1Y8NUs2af1jF8XAuthP1Q9m/2kMDdGoCRK3pna+cF0VXqMRChaQxAQzhRd/qpOqdQ5W2JDaQrH2cUTS2/h1aROPgCeh7W9MOoXY2ExOPmVUBl9HSCP4/6ie5sA37rP1cUD0vzTMhoEFzeTi/6iDExf+L33LBbAf9mcKyIN0s2PX1WZOONTSj9WXy62sh7JexRR7S8bezEoexS6X/ItaKHlwATO8+6kOMtczVvO3eGzdAGIP3v6oTAH+qoct1z6+ypQATPYpPYQmiRhwRqZG6amN9biptQ3dFGM4/Hfd+eK7xpASXfKqCG5LxDNCTY2+Ftxw8vESMcqRlSGaGQ4GyyQUNAGeYYgAWKDsxG8CsUujUmZT4yJMwlidYXer10jNF28MGXrrOzeSX89CGdxYARhwNNFUBhq0EqOgJseLnQfKKvRfiG3idkIItzUMbT8mFA6VcuMCpAipbbSEKV7MsbDV5QLbXQ0/wX19fX0aFVSGZlFpWt8PNoJe4qBXY+v8lrVy3+VH5J64ichg759y7ts8fEaCwCXZY+SEFrLP3bdhwtHrDRvsrJCbvXPAL0kOtTEZg0UqFMNzBLdq8JGXNCfOzAVusYXiT3yembMPTUxnsutNDT5ORlb223Vst+IdKaKmzdQ9F0HO64QF2dOFhZx30V2FygWlXod0PwX8dlYhMP+DYp10t6M1YeYZHgBTKl7Hu5JYpKJLoLLLeeFL66GjjIyKQTv6qcIjCZHNqCd8CJatBDJJFdG/f1JA29PvoxOFqxDnrDILT4rl79oQ+MfCNuqMxrFYtyA6V7eRhO/iWwaPBJU51l51A64M9p0V8ialNG7+h46SxU4BqoDfD1RBoETNP4KlFqNurS2+lORN5S8FJ47ii25+5iW3N8Xx4LD5zY5/AC/usc14rZ5ZywCWu8/C2voI0xxT53QI7MH9aWZh6vQ3bwv53XXf5ChDoHoTzZ1+PDAju/WH+2/+Y1GJOKmMZXSvyoqCyaQS9VdeP64sGFS4eX3wgfVYcBYw2eZN2EZdRR2xQam9+L2CXJ2DStWk2EJihMGkxYeFsdYIpDSQUDPdWaIeTIT/wYq1jSK5EQcKwy0aN9wPjCaPtsjUVRo2jiwYOGLlmgKfsrygYN7wRNvlAuNeTF/Sl5/pxnOgKV/WZDEQNqZ5uHR+EvgexZIyRRISkz6ImrbZ5ijO01hCXoe0FBxudS+RkXH1wO1f+squoYJzChaVvxd+TKZx6qf4onGXHlGVmQ5ZcSBFnoVRdTI3Thceslk9SN4E8+qb+sUVhEM8JdCCZBMm3J1jRdDx6Z5vUVcsTJjzkWeRLR9wQcdWBG09CpvvoKETqem/TrG2A+S7R0qbgJnYNiOQv3f2HzG8Nf9sXX2CIhDvus7JqI14SxnTZGlaz9BwfScOMcyBLD7RupNxh6aWDlhRjmntya/q7Vb4bfl04pfhuHZk2LDyY4o4kpsL3krgKVTzRSdZGvoViY+VHIdjloO2K/irjrdEedFJfaExHQthRnWd1aDqbcQgcP+fRAXLsFL77jGbpXm9HuZvtNUe5zWns5aFJVmYl443sUMDmQvWfSy6pU0CjMtZgV5Wrx0ROAfC9VKTM7K9pBq6J6476m5v607bARiYnXk7crU+7yimO6gGJN/TIP/GiSIrKI42MdCDCv5tuuP9AGP+m69EngEtkumwbGqYvJT3lLxHD3EqSiO79ff+r/yM7EZLHuWXeA6eRYzMGWYnyeDewguvFJ8dtkeh4Y4uwGgCEnPbOP0CFogOn+fZfyXInbjSQpXPOKm48bYeLP1fcHWtlqYv/M22XhpKpkahkdUk7R0NUPBxZ7gp8YTWBDkSWCecZtoDmu5QMtWDxi08h3g2i0+YxMRt2CamsqGa/WCaDarRgqUAoTU6rfLRd+0DtiZfmS0JN2WRwL07PeOqGn++z2HbwxqZE1uptKVERBMJnE9nh48hp50FbxzZr9nvW+P2l2dBI0PvsFludjkcYzOqpFTFVHP1kGvQ2b8ANG3YXXhokAQrZFechcNWhHU1WP+kgPmFIvHGDn3Yzm8pVqJ8XqymihW+ai0PAjTkueZH8q2SziHQwPam53RIlgk6szTO+ZSze+UI/kdhlb29ryDpyncREXN10/TGrVt2a2lm+NGjIA7Y8CQYwNWJTlQ6Ep0r+KVX/wqB8agfZ7M9oTQkmdU4P5KNQIbWpcI4c0WKwmq8Msjl6OLKr8by/T/ttT1yNiCm9nhsNWKfWmmCEdAGM1mPX19EzZ+uSved6IvVB0F6MevAV7B4lWX59WYZ3T6ljhBLwqkTUUc/8Aqr/Kr2bHBgS5INvo3CY9K1y6L2fQhiRUwDJXO5I8zGzVjAMA29Wj7etAftVEZwGsAQmqyYd5Bo530pJ94DCDflHZs6YDZ4kNd09cCSkQMHYRFbFKttpzUcW31L1mDK3s7A6CS/XdwIu0N+z1dCbXMi3q5Wpa/FHviCasw9r4mnT92lJymUwimZv/LdGWuI8k2HJzF6Mt6fL50lq3x4TG3YwJr0iVVEGXsC7S0zzZU0r0KRZBIhHotUmf5GMMDfSHIdnl9iccQK7mUMLyJsyx1Y0r95pFdmd4uqmk+kOPdslRGsDUPn2Rh59tfD/F8inDb01Pzn4tJad4WHLOwjsREEXyjpiekZTTk1Uv91zDkgTFYVXTu9e+MacF7yJIxzwOpls+UN5yYCLYCGDjvBp6bXXGeoOZfr6no6ipr7D4liP7hz1aSyXGW1J061NlLWn9uEUKF0PaH3iHd4c2tou8/rENfwiTDGzokU4s4YE/UyWWuT56YFTESpSykSzKXDczitE4MeuecA9DCmS4Y88a1qaJYnzZM5g0IUb9vUf7XXY64yduXDS3BMWv0fzDaXorN/XzjtVfn2FRErb4Iqd0VmdVKft6ARViRkYqlbElVgWpqerjbcqXEbLwReRJuSChEwIJU2ZOVsoTHnjEyeb0bYfWwJ9tp/eqjH8mjcmxc0gebQ2i1LWMmqi9avUKFs4YlECr2sr57u9sdo20ideKhDAnd6M733fV6i1TBJPZVuc1V3m1T2pIqjLKRncml8cl0o8StaV25egOmTrgSvaAzmfqvh2KVJpzVAnwTPPkTkzd9vlrzY3dRXLqDs4nt2qX1eTmzinIx4rDuv0z76dmh2L/V2W0Gw5go/cBIdz4qeP5LfE/66oGnmTDq+1MGvdVu5Pu3s0kzsfNzrFfLgTFLvoMvxIVSYvxhiZNw5sKUOKS6JcTXrpAM/2vb0SRIRful/kobfDnYxEJHBQo+RLMF33ManNcjLtUzb4mR7EoXSIcO2vbJY2FO8LyhpFEusy11wlLAvxCy5TIFDeG3wss72uM66iFcVEjHdQzv6t6l4OUdngnBwQGtastWD5yV00+vCw5VOrcKXHqBc2Qpsg6bE5lwVqfFcLaIg2zUVN9mUXqyw09JVT9G59aC7HdjmcpJ9o2fzm9xO0x6NzVwmjdyOWAlusWqCDYIbXoSMqPbQErIWmNYQuEofUyHruFdTm6R1OJZlFktPc101H5D0DBH58zOS0pGu98WIKcjlxQepSpS8qz8yAqh1V9awDrhpsRwLlIemBsuICcatRjqkRYcd1I6RHPjptdsmYDG+QP4xaF2+YL0ewH82pwdEYzU9bdQAWaPnXf7wTlk7mOqQTVW+U4A5Nki0Q8zuY13JlRsRxKxIhorUqlfn/8W2BDWPEe+jki/TRxE5gx2y3Tv0bvHP49hYM7YlwUvRYs7Z0m5ZW39dJZANKpm04EVsW+vmVyUTq0y/C6OCXNU+yjbE8vjUWFbe0yk1UiBMCxFA8xyBqtSD3ijERVa+27R81AYtR4MqE0L2NwP4knv3YIIG9DHBF3ey3A/ueGhZMr0W7HcPz3DJFH9EDyGRzt1DTyAVDqHMm1lMrvsqTvUfvwDywB+SCQm2FWgYHA5Gv/DIxj0j/BhwI3ZJQd4dARmN9+3Cn/0S/jo8Z1boi7HuYaTMB+5uJ5lEOkvdTC9Hd7WtOd4M7gi39uenZSFnewiXe8YmJ4r9KafJ0/UdhrLarWG8Ngd+9d5JOt3EXpruZkSnHhOxqLGdRNDW9+nmwViMqrmIpc8MHu9DpAeK5CMQ7Csf4em+WVvjfD3G4IUlY7wLFO/8o6itpg945TLlgTmUSrddM8f28oQD2Z9U4KcNCpoQm2XhILVGzih5v2hRo1f5TNgaGzxJrZfSwCaQ6f4utFPFMAP02jS4nAoZ+Ja3QU9fsA+w0hUQE6cIg4aC8j1zy1BRfJQMYFI9lPpAefoAOjQT7vi7A5/ICC1Ve3do43bZ7ERmVyUw67zvTZVTuwHB0pVPIhKqBS7NfSK5EZaZDdUDQcpH4VnkyndkO8SRcWxDvtt1dDTY2GN/4nuqLfyfKpAMByAoL2wM7eNSMWUy+unZO91OXVe8RI2V0J8KUP+krex0FP+iU/R4qg+vRcItYPYy2wHsxA9GcjCVJSysse+dDmVAwUeJcc/EFmJAeqnM5/ZrNg+Dcc/xnTO+oUCzt74rEO1UYcgz7iir/TdfdNVTLQX43NYEAwyfnM6mRzxVQUCc9aIKg46grzOf74d5GBm3+Siod6ExFdc+gwRZHTTj0UMpvefHuvz0ZOK6hcY8Ns4oXRF8UaocOpIPaHC8d83SfHe9hUgD5DLSIGyw6dZDclXYnrRHKkWH15V9a0U7ae5OyCM95GZkonD0l130YzkBJH8bdHlUXYqW4pvGOi4MgfD0DvFwPIJIqwE2TUymwBRH5vucmgV7l1LQQOeAesZqI7iaTR9uLPhDEf2ov3aD9g69XCuDq8xyWaMMFdBTPJTfbA4IWJLhZ5NKTpyD2kinC9bBeWPUg4Qu4BQn+ZOLaNJoiqF3mZOpBC691mWzXYApJvrgYjqU52/fMKUB46B7A7hajQX+W2UJDwdhgE9BmrTOGLg/YQM0eZLHd3WBt7971AH+9rNXgeN0Ukdr1aaQ/YGn/rmGUf86zZoKSzMigO3gitDbhdvfQgDABnT3II5JYSR58ZGJ9521Bqon4yFIbnn2LVRFwWc/pdHuDF9aQcJvpWCbD3p658CVNwQnXba8uUWAnatJmIiY0XpgHrtIHd45UxXjJvufjUyzbyrUIvVOvk+bCCRHSX9VYe5x/xmsr3s4XridrthNvNiRimkSXSIhvXQCMPlf0hVn8G4BNkEHJtjXAWSqlN0QcoXkFPv+9T4Izmgnk8z/5zcUuTBnv0isld3+A2Cl9KCz6RJRsbduf58UDi825do3JleX0NhBB7CzwjEo6kaoLelJPGYxMB7Yg5BQINRk2fk/vixI64x1gkehaEl7X5YYcNBhC716UykiCucZyuJtWWuayN9qYq37VFfkenUWV6f6utVAXZM0L/y6k/fFOcUl56C1U8E8HkywPdND3pcKf+A95HU9IAx1pHlgtG7JoUdoRsbRkP56z9QJlX0kqATrd124bY/wwg5FYn4tPjI5i1OaCea0VKZB2toOyw2eiWPkHrCzdLEkfRcT4qth3qjbY1pwLFuPMVqnlNsFNl3sYKDsvpDK9Q1LKoDjUJ8rHYNhsaoy14HMDN6jJVlAyOs+16+fkjkW7Uk8YpR5qPGSp1rSGS+zswVYdQjRTp9tR0m9RmmEAeeXLLVzsdA+V0WTb8WTk9hxwukcl+MZkvECUdw/Dn1WObYTXfWphXg7/8rwjThOfgWjuutAwDEzO7imBT6DY5hC9B86Rna81TLHH47JfOOw+mhyEenIvNdszn+9KwYJlUar/st9VXUrmQod4fE43kBwDilQyYffPxHnDV/Bhk/X3EA2RNSxT5cD9exgUoKlLPLriNLcSdUrUYx3g37R+ZRH2X/mtsSER3JkqOCUUcsgPUE8bcxCFYQYj6fzSzGsx41pt6EsS0YSpo56nbAXvtAb9BmwiQQUm8+QcRKmnRZ+I+sUz6G0r0yqO5RrDrUVRD6bjIUEOAOdO3jROtnU293sXP6mu3GiFRV/OPrOzTqa4n0sK1y+tLCq3iAKyu1FyTX7TZx5RKhqaLAwSUuenkOWwnbqQdkr8HvPiQJAiIYGXC0BZV8LfQCc92QA4Yeb/9tkV6vsqBqjJrfbRKCtmLasHgkc6x7foIxR6BXKJF4c1aITy6sAQvMx/Z5QnuWPl52RzPCq3/MKOFFm1jiioTxg74ubQh6SLFpPJzVlWudz4JFlcDzMlX25K/b6OcW8d91d3vrCN+oua3Bka8+fX1XJ/Jcj+Ox51aF693dnpnR0pek6eWp6+KCKywXKX2oX1wHa7qChtLdkLRT2noKyqAXFnPsua11O9HtwM8qPE5hllMOVbIZjJDMLr1oFqzdpCtq0LLLt5V0w9UI+EMbmBjljJfBTWRgJO4w2h0APbzNP7ruhf8l5EarkjyeOn9LybPGxOeuibmOx5oD/1MJkrPBRPIPyLRWlQkAJNoOLRYLptUkZEgFIp0BaLE9v1pMX14GzoZfnyTeWSn+uOxdxydwn+WsFZiOc3AnkoeYi4Zdz+WMHC1I/WqjPSjuvksFhVMlZfR3lrJnYWQ0EEvT8ZmUiZbTc7lmrBRB8fKEZQQZF6JqdTLwEQryZQks9HuAEcc4h3nUlWdQ6GBEN+02W+2bypOcL8en/w39vt8wt1zQyl8C+LWlcC3O7twjtLQS19csRaJ70DfUPvthPwYCBIc8qDeUWh4yyGxM/teZixYAS2sewStdnZAz18z//YMqFb3cCuw661c79cuP7EUIaZ9/y/1FQBMP0aebr1CNp0RwRnviwmPLP1ss3oKH3/0jSYzkz/gmWjWZbdf7KZYt6pxmRJbDaUV3ViUKIlYqTNZEUaGuI2rryR1x5EcgC1/zXgCTqQzaDbfCd0toavRllIXXOPN1xF850IzfonXBncHODk2AATDDkeG98rsc5hyzx8/aNjvfTU4LvX0ykhRwu1uq7tYxyndtMdo746MnnTJ2VL3GpMuDn7GigyoUt+4lb83I8/oNeayZnWdqwhcIG1jygeL0ot8BwVtbdhKIBtO1ePw4A3GynwrVykqRMEv/fDWQ+7cDnI9WaOQ6Ud/BEC6z0KZ97FUbLNk0A5HCU7qP3GurAv21lB4+yBOsFL7Ac4immt5s/vpsZWtKSE+CMkqUw5LIQHFuAd+9sN+8QKo+FHV8YHufIUTY4WnutcLSSQH0OlsGad1bZB6WHpV6rK0mr9SRMvX32kzqiHZPTAewFESP/8liIkjs33fTvlUJ7QR7nQqlcvErrb18hc+53SOVwMOFAljwizY9bQIP/s8j64r4Sf1jYHmE54xIX80bzp0jqZQ4k+f4/37TqmURzFvEnGexzlW6V8naB8gCEW/dwoiS5wU1uADNDQFnQPtEjvSZDLq4Li/6327eoaGvOq5vW/30+kl9+OQWP+xYFCRQxtjENc9NCnVIoZWxjhRCHpRDdxK/uNoGXiPshf1vkeTvp98DHLdPyRFqcEuvpGX0Kowot6dAJXSwJAXu3F/VGXwkNNOdeYXQA7zUF7MC7RsV3fj1grXVH0W3E51he2aQhxZL4YFZiMFh5HDRKeViIVwBFIiEykKYOTEytXGui+Uzz9MRWOz1lIrr35aVbQ88kCRqpAhuW3UHLJHiJZI1Ro70yEbpa/ryRnIvKy6jUr0RX9SZvSXGR05kg3/QQtqQnRl+3YjNID/5gsP4KPMBbWZnJychSghTM69SL6ErAnGnitjGhUv+74rt0+kejx5sCsJnvTSsJEvXTH6O4Wzh9BglCsI/X5is5TRZe4z1uY4RhfMGDb2StdcFVZaNiX91LYTj1eFonl1PGutLGQKggniB8AcZxcsvgizAOSnokVbagX4GZlKvQUkAxXkphW6LOgWgyBh1XF3xVlBhoCb42RjOKNsT4wrPGJepaHuPZ16OO9GVQv7wR/AjSsSTMSjmQIYjAZLyKfZu9dLyYKoGXvR92L/bJM1T84FGLrEiylk+wMnRqEUPhqKtK7IP8gVNFzfx1FerHgi51qC239/nnLtuxnk1DNN4/DEnDHLCwF3fMJ7Yobn5vz03Rrx0Zpq45BvAEVD8yCoCH/YknwKcdNx9t6kaH+izoYl2Kd04hkfD8YcgnY3XOCo91dNMP4O0gUXJukXW9/C5TqWTL83hDm65ErW2lvX78t0Ocnwat0C3Q7zJJBU4IPFYaqn/BsVGy5/2/8jzIKGO3TkFWO5OxE6Xk64EAUAh2/IYJ6BWlSrXR6pDuX++yI4bCGnw7b6DY8h2QJJ0kXBDC99oGaITMjhFtmq16og2JE6zXKgWwU674U8HPItFUAdt6cXWWV2T3PI5GtWllf0QKTQE2Tb+yosEcwHTzCYkxAMaXKVyVGcdoJmIMhPAkTJxKKqXzA8L9pL7bd1Ii0Z6pBTCjn7oumYd4TjlpJM5q3udkrGIibH6QdzwkrxoJIlAq0B27pZcw+ZzREikeAm5mHnjwFIhgG3uchHb+5TYpfhEqkSaR/yKsAtF5jsKSk7EtHM5zdMV7jIpa/8I733NJ0+92G/XjQMRdR4EntuzS4lDqWJHGaoI1i/4cbxI6N+ch80Pm+VTRV0QNgHeg9EdON8HlVcQ0D1Lf+EX6FW6J4Wsna7f100NdYmbA76UO89FkYufc84kGrmmullHf0M4uYa5qSyTlGgrUzWeW1aZWT1jTMFLtE8o77Rf5ykFFleFzRkyokeVXy4Bs/b+CwxEgRNJxWQ62JA01EOUfdOckWNQaBDq3gOYfsKFTs1tiSsLXm0NhEpCF14O4sZsdN+QDd27MvdxqcYMZV1G3oFv1NoDehJxYO5qq8i6wCl/pDrax3KFwnqvzJ2j+v8DBS2ihTvYqZRaZ/Ojl3ekmQYBcOrA8juAMei0a3c1OMqhEr6h69/tlCymhpF1YtcOkJDbnBPmm+SO+QJ7IWaW/XwcUoJuXXZHsE0z3PaDoAiEv0uG6knjO0l0SgHCdrc78odV1OXmy+s2aPBd/SOlQX50p6LmcdCUX7M7dqpLOx18IGZNlTAsvO9oo2yNTJwexGE11DgGJmIuoWYaBJfOHkwwXObHDBeiP1YD0If/ialg5gwuw2g7kbYTcqCwqfOqyu4w03mnFhc/n7XN1QFTJaskUfjQMzRLN/TDjXkKWuC8fXiZLm2aWYUiFhqC4As91PFnJ4DO/Ss+PsjPP9R4uBJckwQXxrM+GaFk/yh7gTPH2BXFM5CL77541t/Arm5eMF+VBNNX2JdHosaBGZzkM/myDgUCQq/qBZLB/NGwD4MUHeSMkuiy5CRBPo6Ycpgy39VEVj1wOqhiFw99ktHKWIgJTuVwcDdBvjdO8PA4wvKB6uvuhuaxXOtfHhtuQOQVZj8gbDrl6Ok8VCEfx5qiWtexHGGAyrOz9JyJ78Ef24IE7DHTMFW4wXuy31bXOa4vHmIdmxFGURzgEToxO+As6JTkOmlrq9wkclEWP2uaH/ikzKORZP9wwaiFxI8wJYGZ8DRh6VcnL+Ya/dFVZL3/SusrOjFX5vIHHOxX7E++IYhZ3gYAir3qCIo3CnBJy0+jJNt7ERB2Uw3MQFt+cbayar3OJ2b+h4FwLG04a9OY11krMwe5ywgdZ0FazslqtFruhk4zEYaKOOjFQ2XuN02y0Ex644TjkIqFwPSB6m/GomgqpxiwGDK3GOjWyoephU0GLJ4KxKbyzxgwhFtLbpbyGo3PLU5sCqRmuy5iVRiJp85xyqgfl9KAs3m8B1b9uU/EXbvimUhfQPQYbiBWuBRyxjJuTbiWsTdqvrdlzGG9R+mphqc/wuCQkzJVBAaXI4+FUd0lI5IStGq71Y0iguZWldq1YkhpOrl/AYbXQxYhcOdC1cNn4ImxDayle6dRSTJRA3LVVPsNr+MDtYHtE9G0SyEyyQy23L04vWxmkjLdcL5Y3qKuFQuw7b9zKjtmnK/4Frr1DXLqqcnv0ZXQa4FmTbaGai/tXhOSXv6fm6XvfFflzlZh4ktjm1vcSU9krWpDOeBM1G5Fm9g55kekTZ0MoEeUbJO5+/ondWT5Wug4zk5dm7yFVIG5wje3exhe4CiBi8u2v9iO0Ctu2KDaf7lwdb5AK8TYStWxYWBsBPPeWLTX+PGeIbazjJEZMFKFvYlVJ8x2u2t7gPaIYIqYlzep9BQUCny63Se1ln7N+ZVP1qAdq6ANUUtWw2Qlpoj6zYUZGtnY4ZRxQ7RGbjqaFTbrO0mua8Wmi+AYDjJKkfOhamjL/pum14JMB9WhNOVqArHGGkIzbl38eF12uJMhOWsio5Z0B3E7d/gZ+WKDIR2wb1WIx9m+SFeToJzh0Hclh0kVAieMQkp9f8e4md+TnKOVKwt6hHZ4NV7+y0EXCd08cXGiSbGX4zD+DQwDl25tpHvEH+p7XMNLMfjCNTnr6Q67YAS7/V0uzcWLDK7fLzRLiy7L4DF1VR0nI1mQMOTdT+LS5qdlMI3cYxj8oh+1KW+UZN03ZuuuEiCXoy1eX4InmlLtBuomPylecFuR6KFbiVOhJx0scFqCeTcNF0utauUKm5v0SRYz+pb3E2MEjC7wcJWAy6KhXiE9eZa9voHTYSlJKZy5Y3ivBIgO2YJZUOhj5XIzbyTL/ksyXweBJntKWlwMvyLXg3XH4DNCN8wwtwWNemAP/iTHmr/VdgYK09cIcCIHkDQ7dR8cXw/XTa31IukFsSAdIkezzEXee14IdFqzYUu3qCm4LPM5mRJ2pSFrzdToYgKjpMUf5BOUCVhnqMpM/Rym33492YVqEzobEFF4jSzc1WudBB1cQMpxgcO4okczLEEQSYMfaTP+SEe7aeAswvv1C2UEalR3NxSfInka+6hX8u6zhYfEjb41z+RwcLOCj1nI42VGKne0ggezP27OObwFu8gNVytnH9J3sgHGqdRsHqvbKSo9bw7sgCDQ7JR1lJdVjj5Ufy8e81R2T5eqUD3dPjiE4plG7KCI7Kr56k80BpLFzaLpXg3r7XLGTxeqoUtqVHbwqJoxuZpxVbrwyzYXznoZmyrm2miMEMxZ7DepwFZlT6XdnCtDvaZc2wijWgk2U/SSvJK10myZ+FmFPm0OOoNSNsw9r4bUM4OYeJXnkofK8fqoyTNg6TRz4hyFEg+Askus49GurrIw5wurnH5PEAiKLyO6u5uAdQJ/3HxVhWgWrQwU38IWBqFsN+sbGvocE1CG++REr64j1Wnm7k/LJfIXJutyDL4a7Dj7xKs7Q74zS9uihwDoyKaruDWDHmsF+WVUw3Q/MmFRAp2kZk66uUQeOZZo6Xm2THENA6yhQKk23BTEhDnyCX6/Wprdq++s7dbcmDL19K/J56FEJVSJCsGo90kQufkVS4KX4ZUctFARom843xtkNU3KMjgIbUila7SS+7ClZi1bqZxxWcjdDWAms6TNDl1O0EyzGq1aN20vViH0GjAlp47QFHs1S7gtcYN5lCXogHBzTM0tqxgH054701MviNpw2FV7CF87fS9KDYZ7yWk6UBJhUAN56Buh2A+GOY9BCA6U7ycjk8KBx+65exEqbjw8bmNCO6N4IQjqx2rdnSUWAhjFDqHYGwLCfRk6s5ABvcmJD5YmHOfyE7NMEflMbjNq3jxQTymtLzToDX/bFEJ5NhAAtEXMK55btu54KVDuVDEXsSku1cCwNshNHi9IQiaspzgKZU/ievtpgDeiroboaDAV9qNBa8556sNdi4A1zP0PxMcw1ZCo9dp/FivI+PQu9BcaXI0RiUTzuMq/FMaC9+xj8CiXzdwcQ1ZCjc0XqoBV0n8S4fIj0yYBpu6p4DeH7CC1tCdOfm5PoneTPtZG0PCHD5Wl7eGnzKnRGvwtAHdLY/q8qLs9UIX7f5ynQ6KvKxhoLIMOpavwb6no4bBqdztGwQDAVyHcmbgfzqklZIhu4ImkmmnqZNspsSwPyTsyMVdLAnJTLDwvj0ZTvl8o0jwJ6MFwmTUTsmpzrK2DN7nAXjfsUzq6tBIe9zluAEGfavbpmtX+DBO5jawsn95Jx7624fDrTIeP92DGIi+OHL4vc18D/u628Ur2PVyC9Ces8l0aKhzugQKEBWsuNKf8MZgfuXtWYDeiVFbalM900f16Mv4eB1nH52I/maf7H53l6KPteeHDnzgvixWWthCk2/g5Cf2TTQqrlu3s963zl2FZcUjPhbXB4GekpPZqq+iY4NhFT4kTvm84G0QlQ6QV8ag6X+u4ubAeo+mlj/JPqraxMxFKojg3aHkAc1l99FG7UtFBTOpla3kWzGqJIw2CBSgY179Y3lDpKIZXAZ6KyTOzIjnoIRFMNAu3dWP6rnQuAgWCE91otGGw0gdgrIWUjR39LlGyKms1yzETF7LSAQr+bFqDg581gknL8QpAklp23q9qcWHHnV+x2JC+5yGnzOR/y5XB2hgnzgpMsn5w937LQFuLUbu+YIGeggKrQyjfuGlXbI1uSaU5EGKRxJ4alGFcmFhOJ+xwWZ5+DGaJQtlSZMQNSSppL2HSiU4RgtcO7XBgTRcp2W3m0N2YqDBPrxnfZQH6YKFQo1kDj0xaoEGEHVnILl4IJfY7QjVq3dbi7JE3tCsabvpKtBaFbrGSVdnwLRbJ5yqLMCp2IGGWD22Y+0+Q8yR+sx0FwczEAutiTHF/z4BTuCnHCU/sMsUyBdk4s0bCh56oxi/zVsc6p1lnuRKZd3zfmeBDhu35zm08D7gpZWuS6aw2yIh6g+WlHHoFZWpAeaS3mC4lZ1DEbzmDLQ8ItTBWdW9SOOcM6uuYu/aoInK1fK990kRctTSHP0gDk6FCu8y0iqLWTLZkHBnKOlpeGibzkqN9VPrGC+h/FMd9wUmKYFgubD6UJXKqCKEQSkcnCzqXtRfPq4JMBbsXqGYFUWEttNR+dyY11cta11uy4BA8gufQ8JWc8HdH1DfBEjfGJtQC/OYkFtXZvuoPNRpADribprHWc+bo1UWnyhZatUrfCxPjIRX9zqP49dootMD/KkT6yGPml5icv7oVXv769xaSD28FOMRYf6KNFfMR/CWQW2DXmWmx//HWTOabDH9k9qMK1ELagsSdGtawHMsf3eh2cR5KX3gDfcWYFJHFphAz/A8zzEZxZu46AXWu1vIs3t+PYdP9hq/PVv3HgX7cxcfRTExElrsC9tqKx+VGFZv/mwcwThU7J4fSvTl2U7aYg9xq7OR/d7vvhwa/zBRrXAJpOFace1gVp73Z/mjZ9/VdVuwsuBqB/zg2lDf+qFwQ+5bRBrQ3H+EbhwjEj8hdvHm5q/xp1t3EBiwAixg7Cvej/oyyoEzdTMhFC+b1EL9Ik00Qc96LucfFuvxTNy86STEjNwmbb/CWJRqlL5bLJk3uFpSlURMlEFD3zX/ddOWcfGbFV4s0nGZU8gLj2YlHZuhB2hmzVVrIrUDIwLn2j/ugR6Ubsk+W9IOEojgOLCVVI8CYWWWpcg0NQIhZ7/d393qEojPVLcWZ6XkUeN2hNrsJiX33YRXg6Zg81JE/TJqwsw8hTWzc1HqLWdYSbqM6/oPLolghcvsCOOIRHPcmqTMYHLFYAXkRZkSHGxoLlfehwXjp7Swp2i3xORUpMUfHIM9mhRHg33tFWXWB3EpFj+6TKIED3Ovzhxe/9oj+D0PdW4XIKDIAdSQwLt6VIsoGF/2yumTH3FHm7BNPr0nm2oLOhn56NK4X7DjazObmFTyatUdr0ZuZpMyWdOQsQNb/JDaEmP+nDLQNLMfUic1reSzj0x2lYgJJMWKZFV0He0oNr+FaAnOyB1g8HAYV5w5iFnTFSNheH7qwLSEvvXEET5Vsr1W5sqcrDbBueXmFl7aHqev3enYv3g6CK5x+BfsyzgGBoukw6HOAlllz68gq6a9B9FkJiqBSRu2o+jbsDLWXUBBCWHAjwFwIAAibnKVbKBXiDOgoVqjVYO2DP843LKbpDM8RE7p56CNlM7GEYtKPlg3sYuoy6m6HLn94+ya6necBzaAjcBnEytO8AwU7D1xPaixfiVBXJKa5lX0s6oP6B3NGrVNu3O6NxbZCl9LgqgRtgFPk0ircvn6lftuqw54lAHg/nOqdhYwA4CLi5xK/ye6gRv3RiSeJokw1iJq0wTd+7HOlqPGX5o89ldyJMCh2/Uj/w/3X7NPxXJKVz/RXj5QzokXdOM6NrxN6V2I9JBOSm2vwBH269b6ohBUbUapU/jlym5mCQAVQV+JZF7ZqOfrDeQrypcFR3rIjIt9c41HeoIhqt9Nfv/+3YXFMoFvdpN2ewTSgKaeFE9opk3Edgru59eER3j0PZz+nZaPnI006G92Bl/5z9KtoZyY8Bzy5rM9ZjvzMsFvOWvcPWnBlfxgdUjljq+05yuafMQq6XpZd41Ph7M1XhbXku9hMN42DmiBb47eZRbXLm+DUcx+XJ7+8wBppVFnfNjsq7mNTh9dxcFHC+O6hK540Zjg9bXWM99qrN8uhY5KpDNTU8JOsJVymbaeyXkzzdOfYH9q4nqjO3nGBp8uLLOFA1v8TgNyniqdTGMk5ILHVwZ70XRxZoIvuME4sxEK/hcFLPLN4+kQmUW0x+VoKs3NfUJSiEzsQKQu5MNn9w0ZHvU3C9+j31u/iqGpwOhCsfkr+/HqE3chOVV/HX4nEZvcFz3IcLEj8Ict5sqIqfR/yU7O3CX5XQFdngi9YScfOvNZigle7NjtlTznLQBQyTmEvj8ZjuTS0QedU/Jh7LW6FRsmySLFkuc0Nmra55okvM0xO1RA1QLiHRAds6F5WeGxU8BIIZ+JL4hoLkOevZ0d9WSLk2SunXao1DqhFClX1qCrledfCzQ7xYyHOaqE+WWiupvcsmcavm/qsvXtUONe7wa/n3FVhUTFImDhvUo51lOS6VecnGS8zPdfvY6qS2GOsY41mH7iMswdJ9/ZYYJqz4+ewEr/hWkl/zIvDZFE5T2B/jgpiDE5Bg522tonpprnrdLqmRl3g6utBNgMrXtzBmulRA8VSzNdUYSx8SwszQl5Bl4f5g08LrC+wFWGQ4OG4ro1tkfRnJ2hk1gAYJgHQ2EXgwc3Znlb+cxkFyZGgkgia0zSRGYzr76FQZIYTu8aMqPDAIlGZhgiq0AVhwZN3HziY8ruUXWiMc/NsI/qXxtX6AbUkTmypDwCUTsK/4DKzrdGe7DhJ+8vTP2cFJfLYmPUBGvc0K8zDt0jZA/uPNGHQMABtaPvpML8mVvrb23Hyowu8m/JOWhez9O7NmSLnXT3PWnC9WGMkTf9YSuikNaKBC594Yfc3QHa0zhvSfBvmfoJRt6hqZABzInhxk11Dfzft+WCcjugUHWaZMLu046vDjImbuap/oNm98fsqcWj5N0Wq4cA6CeBRBGf3Cl5iNMqruiDscRkCYz+8sVbU7PAddgwEaoYkN7op/oUUM21jtfoZVkcb2Q8CDuJHhbPqil/pnbSXF5KCBFHy57lkJVQA6cAF4EwDILwnT9wjrxoc7l/ksh7rvLuJBWVlK8beHGllTFtgVfLrLMlBuHkXyUG+IPc8FC4wM0EP8iD0XMU10MusYZBrQ2Oc8BWlqS/OZHxLoSS38S+GLSpJXzZsTAsauJWrtfIIBsVPe7G4JmMBcNlCk/Bj9FU5Y9Kt4IYsoutw0yEU0rnTZ5WybBJRbaiiT8F3mDmDDs/pxaqbUdCaXRUoQoaBHtlDE870JZ1VFKGn04+oHzn6PBJ6l8SEAAxThaBJu6bDnzND5JMRjpt3shohPYJFZdHOIpdnjvhTMG0cxuKbvI5eVP6x/e1Ltw3uptCfwtqJGHK8rnu4ejr/HTvRx6b2lGTlIs3/r46IFjJ5aZT4kpN1Atd0wrLuKQBE/LOYHoHgA+MInn67d+7696cCffB5H7BVgr8AmlI5fo07DUHJPTYnqjyk8tSW/DWsnxyWgL94FylGdSdpU6pFJfNuoNjrPvWlRztTmCKxmbWmVfsBX/RQ9eDwcJK4PgRV3yxkhOw7WV4ENiF4Bq7q51soufc9uPQecoaFaKCICPkMBlcaVlKAU8svuNsoTrjqE8jPS89FYQ2GFGRoRxF2nuzRprr3PVfWpk8gnyMiRHOk08HqTthU3Ky5CKKNP4wmw0/uQu8G+YYf0I15afEbYbYPIq94NYMLbM+wNi2SOJu5PtmmjXtnTXMpT+cRj7a/2IUCIxqXkHegU3tpIORxLBsAQMLZCu+cucsBypxOSdn68G65hLfuYKnB+pugTxiVwJApMW8241+d/JHJ9BN8TOjkxt3wPZn+4sPD3lGXj6EVUP+Zf2+V0CZDg+gNbSDL2/5xDDyTr3U+EWbgWb68GntVSLc55jqgI2MnU1xAjkw5OCgC0gn3Ja4+IHvPRPJcvubh1XZi6ILYASUG9ZeicTRDRsW9sx9viGgR5Ac31Qd0Lf18oYRIHSKvPQ+aYpB2GtW5WGn5c7J8QjSCwhTbKYR0JfbWFmGB7gcQfSmxd9H43oYc0A+m582/9n/8FvNr31J9CukUmYy3B1dWIiczxQchMqt2TPyITpq4eq4EoIy6PpYdd/pJ26NYmM5xVy7EL/vFYFEaedqlyH5Pujf6w7hYtaeaieq1ev+FHYJDzi2E1PKK2VEbY2fAmhGhRFLgj3SFRM3aSQ5Fw8dVP5nK9Mh6ENVGRa/UmT6ZeoKi7pJqzmd0i9rbRz2Y96om63MhuRg8EMXo2dw4/csr83701wRICyf+qL8A1fZtycJO1DbHCJVqZRYx9XPfTKh9cgpFyYyl/yA69OcNp8oleHaYKnUJJ4NQ+UJGCrFk1MDnUsiiHVWuQwVv9kJY1zb/JjcirQCTagUSJZVknh+MIAFk/dYYT7eAd/dg/cm034wfgyAEMMQoo14a5IV2DP3Z32Cu6T8Wq8zLUnPkzwTphpWiwS/WyuySY1Z42jyCKAOAxs7uBcCMANgSrqv75QVApQfSP1UV002nBOlaKEtXqwf3IhbjagnBhiGvK8myz06TD9ENpSr7GqXssLIOeBqIYokukiPbOHqrz2zy3OzrdVwPCd2tlW7/xJqkF7v6HosARuzdPjSxI0TBippUYtuRy4XNyLzNrGHqb8+9kYQS4yvKU5lbEvKtjm17U8zV+iwBeDz+j80l+F41vl7XoT6kXXgrs2LcvADnVbqQuwBJZkSwHuBI6y3+yAQ6e9Kja+9UeS1z+AzjgjtTvMFhgHOtzDlxXKsDBB8LmebdL46Zx95n3WN9EnuBPhlXWbXkIaqpRFTygweWk50CgZitN1zOyIt14+mB4XPwb6ILM4Flie2Mg1stf7+heid92+PXDD7k5xdkYj8eYcODXcRaY3OfLG6I1DrTZYUFR9zE4VH+6jYh9W/fMzzr4Z9RYnkcjgS7J4SF8vk6KPRHov/h0qkot9fQibyG4gWDSEaE+CSFj8lmCYLuWFuWslCxZSSaxPN+CIO2xtIzURblE6M2s6J/+BSI4OMRgFCm9R1TtGkTht4C435hPoU0uVdQCNCeAX4GNg8qWIwcrocEh5eFcX0aD8oL/gFQNAszfQNbA6zbqU/TXA3H4Wvkd8ZwFi8tSZfVTmhA82oucz1PvhAQ1OCfk1IWVk0BAgbaCoyIGK2kwev1vEQR8JqLj5gmbba+5AcVsDu4iI9rB3mSAgftNsicAhaX1pGWS1HJEgsZTO0skM5zQNTWDolvju4RUHqNuqamHWD5ILWjtp7WBcwZK+W20fk5IjEvWywsmsu64jQsViEH1bVqwbR3ms1i7XGXNwnSA9L3rXzu/b+VitsWbIXZ6DYvOQy7J1oBrHDnNhe2pvNlEkELZHhT+4w4aU8XsKNsJ/okXLS9Fp/ZrhdMwgMjj4ubAqDms4BcRZBPRZDaLAktWbfAGJ5qD9qBx2zBONfQn7wEnnhuk0Bhzm1hAPWySV2aMVcZb5/8BYdkqbJq2/QP15fMEcMH5iraek+atJTtpUck+J9niVZi6aWn+9hDU7+c4EfstePnlMQI4jqJwti+YQtrkEIaPSoX5dv5pAYkQFXMh+lZ3RZxK5+sszpS40J4WN9BSaAftyPgH9oyB2RyGG/8CLTJHrLQwtemZen4y0NIZ+gSgzpCAjMDfvKFGLKF6Av8uhYEZFWxz1btmQxk0tbegamGiqvlEElNAosfBTQVrvsFysP6D6RbhZdpst2ORVPFlQy1YY7ZjFbm/NxBC9azr8p3T9tnqglSdTxYUHHTBhs/BaJwc3KBJsqKXMJ/9ef1Bh1mY78OGm1S6EDG28ccAPTeKNWl0dwenfeRuWEcitpauvMc2297rqYpcS0reCdpXOwoHWo1gIdgHDhS86TlLRZ29K40fjM6vIYUCvzwerICak/EVRqX5Q7jydeplbahl8XxUMaTD7pmvdBsXPmcJcnV8yE7dK9yYWVnZiq6n5j05u3dc1VCt3O7itohMzqvyqkZqspVZXAp2vvOOLavri61fWbdm9gTaSF0FxUoFMCBZmHctmlBAUE7p9IbI3oiX9uun7sqT/JPOvJjscfUhwNLK4Mm2V6CBrJjnphxNl9brHIP12owBV2SptDAi6wMGjxiCMf6if43nz0Et3nE5/0HXTTnaCc2rLSdkdgyBcpiUwUOI79DbfuSKB6WsqHoLZjdZwbvVBk3tndJm4bFadVD8pqO2Mp4IsbMulnJwtNBH0Xk3I/TiJL73AyJR/NYCBp4Jtj/ACe4LcU6lEZLoH+QvSqU0JswLu14/Gx9C6b0WlJLZJcm5mz5w63k56l8cNSsgT75qk5aawgIW6npRTCTzcgNVb4RE/koJSgwiHT0gaB2ad+E4whI1Aw59sBBug2ZxLk8+r4M7zrX8tFG5+E/1pNbymkRn0Nj3LIiWkrXsxcgVohQgWGlc+v4TT5AWbgjrs3TocQwA+dfePfDdqSwKe8NjUqHE9ksZMKeMNNc3ME4AorU1yDiuUim7KP/aFNA0VKLMYxG6DU/ybwdA8QKxjH14bQ4F4o+HA4XT2rdHgm52TnyNVRN7EAHyc0HPl8fbJGhzZ406Jp2f44oIASM1iV2Fyr0t6Ii4adJxGc3y0DIo4T3PQGHm5uoJlydmqicIIlDREwMyh3XbdzMhO7WfO8nkoCgwApZNrgGZBSLCgnCbHzd9UMhjeZuhAvJXkPxBK2U+LanXFxENdh7r6lPPbqispLFX/6oF5+Wld4r5S3L2+uQlahQivHxkCMiolPrb8B9Oa5vWpx1bdLXJnIRUE05ID8hFb5zASqzHCv30rNYySBkwS72pSXxEfvv0SHtazvcup7WF+P5Hah8hOmQEmfOOAfa7fi/zwfYXQTZXW3PLdmrGKhYK3i7VmJ05ydhewWyt3YEK3ipTzTgBx7hPQZZRpyTVRPZOk5CzdTEp+OV3aCWSFJCE2nAkJ+G6j6u80fSUSXqJNiUsnQ8vBBPeZlGhxrOLw13yrRncJwjsBL29WCL8v8nprzh89FgFT9H3dqrwyPlrGp2tmtT9JXh72cmYKXtiZHqI2seyJ+riK7N+CE1HlWD/Ia43e50o5FO6BRCExeLX5Psh5RxIqzm65OWg98Ay/fiLvEuDAuNnjM8a8G8Lnu62CylPg1xk3WXPSAZL/bA3zQSIwgZfN3ba7uuecbUc8tcUTmXv5Nzfx1ZPsRYky/voQV14PeJpyrEay7lX0o/O6zvPzUb7kSoZbs7iIyF2nTtbVU+6qTKrXWcl8euF+0oYhcM3IFttD+DBn/sRxr+Qof6vG/pqVK949Pacm82SttforOcfkUy3/u/t84wRqi4srhM11xeKhHM6jW217FHgCWtF6LiORUba08d3rMHo+0yH+yAzieLNRvz2y3HbT83veEDUUnvdbv1mPSgo5+6OPnHqPUWiCLCMTP4GQ5gtwtWN3GkKdsRJyTJrhuxS+oDjWrEiE7pGdIwhIUooAZjHHx0DQwZLDi9Y44CU8SXPhj3cFKGgtMjSitZtuY/0BG1y7ndNcazawaZvX91aKx6Y4x2mwOD/KCwY7lNicco/ytt+TFvNeduxj1TNMj1izZsmVbhmkoPbfnHib3iDKxyL4JulAuObe3y2ncuU1gX5Unao/NDFayuQHjJVSRRZi+6VNFixpHU3/KI5yVgaYQ1UDuLO/n0RXbPmiOl55kCvfu2dUUVddv/tJOXTO/LP9pnBsdiY9TRPvQyxsKXOTTVY18o6KjMSeBpSRVnuTjqX/w41j1VfBEvjVjwN6LSpRuYL3A4Jk41njSO2SyUgiogf5TivLUBSZ3IKHp3U1/H2jYvmYYom4A9Vmy4sKFzA505imujSCahDWeHYHscbgEh9bN0Rn8hQoJ70H9DOJGkyBIMuVQeAGLwXEIldeOybFkiZfPoJZ2EHLAgV6WSMzl6zGUok+yANnYbVe55neh4cHbr8pv9Gf4fpEPpQGmNcfqxlgoqad12Hs/J0Mo13xK1Sg87z053A7D722m2wOsvkzTBYoiDqU+gZ9hASif0dfNufxVF2GGaaICSQSo1S8hEYEj0RZ0CS+mBGz2Md6DFTp3Q4Z8uybmQn8FfTgzvq9J36PyDWPyJTg0/gXahfa+MPnSnjpJA3v6TmCoJ/0NBAMB7WEyx8aIVjn9VzhB/3Uypaa4LGhGxJlzVFe3ZzpMJ5a29SjEH5PO0DiMkk2STCA+JdjPAgi73cD50Dxw1k5r7D0zFh1DMgiaVA8m8YPr5miun7K+sv2i0SmWa+12C41jD3GroKuVypcJI1/zTOHxaXVnVJVAB6AjsDZxQqDhvuP3I9FTKT/c0LaZqGg4trkMoREakx2qbzJ6cqVJerSqxoUFNHwygqtspGmEwEA8KP10+Xb9iCxJ/JejrpS7ZfDtkJLfLBfAuvRCAa8XrPTi3veMdLx8IBOCsgZ0Nh0NYehZbQRoGryyz/37e01GRvmoflVK9Hbi+j9t1xUychDFY6LMzA0aA6W0cOiwCSlIZD+dxDPO1v0LMVbz7bvTtj2eD0GhpLdoOTiAwy1Eqs187o76JJwd2vrCty86/ZAjG3nr+RDX7etqyW+DfouFAH2578iQeBiEKOXtNXQprCrsFviJwg+J7W0c2TZi6XEAfjR7tG7ocRz2IWZhyf+9R1cfgeJIKBKV5ej8UhoSRDvxgLV4UoFTggne3En4g06fVcuWVnSk9C9/Lr1+aCmcFT2wRPGz2rfZKE2ZWhdbPXkjbIp0hwgheOaRQus/S1yfDO0t3UfyALMv54pzV0kejby43kBjs89+AgUoRFQJf51DOoOQ9LGXTV6fKLV73bIjBHyAym2Z5xPrF9cGa7ER0ayGXLS72CA3nq5Ln6mFTq8QYJail23ovfbw7T5BEZFHCNkDscgq/77tbGIFxgZ/60a75MNv2KvZ5Dlc5LwzXediL++acG5mr3vybDmUsglFRMqubJcrIig084ZV+9X0kVkIO3V3TeerAfFa9T4SRutQmAo9gr186wB2BpBcuHPqs9/TIJ0tby+ZT2jNoVxKXcuZbmjnBOdy6tT9BL0YDPkgQfPcd/Ui50ro3pLmJxshbKfPylCrUt0IkUthflcgD+Vv+o9MuL3+5/S0jSJit2jzEg1x35BGlkFYPbaYrglpCQbDnlbJBpZtVjPDFCFi7vP3lcATWYsoCXL2o0NQYA6ePDTmgYQOS9aMwqaKX8jzAHtgP9H+hazvNrZyP8a2yb8RbIO99bJutC4wmQ6H1FWIUOfcx3uxVjN7I9H6PnCZUBL2TbPhzhaDrEMPRRX//iEKzTTIpg/qL6LlVJmOoHA6NN5lwH/z7qY2J97MIKnkIwwHLTW/SH8B9eTQhhwiSMl88tYAqmHmynQUJYa7T2bKdzrPO7/4Hp3PEjDOXtW2d4CT4vVjImNksUn2QHhaXVC7+eNT0IkQm7VICX3mTDpGDrcMDIHpaShQEHETqYZwDn5qMQLngf1Y+fVcmOBj7Sh9D5uicD8oeo6BXbO41Lbhfmo4poFW0WiqrbQGLwBzVw+C4IMxxNx8KPyjK86aH/InLicU8n8bsC2BJ0GQVZ5mUmBxbhRH0xGty2w720jJ4h4s3MA5AS68caNsFWjLIKqns/WTqY1o9c0zQLMvs5zaAV8NCvQFiJI7FQXv/6KGpAplmi1GXzFIJ82gJGAWQOfvjeS8DZoSr8xUiCbrD6C1gD7TwJOzY6p5LEoPr5k3FKl7v4hkQgO8Hcs4TNQoIjGIaM4Au4UDuGdrco1Dd0U/EcIOEyvcjGT/K0v1QwstOxxabVRSXR64FWUvKHgH54E5sKkm3T4pP4CGgsSxUd92jCQgBpoVJrEybYcWZ4JaN2StZWQws+OpvopKo1bkbMcXPSXN+rsOR8xEBmsDNmAanjGHgpisbECKi1s1J77YSMeK9gLoQEtBPTQKLvIgdLh/O/pbOq4o4WJu1MBrQuO3l+x/xDQLTjwVKiM20yqNfwyWk37SRDO1FlisvMXfvHV9/XI6IjXRKnxOuBgkIZrh6cIwIpX6QGGrgdn0aK7Blnbnep3UEbY4qiPWLnwcU73Q8cVLNhF8jtNIJ3D1ztpHVlK3sp7+AUERSmvOfjF4vfD2mI/uaOcFfOlXLvFeKT83ly1lVDJvEjePEmhRao2DIoWp+X5OYJkqWy6F5BbBU1j3aOdAestGbJoqyjczKHWwSp9rRCwrjK3rmwD5CFVDOF5NuMmDe5YDT5xpjEII/1c941YXqxaZl+vTj5kHsgk+5mQm4OCzL6NY7B8hF7/219lG4Q7/cuvvhkosYL83Femmnggscj5yBF6rCSHVYDuok2/AQ4dQ7285A16mVcX5F1rtpWkFgbWG3ZHaM8uKOxKvYPtHqtAUiJuZyEa931aCy0WGUo6bRio/pA5cNbuyrwemEv1Q9hsDVZ9yzZH+4vSKQ19lexRRe+ZkAPwzwCQkiybm1BRJzkrvLWjdR71ZIOvhwsBekgKOMY4K/YG5WZL30TnlSUxYJt9L90IikUojEpjQPUbuCqZXLXz+pWfJc92ShxrytTWyesqprlKOzrwnQqmLdWhsMspGphUrWNp52GkNrGiCiuUrn7a2yQ9WFwgOmm+kESfAzCM0/PrSVF7Rl93FFhG2T4HgB8kCkw14YD9ndCR9578xJrFoghSChteuR9Ry8mFGE7Y+47uDAC1XmUlh26fKIS1KorpN+3hiZTcdEVYM8N8Cl/8I9XhESWnrSlDH5wy2uJctI9SMk0bm0yfP+N09xhPgAHa4kiTWYWGCXHBVVw/Ej5MOxaevIPfpGwiHtSlL4722RtmiWKmCJ8Gbf6OOigc61n7FbabZVpYW/vrreQfy554fdAY0BUaM6TMrCqy7ioz2rbc0VdmVOjTG4s8L4GHu/jJLIYikgGkg9yJNfFR6VwnH8iC1oQBjKT5OFcsqP7sLTowoP6FOqPkgXMNtNLtQC3NqntE/8CdAaYrUKt9PHvulovJ3ZJuWFWHLy4+UaPfs/+8xRe5Axr0KCNp0JCcZZnblwwTOb0YhS11f5ialwz/VSs4V/wrjJHAaJEY08yJxN4ICwBGob8i0DLf8kzdn2/+hMmEd7rZYZXTpHGfgB9GpOIQquY7LqFFsi1CWUFroGwTkhosbjXl0NtYl1xd/WDPZlERan2hR8mYcGH3Tig5GSAVLqLH3nOZnAUWNYkDUS8QrH+bhZSV+FKUz9Fgv1DeY3qxTaCYakS5LWyzKa79F5S02kcflarZDHqRaQKzDYk+Xs5GFGKjE0CztKCrt3gc/3U9u7V9tPuQmgA/J7D5SUoHhAvObWSNMXjuPYu1KOT0M7nhDMPRalycDMFGtM3nTtLY3IcT9UVgMVbXs9kNjuH4F2Yxb7UMESr/mbFGDu0y1DVsEK/6qhPR0sDAiopsy7ADwoBq0ccmxgGijwnkzahfbXuUeGtthpCbjXQTGZvnrgxPUmqXRIwfYjN0llvZF3OB/nAc7Ak2b0Vgx4Z6mBp6xBqPuefuiuU+RBznLyrDwBDcVgBbmz2H++WRuEZn5VC7mvAiIU8xKUcjnyxsSwad2alP2oJV0LI+VDbNeDpgsEL6ll2iSf6T2w/FM51h1V37XnlmQmk7Px8XaIyCeaDXS8/OCb0H0C2YZ9iCyZJc9bPTPyvaG4s6MTXC0ksjoBsa1oYSRUAhNK7S+Pn2MZZmxHXA57u+Nqr5HGTcAGAmN7XgunXn4BHr3vTi9UWIlnMtQFgHbcof5KMaBn7b8aO6bQsf09hHa80G9qIweFyzdADoGlpg1pCWhupm4iQY1LRvbySn7+vME/dMLDW5I3Pa31YRNGCnjYzt3fUlpW24rYKksSGUCOChMLT51xrSPUOl5V/5sImo5ycBVu+JxtK8twt+sWWTjEQcMtr2VyOkISbPLZiHj2XraYBO5UuJ20a8t80KDmWapqiKRWVJ3NjYwgbw7aRO+/E1hkhRHFHakjekeKhw0/3T/hPAYnUlPoIZb53Rbyxpl5pdxTjWHZRzEG6Wf9NJjtatu+XPT4GOIocjreIjCc4fQ2QRa6zSmCu6MhZEMvcbEnoxaPZCo+++9CTHhcfuWvA1gp10U+pEFocaibpmCCzdsfo7dZL0PB3/B3sL+V5EUUY6NfOtT5D2g+72Wdchj0CW/t3MlcwNID1gq651RCsfUv3wzPREOvX6fV0yt+k1wjMaJTXkU2UbAbGeWNMoMys8PeC2O5OJ/BgiS0zDsceZaH4WmmLVjBqP6JPYa5ZbDhDWQKdDv8T3GvQQQUFAuFRmfzYC15yUJMPhTZjjnKyO1Pguy6tWzRQ3OW4IfbsjEp39XGr++9h4XpZI3u7YTj5KWC4o1FsTKenI8+2N+BWDjxk07IzO3v7tyfFPqtEZYjs756ji1AxV5fAvPPuSpQ0aceenDdIBqiXDGnUU7iJJniYw3eIezOQxhUEwOkD97p8LoYwe1layK/881xsCT7/j2XemxInXXIMnddsxEs4BtpgViD9S93wJidaLhHXGRKamHXm72xTf+bkJm/v29kTeGo7nUoD56zK/144jPR8gJpVqt/A3+2vRM2/oPTaUduwHnzI3DaJ90S2wtnGWTQvnGMu2iTqPAYwOBmCL5LPrsIjsdNMuGZwgp6nZbNPTjZm8Gn7YRwsmNqOF5AcH3/LybixmaME4+/wrb81ep23P/5LApvJYySna9LLaK6dViA6OQlBr4SU4Da7cZFpUd7MUHwFoPI+kqbVzUBWZlhCxc5phHCQSJE+6s+2uqTGDrDWMUcDUgS5VWFLOhnEmrywIN6ub6NoE54BRnhk5Bpp7PnNDAt1WezLHPT3+Jer5vHiYmTjvrK1rwC9h5o1ivT13ALEJabfmb7eYaDgBs8g03FrZZUbVtHFnDg7iLc0xpWGcxS7VYNZoD+M+ac52M3/iS12zQ9sD6+tFnnI44W8ib7Sguru6SSn7N7JBdSv4jmWazRpheCVqTFKZte1KcclenA3FLoRhvTWhZCc3ricH3kcabs8GtgXDKjUw1pVUE8mZBA1k1dhnS8FmX4SbH4Dgu5wYniQ4TRvgS3EdBkZc3ecLaqCwkWdFwzIzh3TUHwyfYgcGfyXmh6fH3EDZHAvGVb77DOOt4+q3GO73TJPwr8cIpu4+Rg+xr5faVd/qZkCgWl8zM0iEHj9xtHcB/bql4NSBsmdbjEIa8/xdiEwAFF+lZwO/uK/w6T4dWKSc4Bk1+ekGTw3KhNsNQgyVjhVL4FMh1Jjwa3hk83kmEOiHEANxP7l5XPDVXAW1dI7UWz1k4Uv9ZXDV8oc22GY7lRVbS2eo45dtKEHH1lpOQ0c7YXtmEcW6nhxlNsDks1fB8AsNg9GNzm+wpqwBZglsB6SX2E4gnsnqnDJsT40MVpDrr/drX2Xepdui3wsN7JmekHXP9fmlpWI7vR6Rd1LqRaZJaSXyBKT3Ieja7BPK+SxDYU8Y4LmOJspZrP2hzQQdz7diSCw4L2qJH1muLERwsaCmhYcAQvZZ9LDtEv5h3hAyNOgz1VU3dHyZMKkd2vURh6nG33GJOdMkKjiyNHGrvpbsm64i0lsV5/SYvHpf5TdMa7YpdQQIrz1wd8CcyZvUfM1ScEOh+Rx259hUL555QeeD2Kt/Kd+xI15p3jou0xbIFIEpQiT2z9rHQ0BwNHCrRrpb2Bf9UboMhPaj8nl6fNyGI3izq5rzXDETSx/pnl8hARVQ5bheRKykMpazEhiFWzB7M4c3loybohUXaqsV8vWdSUGcJa3BUXDxGSl8JB/R1BVrgiYCViu4VLKVPJ6i9jDlqtedqrpz2yzduVPylJtS6J4wp8soJPYB65v4Ff1eSaLe1OMevqsEM1Jb3/XADMrLyuGKLNR+H3OP9/mVvoVdi6coPbQUz3Av062jZaEEP5OY1e27ZxufFfXLeuBKTZpkHgZu+zpyHFmSNgzOCPCAQA814gem+6H2NxcqiXC6/AUE3inxv3I72kyVu2kE3dAtFac3Sgls7t0T0LXZU7PQYSV+losO1V0t5DLbOx2WET0NaKvASpyZISN8C+Qe1iQayA7twxfcG1Jm42s3hC1fUlJ2w2bpDIHpoVzbkBGVKzK3QM8AKBffYJAdv24V5CvoqwVpRq3tmdTz0aMWeUaoM0oTTZ8T+PiQI1UQNMguRrtwLrPFVIbK9EVqSvCfAjRufkKE0UvOfl+1eNi3L0eQ8axHtx9IDY3h72VFvsI2nlixqOAtjLD/gISc0nO7ojGBs8AZIwcRg/FwRYc5Se3gcm8vgAd1DB76IO/QJD9XUPHPNWk+Poz8bsrp96MzrzUbHe4TPoZbvlNw0r2Ap1uD9AOXTEYaQDAg/OWBySDV2Io0ea2wfRBwNU18uKOPDHyGpfhtOVTw4bnR0WOJgNKMUbAGCquAt1dNUUgyOUl2Mu/mPu+ogR6Zdq9WJDEL65FpO5urNY8VX1mQ6HQQWADVefHg6V4iZ9Zykf1A2HnWUUluBIp1c6Z4cA5reGOeEKwPHxbHRMZUYT5EjSi9A24VwBohd43alMBW0nPVnN8+qIxVU5z0Khpx6CWH3SrBCVFSmFuH+BzXjjWYegJwLwmEzlHF8xQOeQbbw7g7QhO4WK5b6MMbmAMzLute7SWC9UH7vtHhyZyNzm8KQyWMVaKcDbdVBIR4YxqlHVCKcFzumBpqLHadMRUXJytSHQgO/4D5BFbFIl/7kEK1ZQYgR4pzro1vifq9/wjETNESMMpOLF+lEmLbd9GBj70nYRqxNALqvCQmYIcfLsIywWsEA6uzDrLtdC4l2O8ua/gMz8vifeD65FLHqhSEBBDicSfB8ZBWIyeu4f+a00AmkKz5LOOhsJDBntRAnbuai9/T9r4cEPNWA3f0tBPODRqyNLQZ79YR4ApP2Hje5bWeHX6J944t5O2bRo4u3pjshbL01cXZ6vdtveJ4KAVNVMGavylUsiO3TJdT9O7JjyuA7vzJM8nUUdB+tLEzYuJ40SDZdkIQV0FDsHCe204QUX4jML8EPp5manJ2XsA+Qa8/k0VMyqGY1bOWOGkWrMjeakw7bt1oSYLFg1BjBuvoIf0mPF9+3Ar7PFeV5CBQEm8OruIePWdR78MPzcfNHfqVBNHKWnqGzVfqhoEK1HiL6qYscnG/ecj1R1479a07aSB+4gTkP8n5SVXLBRjxz0pqlzUONi6kOS5p0T6rbsL6Ize1a94cCcUhca/52Ik/OG/J0VzzzyqdtX24TsH8WqgpnupSc/6+j1IX1D+EdtYYZUA8b9GlXwBwi79IFTmMTBLumOdfLt4WsALtiDpZ9NMrM7gWvbUoCAIKlybdhwPkXI8fvm1CUlxddGoKy2qwT14aoYixPV9kWQTu7fV40tRFWdjVlhExxgXyDT0uH2obXwN2msZEO/DRn5mMGfbfNJpMNnaKMZzdiMtoBrfpeebIvAcHv+hfWoXNOMPoTReK8FEM2CaEAYlRER9f6smTDxAYehl7/Wlm+g+3pghUjxwyeHVIP7+pZtotbRAmskzqZJLpy/0qLn5jRAHxq8+yStjIVbJnqQQXlW4a6albO91r34ndEc7puXdbVGGEK/bVVtLy3tOx5F80/P97o54EpuklhQulmhhpcRIDT0ieoj0FwC4bHS3W2y30+01Qo1zcsvTTEbtknIr7aBNXYa2G87vBoQ+pzxO8UD1cJL6mI5/hbhs7SI4mRUoWmwSB/L//VvQxsl7B6HGNM3DulghF6xOFePI4zKRsVHdeof9Wz09BbFUCgYmvdVAB17YWtjMhdSg5FFFfuiMJai4MgCPtvzxgyjrxDAxrNvAmcRALQstwvwOpvwjRuCRiITowbT8Ps6VzOf3Eob/zlGJS7AMeGE/dDr4gu+//6SsXtteZxlpKy0jtfOHzX7Q3jJMFIVNGdn1echHBanQ/k6aOp6HOBS+tQMPw6PT/hbRb+qma7HlVw3puk0NYeGtHyOH/i7lqlu2R0zblZCqiX+NgS2oI5atolooHGnQGhuN0FE/z6iHo9VkkF0Es66l/NEldWTxqnT60C/QE6KKA1AXax6uLdMzM8bwYpbE8+D+4G5ZgqFi6uds0Pd9UyhHXdWWXGd+dGQ7e5b0PpOmHTLllXg4Y6o43Lb0xIyENqQRAeovO5vBeCQCN0b2czjW3NZRhTf8CWeA0xmpIPecNuAYxFQKyp3W6T77pbKPsVpfJIaYla0o5pMctZegUn0fC52KLD8Qwfodv6DReA32+2fJObsrfEDzgscmlF2nJMxnwvti5mrmi/I0WBoMABqg3tV6nQnXeTcEgXvPkOYz3ErU/kcpoKdxCjXKdWk38hHoaDP+Twz1Ktjj9/vsyN7Sq7MViAKCQhOgij6vbKqZATHBQ6JLVxdn5G89onR63+t8bpQzJaIxxh47Mro4fxHFWJU9IZyXPvNMsnCl1gCZSulqDyMx3TeTGfbL1aZcw9FlNEdWbPznSwf99rtEZnelSYCqOnRUz1ZSfi0P0R0c0oh9+k422Hfsv+v62VNpF4hi+vQcdIQK7tJ3t5dXJGyTA0D08ljq7gagEbsj+O1dQ3lAqINqqd6PcrrGDIiawoLv4OZHdLgMljqyd2Bj0jswEbINPX+yRfoh2DaeUfTmvBdi95XUwLDqfWGzzt6VxL7ANsOPYWX2gxYCsTrN9y1GnpJ8MrJItTjh1TDrcf91L7EixVFLoJBRzNNrzBC+KNhh0ukdTZ/v7JXvxCzlRx3Xf4J+Gi4by+x5R6NcosjxSy3Ub+obc9A8rnVCE4H6J5vYrS2KwtGRvP6PsPcphcnbkMrBsIB8HwJlbP6elbhWyLlaczE3UbLBuiBJlwGBYf/aaasj071XxwN6K3J8u4sAH3j9m0s9pwrxA9GkOhsaim52xjr7yQ3yRlXP+gB+jlP4NG5PbbK24EsdgytE7evBaC+2ItE7rpQS/rG51qzJnVs0YWjxEBCvd+MB1JuQjzADHvyBGt1S1G49JdUxCNfzaFDuKNBmvhm27QTSeKnop6T1zLUuaVF7t1aEZ8K5fX3/DOuTm95GRauG3hEMQR4f7LIL4EZ5CAJ62DOcuEtNtQcKUNDY9RS8vLgEWfvmIfE0JePZNhumZSPabyXQThAUDK4fvz/qhcWr6zACj3sQD3nV1Ds26TuYy7oV03MkjemwzB//fE6uqr0HS3c/WbB9dXEAlM0unw5xrO4uZ0YUCigzsSCX+YaKOr0OwdAkDMQIZALZu2hrHhg3WOdACEX95CfzzsiM3iDjLzS7xV2mJxGIOaSDs0xKptZUXCNza9AerQnGFDfhlStmpbVpLf9IFWzVBpm9snPiSR8kGQmFStydQvRXfSjD+zzbA==">
            <a:extLst>
              <a:ext uri="{FF2B5EF4-FFF2-40B4-BE49-F238E27FC236}">
                <a16:creationId xmlns:a16="http://schemas.microsoft.com/office/drawing/2014/main" id="{370C1C0E-5336-43F5-B7A6-5DF909BCDB41}"/>
              </a:ext>
            </a:extLst>
          </p:cNvPr>
          <p:cNvSpPr>
            <a:spLocks noChangeAspect="1"/>
          </p:cNvSpPr>
          <p:nvPr>
            <p:custDataLst>
              <p:tags r:id="rId8"/>
            </p:custDataLst>
          </p:nvPr>
        </p:nvSpPr>
        <p:spPr bwMode="gray">
          <a:xfrm>
            <a:off x="5156910" y="2098760"/>
            <a:ext cx="1869122" cy="4166310"/>
          </a:xfrm>
          <a:prstGeom prst="rect">
            <a:avLst/>
          </a:prstGeom>
          <a:blipFill>
            <a:blip r:embed="rId18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3" name="btfpMGChart551751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sIis/Dw562/ylZarflkzpXsotLVJSCrZYtF7RsGG1e5iqe9MG7z60qZK3vpZqzyZtFVBi094pZscNmYtOyJ+gEByA1xH7Bj2c36EiWyuokqXstVhKAMzqEl3qnbW21iw6HU3tn9ZxBpH4S8SEaZhu0QvZFzEZXIgJrA6kzdz3gNSncoJE/L52VYKaKFV4mp/9oA6bISWP+1mS85QsPrOJND+rsTsHH3+7slVdxGvf3GMwTXlTPSPRcG7+87yoOrmULjv+CVsAXyV6wo6m+2vx48IUjehHx7OA5QoHuQL5/vVqM3q6Dpb4zza/psEt6IT0IwhVcutwNxjZz1SF3GyNQgLZKsAnG454XwKZxbRZwB5Zv89mzaiQJ1/gizFp9Tcw9u1FgWuIEhCu+w2BzQ2jJYYsYr8+ffI0V/VbwnfPxQkYmjW+dvj5DNcZOtJ+RllUgP/oVekJAb6MiEYy+g+k1G/kHsmSdGfqMQk6kXrWA5kehBryVSSL6UdZRoGq7p2Ji8QbXAEL+rkcxfT4Xh/5j1f0O4zEoVK4wJTwxBSKHETxOizDwEp6I7LUxZky/yBlFrXBvQ5RpMIK31uUVyi8xqNUbMuXA05XN7oEgs509B6J7Pst/wKDPuGKu+zhkFsmlDf350T6mTM3uPMyciFwO4vavQHCON3WybYIHZ+v1YQu6mCwdtNWhhSFkHOyKbO2vQcEvRWWPZbkUhHWzJ2U/KYl9Njlbnyb6C6vP6SRJWxEQypWHKNZboeu2/8M+coFMelxbPYXm1m8C+qO0hHPYAB289Pcpjm0ej9McS0HprQrOSNFhUgL41ch5RsuKWiocLzeC+WXHt0ZLGFecDeCMYWsimn3AH6GdLhxNQRLX9ERd517+K+nvtDCaxGxfOARIZ0jgBQqh4tYGbBE4xOPUk5CQJ9nakwPUMX3/Vu/+i2MskF3FGbucWzk3VnB/XMjnX3NHCMziGgCQA9Z48aGItDc4EChFMcXGGph+isIqzSGCgNtCQ3D+M/54qL4B5PbvkvsN3WcJ74RRsB8PIzcQbG9OoBZ45XKjJ4keJz8M5pUGxMJnaTy5S17ydpWckjmis9Zy510SlJHDK/ABhx4MHKAzWj5EKMvAE++ZZeXpxEdx+INMnx9fhRuVZiCpKFi0Ab211WBR5nv/eWWxrYBuJbMHTVRMABqFk/Ipr55Kuhsyb5ni0o5Tt7hZgC0ySvqypKh/aqe0KX/Yvv0JfMYD7O62mwSwwK7EPfKDt2jb+ZSaM5UwV1dBWM6cNZQilF3eLRjbcBpto9oUoZ5AjNWM0tKYyr7N1zIi3OiYVnYGERtsU3jLj13q0kLmiSk2W/3EBDQ/hfg9OVNeB1LkXbA1l6VG+JqYthgQFFndyc3/ujXwvnb8LbSv2UjYRHvpul1FbWILVcCcJAjR156knRxzwuN4nlFTheGCGgexuCMcc5yIKFmDh8fTlvLvQwr5EqZYDUho/ktDkuvV4v/13QQqaR5eFzhC8W07dLeKpbz7kdMNV+6DJ4MvdjY/TYXFfnzD9u8Yx22IYvpZC6aRWoBQW2VQLXA6oQ4n9mGKfQZX3Uo5MLAF1FBXQRqUxyIq08qNINqGMDKxPXr2DNBLD5iVPymDf1TY0a91721ixAZr6uPl4Pa54eWFe7TVh2UF9yLagUUHqVoG3UDn6giAOkI6P0Rqzt1BTbJzJ4we5Yv0bxptMV78nCbNceJzhh2wYesZ/RhhGcRwBt3xjX4f7lU23vRFLDDtV97wOLdznYEs28OoKMi5zcSRkzHU1w3p/IRQANoq2kYGSmrAuTvUahB9Xir4TMBf+tHctbGeI1p66uMZPIyOK+1xn7E5k7zJxlkdEHivIzQ3BvlFmCfP0y3WsXx4bd40l608YjQ2SdAz+rVME23K/4j3QPSH0C6spq/lUWfZBTdrRvxG5JytT/04ShOrUJYFgCFQOWqWqaYzKWt9f9JBg0ah5wpP3T0B4vaaFvA16MHj0dG1XDPlzUX+QdOmPBxIQfmBt6ACP0Nz/qFIusqaMGQFD8IrTG9oWGZBT9eiGRrZXDt5HPh9eruQ3heT1Qykcq9ymfsRKqVRBPIC3PvTJgTAwFFJ/kKD/Sl8ZP8L6tylgfT/fNglG7lk65NLcy4LKnbpMQNwfXeeAZHJ8xXD2iwiwmUF2QWnyry2h+IjwJlMMgClml7bRzezVmqDEX2Bt1K5dbnx06xA0xiWA+1PGGPwSFyRaetjjh6N0aQ2uGzflXLufTLnExjl8KvGZ1ru5kw0SgRhmTBMcAJ6HzIWAkRWzZYpfNuFAq1MKrnBO/a1rFbrHDK2aebEbdowNQUpgP1648vkMBXKAIHA0kB6YyWV75oxwbge0mPAdii58+1lNo82YRnTQLzgn0I4xvj2KvuEhPwiI2AqYVL7Ms1yTmp0JzKs72ew7SV+OOPISAQiFYKjpTXXHpbN6XBPlR3gTmTr99bUMA06j/kD6FFMrIye7eF3cm64GLNKV1wOgdJlwmc0LlWiPxnC9mOdOoOAzn5ahUM+48f0+bMjmLEY+mqZvcnL1nGAN4fqJLeeMtQc4+KdaBHg3sTLY7zti3GHdTU7L0JHsam2mnIuE65UnYU7i80/mkJ3+uNEobn/woiTEZv8MDzQAQB9sRX6ufNIq6tyUOUuWLx3NQZyr1tc9bsJvgn+TmMwtfKkWuLuclaGwvQNbcZxWzGXJDObsQrHT2o8PLjPZ08lMtua/lIbUfs1alMUQnOhhEtiT+B/7FQWnXXVOKzEpN/Lf0pzQM884EOqtJNbJdjAB1fpGKEDBeMhy7GZbWVwyusZVNvFXojaToiMUM8ZYmby4xlXDCEnt6QLO1QRAz3DS1rh6JYhDJB+XsPmfIsJkQguD/bwYVgktqD8BVeuvBiYPnvNJrOP9Qm1jmkKvxtpKoMCzDQ9kiBbD2SDrgRPOa9EB+qOw0szQv5LebgKqkCwZ+1iMBM7sbKUo3A1LFfGEHfSivfeXdacJTY0cAi03GxoYVEzbPoNLSHUWxi7iLrPuexJU1boPHceWIwDEKS8vY7liBvizi2BTO54kGcyx/D9Q2CeZPJHshd98Mr5BmoX423vFxKuDXf29j8V13a8Ul9V4deI7+ZkZmwG+M/YUP4xn4S8R0GrB5ur2X4Lek4W1ibHBYcaf7C5bCRBUCvUUjnxtRkcsFj4AFc2Dr4bgytZBLlWF6I2K37iIp8abKA0zNwz2t5erV5KKpwBjYfslgHtR8EEaBAmoITEzx0nLqsrGBS667ixZ+FRwA+O8WnPi8Ezhm+QAGWR/msrbY19PlpPW8m1OuJVN1YbwRdhkmlkQV36OBLrNys3NIixMOFj0ZDWT0B5HQP4cv29Pt6lnPYClLSuSgxh/5ba0b9fY85WpwYgmD+Rl0vu/FkJQGAnb8G+leZQvY91iBt4+Et4ZXDd85WEQjOkGPdrJHydq1jkqRvRLDhalRTkJJ1MG13fjPbRJkA9hnL76vu+C5X7uDQVeoVdOYEDmkzO/p5O1WCDydtJxiuvM/98eUHPH+A3XYJkxFMqLWlWBpvuOFIdd8yVH2+c+GrVKNqpNH2orXpUzJkQ0/gmQUSAnyURaNHGm8leMw3KJTTbwKkY/H7Ni8FX6tiDaPSGOxRw1kaW0VBG5PcY4Ja5cvF3nY3yRQf2EIDKHuopN6CD1bJ2LOHbxkGUL4byQCvGQsqhhT0J3kAInT8ySlS4/L3LDqPjOMnaOtVnGQzhZUEp3jSWluYqxSxkKbjWlHOHhRvCiUdwBnVJQ+R1NbNDPZxkG0cikS73Dj8IQ5jC19plAqXlL6CyMVgnPLpQ2AYYO7VdA6H671w7tf6chEi2/63NpawphaMeejGJRSef1dMjX+wxruHs06VHsrV6iQ+Syxh26u2yRGLuJh6qbjuKjSit8bQzT5E6SHPyjZDpSSB0SzClLWKRyzMuYwtIg03FU7Ec3yUyEiY54R35/jtYmXWlloYJNQ/jJ8SUey9qIoRiGnzNzpe4PAkETnm75CQltlEI0ud2lrfO+pB19TaMsuM+n9Y7FxjkYvGrzXKaC1eg86hSmjSqJIqLmWKVr87sk5NermAiTDTP7Kf+X6D8pZSocPrBkoStXmH21ODJaBXo+/EZb5ilImJI+5CWHzq9szOiDEQkrepWLvOSAyEPIvKgTysQf2OJPArY9dFrQRb+gP32UmItcAuMcXzaUaqiptgH27H+PdLcYr0ye8U8aFad6hzsdKehpic4g1rEzXOwsD36gKfsxqjm960RwbKEG9kUMwLUlAj9yEv0NPHTZ906S8/VrSBhiQMPunwSC/80A5krmeWs9LwNhjTp81EMQXRZonZPax1S/2wLTfNdUs3UP8EruxNIbeKwQsJbYrtL2RAuJrzTXzP6gpb1W8LxxkLe5aIrDcx0LyPjlncsed0r00ghAb0ediBTmkMXp1tcb/6SbFf8rV9Q2iaeSLTFgIp2cdwEvkq2MSip6OH5NpHgWrS/8YYuYtSu/1UO9CbuxdVYGRPKTPv0rXew1iOPnqltjYDvRhV0F62fzTr7mDW55CsjPvHzBXw0LovwQDhc1+dzUWnZj6c3YveUO4d1m1QpkvOaFSkUu/pUzE1oWJvtrxVk3LqSyPvtkXgfePNIsITs0Ay6xHoL+xacDb7f5Zng7yiTagcHxx/Es59sydrnvVn6nRgFI2FHwdAwcZkABFgOBeh2AhkwQDnU4Du2IUzTY5rolepglG0xkOl90mDI9cjZGLUt1su6BqTbvWA8n39ylFrRS70W9Ft19w7+u3Ae4fbtQVjB1XdLzHcDiJLHx4mcGouEUcSVMz6efBjnSNezqVfzwBhJkqgOjVrbTbcZDwPbxdkPBnd7SHpQ3/9XUG2MLtiAYGcxXESCxsAgwvPEW3Bzfi27eCwIGEjogCkRwp6jyTcfq/Ka9Iwn8TkOmXpyQswcXrbeZrcL1qUygTp9wO5PwmLYhWKBKRtYQPRcwtm2bUOlsaC8MfDD8p148l93QPt8gU0UFk/irVADMC/Pc8D+iDWvp+NVUthIHBM1QqHGYIb55SeyCabBviqeEwQzLA9364JQMSalYFEhhJ92WHF4iSiD8Go5cwfINzsCl2cdmxWqror7eKLqhE066tLOrn4cy2OOeyiZ9HiAJUW4w+V7PCmzy8UbnhnwTwXJs4selq4YOiZpLLb37eoGYUD13Wg7S0D/Fyv//yj79ndoMCj3hMCHHe+fTiYpig4jnVp9jmQWBoImgc5uylTZFkqba1Km3DL1I+QgURVbtMTp/H8yyuCkdCmOfBC/BrkU7h3tBbBwJ8zGwI8evOHK0qtsYOfDuxJVsUGbDoIDs/5wwb1O5s+RgLBeJhBWVvB08UhZwDUUWxqqh2QMFO5DMVmg9FsXh9KpW0Ntog1143FL8bMr+nBFq619oTcsOAwYUUeBOkdhyqgMdvfG4kr3bg3EZGpcwAogjox8F+nnOuh42jtNEVfhXUypj+JlmHa/mSEQQQ+okcV5Bi4cdcM8hgqyZVWK0Nr8hMJCp1EtHvVwRTYK9Q3LmdYu4sIHiJMUiy7YSJ3WjnKxDoe8wk6j+rRE55nz/UyqAnK7r+b7F7LS3m9zqr4mSLxAVuGBwaE8gWK/MbjIfiuA5Hb9/Yf4Y/fq7wCEqvGAJume/zwvHn4AtuDi+KqHgPRq4qFHiHEnNf7SbA1Dux7iGu7UAUxXM1FJe3mA+fX11NiFMjit783L8TsAag8QwvdggoIQExuoqqaHNRlYv2A4BF2psvY1xvGNGtEZfVInAaA1eOiJUxHjzLFHBf989wt+BVAXdwuyJXyG8htrRSNxMw+GAOsgOm+lfKxVxuqcGruIwAjKc2K1lWbazjvvxz7qZ0u/12XEynzdjBlvP/b6Nc765T4lmVhsYQlg0K62BpTBlcD9XA6nTTyw2fw66gNjbuHEWDCcx9T22TWx5Ye/hRbrgRKrBnjReMTH5NcJxYj9Bny1HsITJl7m/XvRLm8B1+CDfFGCg8Yk7BzgwYFweXf/wJZxPNCKqQ86lqDjAofXjsOVnwoAPiucB/mK/FDCyTeJdHQgm5Ti9HaRxkRgtM3cBXVrirBXcyRisj7UDGy10+Ui/LZCOBiCQvVco8McOGV86lyHnH4Jkx71FG3EDedcmZD8ZHkzq1c7ruvdzA2ZbkJVK/y9oPXk+c3+0S86SSNn4tM5lvGjWRmkm3+yU07ygQqOdRvyS2Udo1r05aLPjOoNbRSbCOwEpYp/Jyjf0vmrzb3gcCCLJz8PZ423DDWknKbV1r9RNLa5LVw8ju3DjbdYp7HqutrPIqR9JkfXf6gtKVakOkZZQ2sNg9AF+X//XKXWtejjl0UOkKIw2w4lTMRCR15bjiot8V3gKH+k/JFGR5Yp2Ri7BxAiRmZJV8lEL+BxUaLdibBYTYXzSY0cA7K4cfnjLN7j8bDRd1+O0g2g0bdjEsddw2MFMC/jQaIczPUCok9KRqOudwUfxZa49iB3+rqemNjibTNjF7wRq4qmfBUNoojSk8IKwdT95wB8ql2QRxLhbmMEUtjHDuf9sSSoxBhtJyVVxxwFSz5bpce7w+XUITAxS9BDSqVECGkKw0+iBjzSffDN5pUnU/2UV8ssZGVnEvp2uho0J183usbtZs/QQ0AOatquoUJ9YeX3Sr8owzbULL0qG1FwIv6JRxfcZB2wXvxJg2OFB0g05yMf5tup0nSxs2dykKks1e7VF0epdJtu14DrEp10iJzkNecbxCpyCqN6qoCCvMMdGJSi3w55OUdsXHa0YuMJWGLnHgpcboRf7Gd6CcXsmUul8zIQLo4bnnS5foVze9SbwjBW/Sp1uYFerJMn+tvs0AVJszXCeC+gjepp/tcXJebnM1hpLqYDg3NxyNyqDLTCw1gu2aj1vlygTAWupzW2xNX5s4TZRsVB5IQQF2kdRToJrJ0aci+yrcZ0FjvXhV5BFhwQcSskW+konXycjo3ylwnAsQLtQAf4da0GW02BXim8UIt47KcrALYueWa96cierKLUbDHDIvkjgVGpBKyKcp/VQSCxcBOgv+U0232irnWdKhPNm2ii3JXx8C8HrzviSQ0U1/g6dpQAbsehoa2kKBYx8gBrVlpF+hD4WkXjotoVRDsw8ID2XIOVTSChO3/Vvh+kg7lNlHiml8wbcxPzYON49V/JSAVP/Rz2O3NFQOOl4H5SnDvnwB/fhX0wgjcgWBORxjO8I2HVvhANghinvAlh4bmlvGwnWZw6ksXQBQbflTC9AzV/eUES3E6si87qtUv5ogIJNTUTrQSwkJoCa3b7UPoDNwq0Vxh4izyS+tVxpw0wKaLBs+YVcgP489FfvRn02yW4sZWGL2CTjKZr2YL/iNyVFImVpbL+5yU3R+kwfnHSu6zBlWtX+RaEhaNl10uDZBJgHu/Wi50TXQTe816TQVBFdm7twUHxe1HDw4oyri6oeslr7TYQlByj8s1V8KPI4EM20Y82Jjo3n2liwpAIXVI9ttyYyci5pXIyLqtLwK0YHERMn54Q8THcI+H++2DmN+qM62VvKGwaiS413R6gx/qLCVZN0BNUYryNYCk+5Z8zGgMFrEd3tD63ZAisQ6pwhjb/h+U5MCcz1YZBGr7oMC+JwzKc5HVHRZayvQE467Mqy1rREYm8Dt51alb64Lma9nGoyVTqO5s65qHYpAMZc3W+OgPZKvzojkZZyov2EF6WFA5SvoyEN9wtUZAKoRLedKustYCAhKo4SwR317b+ql3w2Cvprfe/d74+A51160vjSECEznILmeZeL0c0DqZHQLOp2yPMYZ6BnOGJtDmvsycmEDszwvoyx96mCOA+gjP5AxWkT7S/ecZWSeNwUHR9ug9hPWTQYSvDrjqKe01DJZDzvjsvBDBVVGHim0vd7gS1DjJvU/cH0fJOPnU7VTErTbQVM4SOHRcy7mMc0dpEB7ngBW7om61mHokP4hp+FyWIge0/5iATEbNrPtE9JFj36Vxv0esZZN49ndNDuqngHhiQeufOvh3cLX8b0gAID8gHgYYEPCyZbFBsRHtB9VA+ymT42xtzOr0N/dTAbvlz7ACJwd6V7+lel99c4tuWsE5g5a4LtEMjpWEY9yEApzbWKJ4GcFXIwFYY2/Z572STedfERWIXB6k7qtUuTQXmCS8P80P3M4afJDPjM8pgJycCvvme4bJ6QYKywHmTu7DJnMEnboRlLBchNqHey/qiXLroMjkUs1h+KHQs7hDQAC4VzdHOKYQmpdJh3nH+ojDJs0ZYBzs6pmq49xw974fTHEWFpIs86Hf1QJQAf0M3OCV3NmHvZW7Ibah8ARZJ4eqeAtKO7Qt2ieSu6aFK9+xHvBhKnsBuf408cNNF3TbUq6c2nFCkINJb8gSyiJ0ih8aykyjOyGVo4Ie3EImdB1OsZgo60dxwd6GN6X/xH8SROZTYZHAtaDU0wXKx3iiAedFRM4pfR0SLagvW2kFGissdceuVNFNQOijnv5a6DpYhJCskq+bBBrdjSghvDiupZ4IlgMI/b0o3JXG6XT2utj+j4N9Rro5Szq3QjKicAi6uRwOS2j14um7z0ZtIMx4IsdtkUB2XgjauLozYypqbkKrfPsyG2YDf7O2zhFJrb36HGz0YT/AcvtPxosixwnGBKRzJ4vi6DV9nBnpVOeM5ZfpFu1Smh9Dvn7eyfjIjORY7G4yislBFcKiG+oytgsUSeO9PkK0dQsEJjDn993nQYH0Vj0ykFNKNjcuoPgv8XsKEhVqrq7aMljYg6GbyrRa5XlUm3X9V7pU7yuJfLzuO9WMIxfTmaM7pDv081fFUhd6s1aGbVm9KQlzcrZAizMuoWOZtlzVhn0TLrcLPw6p+NgNB79oQ1UGLYTc5C14+rrOf5EYUaRSxxV9TkakT1wLi6eoUlU9IlbS1OSfdoA+m7y5/l5WEbGI7JYLORsw5W84jTlE9PeoupN3+hih2XX4xKIMhMw3jmczvwnt/4PmDpPfNiYx/MQS24cgVJH1eDxYcsPYukFDjQD1Ovfjf6mlsn98ArfD6BAfiLhKqpootnzkZbMU/bYXb1lgv7szFcWy/0CbOfo637uOfuc5x7BkhXxdIVpe0phVtzn2peac0c+HgLXVxqMZKM81e0RgrXHWeVT5xK19vWnHwvzlQV9HTevoY0wNJT/NZogdkkQ2BC3PhD2ZVoMypIsePI7fPlCiisV5i14GR86TX3qY1NwIO04LXMsEeBB4VEBACPt3RShu9Q7QiUOaT/a+e5XTkjmQs8cjjIkNebGZTxPDTajyW0cWNdYjDioTtIAIO8vYHAO4X5Zvv6b2Is4kuVQWiZINHN42VGo+wN97SvI5XEGfM5Rhtsa3nnbD9dvZ9A7Dd22zsnP8/Es1rvPuURz8/mQXi75ibRJuzAVNrRnwRrIDrJPfRbvRAu14wL21pLWNn/z3fBQI0W8bEHpOrsQF23MPs6TAyMCfDwvik27aMxAx6AC695lbUaAA5ye98VS7PNnRz3GHUR6FmYNTZbvJ8T2dMshuGU7g9oY4PNhhGiP0Hs8m/9AMw4gtAX4ZDal/XQ/1M+vJKEKwMN9rJF9CWCpDIsaMcj7YkYoGmXuR8DUjFGWSGUHRpzahsou19C8GOgl8+deHtod9F/Ga39MJWBR3tKMF3RXevm+KGmILoAfbUg76y8FJjNkqvCHW8/O1VDR3QSGEO9T7nNFdFXrOaJsPFGEVlhavTeE/u7pUuPRKtm85U6EU0aRtiEkgw64c8/R+NRKIs4iJi0jQugR41mzrG/ovk5NUl3RHUJjYRLDSGa3BIfmju4reReIdy/T/ieK/1a0/qJxccUqmM6x1+4Jz3rzaEjZyGu7eMq+tQKFVAPVEZFOO8mDuSilkJZgAVLN6jQXtXNQKhrSiFn1aD8QtC8Djn9uQoPQxU0VRvPHRY4oLbIxDT6f971KocZmva6p90QOVcUQ1NlCuSfa00XYAeGB/GD3dU+qec74lR7j5hK0030/+v5d5aH0qCiMf0hcR9SCxmC8wsPGAbJU5pc0H6wTiwyUKTZ3PWeJXvHI5wEBKexKhi8OsVRmHDEzrLrKqNzw+zYgRUkW3hHWZ+ni60Mr/zZUN2OZQk6VwFEQmYmUjkA6IaMrW2xN+8ac4Rlo3gYdY15UnZ7ySgk3UyUJnRAlcUvFYNglnMxfyYbqlJ0TKPtO6QBp5mOvEVfYuqqa6GxL4ikVHJEg6a1hHPi5racpywevtGterR02e6MD4MQ2AKXIcAOJEzdPPwFkzo5X75eStSYzNkiM/UspKt0OGcvp98DENG1SsoBJp1T58zZbS6nNIp3RGLkqUCbbTVqXOxju2/rkgzzgNQ5DZ1XIi5dNl+zLIUevyxToJx0uPEZbHWN5TtSBOHTR7/7TkNzQ7LSUbLBGdTBC0o5ZvND1Yuao6YZ5ONPzKxw1W7h8WTG9lw9hjULdu1vUc7FNCgclrr0W4vRjPC7VMbtLIEy+0lkr/MsCOF/Gh5Cr8xv4FliCl2P8eQVIa9MPOCBR6GmDSp1s4WdXiSPDi1QBWmw18L0brk5HMJB9VAOsm+YevdGwCwossIcOG3NPtDEEjXiJSK0tdhFK0qLJMVcT7LrZSUez/ILWP/aF1z99aDrixWHBP7HFuyCyFMK84jFAT2dr1FsVIah7ewBj1y+4wLNixeqDRGR2JGL7iJTaFatGI9E6E2K6TbrkOxZEkzjMQM009I9Tblai7ZtZ6K5kx2YEszx1jvRPhsbT4qYTKrpcsQkAaTKsbVun66oHndH4E7J8QRdPk4k46ahUAW0l+aCv1lUqgaqz6O+PbEFumP4kDstghCITZcsBJWMv2jfIjKgm/IzVEjSSCctpzaOQ3h3peBkRQLhTUF2u4KHRy9Tr20mlxB2u645tT+V8MMU54gPl2Umgf/UcOWMIvQXChvGX0Rh+UuO2vIzEcR7C4mWd1R/PcZ1ldYl8mdQFwc3AdnX8jhfO+wHz2MPLwdzuGEQFOm3kPHg/NQ2u/07WrbHBDbUas+31NcdrWkMxSM4ZFIgISYo9fGCyoAxPeuXwqp6gKQ0PESdPnKtX5AM72MLVu7mkd7y3sLkHD4B2ZSCDGU6U3wXWh4DX8UdPjWoC2g3ewYfBffBDoKUxV819+ptUQPoFWjPcMLoUFD1sS/XWS+pByKjUEkSQ4e9DrmwmkLMWnJW2io0LHXf4V8sA/3O0+fiC/yRPvsPta5NI+4v6a0DAEEm78Wm3HyYOobvv2gS2rMOBKLtE91X8bmhxsn9bzcooaiHZyieEumsnekOIuRROf+kDqOoAXprtsKr5xwgj73GxFzWWo77/4AinkNYCSh+sKAFbI+hCb3eRJX9Ry4xlQbhcxffndqapYJNxszSS5zWXpxY5IYY7iBqzs/ooBNmCQMmEgG9004g1y93xLJ6FDjC5CFWYMnui5dSbhdgiAy6iK3O/EyFApCZOTP2BWFlVtNiLdBtkbMRWfML1/HUCYz9pZ8CzXCeaEv4I2+ATCDr35yQ98O67510gPKp1VspNeOBqkncwToHCGNCqMzotg0gWpz/eJL80frr7GYG6ye9SwBY2qPzTKE73VirTMuzUhioITC78r0mJxbPg1NQYK/avgmpilx+auX05nA7SVNbKx6eiuEF9A9xNIu8lbUXYQ5dmglPJF+1wze7fm9yOyyJXGOxl2+pKV9crZPVv4rGjoAaFjjttbgocTgSc6GibJHc7mc4abkOILhCAbvDmf1R0Y3alsldAar92SPp/CV+6KwqjMfSE4QwUTXlBE1knDLJ8tIuTHFD4tP3MtNCLl7vbMYLaa4UeP2IuHFZ3AVVxT7ZXsKP5I60SP6gLmFqw1FZhoAwBqlDzxP3LyBE/IddXlDCInVxoAtMPN6fzC4Tb9yTqgNQKpRi/gtZ1n3CK9rFYZ26eF72FXEjYKP7JoaICm2DWR4IkcpBU+uqcdKygl/CJ57ZB6+4HZdgltfY6i/QCVmcp7cz5+ZAxRgWkq2ji8nz6aKc/FP2kwhtyjlWhq03wBJCQSWqgCmhWVFSMqUrt29MvDENsQxtg/77DqCqZlngjpYqYPmuINeead7Hh6S/SMdkFIcpsPH331Utv/2//IIaW80yCYfjQ6J+fYM+aFPlpHqWyHeyFcg5GDpzDEYeoabxB319L9ULqv3zkJeVK3heG7ynSOApIht8UtCR6Ek8YWgGq75MkAkxaXF43ojJNYNvQhd/FX9OvkoVybM2BT0A6eAO8ecgUOzthgWbQoW08siV2TX4+9BUzU27Fn7mNH2mnU+g0SZoL3HufqD2OboWe/dmg4W2z7/aI5ZoAPc917hB/cA1o5iL07lJBm2gafnLYRneFWYcLoblF1bJ6crwUvrC0Qlno2WxT/8TgjXbJeY+wcp6wUQ4MoT8kBII3gycrJrE4+W2JKHtdkqESNMB8WfMDeGYF9Q/ZA/QPv4nR83e51KOY3K2JlIbjXmrlEYkLajFOokahJudY3LRZIbduO4AQatujnmAm/31V1DoyE2pu4V/vfksH8mqanIk4+EwGSTzhjKs0w/aKY2L1mxtRsttDqVRG9BFoZcl9arMBHqVpKbBd1/rMoVxWQvVHyNrlTrA0xnqMTuCEOVal1wXu7+5c0pY175hi9cGpZjfZxdfpFpoDUr9PKWpPZRcPsYSSwJh5ebZobRGNesEd4K0KizJdOGebV5VKITG0yZvu0R+ekqQ9a3eKZIoxySPhslm08wW1TlZ6NgIkj/yDxK977XKLjIuJPyXi5HIjQ+p2gOrLe2NixIBO3vY0RJMbeKAu7/6UoiIyaoWEnvTzeZ1I63/HNunybDS9jd0LQT43L63w7gbiZi3ijozTbhHkMNU0lv7+YM18pCORhDCfURK6EEsSv4DcmLR9QP47+apKfK4tvlNvAToeSZvRBAZ4rAcIt4N0UGzNckzbETm/pFJ7HuMEH0EyYJBFGG/0izNv4UU58I6evxOHc3Xk540rQY46OxJ0FPZrYQ4rQRy5n3XjAIJjS5lKDgt32r2rQErDBo6hEf2VBfuMmyMCaAg/9LoQorQJ7YpeM6Bff0Qg3TAjf3FvRTlkrVsbS6DhC1pmBZ7MlSLJqo7cLbAtbF/OMXUkz43vWNBow2FIMLGxeOceP5Rh7EQdlml9uOnOv10ZaDqy7cTdvDds1fwLtVqIOPB9fu9A/89/ouYiBUpLJoYW8j2tXVhcMeJCrDejzoZg0vTKFVlHGuOaizv1VbAYG0A/EElvihNOrs50sP9KcugZF2fxYCvibui/7gyt2nk2DIW5UD5W9HtVt47CgV5Ultp+stVRAtkX40YsTqPpVYO4BycHtKu21q9yw5yCGSqYnXdUev/1tnj8zVaRmamdxHW29tr8YjhnO+YEur53qmHg7NL/D8O5ENMgY6Tiaa0y2VAn1/HUlI3QMYFVb3m3BfIJJKyc+Kv8ZJpupHv+C0k+ey4K5B1NDRSrYRmhPOpg67EDVmRssGrjGdoYupvIheA8CdG90k30pLvWjiRh8aKBETsn6SNWwmk75sUzPvEFy/6kejbMJabXon0uY4QPb16kiOJzs6POrrSIfghbkEv41EqJfIN61QECEcEqmDBs0OCDnWxOMtOw3GOx7UV+9freY283elu/zgAPPYKbSQttYzgUNkTMrSJxvwTqwCLXl68rJxphy3QsN+xDsPFRwvT7uT9fT8ODoSZZHbD6gBAKnQneRSf4eKhe0vwyJrMP9i0wv7QOdfuShYCda2uTDKRsIs+7VIJSAPgTDT1ljchcxe6ESRrKjMO5bawIeh3PgvdFwiMOrJmdy3se2r5jKS1O50KvpDRLsWz7Pi89gQy4qglRpjBW+U7Aj1vHIbYB5co1mccA28qB9NSnu0sOb8i5AAMbo95PRnMfiJCxb2j16hkBp4qkKqO2KH06ktrOYvums3yx4+yEbaKzLubioAwZZJnTzYV6Uck3TZD+THzeL/NWrb8dRRkn3lWVHF6h9yOrW3rDbXi+c/+dO4TcYetSlTsSLJ6MBnRXcPdUJqtbsVYfqWCMTIblMsVRGeVF5nqZn1odSbwa5Z4g6h+6rAnLfOHzj+66ZmKyLpykvJJ7hnZGu4p5wun1kl9WXvkyRcJg+1FMXG51+p2PgscrqNu5bIPk8mQeQXqfjVG1vt3SNVQISGAa28XjDhnbodk8ny7RGJWNBdRm0ANezy4eVXONhnn35+k0WM4mcvL1VhedxH2EF8MZj40F94xRM7L0yjju9MkxTzzlKpGbWFS6L0zTrNN/Gn6F2sSkT2IDWSQOCC+lp7U1+njXBFV5LvpMTYo59kxZEjmIdborFllucnuCW/PXJauCz7jeEuIy7FSqsWSnmLapy8Rnb2lt8AI2EEhJUzzbngFsLskVPaT+Wps2hfpkR4eol5fBtdMg6pBMEYAIY2kW8cyVQKnXP1yH7eg6bopNKcxjsiOdKVdMv+ggUfJCHRf7dSmi57F+uQpQX+t2W9QPKQgxHBKYUa5pkex1OFSgyHZ7YbIfl7Z/nK7cx3XnVH2hjY2J6REEFn8zorbofG+XDT7Fi3hPcYLcy2QwaSaaBB2/vVxzBuMc+awwPYabb3ZZCKJYq2B+UEpJDT26ZxIoBB/rpasrWvi+qZmjX50d9ISsq+6s4SIcZeSe/FshSxgaCDqRNLUhzbOhv0J7n5GW/VpSyzNKDmjw6zRfWvJ3dthvcpL9/JBOtx03gr7xhgkmJd7QoXKEnRyxwgg+Q+De9aKDMr0P9U0nqL19IdauvCbqc9rH0mfGWGvHd0yeY2Gzg+KK/e4VNG8zmuK7cQU3pmU27a+C2L76pHBzp6Vj7vwZykdT7sdjh+SL+kxVZffJYIM10akQtKztvRfXLliKLj1kbw39H2h0nyQsTGtAffdc/lsUY8Zy8EvRx2R/v8wmxlfbQfTVvM6CPccYwIYtNIiQG4sAR0DA8puZtps/7fKGHB+aXIq81UHTVEFAu2wPAWyl98CpildKZXxHwD3fYZJBbKybsHLzh4wy0+lfeYHXFHDoIGNEoeGWjQNdYEP6EaL88Ysjm23BiK/JgA3oqywDfR0QkYLhbz02HSfrc2jQGjH4sKQCA7/wE998oOFPlpaDGZ0Wwxt8zLl9Q6at5B0wdzwlvYVFG9V0ahKW6WjXTEmGgiLZG/II10m7wYa3mt7f2AGjabf0FgWxCE4Kf5CAesWElt6P/Nsdsjvec+bdOdAri6y/HvpF+uAvVszkRFg/KbwCJzDzaZ/QHflW6waQC6Mg0i7F4T1FB9pkZluzgKb5hKX1M7yFVdoYnafZW0lT1ufskEmzgqopxOWD6dqibjOIGXsYmUeVnuvuhJmWrvRJqNt9DqsoJMPuAc8vmZ36ztUybycnLIh/QzNxcbK7naj2Y5vYkxPHSaJF+21nnDtZXO1WPpcHZjg3kdYG7za0Gs06o7Rc1T+nNQTDJt6keKbp3gLc28Bz4YJC+k6uxA8LdQrVjU9gLulDcGtuY/9SBjyVL3V1F6eHje8a6Sz8vOQdn+fxvKZ0rLpjVTJA8PQZX7uZ9D4G5ls7zlzH4q8xtSQz+10Umt5+R18ftOxSXI6f84wsu/oAE182PMr0ir1PsEk+4zcNqwAM3PF6vtsITXJtGK+hkzXVHP9+2MvN0G7ZIXkukRoHgIB4z6c0vyURyrZi/GE6H/5eRsnabMXrTyZ+jMZcuPhiMe/gZn/ONBLjMGEwFTVgpSWxGe2HwmUwca8iR3n6T84CpWB6tEk6Mz7qJffTo6NEU2YUptDEPH75UMdeNLq3XKBZ0HIfh9xrv7KRpz0c5l1wrkYJpdei76/XvXi6uh61EZO423bHnfALbkecylP91qQR2y+SOmGm9uDgzHNrlpLsnMxsNKq5ouHoLAwUowf46YAQCAjqiLhG3d3y+8EdNxCqV+mMINuwYuhNGyTRnGHWXp6Y+QzhiEj5C/w6UWEb7dCj21Q+fktghLY2SrsLH4WEpqg8ON10CrW44I1Bnvck/msSaQ9uqt/uOmMuuW7JIUF6B+iJOx/7CwVV3DsLNhub+IICPkJriitkDKIYP3nRYXwXmUVG4ts2u9O1hdOcl5VTOW11OtgAFYfVJhgK7nz03ErDXH3/jjKZG/+quN3U1Kv6JVHNgjwTv1ImkjU4OKn0l/MOsj3283A8tW4KVZtRaAbxX1B3KIxY462Ec3N05ur2fN2XEYFqM4dy7AbT4twaC8yEZ2ZkmiW4PJeQSIsSJCrztPdQqLdSZWO4BL6uQNM3mUd9lHWNUitylEOfqg8CX/Cp0nwe1WERZFnxvoF2ag4wHM0OFtEUUSKhrnzGOa6XQz8O2V4sBhubW+2HQRDqRnoYQuJhjj/9aBNexLJsv99GsUC2BwydDdRFo9t1eLGhIhN/MPXxWp63EYoxNk/p4f7iKLitSqJV0Wx4zkCqWcsU2jzM+GkvixSCFTPNbJEJJmXRJWhsVDD4twvAXc9HBw047jB1/yip0qpXff7B42IPXnsDiHZu5ikETHi7J9mSGH+EVTxhqTQ23RiGpl7gQvvJxgaWnZ+IoDgVqpDmBmLDoUpjW102+TAoyw6xTSx+4wN/1BU7KXtN7brSdm5kdfJDnBS8hRmtI3zRpVYfmcPegxOXe4k4bYg91sPfYG6l/inKQVhHkb2+TISceOaRa2x7GHQkYVfxybwHdIM6B4UwAVxmR/oBnlzChdRnh8a3RLQnu7bnWxXbMmT6TBpnrCoCuFeCX9ni5Ik7NNAYp+s6wnCPKFvUUigdaJUk+YY3VhGGSGNsxHWGt0Q9zWm7MTHRhqPc+4vx/njNF9eR6YZnT0Uoq+XlgzSywKIuTYNWPPcUf40h15UHtMwHCboGxYaSHzxqm93lOaYJbLSmGao/N49yBwMHMlymzvuDkMKElTn/V8RmBPZyuZkBKqv6LitT3IVGUenPtkHMt5xEXbxhswDMGjRNuTmU71wPPKPUUKAHy0MuAy0RlU7qDX31kzerGVn93epscCOWbFoXM4bcx1gyCfTd6NYKOQBOnRY+3FPWVg7ArbPx5J7duhg7nQtZE2VmoeA3pNgw0/QIeSAwJlCpiMwNtP02KTZGXkzqdmE83rldrrFIlohG+ozg+cljowZRpXFwT8ZiA3NUhdNsAc6hokTRSfeWkMm5mZaNzpZZHvdAo/13eKncbMI8B5HFFXA7kVPWo/2oVPCpcT5/rqiy5zIGQV/SZEm3MsQrxrciaaVCCXtOpl6JwHOjhJnuC55rIFTCGso7cwHUXVwqKGR8oSNL9M/HFGnlne6UH9bKwrxARsJl4wODj958m6O/z6S+7cCMTS2vm2Y/qUX9c7ogNPzncvr7/Uif82MhazsSfzpVw/lBTn+Hbvp3jKD0u6usE8Y1t0MGhYkDoZJL+B3o1B8keIvBQj3dPKv5mpUgyunWlZLKX+sdL0ZF71gNGp0MPXEqBYJPqr1zcRTuLNUgpyA02kt3tHUoh1eYieqV6HAXKAodG77243LP2F9i11h6xkTf2XuAJJ4qR7DBoXmb7mups89x1J5O5759B4UNkL1IrFASAOrgbfD0sde7zAG/npaJlPeAC+4+q38s/GvNRSHRxab3QNdYoyUase489qzN0JnKMf6FNGj9Ku5v+XdZX5je5NjxTmvL+hT94gaSizjyDCJKtOwk34P/jPeVMAur21ERZPLvUkgKiLM8jb0La1+RhF9ANDmBfOzUp62JIlBJbmzeBQGVjbWiKrkLkDzAP3hBZwu6Et+wAhf/LeKRWPDF0SuxzNQ5iJbZCZqSIQPRQCcEoIWHBleS8C6MGb0EVVpQs090M+pLp88dp3/Y61xjW4sFED079lEAxDKUc7aw2P21f/Q9CoPkdsfY0OD5mRXgzCF82PF6aDcAtm98SOWZYFvOjlE0Cwp4g+ejLxREiP0QuprUqh+qeedt8/0KHlqw+C8FkzS5A/kHZ6kMeeBTO/KVhedGcsDp8KUel28zY+HUGQOCJDpPIVWlc0UhGxy6pbeTgC5raJ98SW758IiAxUf9yqnmYPu+2/Ys8jV1/mkFC0Egi3gFgu/MlRxtbEfoiqV+LSqYxBRVE0SyuJE9sz5IwRuXynyQ3/IRJrghTnfOQcL3aNaOXvrmWbIs00hf1QQieQe7RCAHx5MfN0Ctl7G0BWcOuU9m7vWkTDF+BsgYjKwQXvT5PPiJ5VA/ANngV7LEV9OU7ZJoFh30lwhfxnOLygS7IPUTlPE2wNwl22y2sZah1q46X5xcWxc2hrlxnSTVvsDeO6HWlOr9LGZ+FTSCCiuxHWQkIJcM5y6xBP7gM4BvmEtN1+ahvJC/hHIvIfgRqaqC4GNafyc/bSnqR9YJVWeZgjTpkdYsnPI29fJKeQOEDT5r3ZclYwW7JcK37N1Z+qEZ1Jgu1NhcG6GS0G4+LQgkw78/nim/DqH0AOafvwAxpZ7GxlWhyyMmVZwIF460lnI8UReJXYDr9t5tUIr1pMANjg34MoT9ge6EKGGNSL1CZng75b8qKaWxH71CEFL4+S0QNvPcZbXKLmrql+uwItsxf0YPkj+tg78dlQ7Zv/dMImmLpP0VnsOmdopE4xMOHZYfCIn9gg1LUeZ235aUcN3nLYZMYwTzkAYjfoePJxYILMyhWU7eFze4w5yfakJlQZ754Y8T9DileUgo+WSopFlkHVJxq2gJ1e1Mg8qF0evMinU0FwozxvpGgt/WbOY+D7OPBbSIrjU4AvMdwo/w4TQXAs4JfgKVgN+vqoE08aQgZdaoUldUuosH9fBuagboUW6af8iaW5+QjVvmNtyiDqX7+brHQ8VleYLoe573LNw1NOHOgHofVd02DEZtgtMTRUaqpT0XIa6jdb2LcxtfrLnpWovi4atOkiKHonf+AL/9mKsk5aEPLxg8qGuv0Utc6FPdYgxUifeaRXnNvoCIhEV/OgB3C9WTh4D9GjYwgO0yfMb9upc7Wd7EJIj2/QxHMzI0TznGWhrqJF2AtSPq4hcjxZBld+ylBTByxrEY84ogLc1S/z30RTdlhGBBRAzVYr15dBYvaIv8JV1hdf5SEloa7jCHbQv19yfR52xyvxzwyo0vLWgxGEbb2nAUKioKpEuGqTv9atF8n7Nyj+dBXk6MecwhqnCQ4IHRo3W/0ujhB8VisXVNuiOSqjuw8x9crJtJqMYL3SBopstvJ0ysvCaLrVAGqqnEgerJ9XI4PNJ/uePhv5aJAIYPOuZaLmJbgxth1NvT931/JXVYwB1AM0Lk09FPIjqgHEjwFlrPEb5+QfLwl0t97wemRwCL+cU8LTdiYiBrip3jFB/HRzfLA10ldAyc2k7PskmdUNU0QruyH5UCNfySQpQDf0dzndWOTU9Xi+oMlU/CeacSujDNx4NGk+0axwTxn4O1ZbPRFja0Y0qZihHqwisyDfs3NVDcPdTTfv5Ly7PL09uIu8pHzsOmsmMOwsByzHvS9/zhjYhEEKG8RQtZ6NB5eRjUba5+9m3VpNJQUrejfOzr3JWXVuefkXI9i5GuTgkgNf9nTCtUivMzWUn/anR4oCRK13qiRcgOMcTQs955Os+ETQRs/EtgViXLj/l8UDIKZejWesZhlB41V06NcsK+35Y4TI4dFucayuyeiRAdXbgeQdDcqQzAnUt0irPSrJ+PELXdj5gly3ppmVl/adEayHOuAVQtgPIpzoklz6cMpjexlqtelqsg0OljJeyLPxRRTSmPgLyH6etdqydnCjlgpnx9homixNu5vqJhIwfaBJS80pdV1CeL94KWxWUWOPVikGs5z2U5Uchlkx7OFTJjhLHuES7T3/hOahIN8IokQ/lrXXYsHXEXFcBpxzGuUdZZvdavQXtmPR8CT7FTiFJ9/eQxps9bxNFiEtNlncn1XFGuQ7s6mrbIb9/If2WtVVpGy4VcdUkaEVGOd/ngWm9XHwy9uVLzhzAxaB4jgjLO1PfK+qWRSUJNuQbwxhBVOmFbzR1SZLXy9ov/nli6i3I6+otEvrhrq/EYOId8QzInKBosetflsIS4BeMuYaHRoSV4M6jXqsUZ3xie+Z1exReLLLBcjpTHo4aSrCl4pUoM2srHsHxrPJPKqmn8WsOIpIc1tGIs8rcBGeYVmfp0IjABV61OafTM/iP2aaOsA6XE6fW2eqTO/HnYO9jaaYe5zksMdpq9C0V1sNv0j9CClXyd5NHqU+sa0Z7RY7dr9UgW+mGzBqdJsUM3OC71A5KjeaB5sJYSYGu2+pEC95YF522WQCoZ3umyCbTzaxNxu1KmP3HZY+AZB9ywD3D3RxrfxGi/8EWxaBVTzv1KYRrdR+V6Rq//qyXFeLBHV71UmaNR8rpAnlitrB08xZ+R4EATppnbcvwf+Hq94TBbe1PUwbb7Bian3h+MrJMVrPB1iF4fs0bo5+ADSfaJZoSUp3PPFbCCFlB6CCxBV7eRzNdpHpAfwHBssguaNgyAEAGyD0ZztyVNAILMZtF5npOQWGi+aDFVaAsCwJOPM38ugKrTuthTuekKqKQwJ/5kxZUhjxMiC/PoKrHJH4GA3FulMeyPWbImiG2mn/agusu5Mwyd8YFGV8Ibd1EGue758C8M51qC6QSstatNHxmQaBjDMEy/+9p/SScH/edis06vPGpBIfmIo5lpSXnrEhcrR5XkIFOVm07YVqrbcZPS5yf7LPaEAYIxE847tX7G1oTgINQSJdrLZR8zrxwwTOKRFleGbWxUBt9c8PC9TT1cVG4xEvmkbAPo6hdwczENC21szkM4gaMNRk69ViF0f9/8gksObTGpFKwTGuezR10P4sOI6yb7pxWfS8vOPNnpQdcH9dpClcU1YoD0YZPzLxuqimnmtOVIVkfeqGqdMknyn6FFqlLZLOQvcxrnvnL9/YBEPzkFHEAOQlvj8QHI+m2T+7nDzxXljtz5E/aICPGGTqbRAWHHFLJu84WnSfYa72I9/xw2pqHYYzMHk+6tccHD1rPDfl1n/U6iFc+ortOzZR07tz7tZ42u8MkUz7P83ezFOh1GifVJCuiQx4PpfTj0+QEtXqDqZDqLgEy41m6RaUuSRq3IGDLbHW16Trtb2QYa5eOlVEKvHk2ipDOjNHXyCdc2ifMxYNgS8SEsmx3lfe3z3WMgzk4TVaxBvigVjbzMlXNaGGHJeaAjjBO7+JfnTpU8MI5csdHqWN4NjA8sA+dRh8IohQwviAKmNphYfxCA+i1AOZFMArvI93EO7yDLGFthg6tpMWJyguSAyboOTwu8RaUVWZbdN7vyDxNyxkn+3qZjSbIXUNtjdL5/+nULVseU/Ugh4gO3gy4x94T+MUKtyRXK7GN71hL2UoCf/OMAuyVVxfdYOyNtJapLsE16qQzJqXAQlNlwkJy32KbX2Af8rucaftJBn02bo0vtdxZlcAun0q+oe0hIC2lIzFUfsMzy1PQSHKXYEJL7D3swg4boq8x20Mv7fjpGZZjik+b/XGbZ1GuDZ0NreG+746Z7CXcQmUOaKgvS8mAV4uIxwEGtsZ1eXfptE9xznzE5jgVtSLJGqljCr9A4H7wBRt9rrMbKpkacHkma1NbFX/ELi52fWksBDy7iQMqL+LnistgX5hJE6WoDl01WrhZZGCNIuDV7aNAf9amUHChUjUMVSxq/tLqD6fBGIIib5cH0xojpZQMDK3HH9yx+hq0bmaLhDfo/ZdQfIJvaD27wdsXzk+SMoTXuOrz0/sVVLo9JFn5AEiB/mhcgxbEAwNcz/Ye25Rc+IrGHEf+5B0zGFI9Qz9+VV5hSlvet4LLpsofQhzSYN3Hk7X2r5fCAXTJ4bsT+AG/JvPOWNLr72huNKRpoZYGQBjYQYuH7ShDjGvcBZ3SkC0d173PgN/OliZI2/0e2Dz94w2h8UIlHpMF/eUwuyWP4r17sYY8w7Cc8P26of+40YOXWzLsEQC/f2Pi5hj9BfSFnC1vjKz3qcC5P1FC9ga+JNWllJ4CKQagAt1rDcJBaplPo5eEOgTiFyYGOKxqh/+I69gXStrMTdoA1PecBOUOvsNZhYcvsXM3n7nK6/armM6416XZHN96O37k2cp6+glnPeOkRC5DFlPlvO4wPxlLVy22oHF1NZe1CuOS/JA7lgt/0eZxWbkirMa9VcRcEEKES0ILWMvxoj4P6WIoiqXME0r/LMmd3ljXQATKUWNWSMTpl1zPL6NSXy4HkNAlqtF+OxY9BHfaoHMzls2hqud0CvqS5TL8XFwfnvvRzcTAOX79TA7+EQovbo0F+KuikqnimhgvEirmDeqFLewe7dnzNDma56WQyRGxKwP/OfD1RD1MZDsmZkiMXgR2uiFNvzKLgS27AkZcFox+f6pCaf3BK79hl4b37Hi4ZFCmBqBfsYJf2L3EXenBJZqo9VTlMK1lOcSsRrImTOYrJB07dami7zyr/xYQuMawUtboJPEzm9T87zl9eMc+KRQFOXbwwqs20euwAqiHNQDatOfIaSa/HbEZxNu87YkLMIWqT1Ppbe8XEhfLA76ZfyJMjhOv2es0WAthpQ4Kp376APLL89ND+ZcD2tkISVDRW7dAcTgHO9RYvWSP351JRgLM1UjKjnDkhC4G11CLEnjwNxdpRZeZM3jmL81dxIgYDJ4gE2d80X/oudmWKVPzxXK0zJTY0Ucac8G3FD5lTQhBVT8Mmm0hPjSt6kf1MmDIRb4T/pheMHCNfL1kPsdo832SHyRkJ7SPkGlQ+x93AunTyyf57ssdnhNMZ44+B+e/m8vVuZZHWObYMIjq0rpXWXiEUKcKJKdmTOHa7Rq3oE//kLTVBk8WvaCUOi9hxFCGOxhIrseUD34PonMPIMIbSvgc5iRBJOOF3zyLcSOIcHaxBfmOelf5nDNIWMqr4vPPmQQs8Zq9iTxCTu95FzXKNGQQEfLx/JPaQdD6X9vh05zHwBGcykkRkcVPNx8xCDiDhZcxX3McyjZ+44SQ8EehwMkH7wOkaS/AbmQ3+RjD51Hbjjtg/lZcdAi+Gz+iS7411vmZmYFoa08CwAbBRUfjZuJ23wPN5Ax1D/ZKKZ2YxhOYGoLz/TKrHbu9vqrTWlBv4JwZRKMxDg+nnuBByoj9EDNMmKeaoTvchIiPiByV1UNPc9u/QaJnccsyTsTGbgJbefKg56sxKXc1YlgDiwY33ip4yj1UF53c12ZUWRdOEOhrymYMAAGe7k0o87gz7kqCuoCtVi6/p7kRjPcT+zaL/G3bhgEqTeFiwL/DjbQ/CM59Id3j+/KvtRJy+bTEzRX3fhu4AKj8dQAPmhBES12zb776up5006IJ09yE5mvBYEpeXqWWCg2tJne2dY2YESLwc38Ckm05lFLNzutdbcB9iemkakKkCTr5y+zMvDgWrgY8uwrGZD41z7rG+9bLTOg3cMQJi/U9xUcr0S9lSWdKpa1eh56oDo+CHjgrnZ+VkUWnNpxOGt0wM+ArojHtKWjASTV00HVkTuBM7VRLI68pxlY3XbtOjS+3v4luPLR8ZWjF4nezA8/jtHFLZMhX7qroHkRGbPtu1vYvcqiGngty9I0DmGisHjei8Bby4Veku3iYvlXCgybwReO63ZhImkJrztR7AY1jAhDNBK+sqAx5Vn3FQ04m+IJgFSLWDX0zmSBH3WlBGDwyh/BJZhJY4jiOv6SA3m1qXQuo6s4+i6339NVKx6bt7LLRWAN4+KLGxkgX3XJ0SwNyq2e3FI4Rjmhro6t95Y49jocaUXBG1d6ONfoRX1Qm/h61T79ct9dfKjWJ6gVOofVhPHnLoR/QrSwY8dKc75zFLdu36zLLsmvM6kHR7y3hayRywQ1WQ6pWmFSh0Sj0nr1xqD77u+X8A88Ofqv+4e50T4fUYUebFvetCNk8ODcOe+NccsgrwqTEyn+VpLXN/hinO1zvpjjPaW3h9OfbZr7ROuk6mACfqNlnHU9FEIaApt7PnvJM7cl8yygqePuV0totbPvVZnmXzXIqxJ3KUd4Kxrbi9ILc1+388DlfbB9UTM3heIHuMaR9BDc3CLmiqd8SOB2o4DoQGvXpUzLKDz0RoqIQQSy1pyb5WKjFNz2dw5jBaN+/P3skAOvI21H/heY0iPopLdQc6ZEKXm9CFJ3iyR1fkl7qTx33p7T78jygzgs0y0IvXp/B6Umabb2xgrpNCgBf5b3QAxg2L9K+jsjbly4KYF8bQn5eigxGLrIg+JvfVnuzIkJrtHbtVmyjmY/VSam6khakK72uFv42T5/4M1m8O7HPv2zusixMKNB+b2g9DvF5QPeazJsl0+oEB0iUE18UwQq/8GTUiTfoa9QcXJ+kJR8uAExgNQUMs7PMg+t/I0huvcaZnrwnS8FwcnLQeIZtGapHd/hNdFKcoWzAWdfOuuqoEIYeo1BhollqIhJochUZ/XH55mBXYrj6Nzc++QF5wTkQkqmB89pCLuDQFS3QCnLpZ7OLMcYR/0wAuAd1+M9qEj1zTyIwQC/YHXsuqkvF87ZzIAD8E2T85ViXacG06Dp+vwqODAM38PEo6LLkvZ2LJiBLAH9O3g4VNxOgGgnZodcDe+LG/b5cSLzHAGJ7YJJS2a+aE0u2RIWWgxRfWpEluqvyw6ZGIyCGEmZ33rUU0T0lK0+ng3vjmPdyb1qPvaT3GiEKISA7y8Rl5yuq2OeIlZgTTfJ6Bn2241vxKayQWVhUCDryrgkkg7tYJs5ZNmYJiJd0msJjBDV4IKbGBkiYVR6pHZfQKEQzexQD9plruF2efOJctoXpWHE41JjaWgbMNsrEaSmUnUgY+XMEKYIhvOq1p/6ojknbsSOAdMOhzHu4I5NUB/fzCDYartTqSBMOM0TIcIDdakwwG4D+HYFyg/cvmXlZHL9Ew2dQhz7Xb8VO5uOB69jRsD3hYUP7se2tKjBVA08iKSXg89cHTmFCoL72Gb1rSRwj6cBn+T7+SFGs9QW7XM1d4Gf4eICWLdJw/mgfUFNraWZ4YqGuK/WHd3kOP60fMewKLT/TAx/gAXm6sscb5ycMGZyNT5wgjYnazXghKLiiqEBgytYdtNwQh67xk6tBVAjotiTxRsIcLDJLhcN0ys47n11vcHGGPPv37wOaJkrscBPV8cKwh98Q1pVH6Q2hlArsVTpuliLwOgl/Ss8+p/J0mM1CzmFeipoYpMZgA1VvcdQxUw0DdRlHSZSvyMt3ot4GvzIP9RmWTnxJh1/oe4ZKmLEY+yIrodHmiMAqvK0TlukD4N1wGFpcHlYVfaCjWijQMrsyBpLg++AVYcsI4WQGMzq1gcTlR+gvp/YYQk7MzsYeFMhGjssrmg2TQhhrjRK8r3D1Qo1bHeoUyMtXSpGIac06yzq9hcqJHo6p6pLP4I/dLU+C1ZawZhy/hK2aTbSPctToQrHzYVRpGfg8h7KFy7yZt4KbYIf6g820+yxD8p0B9rXU9z9hha6/G9o8wg0OUgSCw8SdalYuk1+H3xmAlywDVlRTc0I8krDt29cMX9mEoekrwmVSXsQ7NQwdUMpOVZg4K7WQeNRtzYf/4c1mJd6DJ713ztwYq+j3LjoTj3eRwYl7cBbsd2yhRT0G/GX3+yqWfE3VaZ0wfcQN6gGfjepFMo8GSMnaDamYyX84tGDpL+oJTQ7AVWBczSlBJTm3sXHV8gAkV0xbhonHKIk4bs2QYPTNwnufG5X1wwnWM+5uzJHyDHV9mJdti5BCHJgCNtcvhKGusNjiK6dT6FWAoHhcL5x+XunHsiQXZ5F8lSIG9mxTuutgQ33d7BCPzPWjq7DTf1jzFVyj42jUK5dZq31MMPhN6GORuh6ck2imjEKLcZyPdQ5VlAa04IyI8c3UmhYQv0bSCkMdPLrgBmyU1uji16740mKCOZ/pu371vkGHyqBt9jp9ItgSRwcjZfnrjr0Huu759NRC36J/yf02qO0z7WBPxS3zT2R2VBLxVvcxXwP8G1m0ATlV3ow+DFh+wJN2rj4bsUs30ed0gQdtkxkvNAYD7nlUXaiHGnY9Qo+MeZCT4Qws3+CzG4EXoeKtuLe5NcnfboNFU4sl/hsJDxRFJwc3UOR5Mjt2t0oOUHvgLXrezpaAy0I86AxakjkSGmgGGYFjWq+H/HLaa0cg3n5bK5yDYiPdcfYhDtXvKGvpdhyAGTknCWNYHETY6tu3cqBOHc9sOEmnBpH5L3OrbjPOhBQP06HWsRdIxgebVh75zAhsSfnoErXA7q5zz3skT1I8GavmR4O1/dUU9Wtj0WBUK9Qf5AiNx8FPgz7bDmPXtPYKjgzjx4HdD8MOxdDTfXHqvIiYFX2kxUcMXgmuxGUseFnuoQkvEI/FmBMrBELXpfl8m5ZPNeykl5P7Q8eRl+K/RRu/fH+Q07xWSry6Lb5odgylJbv6/YRWU414j7nzdFcTBR7xTGVfi3/m+z/syC2yTxbw/J2nz2XZltmpq+SA5HGrqxy5/mwLSf7gTxJEAeZPOawr7sORlXdkJKKItWJ5OSuzpIzCeIdA50QkguWZKALKLKFxGtlqPHAUB89M8wVPbNC9YHkcLu/NZrqQIOpM9IM2r9rmeFzikiWxRosDlFat5QxGIZoSFQHR8qTzkbDDvFevSITrfCEFEAppy5aVubf3+zAyMFWndRC8iBADASTyhnfHkXnuTB4/b1HYoogxsWKRiauKTkgOt6iEjChKAaRFRIKZ7JzqFYg3s5elIrdXNnzxsJxFAwIryQCpcYy80RJencBHOTXIOEHJqjCR/lRl/Z/Kv8L6NP0c1+mdHnr+BQj/mI/2If4A7e66p9ER373rW+cQnD9USz2oSQFDrQwfHjpdVAQnVxTOjT7Afb43TLMsZTTj5urOy/6TS68pOhhk2h+Ng06JJ+m4BwDg0PifedhLOAx8Qsl5AIq04p+JDuFM8X3RFv/841u7xzcBjNECQFLqSKHmD8GR7gE/TxLYJ3ANpo3h/GD1I+ucAx7qhSB7Q6BSA9l11QCm7uOOu23PGljLBl6mbK6C8S/FHp8zC6Wtc9kAvcY2znqiFqO47X+akLj35ELM5E6DeNP73M+Z3q7QBQQ3LzGEa+JglVBro1oEGA3xMSt0ZrSZ2Y3PoCTAW5HGq37+L/iBIpCXV8gShI6wHZrBvHCv84x4vUEi3w0EIFJkbK6hRic+TWPCB+SG7To2UwTCObi+LAAI5rFz238bkG1FoHHhQsJ7jiC31cFXJb4rwSN9QCB/kBnkTy5krlVxcYWeScVfvl5hDIjEvq4DmmhX7wdnyAecDSA2rzPsfp0VLROIj3geaFrW2qSN65R4BEAPfDh62hy9/zUDPbVuufy6H4mIspmkiluA3tXg20m0nmowig7uzZK6h9C6KckaqKOjXxoDIixCNFZ7i83Hl8HwKs6Pyz6v7bv74CsWapWGtlOkjivt3acnQCsLlU7Ji2Z+vGIqYF2pZDnYUHhLqJjUE2Tubkpktesc4henph3SZqTNSi+dBQHxzWdbjvfco9PCNI7LWaGAhojwCSM6xd1eXWwoHxae3wJrRQX8o+QO3JrTfRGuTLvU8M55/otOuMNmuHwKno2IgVxa7jJ2qPCApMjyyv0uIjJYcSf6oWUJBG4Nu1oRoHUdwU3hK0CURtihITfDmYcu7zZmTcCm007c0mYdb/9luSgc9nCp4CCymSaKaEVXVQjHdJJbCKv5QOi6Ut+p8rDz2iplM0jEESwWgu2n29M+Puwjtt3E0J+xTOx31VransXZhgNyWh+1+O+uP4q7n5P8jtnopmFjauwy/809r4sCUhErnH0S1zM+ChbknAGkjPIO8M5ik0kfL29FtNeP2CRmSFMS59FuZ1l8BBKBS57Rc21734hwmQ3M0MWHTPq4ZQBCUtC4MLNqm+v0j5lSz51hi1JcJVvKJug4KTDRUu+JVYA5pcle0sbfu799cUdV+7m8nSoVlkjYpwfqfDkkflAiVhmxlSNES4e4rWs//PxnOZL+yMlgI0EBRGezyNtGZ1JUUWxzJk24PGthciKLhdmK9zp+ujQG+BXzh5ov4xiUQ7j3O60hXD3CvJhRMZ4mhbpihyv+u8KwkWlbGgu+a00khaxI7L4ntlXlvxtjsx08APpAPs236VjnJdcPrsLdX2O20y77Fo5hsQvovqR4YPW5GnKS+yOPQvD6HmOV8kRfL950z2TrBs8J/u6Muq15ir/a7CDWli3OlzETeK9gCOk2YAr2nUxjygn72O3RQ9yNu9CGB7zeZWeBQNhTiwkzsNfdZv9ZTn5pw73LYTvUW0LOjEOxI0WTsd368t+D6bX3GZZad/WS1Ocypw5g9URgRnSORKclzOUvQozrRvyj11QP50UaqMqeBtiE9Oc5rqY6cGYFSzY8216/oOWxNxwK1zgFFxQQM4UHu0MlccnTq1UfHp9o6+wj1EFZW4yXEmS4AL5GH7+2+aw8bnloglqSM3/4hkpYBQM+OIp9qA13nHZaXNjWJM64umqAy7vR21Eb9I2SCOqhqqNIxOmTRX/TzQaMXunluUqb8iTL3M4LIn6N1I7fzOsTHPQ4/6hYJOzxiQm8T6YBGv8CStdJAcg35L/I+B4RNhWpcbJ86L4YOuIpKrW31eSkKfr6hQplTwiU6KbCEkx8MGnHLFNeBhWPfsFR7MS7HzBt+zMe1V9x8Xe/yToBYYFPW2LvyD2qvDY1QO/tWUEqk1FNWEl75oTvzkNOUwoX2yo3qScYMWOt+B9g7u9DjIFUgwDUIjaGlgZ2xmNGlXfN9M15pYcU+vi7vycxj6TM8B/pWzzArcMNJ++Gta4cpR2m4NOb/iYvRQz5GibAxOusQP8E6v19bEOqOC3wGZ2poibsYmtFmcMGe4T/qVNzWcuoPa30mgkodJgkhWgrdZDyMLCiyetO/rTT6vVkn8HxF6FbBuenl/PBpKEad3H8QM2KlkV0GOLfjDjKTh7ORmXdnEF2Ct9U0YvP+y5gN2QLAWjqkUMDvvjN7xyJoxnaaf8WWAkhXxL5hFtqrE3CAYntHpslCX3XkjRcp9fPWYhxlsFzcR+29QNz7l/s3aX4u2vPUDccdbft7NG5gn047yVNskIT7bSv4FbG1fKWvHntM/ApZY541pDTnHYFSOqnwgGGgZC5pgI+dqCBUgXkoUP2B8Pc1kZVl02gfBqodqtbMLYOtfAUpSqqY0AMnE3Ruxzs6QhPz8i8Em5cwsDCWqIyDlBvJXNw89nbNNvPAOuFyxvVp6qI4NGZnTKg/4cil2HKQX9Qhpp/3SveLCiBQR80m7hEEV61ZjsOTFTwn/B0uJj+scV8zSgWi9wo3Em9Xo0w9Szl9UjlNsjW1PeFj1sNBImgI48Mt1/gaMksq54vD7REXCmg9DBFTgCvvfP3uP/X7MJnDrMd33eODRBQpMQM8Ai0NGjaXtZ+9yU2qll5ozKWrp7LgVPKf0oo61oz7u35okSXtsCwhjOg8C65T3afPISHzu0iMm4kGKyedobOY7QWmCXHjFZHpSnahhb/t4lf47SksIIjCfFK/4CexPHhaqevIMteS6vt+vcnlEkJuYu/zESJ8T98YyCp+XCtm0PnCNn7SKT9+8NAy2g/2lrwfXTarJ7zlxlYtS56Xb6EckGL/Y4z5Qp3Wdx0/3Vq9ubRSn3DEOJOO+9ZSic4nuvLy0BfWbMeWMcjagHhR3JJ9e3fP3Uy6pXSZZa229m0SpLJq84MjmTVZP2JEPVpgnhNi8s9S6J/vwv1W7fJzuWiaZYibUuvNoO4kiYBci8UqgSIXyjM2YEXOObREaZxuFQVCg37m4X4H+YDzUTbdWU2gNUufI/hD9yvhEdmM7Gy/G4z0L292hKzSzyrH1Wa1yjvOovIQEdFckLVGMr9dnB/XQx9sPZCTz3ZAe8UC5YsglsFnonrHsrhKmY12deD52pgTuBOH4nLn3KBfHr3EWNA60CHFuRhlfyNYFfUp1WWmC7ZBfqPQGrSPVaJuL9SiUhgwqCnakCnDsBXNS8PXda++iCeIPXNjpK/+TCBrXifn/kWS+xnHsllBPxCo4BWjUibrcs8kghEBCG1zRlT8aDgbK56wiON5egt/hxS65XI3v8ac+FPKUgNfAqYhOadL9e+bmr1143QE6B/AZlBL7C2k6HeUNDj5ufPFAnJX2eyoHJ75L2wcJJ/o0zT4qmkOHqKJSPN9r5Cgbtb4M2vWGp1ISquvyizVoS3SfQKzZSlFjzhFs+YjwVE1V8L9MVJhMFwXK1Ry89s+ENWdjwiipJvS1+pkc3sgVclkDKy/wrlDRtyq5gRaeuR33bSzIk30LsR4IVyTweZ2gCtdHj51DeJ2yCy/nfn7nyEwY3HeFvT2PDQCbk2it4SK6Qv5zlSCmlVC1hCSDrFk08IqzmA/JsHCuuM6Vm+zH3ynLLR2qZJ8NoA9dsHymHOx+O71Ahj/qxrsX8EQjBOO8s25J4Y/oMWnDnFp9okm7k3VS4yCGywjF8ahk40McYrpalKah1A43S7OVFMNxjENydb7+9aev5lqZgyMKtgTYLNevwpl1zeVfbZIblQCGGWXuL2nWWPH7JZ8hHb0DG7O5a4MC7QIZr2K6lQ2ff3gMtQv/i5thREm0WdVQo7lLzyYPtl48+7NCa/JsQtUSDFFpwlZ1P+gJb4OxScQNGi8iZhKtnIljVXjPf05n1KQwxfU30Z4BltsC9XUgPmoziIOXhda5+kU9zfNTVsVGVbZKsh4DbhWeCgJf9wT80F9N1xxr783oo1zwaUwS7THtTFFoeZf2oQweXA63ubTen76uaie4feX7N7x/FJnggvxgxBjH8OTvLeGGgumAhWLNJNkZE4eqhaliO5uTsQcwHAOT/LMAE01nndqqGK3BDjDav+mIwEAkU0m/y9GO4TnNusutpEZF7mgMJZzuv2X9QLmWJBFbRczVUS89ptqv7LIw8r3lg3pQTYKzAapP0AS9UwqwThCtczIwNj61aC5lA7OXFiGZegTmnbE1J4HxIezROgMxNy9sFOTBBh7kb32T8yo5zCwHz73nviqkvfg+0o2qT3JEf/dmVMxkDzF8wn+kDUJOqtcZjmlMlAFCTBG7D/bX6KWVPDxKwM/Iv0p5Xf6YyPwEqwHYQNhZGD/swM9BvSA8KuJM27iBBJ0g+9N7J4duddW1dR5yYk9IIld0cZ4KOi5gVDr5bj7ownWVA6A2hb2/dmahYi4PraRYmF+bGq2IAB5OaFAe3hhLSn4/jc3kOjG2rzEkOq0wTjixtmfyMuqGEO3H+QROByVauiFFaxeDhlzNlt7qmY/nJHsEJCo+EIN8etlwjOXdXTxcIDjiZDXjDOK69g9WwEEPrE+Ispk/YceGGhXP5bTsJ7Bdtfm98C6ijKGOSa3f3OQppxNztsobR9+GdcxH54oD+qJbRJ2Ne6Qx5WhPIWekEZE+bw3W0uuJm0ESqK0UR5UTh6IE+/Ub9a2TggiaMFtUSZB5uEzV1EDpMPDJt6B5WS6AZnCZtNnqNBQPvtQLW0g2Cvxf3n8JyuBViwm/PINyDEfCuddYOMfPvhCBY7murcUAHd+6IYBPOxVLZW1f1gh+IUqeyYBWWPoAeZx5QQ2VhtSqSM9hFL+AAmBSVc+ZbkyvRItKcmQyfPpcf3i7f7L6SUwvPZTZp3CjCWXT0S5dK+6nqyNlgEieBL/VTYwfXL95d34cb8+1LiT15cocatWTpL0qYb6jxkT8JaK3MlXwv54uf6HGgs7bEVk9Q90f2RzIKe9CAkrP1SUHo1KIPfc423irRaOyXs0+hxjf2rms35XCUPcn1T4OxENqjTnd26HA08sbWV5+y1Vouqdgp9/ZGhswmkpfrRT7HM2LuiOUHjCcoMPy+apxKo+rgwluk7thRxCWFfEnkkSqlTToQmz4TXmC8pUK+5kHe4vVyLhcdwyvTfYejfCUmhVd4aTBPRvbX5F6uQYXfdKCUlvT6VKaE/aoZhhY/XgMRtgUuOj64koe9X2bwGvPJJIA6qTMy1PsbnBVomMkLjVL9rL4hFQA/VJD/ddujXCeVZgCnqdpiZM8hjIa9pdj6Q3GSd96oqTCtb1lDEaAnBUkCo8S8puLzrdnPRWdR9zPHZ9ETrKMlO52GbHTqXlBq9a1NuHckEWNAk+QWNus+KtAGoTTFS60fAF7usiiDzh1C6AOYQKBXDmcIzeBeEI+hqK7q0q6JrSARfIlw+ByCOCIo8D0FFuCTWpwdiXKENj8KOpeGEduxlwg04/+9ZDFsdyH07N6jMJudOoxzSPNPuyc9dxhY7U9XAQ1c2GwcI2q2fan7RpBO/UAHX5crMbwTeBk01uUktNTnZIqdvoH8qDHLNuxplPdoU9yyy63yv++LKMCJHKJ4QbxG8NSB8BGd46AklPZWII+so54Rnwk8lXf+ukopfQaiYJksSWmXPvez6xXMc9GBQ4n8AKuFUEsrGVEwxb7o6jrUm+Dh8NgInaq5B7hhcUyGFMOUUj1BHp25ymAT96c4jtcqaaIbSZEqJb/QOXISS5dUVTPmoSSRwTNXoawSHRYQJpiyRDiIwtfYmHRYduCOSdG3P2ebgodiF+fwqbJ4c/0E1BKH/SfjiBaOdY15aRRrfW2cZN4XOMJDnrTDxzi4XA76DDc/466mm2jrYd5yPk4T8ko//cdFUh2jKrKW9OmhvrWLSbFZbG9tPqmisTI7fc2mq2CXdoBWiwIYR6Hx/QjlImZIJdz6l3NiNSojMgkdUzGXd5sXvjhfiNJB4RaEoy/XxmEEVMlbgVyVbP3baq26IoYd0TtmX5QiDfz6WLuIUgrNbwaXiu5zpbBt4pKX0lf3xJ86RGxo8yhxAKyB56yhGGr09cEyEEjyclaOKKwg4fek0k8PILDk01axBtdppnSZirIOS2O2LC0kOL1hioPaTCYeKixlta6TeFxmBvrvsbjXO0ncEPyeYtRun9GHlBbONVuX+S3jxLvMGgttMPGbfRMNMydONUzw5H+9Xhe9Gih3/LlD10OyxdXuU38TyTXJTyDgvCW+A1sEeAinQjCJL8JVH9jQl1Mywr+bGVwTIZ5yAk04feLbqV0LyKL7HcTuUTu0iIuuZsJ7SqfXkdcgVM6IrEzAeAbfO0G0FyndyaUBXAcIiaC/+9CpzK2pZZZ4FhVXUTauJ0erT3LS/QVnMFab0ZoQ2tLxKSU8oAeGxAZPObgFpNmhRq2cQ+BkjehRpI/s0VS1Ciy6iABU/grGMZCQLdrIirIMk8etGx0qtkPy0R3IlVtOBvvdvM7k8xI8DsMc5TwFyfW72/TU5RhfvVCrBZYUh6ys0Uf5EqkwDEB+qRQMQx5udeUUxLbm1VLv+OcVIkZZb13U2NakjKRDoRt4bTioIbl7dirObk9NKZLVPSGg4bxTC8Qhr9gH+4n9Bl/PqwOL6BDvsctdvu9KCirFdlh3Ekc3QeSBMHObwtxo51Id+WQenikDzv48cSQQc7+UN5psg/I6eStryaTjU0Yd4qfpEjK0Cz/ysNt3iSuWZKt3h6e2JeqgVy3MVrLBXIfOakob9eCkqkvO68per+ikR6W4UvDt03JduY9az7NB5v9w7/KSQ41706Pw0t8hOmh2RLBVzi8CdrsYp+i8uBYUXQFmC2k7n8rQU0psSv8aOVlQ/eDAAP5zbTGm/pdkNVbLzn53/SSIxFuKrbjJ4YEA5AO4MH0EVSKrTcg4IR8gk3s7/UtYTR46S3zAVvfCLWBcznYft4IFH7ntT/s9r0doDGTaqzPyFV7AebBb/FDdO9kpL6lozSFZaOz9VydHzJsjczBVFLoVlA7sL0hwD8x0YGKTOf9JdzWTYrlmyaTVxMaIs4sK6vKgv6SzO9wLcegRr5+QddbRZYVKU2YIy3UXNXfi9+bS/wX/oW7aaY4DUn/quwMRbzhePIIb9qaua5FWxbRLw5PfHfe78mQ49EaYbwxbJnng3V3ONH9VX2QOh+v90sDRtjuC+BB4bgOxxUEIMVUsRa6CHj+1zC+Dn1kQHjRuvAioBDS36e8UvGmAFN/bJNajbsunFNKN7NoqwaSFXgGCojKTa339mSfnbx0s4IRKD3kaPhwTRyoHIPaL5tkZPrw57hnmwYi/uP4jqV+IP4cTn8DVWO9esC2NargZARjdYEFJzjY9V7ONewd1Im92B5w+LXUQ8ewvMGKCGdZird88GSVGAZGRy9Zz/iC1UyoRLbqQEE7j+ChlaOq5Ii9iI99+Csb256QJAt/T0QeAHrad6ctMXRbYdTEnBb4f7M0PjdF3qJlVsnPLi+6pMW8Rg8wIIClRQO8q/M/7xzL9PJhjfTXGxgLYzzh6fgncrPGZg3j4pEBoW6hCC2nQ0chvMBfW7QvXmwFUQ2PVZGBXHE1+P6dXVc2lWRDfmejtvhc89DaNbsm9GdibEquwarXpJXoeE59uVhVYK/6ktDW4kCcSabgZOM1vWidD84dymAx6QPCIvMNJ/57azmxq8IPKr2dXnYFaDsn/3ucZBe9t0hG/dkVwMyGD6KKLHhSLGQ5SexUfH3xCKCXmPU/i1i/+o0NX+X+marjB7exj83/Tqj8whRD/Ccbzb1dmBP9hQrAIO7Qq9+Cm5GEUiWVo0WW+pncCeM+Zic552l3YB0TW849a6EGxZE5/jfhTzbR4WYb3SlGp23YS4dVVedSmO2BXZjijXxz7Zi66uJf7JgtFkxg9aM0iHJl9JwZx0QO+Fvd5h3L1ibkF+z42psPDe0hSH/zeXc+dL/8SJgzKR0A9yWoShViaxrNcRSJaOfyV21iNL6Qm85zHsZRSqpa3hitKQbPhdTN+gkf4hPjQX9N0XwTzDhPVCm0GgVgl61iashIWvqPX6JtuPH9LruI/48auy4XAqeuOhfA5pzHFNnP7TDG8ymmMIRY8Ru/zLLmaSOlcw4KHbGQQ3BIQL3o91ewGuoxBOsWwiXBdptXeX4Yscc5BldOWD5x4hVP6ZuJ1dp6egk8U1Yny5QZULs7LY9FBOsjPmTUof28B9/50byDsfADQBVDPPZrBxdBvT99ep4o9+OcbGf97cIIkcXj46j999+Ih+Z35FHm4TbwYrgQsDDfvpLrJltrccj4Au2/3oLxoxBgAfx5vbtY/9U137A5evPW+jfqo896MiWr/8mUQM/HgIBdAhJZdBBwb4YbZaEl+7RBVbXKxotRFdRnkt4oHZbzerxHQaQRiCiEWW1nyU27VuX/FkpImCOcvtFg0Pb5LMfAa3YOXCDmHE7NSZ76Hi8alPnTrzY6sXXOAwjkzB8Hpf0F8yOQDg0MXLo6BGJaTYwe4xGV+Nzm+G8EI89A4XVSVXU8LIfvuLIQNF14fugVJDTicLd6Jdv1d7O/3GaiqYM3c1UysXHMXqyNtI5zJI3tQyZTuA8MHt0jKUaM3CnBMJkwWi3cjmOJEzLDsWCX+QhG6Oa0yD7PJwkjvDlsCVFXj5hlV15/MS74l/OQ==">
            <a:extLst>
              <a:ext uri="{FF2B5EF4-FFF2-40B4-BE49-F238E27FC236}">
                <a16:creationId xmlns:a16="http://schemas.microsoft.com/office/drawing/2014/main" id="{E39316D0-7172-4011-828F-209994941A0C}"/>
              </a:ext>
            </a:extLst>
          </p:cNvPr>
          <p:cNvSpPr>
            <a:spLocks noChangeAspect="1"/>
          </p:cNvSpPr>
          <p:nvPr>
            <p:custDataLst>
              <p:tags r:id="rId9"/>
            </p:custDataLst>
          </p:nvPr>
        </p:nvSpPr>
        <p:spPr bwMode="gray">
          <a:xfrm>
            <a:off x="325789" y="2098760"/>
            <a:ext cx="1869122" cy="4166310"/>
          </a:xfrm>
          <a:prstGeom prst="rect">
            <a:avLst/>
          </a:prstGeom>
          <a:blipFill>
            <a:blip r:embed="rId19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4" name="btfpMGChart551751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sIis/Dw562/ylZarflkzpXsotLVJSCrZYtF7RsGG1e5iqe9MG7z60qZK3vpZqzyZtFVBi094pZscNmYtOyJ+gEByA1xH7Bj2c36EiWyuokqXstVhKAMzqEl3qnbW21iw6HU3tn9ZxBpH4S8SEaZhu0QvZFzEZXIgJrA6kzdz3gNSncoJE/L52VYKaKFV4mp/9oA6bISWP+1mS85QsPrOJND+rsTsHH3+7slVdxGvf3GMwTXlTPSPRcG7+87yoOrmULjv+CVsAXyV6wo6m+2vx48IUjehHx7OA5QoHuQL5/v8kHPZZtkeLLZb/7Ewo56VAd5TeI9FPIwN6WDLhFMhv/MH65fe5xlYOhVA0OJPsN7TDCFSd/ZKNLZEDdlVL03C/cOVCOWBaUw0RByX52Qo1xyrFWTY/y1KQ0L4TsMj/rlrnqIXZFp6LaMeQBV/JqX2dEabJvAwzLB+b22U++wR00WFPOVBufS+BQ0QScivr8lRsvzrmb88uV3WrCepk/78r6hFXkMvc4Dr1AWTuz2zHS9ePJxzF701KavrHbc+I0GvvwQBadmIlzMvIku3TI9Km4/kpNSdBpa6JaxvZaLC/hHjaUgjMLICn3UTcjkFcMh21luhJv5C4DDD4Rgx1K+nKqWEj3mIKLdA4eePiqlHUsYM5oG58bH2XSZC6oIIoKt6gdQ/+KTH5h8FarmA40MOUzwjUs0Mc3p/+6BoMuyE1D3CVHB5VgBwDV6pmAAzEjHw12wYxktaw/WpyfVxnAEKr2vZEElVY1PEA09+Ul5OWXZWuRmohSfpEmrUOl1QE0Q7XjQYaY29JhlUKL9qeH6CN2grce7H5hrVJX0DWQBx9qy1cppiZL3/QjMJT7gSpQNW3Sqif8ebx0SsmYHtZw392bl/3aZ0GtHnOFHUbtWW4REd+UpBy7mrnAD4kne0hjMqn0PKF3IAmn0NZlAIOL7FlUKSDdzp9omhR/4yQ2GcKMZhj+mXgHyzNiXPYb2Q83yVM14+g9rLprSPGWDDrisRE3pLgdcY3GXUiK+75xWXGQeO8k525mSq/jkar2oLet5BvQvHW+dGr55qoFL+RptGzhHYBXG5qInTDhbQPmxyUpbgOYKJVe5hm4N+oxzdW/U/Jd18o02nEaCNCbVWfoBwnH7GEX2CZK9DvwUpcd0vHz/nqLw1XC2dPY4zZ5H1zBAaN9ZgiFwB/2tkC57dkvfwDTpYzU4rSw1Vmh+FMI/A7FJI6XFM+1D9/9cMRkrxG8o9V19ePbrEBDGDwKD9nHZSV5/WOOqbQkZsVsoL+jN1cmDs87zqOJ3YAlEh+5GzADc5BxykKVZknreZtfDCDnUzUDd3Sr5rhGphqzEDq/mEdCrpBijp3fsZwFwm9EJDnvaDUu4WZjRrX2+K0KCmpXx4kOJxgQk13gTh2EwwQqRtKcCxccqxbz2XvCCBtEkM0d1eWWC9ytuJfchBPtMJOBvXsx+SLvReJp82Eefa4hwWTXJ2Wj97EEiJxvv/QJYrb94bh/Op5r/JFizx7LGCutUOEqmNyOkNBVfM4XthgthYqeV5gfS0z2S/cF91eB8N9xmtDqvskYa+yzPbwHlV0zI/i2SJshZvYLGyOe9P6fN1TFE0De0xMT74fN/iFClryj8TDKg6EO5EoBMWnXDKz2ZbOs/5UMi3Egz2d49/jeSFnQGLBaZJRWIndnROphyyQ9XsG812lguAdyYS/eVAjq0RMV6SjknsXc1jqxdfFRKSbGkoJ1hnVXjrAdDAST2qv8BzHSh5eo7nXTff/0BTLOEpvjNVOVS+yoByZtjWBpn2MYOJP8CqOqz9Kzgv61AQ6NHJRP138+6Oo4+fXKVtmAEMoe3/T375KBaEZbEe2FfYRntI4ude8hfVgGNXD5UOn3lGkw7F1k4Rmc+dXAPk6CdCVnMTHZbAoZ2I5QIFQzZq8d1UbM48iOQFXD2wH85a2fF2IqEGsZ6wJrsbpBVpuYxhQAV9yhmGn2yLwl5EXJ5+M6W9rq2bxy2Xpg4LJEbfbKTv2MTHUWIhX9iydgi3x/r+0BAnsH+QG5nHXKdGkhm0DlqQGyvZwOiN5w2fKrYM6NI0zOkiBHN50cgTlyUwKfKT61lq9RRDQRwRrImLSMKR78n/t+WpqLYLetKEBr0F5Cny8e/9m7Wpl++I0IVWcEdG+RGst9VQzdnYAFLm7GMKoQerOtmbDGgzhnWSCgKgnvEvyYifEJpPK/Kr5chBOP4/ADd6bZNlIZNIkPBtdHLW9VJBaFQJ1hjaWtwDe+xLZdzc6GU3YeNmT1dfPRCqezd0jFC3FvP1934I85QN8qIVBoTa6eTVfoQgzVXAWZskZXhzfMHgMaI4NVs8durnrmjTD327Q8g5NGMp+4VH//Ev57vprcqSi/jTJisF2G4RNe0qEAaikusqUamMyEFQyOOss4gRjoo0qzfxDFZNh0eJU5i+6duS4HCueO0LDyCKfjkvxZKFPOpOa9XkU0qiI4edUMAW2l6lCMmrmdA17zwvT/a5+FtfKNnv2LA3AhWSSDEHWOpeo1pMe3I7KFspgsCZ9U3gc0O41yiktB3eGqZMPZkBidM+5a7B3C7pwaJE7cBNM6ofUNx/WdfTGBZMrJ5ZR3QqpRww7FvhgRXKHrnXx6FGJR06MJr9KKRy6QEFUP7myi9TSBP5fRkWfhzVg1vdV5z9nQQ9v4n+2BHk6LMYRUS0In8x6sM2/ZWmtfLCXVTj1nJcnmD4trxgmuKoI3nqTieZo6rqmV+lKSHbH4OrBdwb8wflC+TXFoTn/eshJG2Yzev46myg0fdYhnq43nDu5+Nb4Oj53a80kAN52IJSTVrOJ1y6o2OmDIZ9pPv1dmOmDCo6aKtgkJAZpjehWz5dQ/jScoKVXKmCqTdYqhJaFIv5WgKcVmTSL0A/0Sj2hJO/jWbxjTen7JDN/qc32CVzsO7aGWoSNnnSOO+/nkZsCQ1jt/foDBc7kbd+nTyoRvjsK25+By1VMZSbgVZvhzNItY4g41qlo+iy3Uyc9opqn+wyyUhDDP74dw+kJ20UyjuJqI0D/HIGtH1aSA/XfVvo5Pn/LaPl9bsefxuZmP7mbE0PssRIL5dwhNM4rrfFtz6YVc3Cwr9uTp0YQvwoLl5bRcOjtzyCR4YizWBEE84WRh6HrOivy9rEv3PiAovxj14HIhFhHjy9RGGMxdVMRVe5KnUSP2tvZBlQtyecWVpUp8KtGAsmmijB1S5GwcISd25uGcJFNPoQR7vcIs2hfHJKq25nb1M4n4ROWCVxMSUj1+ZTAi46gV+yEpa8k97pwIS3VBFYFMw19OTupKir+sXwQg34KUtLjHhm01N9P6pN71vu3Mkp1vdJqOufV8EzeFLFqRF/dZfkfsySMmP2nPr+6G5GGWubt94ungoFTffutlZqirAvGhD8VgBjGa7WdTO4+ntz9RCHltho2iNH/6dXPR1VSniHAXy5yTrwEbsVM4ynk28ze61fVoPwETd4IUnK+DODMiVl7wadpNd20djQRAYyVwStY5B/aNOpcd/YafGFEzVwrFoPxoTmv8oNtL7BAQwERlpnsiiVE70gwXEdvIewawlVKbchEyMJi84AC/TOph/32rGfTPK2hgrXfLFe5MS6O4BoSx5E3lu6bAK3MJx1c8eoUY4OgjOvQ5f5Lm1andQWNF03L59VNNjdHtC5VB0lcfCrIngcn1IAmlOZnOUwZvseNT3duhpsJw0tSTzvAw5J2DS0m4cPgVdF5z7dgkuGorA3+xpHOVVsw6KnDGO171IIpf3kK+uc52UanwjM2CDI5BRNfgbuwsT0NhU0nGKctWJoSfBTWFruVOyGEMRkQykV43VqISoBMMVdpliLhZqkjqw/Jdt4thh3AdMCCigsJZCEDYWICnprr9rmdEGXjEZYiwKgLVd2p8XRIeWPzGIpqvViBZSG9MeKWW3iOOelgpFe5sU2Nf9XxcSuZ0j96r/KsyFcSH7CVc596OdoO8Rj4olhyAM4BdAcW9d1hTEB1+KvXDiwrjp/9jyHcX8+LC5V/lCEY+9LuhhBQFGFlhD8QlR9JlVWjzj4OCudQqJ97TD2kybvXN4hS2BW7jTmMDQwvDCH+bdp6BRh2KIGDXFhYqP9oFxJ9RoP5q7GBqHq+F3n1L7xiqTPWqfUkgPrA/fnDS5XZa44zqwY6R5TqM1pbda6HeS8pvqpVbKYnuCIAZ+CRyKW4aXoxFhJf2vlV4fdrjnZQqJ9uqg7rH/rhRa07EW0OPOzH71h7uKjUj5NP0kP+wtK/Ar2z3KJ9fSAN+ztMnNHBA03vUE/HKV1PWyKfdFSo/3WXv1q6Zv6TiGHnHGQU1cpZGsIfRsXzKtFj5MAZT40K5agwK5sS2TuDYJBQs7Alsk68j0po1IWRqXFPbn6j74FqaM0LcCA9I9ECQfEEnFCs3VOApYagQ5JlTGPlppptTv0NCrNfIMzcz+vbsZY1Von+V6lOEs3nndmHQGufaZf1YO3i1+NW71yZ3y4q4J5L1N3+JSKqMph0/49QU5KlFLhNtlbeNHP9vtqkpZ+c0fiLCUf4rpqmE7sVQY3onfSyVQHY0mcF5nTBOx2z6vBH2wsU7NTWU0pVLwLOXsYpwWIVpQ4GXHxB1TVO0YhQYprXiBp6c6lBfS/zYIqLxQf97MGG81/QA751lb2AZ2FsCeVMwU/p9YyTk670OfgHkg8kMpO8bpCHkCuo5HPWKDFLw99bYzZdqRUbX4R+Fd5fY0CW0g6euzVUmkeYcvRVFLVXqYBAsVrNJW1hot3s/1FtmM9W+Q+c/xMe0mOB8c5kEHAJbGT8yGvCrMnY83lHxD3DvFw9IlWdvRvbE58u0UVyHhPiNURYJnMsIYzuXHJlynlZ7vPPcFlSoV3AuIj2eortFSSjy7lxqAXQ/1VHcjV83l15t103/FFeRRLn8vbYQ4v4n9ansaxElVdKmzqT4HVEbxcXDwTeTC+8CpFO3keO4pV4HPIztTuUBuwKzV/gT4o7fQLDFmAfydHMAFxP+pneIgHuf7iLyYCMCOcGLvDPRqiAamrMKAgnYV4n9v9NAsGwSM25XEbujkHLXTvHpy9d7J4G1SE9j3FnTHhghkM/ZAHGMp/CPH9xlPQVMRVByCl7bPJfmy3hQiBz8gS+TVQFc4MklunHbPCnNtc7QrZz88lijPNGtAcz1keapOSR/nF6dhLhD5ETyxZpjQR9t+0cmbm4JOLdFWpLMbAAU6LFPfFCH52OUzUsc8vt/k+oOqboNmu/ghKKaTnxPBebZv98RSldDzAGNtkPXx9hp2kQpqjBnU1et4RzhYBGilW7X76tW8SQGKIQhKtisBjtADivwR+tBUkeMZtFHe2LyL+Zc2tGtO20YtajW4zdYMLzwLNlDJhnTGjtiDn0ccAGpcANtL3/eaggvU068YuoUpA2MKEGeZ3HaXFHi6xvFf47BVdfb/bTv64S0h4/3yY0V/wwPM0IomS1VE/DLc3j9rPr+3JJmp7Dh/66DUq/lAhCeUxCUHrTBQNaiovh8canXYFW8RdJtgNxNfboaHaJbMFuaH6FuuRYobsOHX+MqeRtEjC5iC5PmsSE0XVLJG+7SjWthXEqA07r9xfFE2qDlHVxDRjowk+CbG5RscfbLCbVRp+eHiREEjA2yRRSTLn48zhFbjym/FsyG/W/+edLqc+fw4A+jCRZwbEgCS5YYdCfp9wrK6wlGcx4XGBFL/0s95j6BnmiFyhrKFpyCc6egp8XXOZbd83Qx8E2YLtNYn/+a2cYWsg19+FnwzqGATb4QwY+fWOvYxQIdJoohC7wjQKV9ZoV4PAf2oHCT+HR6tjAZXOexDDLWpZIM/8bYsqOmhhqW87vtYbZduS+Lr4fCBMNETw0fZ0c3A/szSlRQg/gdNNqOGA02CtizvE20Xa6ziIuV0RHRxspjlnOjDg+OWAZ30pCqTeEIfAJW1ZKIjDtIdx1J37sCqj5CI8gPPfFgjuH3hukXgSU1acVgRYydi9bIzxpKhm7w6trqYBVOUeD4HqBhxUtFeM3gEJ1S2z0DjS3xCVrTdFmARKy3dj57FU7ufIoxEwF/1R0PeplOp/LLPZoQfGShdsV0lfSptXYlAifg9bCHqR1fsvv6bITHRDuRt/8gA+uIO4F0+EPAExFHzraQNOS7oeROuE6QQeHuiCZJ19LLYHadAnTe3d1RjmtRvo7AjTkKP8U/tS05DcHpgHB+ZfxI0fL2Ey8qz7liF/rK9LsTi+FaktMlihbhfpFJq+Vl7BuLXCudZH2TLdDQSEyyxDK4KqJlic+m2Y7Kla5Wpym4MRCY6W3Gdtmu2sihdHVxjK4EwhOOqSf0HM9oTwtIJYPRLiIsekWgeD/41K9VJ1tYp/fubwSap0NmiZMMZa8rB064GxnaWHEsLEW33QIjRF0dffzvCFNwLpqASvCd4aLtdcNHS998Jmy72Hv9ITLa+kD7yxA3mCKDydo1xbjDvAzZEOH7eiuEsAR5GBDv3GGDYait+JJxJ0YGw1M2iBF0xRN5VI83cww+lApriBDCigIVLG5SZUU2GvVc1+T3xL8XXY/jeBP5bReDq0UTAQrlasQradVfrcaXrFvJBfwmdB5wi3hvCRGdMBUyiUISJ8tlH6xUz3TqzCeBYnlV8uzz5jtU282VhHb4NaaXgGRa89uG5i1ZO/5CVxbU5Y5ZId7WPIAqQ7umRdVEVoXveRNp0gXun0Ik5UT0oDVU3Yn/JivDrJO73VXfXGv7TL1Z3WUyn8Y3hJ4d2XvNcg6uGNBpLGf09rF5U5u1i1vaPfW8/F/03W0GTCAVnD0xrWu1x7sc7UBepoTIm2IGSngMbXyV1bkYT2Ullzw9+zOlmNrAISes7UWb+yK5XUqj6Yy4WmXqyPfgwDe2H2LnSGkXdjLGdle8kYiEDYd0ztAV4yUeuK6U5HfwB/Onljz+Q8Lx2EFoJSehOJRl8Nq/MBFC5gm1T1DP0xf1/iny5hNuxfZ4Pe8OQPQ5QLZfMHh36enXdFe18MtgsMf6qNP2vRsecVyNVJjTHTvpt5ouedgCCwNpoJb05/xefNf+iPQfGwwWPceXXaUC5qkxuiZtkzF6xJg/I2fNwBn2o2KkOBaoVlzdiElQ4RVLN5pEVKoT6xdv96Cd6LSGkXXMYZi/+AYUumOn+bv+y3plyVAg9rZfoTC1Xme4PyF+wIpCP+eemhOYyetbhEL03u2WT0JOmrzO1lY6h3z7ehfsFF8dbPs0S6sr20xZnYiULMjZjCSbh1fABtAR55zw9YR0cAJASSCq5WLzscBsjMotJHTiyLdrZjAronVZ57d31ageg0GRVp9JjN3/zNXoRlZFsJp36wEvF+boHNjwlA+v64gfK87kiYtYwKB4b3OfSre3K5wTuCz3KXCQQkrxnoXhb+VgD9hnRIe7iV0l8/Fa5JiYglRcxcKEvF0bqU0N5qnNjph7c+58p/piIJPH9/xoDGtptIiofS8Cvk8N3ke/ZjtYvonqkHkzU6FhAeaM+EpYrPBMTmeq7jLf/IuvQ7/j6xGLTzoqNupDQGJdv8vf32Zwh0y49R3xAYpzQqTYvmDcW1959HRKKJAChm+3Dgn2eRInRd6G8tzbETJxvJVRKbVZz/rv6brZhoLv+3Gqouh9vduswqPzfPF5PSS3W1So8omr7ewyq9HTGLR/L5iBuwKIpzBhh9EmduB/WLyOQ410Yx4pOFA9noHYuammpmMo3d8ofJSBbLEzt217Wy8DgrO9gfUbljXYo/trbqoKE4OXltug4w/hLOwuJtynL75W0UC7TniCHKh3SVqi3OG+YB6GQdA+otw+KE0H+qWn86y7FcCHZMnNTcVJoVlYSxwWETxPGFrUnXuBQO5iWqP05uJfQ6IAWh9Oorc1781O1yY80zbIbgttIVV6WrkUKshINzQmBE51WOL0r/D9pwM7wZmMp43Jjc9gLrfH3/Z/a2adoLpG4RUgRMkMpPyj/17gbhEzdVTXd6oLgkyLsqhrNEQ085VpMKFSTHHA+wm1TSLp3SS/p6GmRGIWzLz4+8w5JpzDBcVP4jZIA2aHUB/uSJtsLMOwU85B2/70Sq/wrYfHwDU3USUMGdldb6SalH4uXpzWU9vDdkAYxXJU2DqNoAZsAD2HlXDaXB4aTHNA38W9C0zjeI6HYqtoX9+0mEySoliy2xEAXHzLkteSXFZ0e+KNGCeUkLhDX3dveJ2KyoYQnwiVRjJA2WreN5GXwCjpX5UiyA1Tpf60ZJXSrlDDReNK8wFWskQyQ9apP/DMuXyDQhtz/WPqo1MQEZIt2MmIEWSG9VDitzD36TljsRl2S4Xs3Nrv2LDVKM4wg6TyQ7Q7TGSzQj4+nB63oumlDavM/EVkfK7plUTcNyAI8ZaRMPbzZJG4cn2Y+EmaU/axh0Ylj+xjOicdGlNx/hiiOS7r45ZVQgnmaDZTYp7OtF4p6S65umk8LmYVW9awxE1zupXpnj712AyBmWXHq75WDX3HKyQHHFDG6IiRpzNXRhhjko7DRLZDwZ+Sg4O/VX0ka08zyeFVXcJoB+GPj905pLJBy6LFxHeyncncNAsv9YPaPvBtj5wogThPId2EiDNMyf2mEfuo1NA8tWee5sTff9n9JyHch8Io6esCvNC6xjLoRGXc4GAq1qFhF53PiccRU1mYr6H/6uPOzDy+B459jlS31BhlRkorxdhaX0UXsNWiEPn6hJOaTAneglf2uakbx8kj8TJ+fzaNNCG8dvGjJh5OQYESTLCLjn7V/NBgJIf0K5e2k84+/AvlAbX52ot91GgZxiAB1ADaCo9eMI3OgF6FbyXztqvx+Wv8QBchE+p3A+uSGG0Egyhna5BYyBjsf87Kv2VFrcnZ/DLZLe+TuwEZLSBV4LjGKdt9ja+NBKJ6nDnsD8RTdpTGj2hwtbj4Y6QUJZefN9VIRtmujwZeczLPRMeBGwNDOVCrgNRGzp7oZ0GpGJmyBOCFZeoJAdDP7b3j/qQt6s9Wz4qXHPh44goazhL0bL37vEBSA+bfrSUHxV3GOP2o5elS6spXkmWadYJVSDGyHdvSS8xOQFJWO+VYdFWvUu3D+L/GCk6AHeUYihFXPyCCAqnDclVj5yojR3n5/tYN7iB+ci65P5gTqRWE2UGay4kpUQ3Ejp2pu4KUb0duxVI1pxODb5Sv7ye1yiCveeScjDtCNGu0/gEtR6IPYfncGjxWEpPA/wDH0AMH5h21qQ8HNUEkog9Y2V9O3FnKF48JVLc09997FfPN2ERfkO6gQcKdxPziar0CaNmkOwz3OhIWvtjMgKQ+6dJvS/pqN8zuHeyEEIX39xZdXtvMa4RGOgIv/S9/Ye4sQQWY9Omst1vuexmdT2ojDq5u+Rm4y4ouDuoMNspy4LsP6q+HYRccyrglR2k908egfRRp03dMXvPfGvF/7rp25l8NubDnHcehDl2uIkYIg48kTG0X7PqKEHO/lqv/xQvfH4vY2s8TndMY5G6/R3kLnyyPokiN6pLb6g066JioQJtnvN0VUK/GLLadS0Ka48cUi9OlAC9txRPPovdCCg5hvH0hc/nVCse+xU8QXzGtMDwf9RNI+By+rHNfi6Co97xCapLJDEfkBaX6yowh5oTuWd5rkXMvXswqiORh7Oq7PVn7Eu98d9uljluIOEx0wKqeyAOBloayJ0KB/oM68rps1KauMd3OhDj4WTg3aqAvwsukC3Tsag5qlKUyJ2pwWuxzHpwxO+/i68/OJetrKPAi00ArKM7JKsqyIOR4CbCtYB1oVd4oVDfH+Oafk83f3KsCk7K2ELtHbXAFzTQDHeqKzmzCERE6T8gg4ay11ASJCXWfFgpmJvg90dD6IrVZ/mdYotBcTryFcYsMPlLs95aBm9wPExF+SMoOmrP8wbHHx4z7+rgkV95rubirV2ulVPNgxdybQAQsRgVc26BzjvkpTbum8VziatRj3q3Fv+8AJNGrQEHAACzgT/+Wqa+n02e4uzJVXW395G2fhp4bRlnOb64P8afOzA7c4JkYgcZAcn2XdL61iYQeUtCHHg/HC0NlJ6upFfUg7qX8zfNrujQTUCBjzvKkmDIYcwNe1P/VEiY+eQ+HIETRt4bWYXXnAvcPnKz3/a43wbnCsuZr4QyQs7bkT+ZOA2kSE/kqLIMHn0EQ1/QbwqJizifhXtqn3xOu0YgiJBEvglcItPWSMS+7xp27ut6KNE7OGfNgOnJgp1GZbAvEkh72LV5j9ErIgFzehP+h8l914v3w1GktdH1RnTBZH1Wi0C9d0FEbCSDWsj0kH7XGdVcNLR6R+cviw56xp370CfZB0wMHb1gP5S8s5xqSIHaAYMTu/oNqNgpBkE3vRSP++clLJPhfsIeTQ0l9u1HYjiEJs9sOOo7GRhYouIxjUE90VySrrXqdv0XTn01BtvJEHSNZiimN4LSoI1LWvDe1iuhguSDgOT3OWCY53zvy3vv9WGr/e5/xQMWnbIUQhkvC2EXqoQ1LUfyMPC3ggE+zaAcGczDXW5GH+RnM6torpwkr/w6XgD7u3eDlQmudgvgqPb74zokrlGrJJo1mV7vKKddNU6dp8r5eWo6b7rtHrKgQw+09hX526UFKzSDRsrbzrUjmKZlaoCqUk6HKBdvaUF7/26mqxWNIjv1wocHkQY1lL2T8uTEAQ+Rrq60Xq3xKe20ArvA471kUpgXWGif5dz9hP89iI+AIX3sbicE87SeExKBNPA10WOg13gbhzHYS+jTrbm+kB1wzjkMbF0ynbQTc1G8OJ3bKP1mtegEwwdc9ziM4ONCZXmMBht4VyBXtpbNl9eGsP3gpu8mP1ElgVH4upOVsJKzmTorkAVR2OAIm4A+A8pUibhBFYIkiLdrf8b1kUEkTtbY6jFlbiJ5su7AfDvy6I9bgpIIV2lGEb9TrOkt9kZNxVypuzhTIpDi9tIAJIxlcboPC37wLyAKtCq/6JTfop8pHtAhApeA9j8R4C7o+cgLBvYZ6AiLpWcT/+Ig9LFcfDRvNtb5RJv+wSJ6WD/FTaoDdfp994VCyQA5LLtluTwtzSi4Shx3RyQCDX99wBo6lDDJR26F3AtPPCsP8/m5nLOqxJVqKO/RhVuF0oXaxn98h9piF4QG//r/5TgzY81GVwQ0gVlune6qYJKcMyrRtAdJHSIK4/Ubt0zpiDcs0hZ/skMNuvCbOThPvBNVieRaiKTNuWs3mCLdPILP0zYbTGfyzIEI4BozqFVlV7tqpAP6UhjL7m3wu5jbpS3OE0jSHFxspTJuFl13ROXCWp1lT9Uqn+q6XBK8+hsbQeQttOZEA7cBWRB10mAlLrReuxdWEW7DyWKcHr1DZhhOq9kwITJRpOLtmBCvp/2XDYVhOf1VRkP8nAC/LOr4nP5gDXcqW7Rx28aIqMjwaCbW5YUE4kGRF3uBvgyUCgLU7pN9Yd+nxQ6QVT3nXys8n6ESn+Vo9V3lkezWFBhSuhmdsnP3eSm8ascpJ5Oeu3LXk1Vfim8tfpkkgkYcvfbP0P1kZdUo8wXPLC0XWcblMe4iqH8uIwxIMD3KXO8IsbjqbinNpe32TVpBDmFU3Eim7dl4fH+7Wky9NIFArz+JmrG3XvpI5tMCIndUSQCCIE53E54ZhNUD/dDoiT/qHxay8TPTWxEvl+nwPvKY0UK5Zl0xXDsWbFD/t8UrmUBKqVM43wrMmWypaSIAThDv7zL42yg5UEwaWtNQseQr/WWJqvZvbiVGrJM5UmQVDNMTfAUW8XWGlEcmeWdmnClMeXEQm7qjzbfmYcxzQJ915M8XnqSpbxlm9WjKtwwXp8YJn9cJ1mZbnAaHE9bjLhpJb0dglkxC1Mt47oqLfocPhv1OuivQN+1fIJFv0EbCCAZesB/cwkaBon7dBWlrQfu9CGEAy6OIdz+Qdzfp6+jp8EItmwDQVQcl9M2YEccX/5RWue+/6vHBShDbFTnIv4E3bX4eYdmUMbVpMDhmCf80yJ3FASQrvUTMmS4yPlPFcLemxctPK8zR7pG10Oqn/30UEYnWIkrCFdYBfCiOmTKl29SosI8FkLdCJBw+zqEsH2S9HQS9oa4dzlhQ6TWQAmTlOwejKPhhHwob2gFPbP4Qedf9AjgdJp0UuovH4zxeA8FWVe4sqVWbEb+4M9NSOVCVw18yTTvO5YW10XEIO7c843vOpkbMT5fWbJ0JzTHt+X+Pg13ZIRiJ35k7olnK5XfPKUj7jPN0LF06cR226bbg1mNMIMSggQbBNGWr8Gk/cyDbF3ezjCb690pvpvHVRLDM+b2L3vRFS2TQcI/OKviXRU0CzpuA3m/k8uZ/snnbYmhIMMgEoYec0IQ2uFbA8FkSMPWj6SGF8L6RM5sqx5LY1bDB9kjqd1ipnyYqoWyu+31Zj4opOch3wxKKv7NERe5jNfnBQgggFMWiPsPE15DoNMF7piz/wV/1sqImENUOUjpdTZyrV4U94nOZDl+z5kNL8vTBagr0m/mFDSvRGW6JpMZFk1pLlsyl2RzlSmJmJXnbvA9yjFLR4ZnCLQBqxv9Agh9Yu6bo0QDMXuRA9cSLHtVEXKVbIRhWEsnHRVJWLD5gmPuPnWzzIkb4O/tbJpDpXiy11ySvVm6v95TEiXXVsmz4XaNEZu9qfuEzW/7y9jstPRMnjWAzXIpYYBdpTyLcI7PagICTu95N3pZ3lKtWhRnn3IQHqLgfHhqfn4/GLxJwZC3mTRkGEXAJR6xHpvOwahMG+kz1jCuLFDKKX2XC/O5fqE+5t4UYVCuRmfr4G1SfYIXEMJbDCdgo2OeZ2EoOy5lkqPQdVyGeaTa4MgbLjI6ki14aTFIN9q8xeKm7z6qTl5LpVbnVQwfQpvD0gL0RIfwT5wJHTSKs6YAvWHeUH5OvVYHUkbqiDUOgMBJ50DmvGl42Z1YADmmSU4/LNOF46C76SMrZF9kN7hq7aXARhMuTon4tn68oHL7Ax/9eSwVw8UeFGl8RQvqdOjeMvoYotm9o+3BfJ8d3jiQZYiBz0JzCW0a7Ccraz1Gc8imYKxpvKV/f0Oaai+eUCiyX5w4UKTAMB1NmxFfR9zifqYYyJCidJPVdpOvEFQmKj0Svqi/EhwBr7WaBQTJJ9UIbTqWxYXgZIm/70IhD+BK51j7BpLOs0DxE10o7+xxBnFCfzRjzz1gQS/rBF6PB2c1KBML4ublNXN9OC8NX+yQlxVuoCp6IJMCeHMHLhCmKDPPYat6HsgUiXnkeplmBnVpHSmX7cvKuakFQm54oHxcSit8KE3rAOVQhrd3WQcNwwqjoPPcAZB32bIvl+H2G5MzLiFxFXhv+Trz5GWJK0aOXB6HDPPUjECRvaGQNCYor1jmahMpsBx+MPgWMi7Iuc7yTrEA7ONaOBxTY47fsEotdlgVp7v/03pwOMowFrSrwshZAxjQBdtgEiYiiW/+YObEXq9mdgEH5VdOpyhlCFTlz1K/9nR47Pj1M0ZWvn/N4lwh3tKoN7wgU6sQPH7dD6CjN1e/pm3jD7iSqxGRPLnthLUpZHPJdEWFizi+DlQsPMLGuK+qO3w2oPAK8RuE951uzysC/loQtWXq3/FWbrdyHSimqFZRWugQOty7gEam5UYqiJdm5dAv1bdsNmFD558wHq5v0Y6RjKRGkGwS02CFIxY1EeKP5r2eFDChCBCT4Ctmg8myzNo7BL8mEQnmAGCBDbXHLQNtqGfzi42nBE6swysC218MHJ9QIL9yOmbs2gd9gzW3UsTs1z+4jfjpWAAat8N6Ouo7XP60fWrioSb3GjPKtgLi+BVdDlvTNpG3JaGf4bYJtspfb+Z/5HOuK7rA34F9h+cxHaN0nsBcqXm3UAw+Tvyk2tui9hC2MgTrK3PfUxCIc77Zoud9boQxEykv6mXH0FskJ5j+tQWnuVY8h4uQsM0j8Chw39zKdTUThLYw8nbqLP8OUW2/uulvyhCYC6T6divVe/fdkZpMW7ai0wYeow6OM/KOzlmbnVF6QCC2074VqIS/B70nS3T2+kboqbUOjtZLxcXn8qb5qlrt/e87TNRbYjs7xWdOsqUe++86wU8ZALCBsXekmBr1FRaiyeWNXlnGsOytEO58oZktdU+6256pvCQrnVyGbvXsOjxAa8G7DN0o9UDtPfAjsIUagmhy0rGAVjcwKaNxk8voScQlIfDlWRBk3PXE/GFH9ZZGKTcP+dUgDu9K2Jn45lGQqjjXdkxp/CJY6KjNNSmUMw6YSv/dCmShIp60heaMXKq1AGYQHp+aIXqBTagma+bhgydRRpr7Eu+p/RqbXJCIepuY40fdJyKukiqEuEV9aoSuYcCpMq6fW8Zg/a9sYHycxshPfxuk5rh53Zc1gBNx+kIYJz+7TNQszPlqHiwS2iqGNrQ8dofM9yZw3pVGlWMyUSvBOLIlyFQVrhoU3QHR47L8e36G9Z+CNgTd+ctdTO/72Jga6ZYK6Xfukx5nY9P8Nvoib5qZUPp4IKKI5HKEfYdQqygJ5sXmq7iO1OR/BTA5oiokwCQQj8Olaxbus90ngEGYxenCftaNG7JDkgGen0M3iKPxPwwnqq4YcmooZC4bqV5m97+4MeCiWuXVsht3+pvFVC2Bv6XApq1qbXiD6oAapCM7f6UWrSkBYEjvgJpIZkgb2otH1v8u4osvv4nzBG6xYt9iSsYW8Ta7L0AE6MSx9wbqOjXk3YBmmMxQmPAhe68WpnlpvQu/+vSg9d3KBXv6JYhEtJFiFMxERGJO4Ce9PMteW6lUKojqjgRKAmQl+PkaT13Lx2P05378kj8qceRooiLIbs5+ZdaytRGjjAeX+vBmj0/BhtqOnxPvWWBzV1lpim7Alh6SxNm3RJMiRohhMfddC11nzko8LzvwekfJjjeK7m6dPYFZ9YY1adVo5teawsf+ot0pD/jZHqeEpB8MzS3j/XRHfSsHa/fUVjck8LKzIt+9mTkeWTI0OqO+F4u1vGvET7wVFqGT6zxL/8ucq3ZM8oeI4bK3NAmGKy8UsXLrAW6Pp511zWM2aE8JioDwbiNxBFwjpleLFG6VZNTuhHCbYwH4EF3Mpe1fw1a/0qkNEAiYFnK9/9/qNVjPdNC32rcycYP6U9pWCfo0PAeH52nQqh0tPAswLjxW+s8vAeSXetxgGRZ4dqtXtExX2mGpL7udgSWPWEV3ljckO1b7k78jwkvqLTYZh6njer+uCuTBBhllkzZ38VpWmr2wFvzyiEAsKXjKteFUr4GjHLjiwBlsw8daOQj3m7AvBDiM4IfkWQ58omZyEsz9LGs/kyp9lYt58wC+g4pNovxmQ8mU8qfNgCyGGYXOVmex6Fso3fAltGjBvMPUgcbnK1o+CYQEEMOg3aErSe0xzWpaC2kvgewZ7SdIcA42TQLMg91CyGZsMEh/Onaa95fjeh4KwPr5fdxL4J8xdwpI3Gj/0zE3bW4AGKurP/Q0X+kL7N9CIfw+0M3NjKce3DwuXxzMWpIfXDpueJjDVVKISrVz44AbW1SV0NGDokyS2GPxm6oYWr9+nwBqDTWjjEcLAVZn8Wk6MW0MvWFGSCtv9XvIMXAqMbeTOjudvPyJ05fpvs9Mxo31KvcGm+YlCWFP/8uVXJ54VlWecumX1H47d88uYkiP/9pDBNIAbFuEBxsr9kJ+Wc1Zo56oiAea+qgF1syWhi4uxI7I8974DnHoRk0P700stQkRn44NY9Yrqx2qCAZl9mqjQ8pr1EvR1KKe1emffYRrqASqdoDeAHvw9dYaNbjcWeBbGrJj1mEpmpyzInMR/E5AiooQEXzCJGki37cQvydvvMcskI+q9M5y++hx05Tbs/aeQzcOrPoGPJtkriIHIvSCkZt1WWQeBjXSGJ3xErveXc3KpIZ+tWCYMlsbDRqXf2qqDAwswkjmwPgZ9Movpd1Z6YrsLfjOtlJ7NCiIeALc6gIL+eSoKFnd+LmYtB/mNjl6uIDXwOToAMTatlTjKKgpHSxrX2j3+vaHM1GJ30BY9fuV4Su+wuFNCLX/Rn5pRrnWRMJhkgc400NWW50IlkDytL54S4g3gvson14ps8QCfmKWMQ5sOhW/Wf5AEBa9A8xfhBcIp5iWPjdbINcdCRYmID1CBSpNgrDBMi43zLey/H6J/P68Z9VOHMcFCDUlD0gC0MebzDUh+/0aHnEZxSck14oJdyxG4XON6/v5XNNnJgUPs3CzxS0VB7ilPVTp6IUR3+1a09mcGOFL6dKPIJCUDF7qQLy44LRr5d84P06jvkKYqnrhmjO3wJwAEzDZZyY7vBck818vbWh3GR7DR92EhLEWpP3H0djx76LivkdXlciYCVw9Fv4nokF7KTjII5tbmjPN1bDUghAruH+KhLoMsjSNO3/mL3RNSzUjWrqAzxtuoNAGG1X5yVdW4ubMzD/bAwm0qfLTM/QPxkWkXK23hFcK4//zfq8MVxtRlHiIs3KEvcbI5NBLhKvwXNa8rWNeT3K7BfQ+13Cw0ABcl5pfySxwbZTpbOTk1oOOHkP0cXB5hMfAnTVXbMgA+kaNoTXVN6pB2LB69mvrJXyEv5EJS/jUGc84GbHlL1kHx287pfG0aLY+qY+06rSlXW4UaurTloqVK3s7erfrIKcv+hhYZQTbyrH7R19a6kU2tGQIQsxP6rpoj/gDB+2iHvj0lpOv4uDc0/Xm9SqYFNRa4kDp7bMkMAgjVHOmnMij04FkBs2+GbIcrWYFARdywZoZYLN0CccArPQgkcyA3Aihfv+KXMGNvfcMO0j99NyIj4QmIDWnP0HpzaiRtLFdefc9Jl0M9H/G6vcD+SZagUcXuXeuD22gmTsu6rIFqu96xIntu+v6XIfhKc8IozDGBPmG4HbDJpjb8mHEJQ68NdC6QQyDkDfygNvgIj1nRUPpNS/3iQ8hsg1Lgq1CVZoqtxg45cRrIlJv91V7iAXlf/Zz807UikOrVpdUQLpVwRxYvoIGnAUjzbsY6ddPBXWoOvN4KbsiolrpsJHmdWDCdL/O58yxd4EmNZaOmbVEXTArjvSIiiuNNFpBhcFGIS+4NeAXnlYkDxeEOnrL6VN1uEBc6V/KWi4M2kHZI2m+MtvMc5dAwT7PrQaAPY7f3bwNXbE/cj9BibXfEnMF2BSNs6XuMJmAGlayYJ3lLB5OXZNApAmFFaQYIi0+S9qGTlNrM2pdQVfzZ6I5ZPg8Dmzfad07DmVhUH17k2zdfwDd7brrzgISQOU4OWGsaiBFs1YvsfCGdr5hfYgH/bOtdixh1zq6DjJx1zoiA7D9O8xM5AvgrNrFO2xdWDomOYpKc/hPnPbwB0fMXyjyFECjKgp6JC8ovOzdCRDQUnh3cQHSsmiJles6kQZNLaMbd/pEjo6IKrbu3R3SRnBb3I1XTpiGDbIar3BGcr7yWleM/O7RuP0fzMdxBRYzAB68o1Ymei2jVGhpEfaTBieqiD4TV8z9wx8nNQYulLTRSBL+RyduwES7C1Fw5U8RQI5EO+BGhQXfB5O5Q6Zppp/jJ1CkOoP9K2i25gtthjXxAirTYUGTsv0eNfDr/Ky60BME9or39o01IiVMFnKqci38U+HbQrH7yIUnNfgeMF23bKeu4k3S+B9/BTS7UF3jxitTjkNQWcJ+3OmN/tbL9Fv9HdtqbRnom2GiXv7x55KaIytk1xaodEzqPh8ugPrH3puzSYToSvzYirfhqy97eEcz/Epv3xyd39YrMpynHOVA9sYu9LuOHJYpBxEgNmjpYa1doTFBLHv6meHwE3Mg7KNjQrfSqip9HI1bSQDIcBQHUALEdZ4v0nJBMr/zSevzY4rBTzFJK/RPuXQGYMTQxQhPG3GTNHv+Xn5kcX0DTEC7thtoLbZUlCpiymWjRe/PgKHglwhhBJynbz+39/JZrbP0k3U5YljdRORdCg+1c9Rg8d3zlaPcZDF42felYiWGlBt1roB1Jetx/CCdgqWl5MzjJWGi+y0vJt180nQqbjJHA5oc4sG1TVyyG8Pc0D042c1vozt9YD/zrMd/OcOPT5132RyfM+KOqG5YJ1UhLqpx12lkgdvXU+tpS+sq1NamKyoewop4UWPfjYL58Uv4ziE0yS+vGTABwMLyg1e4R5Gr59jLxkYA9NXbIA6Xhj8GbzM93bBAoWef1Mji/LRJY1W0rOu5x3GfEUH101Bf5re4Qp+cT14dCgk8b6TG2J0R6l45v+daKFNPQMPgN7vowJjT12bbxO9plSc/U1vsbLnNoh3pT8NAbWjHPdJhgRVot/tKr85oEuYQ2Cjj7efb6kJavzK9B4dEbSd7HMGMUxxZ50JyT2lPOD5P3ZdbKgzpvtHdroLA64wAS8B71rKTlKsZodZLOBfW1ynJnt4jyZFv3o+JfJpPzTIAsKMZTWMDp4ZE/ByIhXnRDWbPEvo99cBaYu7ERBxUn8NRnCg+Q5FVdd+seUv93RebetEvGOnBeJHKuHcXTcPErwtiooWmhnLQOqwJd7LurE4Q8wlzxZIEa/O2o+OrkYKAn+gpz7adK4af1/O+OdhEPXn+qcD5wKXzwYZddcSc2EqBaLE8mzCoK7toTSSSH553qb+fXIZAtXwRnaIZat6/CGenlc1le7fv4rVhtJIiBmvCfq8RabewaTw+Gj/ghJ3VNwkFL2zli3EsxhJoFsPCaUOOjLC5XCil2D1msBI+gefR0uB9o+NCN38hrBLi3z5dHlV81LvV8IocFG5yFSnqCJ0+tA+/8C+g/Agcbg0oRtHwY/2Zi7Emx6Pvj/5SbZf/VY8+4iVknKFEmExjyMT1GBxIJLDlXQYmeXtEMoaQ51xSaXV1okY3Gu3eVABkpoFclfFPqVYom6Mw40cvI03Ib4ezyHagUJcSxh92AjUpSyT5zoKb7LD/lDuOSG2hSWU156THshKRziQxgx4Bz8BZkr46rPmyMNuqLj/P2Hf2/59HD33ItLfc1G513JOvZzI+0VBuf3pZLvFJRqR+JmnJ5lYe5VzlWTc7LJPak2o0HD/z7jS3VGB7P01jbpsDUJI8h1UgAP26UA1BTX661h6nyirCOc4WpVt6XuwhJAGx/PjHzM8kICD2szpLaEsg4LxGrzl8MHbApJXNouf03VUc5Lr1k7uzNmHNyxoh2pyZ0bAPJVcnwmVw5mcf5ptBlH7sO6ZcJe2EfMTs+74IlB+k7u+PbUlg65P+Xb1ZvfhTL+B8XXYP6WzCX8Eq38i+d4ATYALgw4uAzTEf9Xcwlmlmc5VquJUp76SGynbak2NIWcyZM/EvYZ/xat5+IFWxsQUyBtWEI15nsMxlFTVTBnzoEqD7qO2jb40NEUqvQtSG5mVzXQNrRxlihOXjn6wQbrSZixjnjnS6gzXlTCN2uw7DnkI3i4EqUephXUrLFqDUaLbOGteSmfDnVrEMKgdmISBkEg38tfTf8btUqxh6WtrXz3yI3oJvIGCCKmfzHvqAvhgyey73jdpL5tas0r/b7oSltRgNL4crdtjtTWdQ1rIZXG7UZwctkXL5OU8jgMtmD55oQMf2ytwjgQIyeyexsTN0aoClbvMEnMlkjBIxfc1QKWcSLuqloWch+GSwbm3a7dR47zZIhkHK+Athsda1sGumYCqaivgSgukTFLntNIgYMKpoNQ9wYCHZ7VR/C8uugmZyvuFS77QRzdxlZy7zfsTaTQEu7DYen6O1YV7n2nVyaUX4mHXXOWThzngdUasTCvT8gWm6y021pi4Mzxk0q2rGzUnkgBK6ITgjBneRq5yOjWyK9TwqGQtpy0KNnUd+CByE9DbUscsyJWbhFhqy+2p3F5Jj1iObmE+vvliClifcp5tHMr/JZh74c+dS6GxtVUdMFJQaRd5urWQDCLivKArcxMPUd/1vzW+itplsUbmRriDNgu9kanUwJ2jlGC93GNx337DB5XPWjI337LyaYcNvkEQR6BdR/n8h8e6FoRIW5/73CIEX02Z5c4/7BaG7qL5gavnqGAq1Y5KNuL75CSet0mf8pi5kCstvb1ZPXakm58ltWzwiGQ+bjtr/onTw4kz141RIg4hfk7ryFpjXYRE+rJB6hGGyzI7vWc2NHmFUMrEya3wqPTrZcBCaW+SQu+so+gzVwcrkub8MLtPha4ZEsWDlJUll8x1YGewP5wTkUCo7qcRO3Eqhv9PXykFpJFhC9KjDYbJImDIZwtZCVRxje110bXkDBElM+Oq+xMG8vGncUfzegHZDT/Gg0poM3dDS0E5UUMrrsKpEovwtTFmwPmwBcaU0s05xOvhMc3yWd9dCHR8argeleH/3GPDYChav88nErGz8NS/g29HHbunIDlptKHHTJhLrpU+A86VXFE3rMuARHXrkH5cJdKM7KMQ41k7SfwYYA4JjFFBLOIV2t0sZUJJ+FslTTcTbURUk23pail/CRqJV+uQ+mBKwU1Q0MOv3WlgOouNytMtj3WON7EemMTOZjguA4KubfOsDWKAFjtoySDNND3fdMRHioxZ/I9915/gC7aPYA/H7r9a2E7JA57zhbc/IDSsxorGt4DAib9G83hPqE7suW6unscq6VHeDJo/vsGt5M7mOc4LAOcTX1cMRjmEBarMFexB2NyOWhPeFc68QxFjDkIivjQzA/mkfDFSYzzxVNKzVa1A2k74jaefPrpTPCesDdEajC4038PUkOx9FT6bFBELGeUSgsdy/Oe0JRUUdDcKb+2g7TPB9k+bYhR/VRhihaHObjquB+U/Aw9AcJtkvh2Lo7ZY5F2EidqS9i7Pl5Dv3qDIimF2uUNuRl4t6P1WiHJldNmT2wVgbgsaWO0zqNGqBs12qreJm1YfbtsW1nKFpRg9RnR4eAQyiXuUFn4ObUFrgZgrM8zm5p9oDkUWAIdH1Ws1D7q2twpJBMYuklNeW3SXfUBIrpD7kk7bePlEiFP4PYpoud1Aiw7byULK5sOXqSSNbjZT77P8ofdxi2AMoPb2BArlAfKEYEG8d3crFrm+4S8rGfCDpshoy5keKQQh9f0nzUX1y7YevawtCi9HgikVfZLubysTRcn04EUyrH+pbfN+HcFT0k8loYFPNvi3XkAKQRTo9whCRFc0cMRVaDl7NS42CEO9KAi9NHBYAYeASQ0u0qr2P8QSSxhxtotQLotLYWfPP1TkczfeHbznA8O7uF7lNw1vYL9eHnYNz2Dq3RIOQIl2f3FaJPPPMdHQnsf/x6NHQYH/wq6W3KtqS95TB2voAxd+N2fDF79a4fTwbI3lQ5omE3X/N5NE2y8RQev90HpYKziAhVJP48BUHXZmjAY7GjmSrMlb05K2qPDrnYkNli6olm9v1HVwcE7k+qts4edDuMcWoBdprsV6kSMxRSLqUccZWHqr+9p63eX+hOUqL2/hJAK2DRlbhhrZEMeJEVihnHkoOq1iKIQV44Tfj0/vlVL2rlXkQd+oi/sz6DTomXfMU9a/37xFrCZI+2hdQJnQ4Kwh9SorglSB7hWUp9YTNDpIs1QFzWPSN931rGbRbnvtiiEa3X1EzVpG5L4IF9crTfCB21cUN/YVVbCEHuE8CpXubAHME8705hWqIzO/S07+pDKGw5FHyPcKJ2reV6nkIvDYEVUsrrvNsz1gKBqNWTHzIZeq2wqWtDpE/f8L+WHCrzIPLdlPcy75I1O3JcK4Zi6P4MRLtjsSrKHym8EXZq6dzhd5DQPapsxnLX8e+TgPYdUAi0aZU+Nep8FCoXGxYFNyUKuvj7CfOjPBl+pSFiPKH4obpNGD3dtLd/hebiZmlLnSzbHLwM3qS72H0+1rJzUZUoctOKeSFIZad7JozdSfYnbicHBCjRLk2VBE/q8CuRjMAKz0RcD3FhXQ2S83Y7P4e+MMGgeWbjzuoh5F46xHGQXtr+px1Knzcht/z9AssXP9kioN6XXdJ5gcBhfEnlUdJw3IET7Zc0nAVZ27qrJGZPERNaVWSu+/6J//DwZsUQFXG4ObbypizPv9F07wTVSW1S3/6BMhmjUrBxKPArs+FkJi7+kxm3Nt+YbH6YZjHcmIp3LGlYRFh6My7MMxbk3xig2ArKpIgE9CURILxY31gQgnzHkGkpvPAbTQamtZM26J5tkhONhIGzo217tPlbf3x5ceFj8MB+WNma9f6Wm0MHYvZtot0+c0wODCZSJ3PMn7feUSCMoUrkJ4DhiUT2gsoVAPCzmwbvABMmxJc/kgVwrWkYlb8ZjMzDTInFw82OUnLIS6MUVOx6MCk/BXeZQgFJQGCRYanmYdwcmWuhjFUi35oDBwCEo0oibMTnRZ6eewRxehbdi+H+/L2Q2qL4lwzPVSGvEdxI4evKvTVmtSdwBODNpTreYHHAMkGP4R2O7qYj6ZB5DwDvBuWT6LAHiGUvhMgjDblZiw1KwbJSc3uz8DJGyykt2qNCWwiUso3OmiKoPflesCelo3w+a25DL7vi1nExjlcl6+poIlXlISBf22yzaMfaBbxc6+Y3mjIfvSJT0yJrUUcH4Kjdmx3ARwOkljpGZV5cyKBsEzdWKAn40yZVptOfNVJpnI4iSiU0PTVefoxCBMqOc+mkCVgMAb4/ryTZIGNHVTpsPShQhYlvfc6lGvIIJmCEUhoxVh/7hsM7Rk/IuxSPAZxXmw3ES4TAQO7xoGfkbUfm1ZJL742+jGHA5A1Fn32wwn0Pl3PhoWtrcUyQR4wBCDvLvjut+YZl9jMQM3RnArGOMcSuFfBrhE/sQvXaT5tqTV3JdXzBGxf2emdq9qru3zX2PQ7l3ljem8AD1dSnc5bSxJNMGXAwWdQaryStyIZC6/SqzS+jdKO0MgCcdAsgfjGQzSGoRq4Oj6v8Fn4fvtR46EpDeC5DId4HALQT8wfy+2N1NHcrOm/CrgDNNDwkL++dXP4z7PvYYkJNBCh0anZPE9mK9LRn/uzs0kGkm2Bxhm7I/kyZLv4q+azmZJPQM+epARJEtdpVnGNjPUfs5NcDuTD56ZxjDh37uGlqOZilN8PpVwTtRXI0gomGj5UvwrA/+AHTuY0+WpWkV55AH1tNcnu0EX8QfxijXdI1xy+rZ1WUFHJrPp9wyy/EUJQydyIgmARDrWWMc3yGoIKhNK3le1Q74VzxadUN3vwbtSXmy3/b8xROPI8j9Cvuz8g6UJNyFsR9FCbzkhSntMBq9uXsknj0v5gZynsuWoSkGjJSImqe6IvEdpcF0GgTeHbT4mhkBQj6EQl8AilDWXmjVIXUFMACiGQKZVk9gwwoiEqAzMgr1nwAVoBfjbyHB5kS1AzYqa1ZVDIiQ6YMWgdUbiWBCHMQGGnjWY1ESd9KdnYco9yTt/P/euSm2/hBV+qBtAU7H2QaWB9yqrXYoGPF4bApvqsWu56r8+9Gdcg4jfdLvSCqcHhh5kDhazTxWAMLqBrWMKVyo6XSr6+sWt0QK8Wysffcw8eBvhzrBuW7FN31QxW7WSyvetIgb3PWJrtslZUz4WeXohhJMgRfzFT8pRo8ZIDXEQLsA3oZf8+0WZWAdWtl3/ewJ/qbxJuB1O+3EIFY0f3fjmBrPu+EAtB+C0151TngxVaknzOgOiUVwz5xEVhUWTDIAhInetrZmQ3q9BRZds5jENArTLTiq3+yBbYDcIBDOjhiCNFR9gbJ2tdJ4OFq3LxeNZJve/WwTNGCf4mz5CtHbnslek2yaOliOdRgGy8mREhpKgeMGTTZ8x0tgY0ScZ7tAgAIr2stD5CnRcLHQcIwoZempz6T2Ip3haHNjjLtdqdmBwWR3W0FQEdez+JyJNOCmQwEg/kPHmtIOSVu+rhTtqOTKTiuB/QMCaKIDkcPNQC95PTY2hg+opZl0Ue9PnRkjyNUVDg7AAdHHagpF3hPKyoLsQbO43IOnSCQLKlQj6fQVHoR6q6pe9E8rYsFQuY9zJJSNwA4P1HKXCgRDFoEg2Ovc1Ch70I8MevSRjznYxPjs2lujRmBrh7KxxY0srufxpRIL08Zys2bLyABti50jkOYwj4UDiLIGXg5Q0Tymuspw0+TS1pjMbcYUXGwGYxyto5kd87xJgAWWeqT7ROypIzvpG7kHdZmR6w5gDk4dH8s9HErzdwUQ4VxowFgyYhKPu47EBhKtPfAnzwrKbr5iJuOq80VNoIJm0PVI+b/2U3sRiHlMHK9tRj8AFdZz0lap1+ZA8YtPzWiInAQPdYMFB6TGIybX12wmd/S2QIg3fiSHdOpbYa/SPPFlyH2hdeGNI3NxVjpUEdC0Ym2cTn8dXGuQaGwfXk8KYyAxRL8DpwWjHnXJ4vFswNeTPT45ee78sOY6Gd1HI3mAUtlde2OT+RVKyzysvi95Q3r8l/XJttrbV/LwYjhKIXWeU+1FQ4OCxasn6aMcP5THEAqaaXdFRMAGe8qe73WocNi65Wem9zAmnhrguyZprXIO0zhoD//5mhkMYAs8hKBRhNweGUQGz+uev/xEV3PTX81PNqdhTBLq+5Wkl2TUEF8ge5bdG/pA1y4m93VCyokdB37pXaSb6tCvEOVr/svjLYkVQPmjtHxI2f5uxKezKq5lYus1TB1g50tniJjqgswEkpyqWLesBI60FCuShlyu7jICsvR7tb5ss4m8Z1ToqE6juD+1e318HwenzlIqCc0E+iNaI5MS8HGE9LblU3kJLNAj73QC6NdXhkIhXDXKxP8YqCnfxbro3kmNcEC+kdUvJXtWEYJsiyo4PMJae+shdmu/DIsDkh0bm2j9EBnFXFdfeODQoLVqiZEUmcOC2uKiCwrwLOtc4xHv6+7EM2qQfZ2d3TYesSoY5cM0NSuStOSTmQS4fG4mAZDCKux+prdDAr0oxgyzoMvAllR83r50dWsQlcURXaTNYs3OmxAifhK5es1OpX7T43aDT7J4C/V/NlCRs23hByQrqCKxyxYpLc5bEndmOsZ65XTJ1A6iqBOCgUCD90jU3jtsW591r9Kg7WGbCwEbeCWCWHmCusaOx8w3IS+P9QUqXvbKe3uZsZcd8EzNALdkkIiNC/OiXzlS74l2hGvcaWvtx7Zevclzvgoh3tY9TETNPYLxJATf5XcvWU6XpM+Dh/g9hKHRmHgFfzWuZMB3jMVajjRtaw9A4Vz4zYCQLn8a06rOavl2+GyYNQh/YdIYjnCghXah7VR2oFDBEcQbfook/oc9R7SeXUzv1fKniyOZFNG0IQdB7l6JiPs4ftfkrmn87YW3R9n0cuPMnBDw09tipWS4sOO6F5FSF6N/Ma4hrbwqNfQZ85auJBHTr4vgN8y+QTlAWogz8AjKlunj+xv+DA5fyeYgr51t19MT76Pp6Vo6+uEZ9poNNXKjeG4s1Zl3GZ+P5PEoDYgSy+FoPCiMWLhFmJoeVm686fnDQdMQcDaenUCSRi79pGCaaBhxNzkYoMFPqFXP6iiWSWQsfOcKqViVVpXm+421zsmJCtUYCzUYGjZRxKpDL5izAZyUl6o71b5oc+PBPn2A0eyUL8HMhcMIEuJGeKJAE4GO+C7V4ZdwomkFzNKiEVIYw2Lm85mUHgToDoHhvrx+1eGvlupvssrSRzUZFVqK7z4s1cMuPkPY/Lf7yJGqHM/olVtqLuZNzG2t+PuZGH5hdXIOxA4y3ua9LnKCNLpMHGJHLB8Cv1rvbRWbsQSZ0UNByBbk/guIhy1IBHzmnxcOweOuwVowu9VJDadDmeYS/4cYhDMb2kcVnZYXj+QTlMR8KU0VEGOYWxwbl71T9EgUW/rC61eY9iGZHBU0t/JmXwF7QN7Ipp2gnU7dVKCZ3h1EaD+PxPzrUt4tdycAKP3BZc9ZYoJ2seTpCufdkeGyH6XXLm3CAk9c8YNWc3rIOCsQscM7bjhjB84Vsgkso8TUW8ACouJQJ49lrDYMWfRYkooRUh6C83pF8Q+MNcxr550xNVapDz6dOSfclYCDiFPlwmnIM/oUAkoLqETBIgOkeU/TXt4ux1UlHP168DqVlAG9CdAnH97b4QPIVWwHAFiNL8qycXpRtdtUzciLDi2VMcLCq3cdagITim7zi5BSfgbaq2M9mYHqhvRnQ2HqQt7acpEq+ggGNBwDZGxzOpWnppc9SFoCLrWlwXRiGJsFqEwvM3Zsw11SwNsfJHI1vVvJzvMxvp9l9yUDExNeI7d9vsQ250rnNTEeaKYCzfGFiyW/DxfFDbJSTPalm4u3Mxht/0SvWUHrizmLZKlDvVZlBpBw60wGqM/FzOuaD1e+FM0IfnC0ExOIZPITxmPocuVZtjOdZqAg25j1iVKN8ji1zQbiJoN+Y7xEOtA8lRtLWXZreG8QRl/OdH7BMFU5B7pKrqh/8+4EeIzEFWOyt2o18KWdnbkKz+Mv7EnbSb8prNS/w80lSmzZgnpP4RiTAhID29X33QQCSl4xaRqn+m7yCiqdz7xYsaCT+gNRIZO3vspSyNHH333GID6yZvdb3pPRl6Frj+Ee74dSN+DYiJ++SoX5ruUYxKdFY5fewQtTUq4gR9f7SxS9IRfnZfGf2awhk2IZ8WYgoaPrp1dVKiqSvA9wf9ZlEckfrFwhH8eygazqEimq4x15cUcHMwKdMhcHN6kmf4oThf8yHY5X/QF8WcNQhhKyFEoI7y+FAUQ0Ivdouv/Ast8kE+AXyPkv9Y9KOU+7BNZefGEMX0TsQhS/HO4Fx4feik0UoaMynaBEPcptlKNK3WeOPTPMgTEbZ4EG1Zd8gwD8yCeRecxuAawMGbiutN7ygK/uTopZ9UOmtCw6JTXTLwVcnwI5AG61uVtis9m20bAvHAxRuWtiyfD7mbUq4OjrnAc87vV7NB0JjJfWF1aZnpdEdvs8LRIW2NA3CBjd27I1kRjAiYBGa0yNhrTB/nWESB18WIZ/SJjhnIRjlEcWdn2yqoXeI4EulGYZV5/drleBslY9jlfs/c0VPBZRKxiYNf2vIlKf33DZc1CwrbWbVKqAJJRBwuBpgcEF96qSrNXrYujbUJVPPgs+ueVqLhzCJW/X+Cz5RHx28GddiUuPCNc7s7iyevoDh/bgkdYTnC7Jzy01VNNHAw6uF/R5NRFw98yZ+akOnL6U91gvl5p4Yhu/Xqxmr/qXnZASdNH7cTdi/XnljlfKiga2u1qTyr60ChBH+5Svte4Yg8KmEBJV6jfiC6nfpiIpWsqqxOC+u9tn1KZpP20OM+mysBqTZpxxwW4rvxo+P4Z3IqaclhvEIblPbq3DvOKHFGOZJRCMFngpVX7Q9avzE6pZch+nYewpYxla7L7p9jAZw6flggcpIGe2ht6017MloTdkr4f810j7XZ1UPRyIT2iY77eLrLVYp0LK9G89mobMNldfFAJF6U2is/JBDSmtcRa8JnkGnnu4s051ffY5aIGObmr23LoVlSRfDu5J6ZNrrLZBa5q0doTSaK2kD3LMMDpLh0fbOvhHxBroxZDPJFCGYpcxeKpNcbRtjPYFIZoUbZHhFAc+sQv1j/2ai2V2aF9H8M2vdJ/1vI7snxXUx7ElgNN+02FOae/OdWxK+KijHGWR0schhkEukgXYuOYIiye3pnd38pNoOaWzSslhxANdSKGIHG3bTWdZDZrxvt3m4wguv5VpgHf5MagLqEmZw5OCHHtWhKfqbqEUcss7VMyPUQLDFu14PKEJUXVCd6lqt6v33L4zt/xd/YsTiouU40FTzgRiEn888E49ajbItimfJQFV3m23ESvsg5K2103bYSL/D/0YoFUs+SuD+d7tAcTfqf2a0L06kIIZX57kM96cys/3rk75s7Hcm7tA6kxC+ed+bIBcCvZJ63j5hvgqnsHcJS/iY2bAwCBot7dJIIE3nAmyuOA7VD3KZH8ACT3ELVeyHDN2mACW7FnCMvC1yPlvxw0KevIjgWrEvcjUlo3tgS6De8htKmlvcArajnyjSTdhxPP05AKfKPgbkUJ8FlL9Es2RPIpPU/GBoyp1MfpQ1EgdB4R6firMSfmoH/YEE9dr93QIfsK9W0brDIrCTtAuegiUISCWMDJSERlbeqvprm0KwZQgvACKmUCUwq9HKaLzX04ZEfZpsk6XLCmD6CgVgjUgQkYD7A5OKyH2EUgqMJtJGAZoA5JRvYUaUOz+LhzDs93zi37bABu7NzfbxjsLz0Ti9+D7iTMQAGJ+F+u7YQRtP52SfSvp1qh/+8IpgwBp/wdOotN8JdNxGNpJt5YE76VztDCISMQDLQ1xlc4dKDVArLngU2aIDvyX0punuZF161JY/5eXszYiBSApJD5PPSQq5Uj2/D4RbqPo7ODnjVC2piRtcg8nAr/nHIHT+gtYGQwYkLUBCMi8yUl3wUWGL552S7OwFcDkvPyrfLawpDUnfY199Lu/KLKLQTBwMKkjB1xktCaw8n2Lx62PA7f6q/qjTfqQ9HyRYb+rGV67jLAKuwsU1rLolTpS8NezWRMALcWb94la7GE5zurcNFKo/LSiAPFuiOA/fDS1QS/PBvkWsaS0IlUo+epxdvN9bThuUvHYLbw9bBVpG9T3ruXFrhqrgpXXgQAG2L9vm2lcDRlBJhoi+AqhsjbfabRublFLjRl2/9I0vY1qAKHWz7oh7ZpU3p1waWr+X6ECAPXGcQnIRG5C9tD2qG5LWZlF0uoek1BKPkuqLDlCNRzhSqWrQ5PZDrI/RxUSQldqNdlmXXHSjP224gKEyagWr543X2YWmYHkDq8hEgcSIa3YhID4+mw7AbVCNzcayaMliAjXxApiJiv34l10HeesXICD8tXpRUN0tTSVG3DWm1jtuY4ZSf9jwfgtL7T2whw26KEiMH0D1K39bqrtzeiSv2ZfZ+qa8sDT1fYqvgALxp1QtGoyL3ZkQOvFsMZFtLCB7sW/UJFQ1aLiEFUR7ViTXaNiYWxxpxek9m/El2eFNWJs5PDyr4DYPXZ/DxgNxaBIxZ/VVuVJFrqkiiCh1HpQuNq1yDjPDT5Nzayryq4N2ztwMhLCMIv5vFJZBD3f6fxvG0uuU/nj6kfkfhp6IJrCa45mpULMoPKd3CYgstVRMVC9Wyt5m7HlSmNRAtOAF7GL6KdqWZreDLjdZ4vJX4PViaf0mK4TgbRYIc+3quuriFsD+LyeWDjhVs41X5VkONgcjC01PizsWxGLmgVnkjLUSsI4tzcx0mIqbo8IrR5ZUd0ZBlqwuO1Mjig+ctUV9ZTDF6EDhN/donLMtPgJN6XzMnAW65zYIEIJjiJzg8L/8C223ry4VMX84VF785I6jnxnMMAPbkHhytlBo1wzDb3Ka7epoHgyF+IgwA3qyjefxXw3orBAkBPt2vIsehLNc8VXrUETjxFCfk5pW48EJk9Ic0k+wfU5SQwlhNXpd7gm8NTe+U74WQBtWUJGzPZSPsRRer7TOFMXZC7dQzEQkvvTLfQ0MnLQgyMbxlHeJEGhkEur0oxDVUafu67lolz1sRKCK+G9pM6V52K9Q8dAv/n/m3SVa5b1mzR5EqFqXEazqjA0k3tjipW8ejeej0aZSE++MmvUFPVN2v8EHE3NZxSgNohgDtOZbb8Xy/jQ47IU4WfrVF6Z1wR1XnYrR8zL5gHlI2bgwtR7ZMD11ocyG39HqikcrdFOgUTV/5mmEs1kU76DwsVu3nY4OvlVLp4Q7p89Oce520x10C6rXKOxfXjY43IX8PqA/kwukJMsWQ4n1srpcMhH0TIdCwTRQ/0WPeXMVe15Nka7QrFeEIctKKcdy81T2ORyCk0EqZlmF68bUW+E5phQEClLKh2zFD3YX0LJ2A8AffCq0Mvh2u2vsW/wixF+mQTVleKSUJLe+YPhku889QspRC8ffxdUxUUAJrm8YsuMWUodfce7NL/y+XVRn+TfMkSdsjJd8kKt9U6jjC4QqLBY00fED1Wp859GVL5e3qT8Sn2PtUQ6BBbm0yALHJmTo2n0oqA12SPE6pB4dM8GQ74YNkjDvgGHNv4MV8DCFPnPjRHzRB1YU82aTxX1oxKACapy2dUKPdAov5KRezqDCVQTqBE0VVVEa4aCNi8oWn6fXIQJvdTmDLAKzsDpO1bu4zh3JA+LO4c3LL6sZEalodxpXszYNDvNpcMoRh+QfdNB9VO+3WttUwikCsVxY5pcVkCiv8Ht8iVJeku3LUl2K7R0nLSjLFgBJnBHAG/ID+sNVhfAhIqWaslacbcuIaEufEmjxJGkzaf49xfvHMKexTd2LzkjQgJJrpe796V9JjawAW6y4Dje6KSvPoSgZwb9MyJu3+cbN+51zzq+P3veDhEpn5e+mMsH6Sg/bGfYcsCq0LETpO/tiYJLHweCUxlZGzPlqNGzATNqNFcej+xopUFtDWNFaZHia6+TSGhIUZU7W/QDCAy6MXMbxNaH01abTBohxSlZkNrcZp+RnjEj95miBhMH6foRs7N4vY1IkMcuNKg6bmqqM3meOUM9FVsOZF0B+ZHcL4sY+I4vtOiR8P0jfo4jF3Ak6D15U4crCzMNfU/91Qz5Am3QIsf5aWAjhiBMQBAVK8P27apVw+WhDEir1rKolIl6FxuEHtyhp6zt+cj/gmrdQTtJAgFwdKPfNk6KDy9KWWN7oqLFISSZUUsxsz1ztjibXJQ+wnhQkvGzF2npas8CD8kgzUzri3xYUOaaFPrF8mVAByqyQZathXsW9dDACa/j+KP3qbQ/SVDEp4nDYOCVIPyPOArpmRENbW+FnYgNZpwNbNcvPhC0h8vByp/zf/8qv6mvWWlqEGnxiOUwMjIpKZZSodU6GrO4NJ9YSLnKQq6wlLu7w50EakdIjXMoP/NW7ErVwfBIT0qbZ8e4Q1x+QGvMUx7WDBAs3ZAw/iGWA1M8nQUoIELZSmFSypaBLxBfvlMm9wFk2cx8Opb7FNdIO721MlI9ltiWvPuQIDVtc5wFkZAjrlz2st2ilcarCOfOP+wOXXD4y2NTeqUwYFugFO8TmqQEYMD6nvGUND2K3owLNkIJAUSW/PjFyy+TzM8ozlSaTtvwsQy7GvB2CL85c2DjatKWUWzDGoPsmiCOuUuW+9x8Q1spFBKNtVHH0YvbmGmJYYs/pPEKA0NYkafBUmnuf37I7ElwedJ1zTfhmHxnSJH+nXIFh/AebQWLiRMcjYQ64kQ6JfksXkdMxBGHTupcAx8R6uU83m+y012uhPHWjNwkEPF2pLjkec72y/HE1XJjrYihTx8QOgqr1i4pV7JRr18+oG1Adg0LNgL6VNzV42aZkvQKf4IK2NrinE8d+z1uashnIy+CplPl2FO+E8YwU0Ya4n79t3X8SqDrfJV6hIoKl3OEvlQv2H8gzlhRdOd4+ZVUWd0TNgf0iZtQHscuVlc8zgiZFTcUNA1CmQGfqMDNpng4bbHq6L+qc4+CabdHN/XIvUAVYyMxZ3NTtciUgIYsiE60CKjH4YsIPbILPxLgeq9FZjg6hFOPZEZiHqHTDIZn0wU4+lI7t6Vb/ZG8Hi4PDOe/VBABAAZUpCjhgnOJzGhhJFKdEbipk5T5gVZrdBVv9SsXyzMJepNAqIV5M7zRPVwAWGBG97YuGDmn7Y/AT+eqM7dVLKFTPPSZbmt0RpAryTVpqYXfhjWCX3FQJG0rOq/ajmGX+DDfTwnKq8yg8B8He8JZ3WjpTIJ4rkv1jtNPDIGUt2uIBN5VNxb6dcOUUIWA+BwZwbWFZArmW7OxV40+jul8NeABa1FgJwZ0d3D/EjgdTrNwJQKUXu+0CwCF1pUa08vr9OhWKnmBj8vLk4W8mJyiOcUPm33zqDrsVmPx8vR3mpil0ZEec71bfEo2Zm9lzP9R8tBdR9Ff+ddYZeaP23BbZ2DgdkydFwyUsow+mutgEkxnIJC+YC8Y5rhsje7Ez4A9oybZIL8OTLT/4xNU3GVO9PPae/3naBFDvuat+oeXCEWbbmjnmRSYTwBZXd4PdS7D9kT4sm8SSfsmtM9z7ZQEeRSjn5nihzeAAu6LAzReLukBtzzHdSWMwKZ1xZc73SXendx9o/XVnVx4URjbrTbYSn/hx/KofwIHZPB/e6IQI4mfVLJEHtRGaLlDY+rU8/vcy+/sLRY1aC6MVt5dUND2R/XK7HkBICwbfh30Xup3rCp6YVgiuJLPMpGPoJEBDPhMEyyG33czdEwFJdiEYBzclCAgqnaapAzw4znarV0ZULc8k7Ur3CC/MK50yGCdVZRYnHenJrMVyNHnN3yG9cc+KIjCWig2JpS5VQym0p2pbn+UBTMZV5c0k3ByzTa6ZMxU3MMesm/IYw+LrQwCaZ07TnQaurFwL9xTUS+FLLPBhmNN5gQtOMCugzQui6zNy+6xFKRM+AAKB07sQmGmw8HpeNaq/aoX7TS239vMuPXb01md0AKmttrQv4WEB/DLxEODqlsDMZXiyZZW1Iav05mWz/3Cljyo9bGazD+rurGxBM/6XO5yw+UlyJKNYLNlLFFUfgeH3Rvtxl6I49GJYHkuyzLOlXyQfqGX0/gc/i5DvFuSSShe8DXSPouUPS9SdJ0V5y8n6uNSJSqrJVSCFkHM9r4tKIZ9aSODRoi3itHQhReuxDnI1rjAthr2TgVmE7Uh2VSM2nA5GEieJ+GRJS2X7jUtcTGKcjC8Qg+s3948Z9yefGP/dLHUsvv3nAuziNyStVsJLxY30O7oppRCNzitQQRn1AV0DiYYn/1DRLwVFa1SDAdyt/xAvRCiheThEL7n4A1C2jQcSAxJxor4cxZHuQFoPwCTjfjPrQrS3VrW5ooc73AkwD9AWoeuE3f9/KhKOTgRygrm8uZRP58uvh1eqpn65kOz+ccjE7x5tElpOSbIp0CJNwIawBvPQaASKfjNbVfRyTxapLb5Z6ozSy4rB5e32UQmhO7zr9sWZCBYtX2xn7G1q7OXoFT48we98OhiITeO82W0plKanqSEYkT3Ld0up5+htPAg+RY1hylBLce8raD15LFjiFQKjFuw/+ND0eV8MmMqOiOaX0ZKBr8giZQwvOwuthlRN8EYs4+GgNCExZYG+ZvlUei1wD7EyaQWIAPlafjE088i6Px57DQPtf9a+1xy9rVSy/qdC55ZCndNmIRNz0oEaz05FglJx/1oLDA79c9bsv0UXzHuxyJN2KVd4cTxrn3AvBTyvglEG6zdsIKRJxEVJs/Lm4HsY+TuMSclhNuUy4nvNSsdLBwvc+UpVOwS7Rlv0ELJM0JnZAgu47+Mk9/QpW9X/qqz0styez1lnhAlMrRWPz+aoamXLhydTgU+9l3JudH8mPtxWepR3cY1+r2Ko8NHjsHdHbdtx8nG8E+3QRKS6vwgZ6AaES3vzTCY3sj4V+225NXpKIxrQmHkPz2mKUzXRRqUsd5VvNmaqsl3Acn2c7H3vRam3aOAt4o+CG4k1+uUK+NAauyLGET9jDnPSAo1Awj+taC/PyojM0DKZx98QgptekW7dS4HnWlCFCRHM8R605VaPljnV9u1y6JAF9egAt0ZK9d7PNy4FIgi0Q8ga1CI70iG/nxxuQC+7KC8IfO4A10MV3dosksImNoFUXYOqlN4hSaWNrVqyhjqCcaaZEAjyKvuEwZrTJdnMYH4E8JNhjYI+2/8DK+faHxAxskmJ7TeckrRSqycKW5nhUvDdlNo5JVcLqfSQqrqqe9OoV63Umr2FIjt4fByZY2IWf2QNuMVrtgDC0qMCAfLX847UFk2W16SyXyd3wzJ51UFaB4LeOASY6lBBpwi6Y7eZ72hxjungITU1kDK2U2Cxh7WcBeBBvHIsieEApWEFA+sGQwutsMQ8GGpxip9zyvUVs1WcmSDW7T+mVYeRMSIkFNwLdWUctRmf1SHXK6GQ3CRtw45charzTyac+cP/oymSZE0FL9fCrtsvE8trIS5TfcYkiwpVOY/FyE7eCDN9hKICEN5mVtuM1h5/1iElSiI3C25t16f8MpgTEfi5Gh4ceDiwhZWKVvYpUrWQAcgbKj8EOHJ21DYX+thaVpZIEz+Gn/77or/txOsKRUhygmFYJ5qiP6eBJt3eqo3iIZcGh/IZDZ2qwAxbL4BBDZcBcpwQEClfYdRROoitfuEeha8z+VNpT3s7qeLlgWGjFOkfB7YQg6w4zpE9EHDHOc8Ehurxpi2Uhy2Fw2mLmnKe5RKGTP7AZArBRHpvGEmtWUJDxv0t/AQrtfHmZxNPvY3Ihq+iBD2X1ZUtapAWFK0q8s6CjP1WPnctrzK/DAJx58LP4e8Ld0Ee2mZJceHu5ZXJyUwiccwSA+D6bIeQ23i7TPeGXGTh7d5V0EpsyLr23LZUIwPnZsvkP5d157xVIR3+gpN0j7XAsg/SPlW1toS/zEb3iYyFHB0gl0MzBEtxOVRn4+ZX+PYbyP4ZisCM4sHZuwgxzedsKR93NyLgKUATty/qMj9yyG4BEfW0bxACt3Qi8H1Ua0BynQYJ+Aeu1xZXrYiLwklmnzh6A43eVTZLc8VUQKDratZ1Sc6ADPbEGpmA41EMRZY7TTqO0ZTY8v+m6T6nwJbdeXKZgtZ9kE2xNXo3p1yUuYCtC1ToalR8KI1eoj5u+7mOC3WmA/FBUFakVelU7EpvZ+3Rl3gNg35chSyCbKg5Uds/yzzsZcxGWSAZbg+gEDq5T9ELZEw+fLYIZv4BtXQCGZzT5fxBDqLbsDeX0Yf3RnY0a/77WGgFsRwGnqaEp/kCzmOcCsnXQVgkQCZCUVbowS7IGqEMmb6/LGOd+8phaMU71+BtkUBLq+OISKa6AqmUqwUieH9AREHHy/Azhe4RPFn0NwqTp26LYuyRVjd923khh3f2CSzD/+ejjubH4U5mUc344Po=">
            <a:extLst>
              <a:ext uri="{FF2B5EF4-FFF2-40B4-BE49-F238E27FC236}">
                <a16:creationId xmlns:a16="http://schemas.microsoft.com/office/drawing/2014/main" id="{3F549287-F359-4157-BD31-8D28041F1DE4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 bwMode="gray">
          <a:xfrm>
            <a:off x="9987916" y="2098760"/>
            <a:ext cx="1869122" cy="4166310"/>
          </a:xfrm>
          <a:prstGeom prst="rect">
            <a:avLst/>
          </a:prstGeom>
          <a:blipFill>
            <a:blip r:embed="rId20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6" name="btfpNotesBox350040">
            <a:extLst>
              <a:ext uri="{FF2B5EF4-FFF2-40B4-BE49-F238E27FC236}">
                <a16:creationId xmlns:a16="http://schemas.microsoft.com/office/drawing/2014/main" id="{A408CD3E-4A1B-4FF6-8FE6-2831516FE5F0}"/>
              </a:ext>
            </a:extLst>
          </p:cNvPr>
          <p:cNvSpPr txBox="1"/>
          <p:nvPr>
            <p:custDataLst>
              <p:tags r:id="rId11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 </a:t>
            </a:r>
            <a:endParaRPr kumimoji="0" lang="pl-PL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</a:t>
            </a:r>
          </a:p>
        </p:txBody>
      </p:sp>
      <p:grpSp>
        <p:nvGrpSpPr>
          <p:cNvPr id="66" name="btfpStatusSticker269916">
            <a:extLst>
              <a:ext uri="{FF2B5EF4-FFF2-40B4-BE49-F238E27FC236}">
                <a16:creationId xmlns:a16="http://schemas.microsoft.com/office/drawing/2014/main" id="{A7357602-178C-45C1-A24B-014EFFB252FC}"/>
              </a:ext>
            </a:extLst>
          </p:cNvPr>
          <p:cNvGrpSpPr/>
          <p:nvPr>
            <p:custDataLst>
              <p:tags r:id="rId12"/>
            </p:custDataLst>
          </p:nvPr>
        </p:nvGrpSpPr>
        <p:grpSpPr>
          <a:xfrm>
            <a:off x="10100356" y="955344"/>
            <a:ext cx="1761444" cy="235611"/>
            <a:chOff x="-2280176" y="876300"/>
            <a:chExt cx="1761444" cy="235611"/>
          </a:xfrm>
        </p:grpSpPr>
        <p:sp>
          <p:nvSpPr>
            <p:cNvPr id="67" name="btfpStatusStickerText269916">
              <a:extLst>
                <a:ext uri="{FF2B5EF4-FFF2-40B4-BE49-F238E27FC236}">
                  <a16:creationId xmlns:a16="http://schemas.microsoft.com/office/drawing/2014/main" id="{25E35A0A-16F4-4C41-9A2E-DA9CE1C4BEF0}"/>
                </a:ext>
              </a:extLst>
            </p:cNvPr>
            <p:cNvSpPr txBox="1"/>
            <p:nvPr/>
          </p:nvSpPr>
          <p:spPr bwMode="gray">
            <a:xfrm>
              <a:off x="-2280176" y="876300"/>
              <a:ext cx="17614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liminary</a:t>
              </a:r>
            </a:p>
          </p:txBody>
        </p:sp>
        <p:cxnSp>
          <p:nvCxnSpPr>
            <p:cNvPr id="68" name="btfpStatusStickerLine269916">
              <a:extLst>
                <a:ext uri="{FF2B5EF4-FFF2-40B4-BE49-F238E27FC236}">
                  <a16:creationId xmlns:a16="http://schemas.microsoft.com/office/drawing/2014/main" id="{9FBEA0DE-BCC0-49F5-BF72-3B3A43F5B129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80176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0" name="Rectangle 69">
            <a:extLst>
              <a:ext uri="{FF2B5EF4-FFF2-40B4-BE49-F238E27FC236}">
                <a16:creationId xmlns:a16="http://schemas.microsoft.com/office/drawing/2014/main" id="{78C8D620-520F-42CD-963D-AEC143815E6C}"/>
              </a:ext>
            </a:extLst>
          </p:cNvPr>
          <p:cNvSpPr/>
          <p:nvPr/>
        </p:nvSpPr>
        <p:spPr bwMode="gray">
          <a:xfrm>
            <a:off x="339726" y="1646238"/>
            <a:ext cx="1874520" cy="449425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1" indent="0" algn="ctr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 which country are you currently employed?</a:t>
            </a:r>
            <a:endParaRPr kumimoji="0" lang="en-AU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51456D98-B5E2-42E0-8C5C-B55EE10D881B}"/>
              </a:ext>
            </a:extLst>
          </p:cNvPr>
          <p:cNvSpPr/>
          <p:nvPr/>
        </p:nvSpPr>
        <p:spPr bwMode="gray">
          <a:xfrm>
            <a:off x="2749233" y="1646239"/>
            <a:ext cx="1874520" cy="452522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1" indent="0" algn="ctr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 </a:t>
            </a:r>
            <a:r>
              <a:rPr kumimoji="0" lang="pl-PL" sz="1000" b="0" i="1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at</a:t>
            </a:r>
            <a:r>
              <a:rPr kumimoji="0" lang="pl-PL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pl-PL" sz="1000" b="0" i="1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s</a:t>
            </a:r>
            <a:r>
              <a:rPr kumimoji="0" lang="pl-PL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pl-PL" sz="1000" b="0" i="1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our</a:t>
            </a:r>
            <a:r>
              <a:rPr kumimoji="0" lang="pl-PL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pl-PL" sz="1000" b="0" i="1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nder</a:t>
            </a:r>
            <a:r>
              <a:rPr kumimoji="0" lang="pl-PL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</a:t>
            </a:r>
            <a:endParaRPr kumimoji="0" lang="en-AU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8FE8CC28-E99E-4561-8A22-17508AB63E9A}"/>
              </a:ext>
            </a:extLst>
          </p:cNvPr>
          <p:cNvSpPr/>
          <p:nvPr/>
        </p:nvSpPr>
        <p:spPr bwMode="gray">
          <a:xfrm>
            <a:off x="5158740" y="1646238"/>
            <a:ext cx="1874520" cy="449425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1" indent="0" algn="ctr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 </a:t>
            </a:r>
            <a:r>
              <a:rPr kumimoji="0" lang="pl-PL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ow </a:t>
            </a:r>
            <a:r>
              <a:rPr kumimoji="0" lang="pl-PL" sz="1000" b="0" i="1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ld</a:t>
            </a:r>
            <a:r>
              <a:rPr kumimoji="0" lang="pl-PL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pl-PL" sz="1000" b="0" i="1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re</a:t>
            </a:r>
            <a:r>
              <a:rPr kumimoji="0" lang="pl-PL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pl-PL" sz="1000" b="0" i="1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ou</a:t>
            </a:r>
            <a:r>
              <a:rPr kumimoji="0" lang="pl-PL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</a:t>
            </a:r>
            <a:endParaRPr kumimoji="0" lang="en-AU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3DA09900-D41B-4CB4-9076-4FE150369709}"/>
              </a:ext>
            </a:extLst>
          </p:cNvPr>
          <p:cNvSpPr/>
          <p:nvPr/>
        </p:nvSpPr>
        <p:spPr bwMode="gray">
          <a:xfrm>
            <a:off x="7568247" y="1646238"/>
            <a:ext cx="1874520" cy="452522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1" indent="0" algn="ctr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 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ich of the following best describes the industry of your company?</a:t>
            </a:r>
            <a:endParaRPr kumimoji="0" lang="en-AU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B5DAA55E-CCEB-4D0F-A509-3BD2E6D63A68}"/>
              </a:ext>
            </a:extLst>
          </p:cNvPr>
          <p:cNvSpPr/>
          <p:nvPr/>
        </p:nvSpPr>
        <p:spPr bwMode="gray">
          <a:xfrm>
            <a:off x="9977754" y="1646238"/>
            <a:ext cx="1874520" cy="449429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1" indent="0" algn="ctr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 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ich of the following best describes your current role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</a:t>
            </a:r>
            <a:endParaRPr kumimoji="0" lang="en-AU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78E606F4-F822-4251-8855-93ECFB3A19BB}"/>
              </a:ext>
            </a:extLst>
          </p:cNvPr>
          <p:cNvSpPr/>
          <p:nvPr/>
        </p:nvSpPr>
        <p:spPr bwMode="gray">
          <a:xfrm>
            <a:off x="3877098" y="2605424"/>
            <a:ext cx="734507" cy="3327127"/>
          </a:xfrm>
          <a:prstGeom prst="rect">
            <a:avLst/>
          </a:prstGeom>
          <a:solidFill>
            <a:schemeClr val="bg1">
              <a:alpha val="67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rget</a:t>
            </a:r>
            <a:endParaRPr kumimoji="0" lang="en-AU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3" name="btfpMGChart551751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sIis/Dw562/ylZarflkzpXsotLVJSCrZYtF7RsGG1e5iqe9MG7z60qZK3vpZqzyZtFVBi094pZscNmYtOyJ+gEByA1xH7Bj2c36EiWyuokqXstVhKAMzqEl3qnbW21iw6HU3tn9ZxBpH4S8SEaZhu0QvZFzEZXIgJrA6kzdz3gNSncoJE/L52VYKaKFV4mp/9oA6bISWP+1mS85QsPrOJND+rsTsHH3+7slVdxGvf3GMwTXlTPSPRcG7+87yoOrmULjv+CVsAXyV6wo6m+2vx48IUjehHx7OA5QoHuQL5/vT5pfdkbUOnkYudNyNyLWTdO329Fgmbo5A4RIDT9h9LeoFbbclESC61DGvLg/AQmW4KVVZDApKFL51Ia/XAyW4c5NTiwP7Uk+2mykSLcaAPfooXnlnka+mn6Ryv8SG93zUg6Uw7PHNOPy5XDpQinAFBnz0SVXJiFLiR731H6PFhSVD1PXtgNhIJ27zEi1h/NLYwVQ7RCnUk1UNQXcxJw/VERl6oeyfxwwUoJA04jdqKUIpg/tqkP/oj0bL1VUR3yrqrpOwoe8fYtiLfdU/RXE2z9Sztjt6iIk3Al+g7aCNMaWhuOHOJob5zias4VB5q4Nu4XVs8b0fhJGwlMOX/Enz6ICPVwaLWw31dnYhEqVfsRa0A5CzyfeAYp+V2OdbZXAPzbtMTx5dLYwBOATmy9xDL+MUy1w5OwnU2HF7ArG0LjgDD4TljiVbAxrtET6MGgYQd2Dv2nEC4nzYeQVw6KkNDU8lEkpxfaurucxztKubixDsntyo6NvmSyhV8wbRRRG2IfclxuAv66K6dfZcPMv6vwVu1na2IqkI2ttBDQYlZuEAx7pcfNakf4rPERhHPL5u9Yl/SEUmToGguYl9Pd3cL6ituE9Z0ggnCQwfdo4hA4yJJMSS2q4RCzYLzdKvDYLBnIivV1WPGpCpssUp5WvOJF1r+0Eh4jbzVRjxmlwCXQozmmLrjWCRtnmLRZWBwoC812mBT92wWnmjtIQ78TgOpdx8wjaDVG66DtsA4+CWTR+s2KHVESjKgLyjEUb84K1TiAmHcYu/aoPmq5lwn0hTWaFfPixOBXKAjuogvMECnMLHeLmdoLcBgQuqcDjn6PzEDvnjW+VUOddgSQlkY3OLDln7Blh4pnhFOYrzrTMQZWU3WVDTZJYIdrU/Em26aSSYPAKdBrgc02KPxxPo7Dvu+3aqFalCLZ4e6Q97atSkGPw958Ej+2AXtW+2SYmtRZustBfv+6VOkGu3W9ikiFc1+GkiSsqSN+EbcThm18i/vlNc09xCkv3geVCoee0IU7mr8qN7ep0haFbBe9LkfobCAllxIqsSFAUozKZP09i/jBTrgAabb19U+FrnkyjTD44yAYKVTBrrtdMSgeGcOu28IjmEnr9u+RA+18J/cDJDNn+RTKjn292/gv1WAnVfj/BLLm+EgHHI3GaAxc6nQXrgzLVM9OJsVt9wPkzfVG0wyRsdyga+55/vpJWkvy57jk0FDN4Oxgcf7txc+5iHV7SCw8wddBUcdigxggQY/hlNanCs+OljwurFavkzxla4BGP+LsD6/UCiQoKyUpYx1unth5Kke5GIG+5p7nDxmC6Nng221X49dRT038VpwIM071VTQWR3RgGsLMG3GmykY0DInG5ING/64qgsNWk5g4ykKbRx47L3dt5jRen+3XM8TIzAWbjCRv+4YyQ8PHBcOmN+ga9jzP9O5Y6FTkV4bmn/5CccrcEOioyOBzwobXwK5dL78izsu0rbDEx5KKBpjuMNhZE7E0y1pGufrC5Q6tA+0eKPXWFXk3Qa69uKp6guZ5JfQ1igwi4QgI5E481ifpt8h2qwXQwqgWYvh5AcrWmPArgxtBbYeTyuQPiv3bP83OSx9B+KymxkUk+rpFkASyi5l6c2Up0nNIe63CQcLJNL7+f81cIJvT8vPgRei49REoqJBGSGvs3coTu0MvbEMVTGON8yK83KB+r30xMdCs9RetREiC82JGnKsDtEgXxu9MlYHN6HbgxMeJF+5gV/tYiWM40yqvPSDX9l5thNaK7bZpxompj5X6anEf9+gFTUrEnGb1v7KOs6UFPp73IqNGCl/J9DdoYlTQqbNxhdRtl0hPLBceZOWfvCbjG/J/fURcThabLKeXBhsKv/gGQqPCUaAB8bIcLXf4N/mmRqus90UiAu4VXTybp8gmVXUUhVrizEt85XNGQi7LL4Dlo3aY6k2kBBqYTirsnEvqqwt7BqnpoYLN8QlONMzMHAKBXA7eHpBCghfDO+XKxpyB7ct8MMRRMdMhvvJStA5WKOaeDmOy0O7/LLXPPWWsPN7ctRe0wJ71Fudr29OnLN7qdSQTdafzt1pA15qux5JT9Xlg0Hn3SfFWERNbUHz9X5wMZjX0LxCcc6obUJ+fEiIIdTR2A1zCjEZQNZdZ91ZXblEQXkFKFsdt8Q4Vdloo8FBLFnNAMJBE1muaKp0bYyVu1SosYfHt/repFdwgM4fqiJW+4JUsYUNxmAzLalRMgeXayEVpN1uQ766tgNGdAc2Ox8MmYdrv7gb5Brrwtc+/cPNK265pA6jjoqgor5JfRWXla2xEpAnM2m6pGRnMiI0qPwmd8O2Vdrh1t2ugC0DrR2EHlofAy9v2/aXISkDp2Gvx/uI1X8K3KvN4Rtbjm+FQOg75nYBMvMPAA5wx+wjGGXE0CgNuN5Rjhlc5f9ApACoh/LJXaIhfe9iWrjTppF21q20udHFEHsDpmoESrHQGAOkjZ3qyMBgpXKsNFqLM/f+H3EPKbgzbjc8i1SA9MuhWn3q8O+rsOrz0SmUvxmMaGH2MJmw6llrLD44sKaqcZm/efl4Eg1dVOJcoOFO6jT/e3yVCqvdmoSnErpG6ZZ1/lz4Bczibfvbmoss8ZQdaqJPygbbWHs4FcvfTfe5qfNTIJujdYbq0eilNJFZgmCkSzkcqxoetxhuS6He3rfjrB1Y7N1BVs7G6GVlw1UoGn9eTGWmryoTCHrCh8dQBkWGgAhMu6RhjyXu4+w7bXRUTdm5kvCncJ4RJ/AE9NbO93kKVbTw+zmE0urWoagUkV2Wyl/6msbLuIgpa9wPuVejvQH/SWBCYaWCm6WszQ4JbMzUNqqgx0xJi8kE03xep/VbAxHB2LUzdZz6uMAtWZ9lXdpAGDpGmINXlE990rcXjSpC0FUjhgGOsYzFUtIJ+5+nX6asTlhg8sN7x1MUxt3QLhc0NPa9KEZc3H1WxEmun30LriZbSijnHCZq88whjeR3c2QJX/ygJ1B0t7qrWWzuITLFX7HGaeen3TLlFbVaUDq2rntkZw/YiI2Sa3ytyvYQrBmQb2gRUikp3TdVbDfoYGteni6PvQQSB4kyum9FSsgCY5ixcyackT6trLjXpaLNcVNHyyRXijPaMRT29Q62XHhi60gCQYElzwbI7cdhejtwpOqtE4OFfnbHtGUuFoKClyC4MnNKiZkeES9ije/5VAEXL8eIMCihX1zWYcC3vy7te7+gQYqoMNatzwjBVHjiGByqKVTcFCVtESmdwUKgVLv0WtAMlREBakD8q/Rzf6z5Hpw/oX1O635l/MJtfqmKjDu2qgHCQ3eOrPfjEZUG8vAYMeUT7zJoNSpsGBSwXmORfLLUxIx7sah6tlbr8hqAmAFFfvDIhIlRpmRNrnhp4cO4Wrno8yl8NIYnBHjO1LqEKFQNn7eNVTESb2DPM+tGygQexK/MWYDVVUZiKEbvJPAhBpomxYNorm6UpdoxoxtWwcLnm7ipMxuWFCiEIsxz3ducExEYpap4Leudh15J+P8Hvqq9FqgNqJpo9RmmxbdfqfR0Ahe8G5Xm+Z4AqKmP+aNSlU/Lltuk7Z8bKBa+fsItzEWiNjO6v+Zi/b0MQQX6Rlt8sf9SxLpFO5fKkEugO3Y3AwVmWYfLbNnbDqoffNVbpKLbqgIisP74UcJTqxOmrffiN3umJbHPXEob1Zn9CFDPCoXF6yXRX1DgwbgaBDv6sodOYYsDGDb3Z2M+4vPlNJawqLNIPZ2wfG3bXHAZeBC9BQzjWmwcj17poEaPaf8gTc2mPKr/ypOPA59bcXNlnmw+lbal79FPWct4VboRL4LavJA4UnsMpad8JYKOVDu63wGp8oYyEbtJ8ALnl7IBwx33mJN8zGlYcd06O7b2eponwms1PL3b/mA39ZWp76uMw4WUSzDnCjIhpyAL2Q+76d9n+UrYn/j8GLq59+QCEr7iqjvYhbYXGUrDSL0qPGZlmM31DfGyPNdy9+Tsv8K2EMrqHdQcKql2a0JfF+v3s5BPxH8B7ndtm4YG2c9M+i9aUcDvc1o+MonbEMyrR/XtvVKEt5cMli+NNERmqskju1vaUiIKjoWjClarb+x/XpcXOK2KwM4WEqkCO2ptSzWQIdjUHyn/AKrOHXkuvs/Dn+PyvDi+YfPpuNMqkHMM41c/IUX+gH4yS2lYkY13pZZLK4U1SDpJP6EQNksVfWFvoDBOsVdDNhXpKtth75ZjQ5O51yhjkynzu+7nmKeVXTIbQ/hRj4NOm8qnN2CjHiuccLuU0/PM1h7f0+8NVnrmSoaLOQkP9kLHDnmvet2IRQWoAH+N3MDtQ//i7iv5ot8EkA1Htw0VQqGGKteqNsh8D0+ELU7BVS6ed1zD1DuFMxi1+RY6CV6Jca24kHCxu3m+QCS+T3t95mBIGSxxte7/y7+kEVFNepWdbcscyEO0g2h4CzXJth9cdZOzQx6TIEVqkWjEuOqtJdMmbhzSiwt30SZKZP8p21ToEmQRITEvn4p9RWNvXo70xeoA7S+TiMr5k7oFFVEIoe88NSZwKD+F8AJz84WZ0npXijQrRCKeCTFgEXP1vnyfrkKjLeewzVXnVOusk4dD+LGBKteoXPFr93YuqIVYzsvzRTmfi4dyV6IAqjYY9CQOtrwsOBdo2jMsxQLnNWgM0AdHZt21bklgoWnHn0wNckjJeE1Ig1I+yU0EUJcQngaZI/bN2kJveRLRo/ukRr8X7DTC2+Mu2sBp82ua0dc7+vndpudrvYMcitYy5xz8GgUVzEoJST7Cyam3+kuoYDVvLmhY7hIbREUcw1uZ6zw0j1aYZ3U7i5zZVCmwp2y7lywHv7eJBEVNveg75z+V3zYVVsSlhgfl18Uplmn5d1NUtQyrjyU5C+It5ZDxrBB/NmxiaGbtp7b9Fg+GibanuaMQGZ1FJNl9MvZRsiIkRiKP2dYcKuub2MLEOLp2aqycvyu1YqPSKWU0kc+wVt0Y2eLyGVS/z8DrhjnHzBQx3lBFc6U/IkNkbFGtQwuoPCPLaBvGNGLW8T4raJnTX/HQ7vtrA074PVa8GrndXUtK7bhUD5yOYLCczMcpIusY1Rle0mo69e3Msk60KkdsLdmxwq0rPP8s0r7dpPo/LY/Xcyz4L+9rHDy7urfPMR3Obr0wraJA8vkg6BZWXnRlTxZrQdI4YCluMMHW0EKglIzCOv8rYQkesd/Dpyx4ACzgfFWdXqo3NLuZTPv3lARQrvqUoxc1UTzsHAzjVD4dXsAfRMor5f820OWJhKIQ1dEasLWyekX0dvdRJ9/NVysC9c6NGs/bQSgMZ41SMSIkKf5SKWYgVWKlIBF3r3isSTWwX4GJpoml/3Hr1/HVOO4tzwNdAQxvzJq2rwC7RZCT+qpK4QPmQsNqkCQJlpEj1OGRJrxVxLs3uvpZECVVBJkClN928Ic7aQzkPv8jwC55oZzDGjwof8rZvIOW7uwpazkzf/Dt7+c5Dl2jl2bP926g0Jo/QZPkliKrbZ6OFPcE/Qb8D4zxbTRbgjKrjKlNxb1T3mpibifHcqmrPhvdBPDA6p1AhU/VYlUT/DJ9TeQ6IwIcF5Ayd7vJt7EnEakpy3CHgct5vHH4W//jteVmWmi+QnFPSgubt3kJOdQgTYZv5sz+MJYLaXgNA41ZzJBENbp8pAdPVLyTEPBah9K6HbPVSTcN6qTyCONcKgMfaRp5LbkKzgVekvR+CjAc1hX+HQBA2ScK2hRV+4aa+mYzlPGa45aD35qerJ/qDdy3fvtiZKwmzNITq1q0TphoDXwq59G/T9Q69/yiQQYnsweAj8I/c4bNtlIa6Ummy3vg4wziKH9yilE/HDFyfwqc0hpg/CYirmzUCzmkrpOcROY/2ygvh2aGF1ET4nj/vsFYe8YON5dSgw34TktHFmSSinLymaWMo4SnXDCcbI8gzMf32ZyXwiDPa6wxlrA/PumGEOdr8Ub22oVx9+TuNaT6poRdzTOEgdJH5FR8JICo7GQKh8Hhtf2w/pGSWK5x0DUV/pkz8e0xs+p6OWciBDZvul1LpPoJVGyg5b+qGPq12NeY8ui1Plhbxo0znO1wThLy/K3qMojBgwAqXfUW/UJU7ghqXrsWJnD4MsdtzDwj8sVio0++vLQOSc6ZPcV6XgvQ+reVIo2+8OHIhO/qiQYu7ChTLOU9ZLJ20xcNux0T6D8Vg3xjdcAI7bD3Jo4ACzaInlIxikHwSYfoZGh3aNmxmrx/8c6Bkabpd8NTUO0DxVJsc+ouu3OcizhazF8WX/4c0I2IhcNoBaxevn8Diy0WJv3YeIPmhMN/3HZBbnrJNoO8RnzX+ndVmS9VENl2fIde3QwD6SlJC5r8dmQl3GgAMZoVwD2E5IKXngcqyMPDPcE6E7jBz859bPBFSIgvpL5UJ21hvNj+4EOw5Z0RjRMV37z35KMU9QaIFfzeAD25jWeXOviZmtJ1+gQHgeg5A2CgZZwUkyux/keYQv34eX7CGwJfOiA73ThLla/qNe9VHo1eATEgakfA2ipKG0uhBvrxxmbWCMbd2286OwXoPPNH8Nfls27G2hmr5fqhIg7k5y/f9o1oMcwq/I7USemPnVzNBk5h6MlVz/wCYdPg4kvTBwP4rGI80ZbLQ2Vt44RjwTP760+EYxgbFOqYpc9v8w7W8O9qi/mM3n47gHgbxm+I50HIXI9Ue5sBXfH32ObbIVOVM28XV7+3xfxhYq5/OoHD85sR2Z4Ud2StnJmleuaVk8l0g47CKm1HKJPshWb9lTogXh9hkm8wNZg8TFI03ESN5pMfFaMXB2Bth7H6Pr0BDK4k9wvlPTsztBs1YZ2+ZUvLru2BAHW0/UemFP1xMXAwJvsAS7a5CWphdw+en0P8nnZT3pqrdoYKTmpqudOPtVehAnSmr+18r5i86w5V99MprS0I+BdS+SoD4Ljv/F50sOghdbUP1ZY7VHgAb1KMH5SQgRCMl5xVn66divvuVxGpiG272zBG4clKOQuCeQmcyQP2DccKd6QeibjNXg8JbBMB5/lSk1Ga0Xe7mATKo3vZ7sY/h0SFgJOwK1gADSTZNwRGKGhXq3KmTa9T5KaIP1K2sUAerWZC5oeH2bqt+w5BMKNxpiS2GHwZVfoyg5buyDMvWh8FOqsnTUXTmWb1Co5bX4vfVmwJW1GLQBoPLG4L+ecIx07iJsJ/k2+a/+I+ZBFEW2bQwn81mgxknkFb6BcjSgk0n+9wMchKnELjTvQ3uTfZoz1Ol9RK9TP6e6Zi7MCscmcYovpiXWAmiS7XNMsIgkJkOZyU6EvV+OIP/ubZhQjKo/6w3L7HVCjkfPsnthiE+HtW5wZ1I2w29bU2uMvp4tmuVSgErixIrEeA8/9ls+UzJs+tZvkMbGeaQ681JAeUmz+NmJCbGYGeRDOzbRBgkryF/jat0jkKr0DUj9iuzqceGs9gCr9P5wj222vMQkGa/4nVXKEICec4k8VlzUxGyh04zXRo+4eGICj7qxQFUvuGoOOrW4n54AN6C68+6lrJIVVoK81ZZwsuocaBOJR/VhXbRaqN6uGJ6nXzUPji8YpMXKr6kdmCqqEd/mdREzqkfdE280vc9E1qqStLpZWyhcgsCe6q/IjRResAwasM91Zq+4/41TJ7OHAO7AeYU6XXbGGuYxkOdSOlYph4Xfxpn+f140FYzlQILhglZzPYm+/ahrOY3KTHJGB8J/8s4BoEpum4onP26BeMI7UWCD+GwxCMBRA7GVXL74TWmcS402hwQcJDpAy3IyOgp5SgrtDQfW72l3yyswWG/ei+sttrgv8oFUjqkJSF2u0gemJNCMfoZTzDz9XhgTz6V6nYZ2S+bckbiKCio3cb+RKTFVtlzSQqQWZLs8fRwHd/3YDdpYbMZYKo0U03GFCz4ZF07z81glcgb+ewuTRelnPPxOqcInrCSBQ5xwK++DOYYRDFyFGHLAcroheFJbAQLVkAopw6mG1VhydABsThh/IOuuZiw73d674FDOKID6drzpG0S0Zjvy7BwZUm2XoamMgfWz4292EYk6afp+RGRY4qilrsR9Hmvm8slhbOlRsJitfaKtpoZoYN6AY3yyv/TInEYUMQ16dqLoUfT5+JlZW0RWPmNHf40Q8QEYAA0Q4kR4WAzLLN1Q0BTKAkQN7stKbryH8ybNxxrVOtNhGtix3nx6tJVPNNfEfdSnsQo8zNsc8pi/9V7QNOPeJIS1wWqhqfvsYWZgC4owRS9KBAPascp5KKp02oaDJN/nDXy+E/Cst9SfHAH6GQoO2bM+rR1VlkVth2r7zL/temHoTDbPAw61wz+OrJ3NbtFWQs0KJq9sGtK5dMj43rSnP00Cqs5sitpJDvWuQ7j9W22zDzBeSBudlQ1rMtYv2lwyb2UgVKr40Q9EZNqNnjB7OW9Igs6puZtBV0OyeVMiZ2JBSOwTFlN6iWvVtxw1BvkpF0Kx4FLOWkbhbGWtOtbjoKCpAi8XrA/+2XQBe15hfkZZ2mng4TalBX2eZvblrew0fYShtkFP5wR7GYMzrp2ZgxiDXqRjllz4wyJedQ4rDvT4jp1/krmJQWSNDiMCztSlanc+TZBKcq0qNacLYw3Tv7mHc6aMZGxe0C+XGV0VKcEo6lp0p+yH0duhwNGn0gvk+34Lkv5sxSt4YhGqmV6d+ktxLGn+I+sZw1+zklzAVxtVVTYVXsovcPzPXHPSetOf1NT8m7/B/Cmmla/GeY48MaPBC4Ddr8WHjWnx7bYQkfw2DjyR4RvEy3Qt/ZVju/AaAaUg8ILxopb30bZqK3X2t9Q8k8DdJ9XMi3J4JP0jnrjeTFBUeCseomsfuzQP1dn9njqhUP0P+8xHDS/49lhTKVWf+tewFardCIo3nyZXw+zClmXQ5ykoK53jn68SfJSxqk86hmnfO6evaZDz1fH4h8md4liskpLJi4bwp2UHs3G8IFPjC2IUeMiUmDoRMe6AN0aqmXT969fwxLXzmPJOLIgc7oCj3A31Y//V8ug8DRdt+CGMoRLGElYEO3XXQHp+IUsAiMOypp8nOkJ3Yj8JQAq8NpQJpcx9+l6o0839GUrCa4x+sW5HWRIdIIeQ+DPTnW0HWPfcGHr8E5BPPIDugaINEnUro8VOCBBmhJj3Ket2bL6x7sBWvoMsBAIrugvJfFOK4CcCvxzaFv0iang7sCFlMgzdnfHysf4N/MlSb+iYvLoMDoBzJOa/aUmp1dkF7sobhZfjfjDeZkTuPRJiSBPi2FI9YHfIoAgMwpP56C9Y/K/gPVeaWI8U0dQxJ2Xj+6zwrc3K7ZfR8nj9as/St+L/9/+crm1DgV9wAigxHIXNceQmh/fVPOcRyM2jufmi4j8Wp4HwJ73HjHZroN5yMViJ0raHoEABgUu0DawAqDj9wt83PZwXN7AC+53f5ldql59BrUEViY31o1DUtrC9u0/kGOXjIev2oVRpyZ/zLCVe8a/UvLM+tzC/Bb5lEQriJTO66Xx1MmehtoukcrwH7sevCrwwXNEeTxHlvcG3ieYRBAvk8sEsnTDm6RORdfgBdlsNkADA2kwHXQ8L4ai4tmIYzGIWPYoQagEvRH0XPJilBpbZreuPJOHbM8r0+nNyCExBA0obmRp7In18TVtiMk3sVRAiA0okqoyt7nWYYuO5TQmLGkr39SiW6XxzM4h7LOgcADJl89C7gtxRmPL344MVSMqbG6ClJ/1HOJvnNsvZlQMBDeMSHtuwptvrRMiN+eQexhy81Q9MsOS2wwoz+wwr42oJhRBsb2zrNsMJH/19lfWbqQlWX7YdteWP/x8UJKC1xkl4FbA7zkUKbFtbfr36nuNoZ4+3tGOjh8Aejxd28OpdfqF7QqzYo8tW7cB47OgVW+sHxIIBggSywvNLmO2jYvStVKTt3B6iFefXUReXNalxjotfti0mL4K96/TMHB+DcCuf6J9YmxbJ/y4xKFuyDingCogR2xpgXO2orQYP9eljaxy9iHnuCCHvm8+LXXYar6ErFSWNlAR79ZlmZpxxvzEEZAJab26aUR60edBLC6YsFDdQeIUoE8tiudHwOFyZn5kCn4pAe4Lzwruc+GIxiEEs0FKb2hADgDTBvZ/03pcl+TI4VyN0T9pjs3+Afc//IziH8DPIRQOZKojp2eeyV7sf87nVWMGHN0CEpGRHD4Xz+7judxB66VYNl2sKa5ULzVcexmqx1s2xZEO7ca3E6SVA4Zbf8hlrey9I1HiwfZ+hOtm1YHAsCmkji4sBHcm6kMULXXuFoqk1AXgUV12sqMkr9a6U7YAFVtB32Y5yZrvAX7t4jUekgsKCWqb6nLDZBa+9qG5BKzDN2ka92ykCdMpaGB2yNC/j2olBYOi306PSjWgzPRBJQdCf4GxmGWdh6irRneiQc8kdGkFmaso9HeS23sdu+R3mX8LwcKyL1/cTdogG1pK2+vicQTq6NokZSAU//2fo5Qzx0e3utxuNogYN2s+CeVkxtS09/V4J1XATtQRCpvw1cJOxL/tAk4OKxgSpGL6OMRQGxtDKENCI2Obdh3UlwTv/No0of697t9Ja2qn/8hkxobkEFChrvjifPjx+ji8sMCfIp3xZ8YApWK+pxngOfbY2Ph0UIeezqKAYqgOcX36MKWhky+LkrTVtdlC7STiOYHItxIRmvLwhVuImLUBqPqb9x0uEftK4olTOy9l6d0m3+qMBYEKOFUJeiNTdyPFdoGRwJkWPjGu4Msj4Uyo/pA7XauJQmjaLANJ88rXUTdwaAst6kdqLB+0tPZUAiQwGFBEIBy/7SwZao9GHOIwJ7bXFzL3jJyZVO/VRWhz6gES6lj8yiLZ2KjjlbMEWRWy8whINfKEUhL/eeF/n1DHCbhKs2uHUBQ1+BVTSwtSDvGK0r82iYRkbtJo8+Kzm5zFe9ECtj/MbV9CIYgcpUjmq/KffsDFIUTv7FTMZZF3fXRD3uYTkHL7DGqTByX3HS3KRgOlOvGWEOZr1DBqATZCCUEI2m0n8vEdl3zPNI84f+nunyClyxrBElHZicpDmXQmht+W0yYTaIH7zgcN0IpWu9DqSY36THjaFrmicutqOrAdxkOSc4jrJQ37ZYN53avrAuyoU9OBcav7jug/3R7r4u6y5JEKHQCkC0+6/jX0cFT9ygRWUEiv1Cv1/74nmZfX4EN8ACHjHA3S/S+FaDZ/eR2xLCPan28x0g1eapMBrP2lMQYEPB7CtSYP0xpdOLs/cohL2qxqGM0QzT/CZ65Hb0EJw0I4G/4u/lMp46nCcoYPMbHefwXnAfojP3ha5yA9uGNjbsK7FicdE8nQK7LPDEFr3e6pNTt1hvHOMokJhpGobZ6cWFh+3tr1D0gcWt0JH57SjhIp347+u7SM8wfR9UdBGtLZ+DBZP8DkPahir9EPzPFlUqjsGmh4TIUDfqHCzTBD1PW8o4KchO4ntclgiEED0CdLpZEGzy3UEgJOCSUTwZjg4LIJZAcgKi48FybjdsRkNj0C+UnZ4sJnr/z8Fq7y544861wKs4YVIuaG8Ch9m/8zrJ+B+8sTWT9KGdfVda/Mj8diXWLhFEgUpHMW08Rw+Cx2HTfiACcPI+Yhv1X4mzVswxniq9LyD7vULorvvixHscSfD8wLDkoZtz4AkMCm2ZocCkiGqbFpCLI1fxo9R6KRFYi5lzIGHwGs1OaLd8/kw3wTmJYxWVcEtMXfsgIIYBNZcNoPc9/EE3Z//sSv5ln767oIOj3w/IRKehzEGJG89c8oiSYLN5tsdDHPuSx8BmhoeFGg74lEEDI1bBqRmBCCh9gksZJgcfaGVOfuWvPeWDEIIbnHizsfo/lv2eOAgNppgLFNFxdWXrEnrTZxTEPQnmBICGc8Oj/5As97ZfWsIrhlFxKv9vxPbxEuooVz2OUyjIqBZM0gQ1Ek/ZUfhWwkswKmstP3oAvbnGd1PooLxBboy7vDWRilhNT8lAakin/nNaWPwjatdaIB5mJg1iclIq2CeRCaESggfZRhGBa1UmhYEUmcKIBmjjnnAjMlhzLZzmfKs4g+FYWwzttUEpDk0l8eo5ZsqTvKRI0SNnjkvYOuukNM7t45ks1McYRNsOnupULSXvasD07ZoLTFisVbPemkYhxHyRtcxC5rsk2MuC/pgFnEteJ+Uu6HWPZhoCf3F6pvAiDQUZIp037my402+RG767CIYfRcKR4LO/txuu1nbBtWVPWtlswQ1PuEUiXSirag7+VHnV7z8Ot9GcSwxHiPbGxyIVtPLNPNutQLRNzCHtYTxFHxNKCgiXKnz/Ew6x8GLbpx0bZ9PVrklO7GAHUkyRLpMt9+yMZzdTXeApy5uBtSZz0khOboXGg47AnxqSCls07bkLlRnikwKpeGiAJraiCDtqn1NyTWp8Eq6SsZ5KlUhDHtobOtjwRhUxJBBDO9CvreU1NcGZKDK2DDbk9z/K+XgejhsV1bVfSUjiWHr70ZWcobcMPDrwrsS4Mc7bSO3ku7WwINbGkHtI8UcrzoJ6Vr78NcCqM4OqqS94Nw/yy8S+pY6+X8u6/nDeXGvgkXQV/QJsx+qSkL3wX2VTcYo6cdbTzU6mtKB8nYxr7FGg88nYvpUM+V0iyjMn6Phczuv3zTVU2eoecr20Wjq4+el9W47G5oo64UWjJ4XmDwQSaqltUTGuhl9Co6vEAxDLl7aVymoagrznhInISa9oJ+56orRnsQrFbCuNNLKQ38SJ1JvNteDS4ENxTcwsBcpTwJbnIoXMUDqt+ZZS8G9TB7+aynnRRoP4zrzfCacd+zsjFUAYJKjIlmAnE2MMRru4RC5aNFh08zJBsTWkWf6v0mRW7ICnyTvaSvLjI/Y9TMk5pWW6t1jnrFVJrqsMN/2/TQ5MNbMEWcmpePk8RLdkWAlaEAeFrkTXHlQ3z9KLkwYu/gpLgmJFq6yWgF2jOj4ogoI6FydfIwhtu+zNS2Meqz1NFqHX2hSM8Ljnip6EGAWvuJafb0Ibw+Qy6vueK2aUXENMH7AT+D6Qjoj3z5Jl2BQvjuu9CJfyHcUBFGh5Z8qCOLTGDlT7PbI48aFaOpQ9kCQWeWbGRkrR3cKL9z4AiA1F//R1tEAnX2YSzQr4LM3uvvwCC5s/tvvyicViHCx3TcpvBipkZNDAMGXvlrhwwIsd2xHw1Ac0EfqDvN82dKoCSGeAho6zThyVFCvxSTOiFU3iZJRm7j9Uf+AAMQFL2ikFjBHK2w+Loqi4bN58k0LdMIpeQ3ksLnLhcAp25E4oTdxA7IeXx6MZbjkUNd5D9wj9XAmtbJSvX24bV4nOlS2BQj5LSHtm3WyMW0guk49GAmqgEpHBI2p1GUUrfPMMsUP9Q63oF4JUqsXnmCrXvbTAom9EHHLwuAnJtDv6G5qKf094AB8iZj5K8Wc+N+N98sA4NHEY2YpBii7lUboxOH6GSCbDciOSmsqWBXsfhcgwiqUpVuZUqFXw27wwsWvuKJ6x394o6II9PHUmh/Ew/m39WDY3xJ3lyLTnPdT+oZ3xMrlROU5fLNLIwUl3FT+aeGPMj9b68RoqC7rZJhEQvfq9q0ZVg/V23qgGej9Sd/oIvO94hmdG3P53KQfk5iNWar8iOUs+6sU0gOSnYQ4Gb0wX3hJyT1RyY9SUbLO3m2bRXosDrDx8NWHYWJ3mAcsvnhTicV4QwpooZDMjqrhDpa9Nmi//uqNVVxQCLqr3sQpmrlSuPSggZDb7OzVybQ/U2UzCijcd16Jju4AND1CAtsMtm39nRMCv1C0s6h3J2yg1HOZ8/zf5oDL+MLLi2AkzX0uv2+27rivJbb4A/xitz4XxCv3yo2LPh3zxUzu7xowjstlPrK0vVv1gaLiSiQWg9QE4lB3T9hDHVmaySFf0l2NV3NYQvJpaW6xAy3NhPNhjft4R0psh/ztxhMH0sFu6I5y5lNeLQ6Ul2R9b9HjVhzJ/ZlQ24D4UPm+QH5qaU0tDyN3nRknmfNcEjMH3QrUCLTXI2121efNWBf0GW0qy6i9ucSKvUQnDpSJXCIPoduvyidSP03X/2IO8derIVOzfjuOjATsuvE1/8TaGK/536UQ9r+aYVvNOi2490fLJHDkKxaT380ZYpWa6nhTxT7xXuWeDkMT0o6ceHisKqybCXAoyeackMr/bDxxU43hWZeDFKwFKfm7F6e4Qwg69F5g239Z85QEWUkqcemOjTxCGtMcbOauqybR6Xjs1/I3dtBromo2P2U2n5sc/t5jumuGgmSzIP4ZRHEokAxu8spBrf70VJ/GGHIaQ7BPn8Kp8be1UzLz4w0NtaSBGTo9jYNuZtaVA/JNkDvRpSL2NpXbrmPjgHZRrvAMPLWb49stV1QF2sM+MmxJj1U1VrWCShlGimofk6aZV2L6zhoBh3SOvGkvJ88u7+Od/nud0dKwPlSeBFDbB6dttmGK6BUcXvhB7IbIv/oVMYgWG5Yay0GIm9QJTo+HYiUcnqe9Llgabo/joQ6ZB9Ujjm0KWHMIxlXVLfia4gtRA6GWmsvWuqxI5oHsAsp0Wc/stRouqRHOLhq1yOvH+eQ26qGQfB9S+JxY4uSUCVO6UkLj0xpGzpLjvmLvMERS12EN6/0TqZLwwvuc8YzOWKxh8zEoONytlmcovJCGrAtXGbI4LNMFuWon29ZgVR+Wfym5jq8tQmuKsHK4+BK1zTD8NGo0dsuoZX8Ur7W4Rworq+wXctFYj8HcjMHKLtENcOhBcz/4j0lXXU11NdrZD4JAApy8vSUSVerqMuV4MCAU3gYkuAAl9gG5sQGnOEy0jSchWRft8ajXokvsoFipwz6TB02h/ud4ep8fIzoZCzAF99yucn6PDZ5oZ10uSbvNgRJTjehv05FS9i1Emgtiflmw35uu3CgnJKhQCBKeOKL89MPLvZh1ITE18XJck8Ht+WETUSdhgUZHV8E1HWWc7j35U5IbuKuB33hGwmRUcJtw1TqgAtWTPueI1mg+hVuO+VIafMVlaoAnQW9eXNURiL2pPB0d7u0CNCefBrcFkz9yGz1jv2zpHBUkqo8F30b5YoK5YJMUIVXuTKu4TswFTRQz9IQAJOmzxauQOuf+mnkjg1JsjwPHRmRvq/UIJ2BP73CURuDnqUbkRClbujLu6NfIrPjr2HosPQzkTEWlagV9jcOAZ66tZ5NCV2BoeV8aV7jsQ2s9SggymqKLfXCOGERzHmyJAQNiSVGSeGhsE0NZnqe7Z8xSMdSlVo8893HaeX7z2DtkuYz0xZYEQOeebWblY/TglTMFJGdOkJPQBAqOr7K/W0Q2tY57YWfPL8mWGYT+CfMqzO+6IvN2Qp0ZbjcuiGFYc593GpzmnYw07EWmzPzGTplzrrWtGoyrMtuBHIBZMQiVTF+STqaJ010ChDK6Jdy+QFxjQQw6DHLdwO5Pzg/LadmLPKg3zwYhGQCSNDfz3265OoLIRyEDGib1ctSAUO/ela7sTnb7L4o3esP12Te53VYEwGaK40kcPwL6weKcupdEXF1OdGJuJqF7dz4Rt353PWCjWh+d4ISSPCSd23tM8iGYPnJvgXUg+dcpLUDLixkMimmnetT3CHzYVP+2spghe+zhAP+JG2QSHZTbMOYiZCkSp4MM3gEtaVkAFP7VztO4tUe9/dFrYnmNEBWvgsp+IkGhOoyzVeNzy/8QrUSLxglJtXfwCWYA/ykuHQ7NxMQrcYsVjJyZKbK3fuJ1ogVa6DMHgTZLfUdDwoZSq7Nroy5SvLwecVT+lnUy0vcqrbtAxJ4Yv8zv0vFqafU7i4Co+dAohP20+Hw/QY/JsLTDeGx362+uENagMG1MOcP3ItKqgxOu3VWOPKNz6CWwKBQOrgfmK6fBI5lgfLBW174A0KTb7nYoFjGTjXqZ5alDNqNlRuInXMBfD8MCb5/nPGgPYrL1ETbs1LgJjVaXPCX8hL8Tuq5U+4rzFs4209H6hCR4t8foYkRUwgz4U9DakcqzrDi8IkATyMspNDE2jLhwdefWsE7oHnZkowlRBY9FEFP/FbrFV/Gh1vhcAOJ+ts+GdKRFz7G76FnHoAPuAcYekXZqAqEXxwbKOa1uX8hxTNlvppuvwa69f+muVghRHIciHu+eWUt/uyjTpARKrrIiqQefwpGnTfCSWqd5xGOS1PbArbWh9pjFPcX0hyREeiawrwtmRc3x82vKIcesPoR+kxfiqBe7Z/Pk/3zsr8672JRczR7LB19effY6TxUC2+VfaI5D+L0zwk2VrSQz16qXym/YophYM0AkIL03uBfYcqEGaKwEEDqsOKD6XqscLjD/oZ7GKMqyZ3ww1Ro4CdqzhHGzGcsXhLKVnMwSKvdPvyx1UA3fw/aooCgs5ROSRj6aIZdKx0+EsQV8rVNf1MTo9Ns5Ct7XdGH6M8QI/3lhbjmQwz80bV6tyPiJlMdiahjL6+5jchUllNWSn4rbyoAt76oMu8gcW3PrMRM2D3zjgpSsYh6mLxLN8ggUDvK+pcwqD3QBarrx4/Cyj/ntpVZ1XOflQNeYKdPEcoqTvN4GYUB/MzTqVbnNK+Z/uZSGLFKV+H3jpLi2L0xvlYDt97b0CadBSjgXNqdOkzBatP0I+mckHDJX0v7GobgCrwpj5Qggf23fl53Zi2tu46D/nPUaeu8REmepOByJPZz2lN6Kd5FT6GS00JBFlF8F4ZDWUc5YhQqcVskJHFJnr/xeQLn8gX+n6roMmY5Hg0bBP5ZBeqMTRd66dFPwZyXCRWH+1QSBjoWB1lnDV7tCdOaOb2IZxg5BiAWC2TQaG41gvbmfSRlB281DddpKkJEXfXT2c7qprxlYTWutn1LvVpsZi9K4V4riht/muMfh6LY4AxH8CxA81UJy2LkQk7RWoFoP05kuKtE4moqFjtlrHuLq2Qv5NmWF0RdFYjbBzoAFQ0nkfB/9icV6HM4SmOGcKJsaUF9sUJBcfck/47wv3IV7CxatA5KnP3rtzQrc1eirPVqo6Svouj9NSvOBuPM3egQQgcodAG9sVrJcoqZql8iMxB5193qI0BiL1YTAkGlqBNBlQpiDiKh6xco/Omeo8CK42Ib7HkeOiaXr+iha3UU9X4NUCfxorraLcjjZdemklxO+Q6m1qyuQesQQ28gfIf7sAT1Jri4g+28W9ELZ+oVXpp+Quf/iH5GS4oTVtZVy1vXATy3N/suHt7G+nq4EHEq5reQmjSF9uKKVMOxG86CKUvhbziRO5wh40r2tdsNHxpeaZT6ElMLfs7zelLwW6O8YYc5Osfp4bbSr6bmgVdDZ8neSTB/fIKD9wn6WoOKSljZAB47ZX2aKH7XWLish/2lNlPbGkphTT2vPbz4AtH/ULGkhB178G4owTjINBZIZ5Zbi8eOCA+KOuXXhEqAGo5FKay259tbFaEg/ugMBjsiMWbQ9MGrbBVQTvkm9YWg12TWavsocFteOsmxX1eJyl4kHG3Tn4aFOdB/pgoP+TZ/GYatwPiMybLP1fA6qM+5uh8uyQ7S55E9X8uT2oXqG4KfCPzk7SECz3ppbDYB1s6sd3voFtbQsyPZS6B0NQk5069MtEmA1Ssatjiwap8N5WjjawfljCVhg+Dws9sYrYyqYy4zh9vm3dM0fMjTvmD+VRBOq9FkVvoT96tSCYE6kz6tywwamkUzfkz6Y//XUUOvig7kU0aNsvZkSrrql4uRAHxijHIHM6Tjl0ZNR7UIj1y8ILdxAzePjtdYz3936903JGY1FJ1xPQlGTuROoW9KVCS7ZDoLxUuJQwaODsMKY36eRxZKhh5wcHE27HEqHElFW9IjYoKuVU3Pe98Py6qEUFPkRqQrRRKCzZ9NL7xYtmG4/n3d+yeXjPpgE4HW83i42VGaspT2OH4xeY23ym+hcnYQw7i+38rxRtVZRxorXux1MGXyNGu/rhw6IhCDO1FcwVRUEK/kM7Pv28EqEYmdIqhiS9Tr78S0cdXJRPS15MEuLYLVKID6iFxYUWVCCjEMNrlrwW7eJ+2ERSL7KIoTCnumK/+g3wPJhtSCNWaY8NC1GK2te/gOetyTHyMU/mewNk8QmwQ6/DypL6vPfKP87a3jOeIpwl8n4qNeJyUV+wryx11P9KXDDbt/U+mHpx4ni7eILCaarjK9+i8fWVPMKytl+vxrMmiOdoux9anTW2S15ktU9sUZNEqSyKfTLuvBiYHvJ7+Fx+if+wMtPlOtE7l5vwK5f3pNR4a/1MQ6+kfHrCQzWMMH+e88X55HWMK2MtcwhhVoJAhpFSrUVbuY822+Rhp9MAbzCnhcIT6PVL75zSwT+WJ3ImrydiR37lfpTy5j8A1rLzU44aqVEecGIEmO3vHw8Lf6on8b8ymoTRGJC/wIfj0XCVZxi1E3SV/tkFbkZU1IDmwJoLdPx+1ez8yNGbUsWq7cAij4vot+Au+M+i4tRbT5yF4/1Mz+Gk1vvqNA/drLZ7iIZlOGJVQezTJCCfasfX65DL7pBldf0x7e7r5WCeOX+GD3ks4XJjhZkN/jCeoREj1Mf3Vkuz2vUGapTCgYzvh0D7arpi8nc1f0FCF4EjdLYr+zqBAdl3BZsw6X5iZWmogPLh7EwRoCqd/VQlChVwjBG/TOtvtc0d2qCoHN4ba2lgw/m53TaHIMvDjRSEyKzvfJStENsWD+PaW+tYmOfDKv0gIihpcI2iP552rqFEjlXqfF+zDR84C55lVlVg5/VqzNw9D7mb910sQj73vj4MqNLpqC3Rvqrk5frddRp9IF+0ne0k4AZehS1+Gc2pcVa4lHV1t8XhhMYYDFMtiSDjkdixpBMoEYbCQ4uidd29pDktILLFnKAd/MgIhy+sfXFIlAQ2NIAZDdiaJYzzjX1m/VOwJKUr/QJsFcrvduDMhx2C3vWOAHi8/kWhi3vPDsWeaAmVthp5pF9FsSEr1RY6uCXOC0/R2Liicy0JDXzMMqIo/NNFksi2prEZFR4sUux+nTk0Ut+OocYN52VgUpogR78rja/ShZEuuGF0spg/sakiJXFuWGUFq6Zm69EVsuC+DWIE4K8M4Omc/+kKRMQkqtoDSBbhXSP7zsBhD+0QZZibYwhV4smTVTjSIP4D4YaJIvp0wRCt6LV54fK2rnHf60nNzdIWApFFlsBTwo3cF0gmZRO3S2iGj5p1YY3UXTGYzlnvoQx2jq4mK6w0QEA6loIj4ewOl0EwMgSzAXc8JkQFJXrASMhUpQ2P2fYLqhxUhHXB5y2d5dLHgtn9rFZITuMkGCWKpyRJ8Tb4x4als/DFZEYlu3cW2kSssrGCCs0L3FcKco3wC3Woo7cAAmBXWd9FawNRl9ynvg6xHi5qtTgWpinxxV3Ab3ggZ9F1QBSyV9r8iKD8yIacTscUD45a4zFaCCqvJUbTpsg5tmxq24injSnXDTfnwkfM5D3c3Jdzx1lhDiCStCABOJenJ4t50fgO1TMnGCAKUtkKmdwCs8ve51uTyOAQSb9F8hS8fUB6t5BiAd9PKNtQNxbtaSOwciv0oZEyEMggJzQCCBdwPO2pO8fYVoxq8wGKeLFWpAipeM6LEGEz2bwrUl1RtkmcGuAdvJYsHBseuykABCxPbXQke5pTgcrtT+j4QdLZYuQyQ1K/AW29vFOzeTRfaIZ3GWGTH6kmVhakWsattvE4HA1VP6hPV3pUXrhcOC6lJ/yBebAueg/CM6D2SW+YgyW9Af/Cc5Qt/Czcv8+jvJlBeoFbPQESqgLH4zh7sGZpLlbWAup/3kafbI4GW6vsqHqFs9EPW3b8hbHIe8CjgY9wFM29rnYK9xGDN54tNf4Jx1kkdFdAFHKDRv/YyvHGimEIwQ+OA7mJfGt3jWh6mdUO5dgfD+DZOHSSZaN+RbdsKzx4C3mwucCQz2aoGZtggOAVFtRIFwZZ3vDQojdU7D8i+B7taU3fhW7ViFxaX/fFquoe9HsHvbBv5hD8lpkhinsCzJlr+4hyp2D5gMwV76XF16375BOBW90B3JzN719jzcjpxCehreNckMhGfx2vAkDYCycRGSO0TK69cDeTNHdz4xESLJF00naTx6JtYZuXzSu8en3DKmxn2ao6+ukgaAkpBvhPsmOTwqvefjNguCWFKP2XPTnUcBUZe5MPgUm4V+CIJU7a67ws1mARnhjfc/3eMh6P3SLW9YhPuonfyxMUdh5Qot8JrqHF7L6qgis7+s6tRuzq+v+5mg2PLCaPrglvs+CgcSPYofivdakg9Utve6nn0wAZ98j96i5Ap3NVIWD6qN91XDsfy6LM/aVoHfwr+bxnu26hZkEuj02Hz8grWJ69vg1iCS+/RLEL+Glm6zcs5bo07jlBDwAOmKQzCquchk4WEgcwW/xWmLeQihV1gqYlZJCpIR4s87TTHwp5VcNL0mjpnCGVLFVPnKKBbmkwG3BeLwU3ggK8WwfglIooRLaWpnO6pUJjEKsDCETHjNxEqbu9aTmkiuGywH4XixlTq0IqvVz8RziB0/rpSrOnrZk1MCX/N3uf0c14YUED+ggGxaoSt0BijM8WGbSDlx+iBxy5qhEFtspoWXxORzDPMu3qax1+N3ARJnsbR9J8RRxstwwPxZ7KAMs+KsOXGgeKdlhv+QFRK7n8av8G8iNurGJIP3Uh19d7I/lNP/lpOB0k29wLGrruWoGLjTT35/kN8lzcKvo/w85xCvVcxBbj2F1ZeJKvwS0CqJKy3FIjWYjMNffR3/OIPmXOktBfORhJwSNq5U6HpTIcneapEsZZA349KdRgGS8EILRbUj8xW83CiLc7u9JYYwzX1LQcS3vSLTBbcyGTdX02XuvlS67PjGkwHiwO8oLc+vwAMCdcLMw+4SWWpIoB7J1QPTTbgGtVpULn+S2FPbC16jvffX0m6IoFIH8yBl4o/9HFC6ShCPgcDd039w7b7k5Ur3r5hZLTowyVdwxSEZJQ22X5lckAy7t87Uol+ZmotIxwLVMMgnfOPPp7GfU2LNgaOAyVScIeCaIUO/edHopr2F+nm7wWQ0y0ilpPhZMS5xvSYGhq7i85lx0fceo5X98Jh7ThkeUqANTbWGhh9wOvOSZ5M+RML+giJA/5wLjtQy1vIbd/+7nmWiO+yvfSovFFeeDp6SITkx+nH1o5p8qXSaIEf12on8akJdKwBKPRaIDULTUL5ClHAzJ+fHliTwR2H5NyRNLU96gGCsmf5k5npW5tyZq1q4wLA9JnGTzl/prn07uOWm74csXaR4PSmz4r7QBTQBzQBCkfAFcKPKyLUzb106mdAu6iMBovRbPiMIuva12p4BBzrFmlGgqVgGqBugJwN1H/K9zx3+ZVqGuPxpNJ1KAU98sTvhMwgJMhBrFdCDNWGrM25Yegi08YMhsHqcwMVSRHkA5PBtbQ/O9IfZKTya+dJecuHTDn3ApKily7uBn4lww6hmcfnJY5FDothErK106RKzELukl82VtL45y1TI3XfDc/aBlh0JgXxSgntt4tyi02ploIo1CDo/sJX/UR6kPFspVHbQ14unCKx7LTKHgxms42Q2/wMywYcxBiGYpQQ28E3tLfPrj4I2kGipVb2B5AZ/b667bxgUMg1HBC42wEtxKYGREB5syor5jB130lxWbjTnNYsosRQ8GuhwkZNW/hqSoBhIyEhTEH6uVuMlRbXAoWJsWq8W9WEZOM5nOo0S9JIJsIXQVvfOlxxEXZch5zEYAuPJUnQka2xd//9mEAu7lQKhdGvdrq+PE2j3y5rtYVzaYEdUSoeMQZkCZe6BifG452N9e4ie1AR7ZFgIGnY08/c9Mk/J8Sa2Y0IXytuA4LLO0PJyHMApO1JJqOul+JoZyIljztTSa7VgYR8vhp5wxxm1yPU9FZQNlz2e7CNj8oRsAT5l6a/BcEokv3cjPHmlJ4O4Msmb+hPiVorvLkjxSsYDVSMWy669p3rhBbpcBuS9ywWUIM6wGSLynR3phzPFQ48sdZBWGewVgq0FnMy5Z9sq7QyJDxrzWEu0s3GHdEgODLG0QBz5z6JpLVR931HpO24ZJMzb5m1um7e2UbZvvj0vOK+OPnQWOnvwOQ6wRlcZNV6TyzE/ZRDV06xRhbUU0nr8P8NDhn7UCMxHJcsp8kOiMiB5vlhkzgyCmUPDFeKpjVzbf6w77IBvBbLeg0mbwKTJrCH+4WN2P7Yx0tdb2uhgiVL/gNN4pKe2oKYSID+ptRf5lHhx3HQO1DY6vrorX0ToJCy9VpyANIcUDsu8Pp5Gw+w3wnz25ghkR+VrIRyuhb+dL2BDCfnw/o+ylNXkaqgRi/H1v/IQ8Sor5HR3rQwb0vc40r7lbTIHW1DDRdg/hJSXU7wHac6aHCotA4dYUz3jWH45eECkMf4aiky20gbOxIbjSpEn1z85zKlSjHyMKK7q/PABsYNBQcMyZkqs55oOCRXy0j9jz8GXkW8mTJ0g24zC4jlELAsv5vAVM8pm8PzcP/ocnDZFRkobpZUsJJMOqEc9YGh+GN89zme1iGgk429IZNXy/Ips9kaSiDiAP5tLjER7bxf2FjzDF2Rz33n7uxNF663IXjQhAjqjL0NekCJFFW8MYDKTeZQXj0wxJ0Yy7SBtE8q5kLjRpFXz0D4iewEp2O+7BlGVulQpLhcf+qZbZBPrLhcxQXHk/PWagADqXOFDig1IH2dsERRSnTZkwiI/ElEAeCrbALyFS7zP3N8cy+diOv9me5aunHDzMKC7rgBwEL4nmJFzGyEzhKAr1NWzAuxOXlOtiEdHGe1qK6o2KMP3eCjMas7kiQLvDHL0znryrIJ/QV5omBkJ04jrhtqS7xZQe6qa6yYTVYjTLRHuh4SQ6m1EjaTCXbgzDM148jeDp/TGaE4R70p8D5LopLZtjKJgH+M/tlOAJwLTQQq4xX9fCgnF0kiob0KCnMSdOhGox1udXAYxMdisPhoJFyJQPeHKAi+hjbtsNiWL/rrfdLVfw9lsveo3R2GdLRq3PcKs/hpfrziqx2f07zkjXqvDv0LWd0Dj0iWs1w7uty6R7VVxZ3XPxelpdPvx7oH02YP48yu/gNGR6C9CumQSOALS2Ld5gE/VRd48tDIiLVdkyXsclnV+gq8pNY3Q1BXUb6L4VY0hQyC8CCAmA3+Gro8g3lmuhH3N0/0xW7bgjdkUmo9k7slHKyz24QU7G4K2SOj/RfXKeZDnvcj3YDG8+yiDCi6CRDrGtq6ptKmLgA4oola68voGYslr1oFP4w4uZd2dSXv09ncA3Vz+L0Wqk4V60/TfeiP8Biis8dHnUcXDFXy3A+9Z8dppwQIvj2L/jEgR5Kc+r94kMddwSHysdx8tO2Uvv8o9gozDOOHnPDrKRssB2+r0RULn6NwVeE6rU2rGnSxAw2LIAvEELRRw/e1UBnA5XPpeoGunjAyfTI/FPllmEJnLZM1GmJnDN98DLhWB20wbDRYTVAhwe7c3w1rxaoCAZDs3LFBtZPujOF6Fes8w+VFDvx2AjBXVhSrIukg+0GW5+kC3iWNlAw2O7m4GFdz8XSolREgQlqOxwSEncfVW9SbxcnhcJzZ0w0E+VjKmREXWmEzVskIxZpORur9GxJt6ieEwKy4e99srrPMUwI4PzjjsjwP/YrMA8jpR1WJot03Lu7cU8hM7j0/QizLGNWGHbqCc3pS1fSl6V+T7pg2tdGJZiBQcUPOszFu2vSrVzltBh1SJUKZEj9PFHn6DH/sE/c1HGP3yARUgX3yP40BNOOTRUOHWhfAi+oR1brZDigpvefAqyDvf/W6POy43blQJHK4GK6JQyLBzVf9bBLM2cnt49sOUCdaM8rp58rk0p3lrH1CsW7E+mYzloecwisSbRjEeT6rrvrx1ZfDXirOyHBhP/KZUGt+5vDtolGrcq2xG3YmRAdJMqAbjxeCCBgTIvr+OpDiiE3Yq3dWhTzJQ7vL646WSNhcJI29FCVDLCENnJ8b9CdYT6lJrT5m1FuNnZJYtVE1x/6+Wcse8hKTmX6Cx5LLbIgvZNLsdGdk1XPrTSkC79G/E+BbJUm1hl20wWdEYrcgpvp5kuDgSVuRIJ3gnmgDvUvBbXpr21oYoMUo7GzACjVrQwGn3EwJTk+6NM9iB0CtjgfKT+GNT9rf8pTKbgOMG45JQk5kjRCDElLMl34/S0ZsWX2826Ehv31WuwiLYAMFD5vGLjl6L6VD3G/XjzPmsU0amW1vt9Uh8WsZ5d2APgCK/0WI8/rhxcCyyMVB7xhsfhbrkgSaFcfaWNGLQf3+yrDggUNTZ1ShAycSgeco0yE7DoDluJUlj01pfTcvYlGPqkEaACpw7nV8ykCiuyOaSWcenkVHJWNQMAcky0RDhVSRfQJL1AHX0/pgfiMsjmze6Q6OLtZ0/DZ/Lw6TwOGUP33qo1kzKXXDyrPun0s5/X8m3KatI7E/DSJxXT4DrAaz1zz+f3e+mRPMZ6HIWn8jYbEKOV7Z2J7K3HWEa6s2f69BFhX1hfpkBept/cql07U6a+wdXGQkiED86PfYorH8LbHBPJ4kiotFMUyM9/Vbjw2IBcdy1erbaDd+aZ73ZuVC2PcKdm+w1P/40MU4swPN8ik0c3weW+ur6tplTP2qtSwSxqPYVs3uQK6SFjXecdtYkN/CKG+cTrRwRs38EtzkZ5/zRTkqIz1I545Amzgo5/UW/HbU9jy2s34psmohq7GIYyNtpQTUCmSeWOZ4JMqdA2TjljQNdis1mFcDo6T4SAe2fH1XpjoUJydJUG/3eTK5TVNpRSoih6+Wt5cHu1YfsSCau0qIS0mKuyDdiEFsx84XzESwXXcOyCxfHN0fxOSp3mA7cwK3FlEE6avXyISqJLA6/FoKurKZ631ATauRVWyX0JKhJfa+BLKnKg+AGn3Hj/L4HFGmP/t6ZAHwL2UtjUSL5BqGkHGdjBss538X3ba9/fs0NtTzzQYqm9CDzzrRrSR67Lddsg0E9jPNscNuNtgsM9Z43SOCP67JFYlvTdZsXNKLcA1xu8M96KryENu5RlcC/87HjezhKzT3kcjgoH0wfgQPFAurv/L/tWxFNb/jX39NDUmKqn7Yk2+BuvqOTUb/s7/lJcBA67M8IXJUFyXCqS4sly1+oyHtpYHATMf5M1LF8hbLtyKJifU1O5/ErHVUTDEaFClncKbA70ctBLi7EgAFLlwRnVTdagmwXT5+bn1XhQlkl/Kz636ajx/CFvfoj+G8cmd4grESsi5gM4mqIV4I02709dBRO04zHrnwsXCmFl2kOpjthESZsNhRsnDiU8u53FQXPNRsXmofSQhD6sbch5IgBy1OO5nmiFFRTxW6zizR40m6YrAWEYpd1okAmjBuK4a3j0+7Ly55NBRhCZZ/MG3zB2WgtJH3o4icjF6Ebnpf95QDW17D3AQC8B9Otboe5zLUJrSYr3kljzqAWB3X1JLKz6xc2Q+hxDBDJ/crn86LdLCWoRngND0NJDA9qF+Q5L+iHgLIgdKU5t31At8EcPjGMpHdlJFg7gWf7oaA5/LH319XQZc8wpZKwwScMHZ3Saekpeiu028DE6WyxPvLCft4aNUNX4K1dePMVOmZiIq3cRkTxaFTDFlYuHKfGVM3kdvy3cqWjrcjbHwdOXC+xJHp1KZ9bkdij3Rg2yrz+UJsvzZ8vojQXc1ze/VDV0zjU3TQLc3eNW6PxcksAo3EhnOZ9r4Spdg8yKWeLd3CvMJzup8lIGx8PTgQ6yfNg37yGCuA7V+j13/Ucs7Npdj4Oj7GENDPVNIE7lomzYYhAbkxBrGmdB2C8sy+6/K6qbp41iMwq7mQ5zuVcwonAvqSprpTeHj392+l2IO5tQ3HvWIeDEYMDIrxsLm5pHaTVTwbbhvC6WV0W+E/MrkQPBFztDK3uCcqnOVS8xBeoynsoSdQbiZUXSyJ4qTyAoA+Bpfc/sZ0en+qKid+6Vty+KAm3m5oPNS2osa5opIxqAWecfoU1cfbIQ/LDu5sXdlK7w0+i9sYMA6esGYHQUGApd/PA/n1RPRXfNTU+MPGGq317Cb8ESbYiDnaGzEJchTeOWqTAfbWIWQWMaDoJ6CA3P5LvKgHLaDwuZ/0yeYuS4sx/Md1D6t7LQA67TOTv7UPXmnSYyCbJ+QQfzgbXRfG/kEUyNhcALDgYrSxJZAMZZk7GKmAwt6o+wg8oYxJVxL4RG1uauZFoT24f8P57VkKKSPiV7IZopSNqgPfDHLJjU/a5MpcvV/EIW5h0LDJlNqSbp1NF4hTTY9V7LdKcBV/OTbd4jC3o0DgtaUGKDVhk6l8SmJ6DCmg13SdhxGKQbdZeLEuTndIyLlA2e1VFkmKd3J4AJSkJR3A8KQdlPAq9CE1K0BY1IyAtxsQUWVHlReMquxUv/l3/m+s2I9pISGam5NPLMvwNcP6EYFcqpPMB4KuP54zD5MRknV0ifURIRAVEXzTaS2+NArPrL80KktlrAw95t/gRg1UmEjdR0Phvk8w+BfXgitq/Nawz7i9PDgsNXCCu6PbmNSrp4wDU8DZTjRBmJ7LonnFMf7WrUreNjd14PmQbgdNuLg6q0evyGVCXiou+kFWWnFeEIdotoHq2lR7T8fPmNN8jLkhdhwrU0frmbhrU/GmYLuty++kMzS7m0XISw4FZ3c9Wh7BP0k2Nquzntq4qA8q8CL2Y5E9KaFSGPGu8M0PuOVCiJDoMXH/lolA/tl4vai38jaPcZ3u00uVHeTP9wJAE5Rli+z2htTeDLJ3UBrjvcCooxq/xzkeNVjQAAetBBNUvpYsR+UNL8CTmMeSkBnmbvMF3w0m3hW6OKlYcWKU1AHnmkUygEwU+qkV6oixFRpxBjp7KL6kiLnd+OjLoePrmtZefqKDF+2vLzmZLBtmtAD7rN/q7elLuGcDU6P/qehJosSrfT/PWPwxrhQX2MHAIJRZout48ZYd5avjK4Pg5bTYkxiZFGUMXVJXkt9h9/zFKrO+smSTDf3tzSeWjYAFl9O9vuvTNQVsu5AjFUpJactbbxhKpzyiGWnoxFxaZdocyVN0oTCNcrEawfRZRQLtyfNgPJRiLXuo7ZL8lbS/Sy3VXKFzWOfZSYdwDcH5jr+IJ29WcEQJ/COsaKIVH8Br+3FT+w1kql/mD8QaqXdx07JF0XYrchK8KS7dtp6/10ETy116a4sTkR6eNSqO3bHjbG4Qan58bq0Fujg5EsgwWpgKInBYSUAZVovpYGAulpdDZdlP3Ax/1YDPFPGhKeD5Aqp0pSG1zNCeAYdS00zn+qWDYLNwrDRrfQ81XpQ9Zw9m3C3XAnru6sgMbkJUbIlHxWsg957KrupFKbq37OhGoWzVC5Zxz7cKTwVvExF/aO/KHODFcTm1INe0T4yvYKX1/xtRbIaNYSmzJpdzvQSOdli0BFckufVwjJCEOSJxCeAPfy0GM4iyCx8oLSP//PEIVq2+MBjyNVmPzT05LKao3u00rV5TJnlzCs5eeJK+jtkjbN+wawsc85sKztyJ+/h7Sqec9HRYZnU6T2QLsXvFhmqjqM9FcF2qfOD4/zqV889CwXgAP13xWVTth7tbArRPiDgRScTEcJ3F3MZX9dsut0HP7d6Rv7P//QASeiQ9rW6GNWsrmo5IfT5tl093F8RIPMIUgimg+In5CVTxpdbYU5t9ds1CqDzIiQVzbGgVpDgr1pY5i7NlZOx1vkDDwdtOdjAWQLc73ybRRD0EW0gpvj/iiE9VWUxbETABSDmo3yXoDqYfbWSFdX2+Fvc4aE5hs7faKTHpKYnqeTkoZuyqweRlsUn3WYTmsvcLbs/8JGY5DNtcZ/oYzEl6ka1C62qKa8KZcyHUUPrlsbaEb/U//O+jFkPV+B/4gPASngvyjrOjLptNheElRLWcc/CTX/AdahmMwkhXfGgFYQKRRbR7OLIWDGTq0KFcoB0IxrN5tccr83ugq5+NmILX+Wj0U0QE1M4wlQhXpXP2HrMOi0QbLv8/aUAYBkeHTtT5b8v3dWxewNqygH8AmCrNG2TbRr3HD+Yw0o3PvgpdJyPi67TGJrXwbQG6cDwqjByVd6BLMU7zqV4Nwziz/SV+qscmGYyVd3HXedTFRstWaH1dBt6RKg6m8tqKonYPoAeC1L+wSiBSYEhebz+KmhSxg7AeWI758wrilVVBLNt3abpTbxd8q5LrcYJDu7W4yDyHsO+ONOWZBhol0LVbPYhxykrd9+k9An7Uezf/Gws1ca5Ze9JzBbiQnv77ELD16J11y7S+EqzpEXK+Cr4jcfLQPTr33NOgUGa3gcwpYg2bRYVNaNS5rJYwkdepFHE6YqdYeSkvqM3080/74HayXGjPYbKYLNdbOS4gaHApjk1RPhIsYuhk1Ju9zmNf28DSj+4gTca8kM0wxIPvsZ/cYfpmDXrZWxcKrQ91okfAjeNTDAPtSUEjoW7S49tYdob1ICAlgmgwXO6l4j/aO837w4VLQd2O/krJBtv5zhWtUkOo+LCJtiBxUqzn/3hQ4RaFi02/7UOIgjT43lLkyhOW89NErD0O5w1Fi4wVZzXmoi3TCb1btw7udexTihLqLov+Hbh7yirvTmcbA226bFg/DNV5hPcx0tj7+Z6vhrfltT/M9ifhvg/NmCzX7OEShZtw7vFjQ28DCamPoAkEtQHbBeHzrnLn90wde3Y7fNHbCQr72JA3TPv/8/zTnB+O/8wQ8J6kFoRVSoGhhrSQxdUWrYb80rsxCQwfvFbgsykI5q02LwlopLrkBDfYB1Milr/o0QyAp2YwaETHPT//0fQPLmVMNFX43Gayo7SLuGBKWB/LHe+Qy8SihfEWd+hoR1CWfI3phHecm+axtcwBcLw0N7PPHvPI7lEglbLKvX07teDPIUJMo3q0oLEWhYy88s22o1LK4iDlpQaBO554wAUWt8sjvQbgmUiyAcVkK2yHMT0fkANu4agrT1ZA3VJiNKtvtRMZy9hKDJ3f2UOketKtp6oTqSMhVpJHOI1E5Q+8CMIOvgalbOREmghJAKYR2/YyE5CbuVaO7jukaay73r+eCRJQgFgx/GhIRteXPERRICdHUG7lrHpovy9AFc1po3ldj1tiR2WW6LQPwh04jGEHTGkIqn0UrHot12F72doQl0Vqn4+lQcojIuCdKoqGj98Twkn88tUBmxRbJI49lmwjQPMbx+qXWaAGh4Kzb0Kfa7N7iTXkmgRLnkzKJXu7LRrUBYuSmfymyNV60sGr5L2pdbFKpUUzR7peIV/bhzHjt08K4ktyIroGljM9EulcjFo+IT+xX1gCddQz2W7koS6qLJNdWu3X5X1t942hut5a46aRVwpDykjeeuCHTC8avdZOqZMHIEtCcgYSqtE5ofia91gLVN/YD+Y5rOIzmevSQ3f0MRl7MDa1aLJNljTOD9S7Z2EQjscfpnEqRw7b3Zo548gAs34WSf8lXL+hRiznCavcRu7lACruqvBa2luVWyUfwTyYAvF6QHvnKgoXtJ+IXjan5LXs6qdUgIWR3k4O38zQrpnWlEMfKC7Wn5zMp/eLlxauP0CVt12Vh9I4L7wBzyyXhTlqfucdom/0liwrQf1nbL+pV2NrWBKSw87tnkRDtMPZdwn/XlhPXyf5Lal9kYqphFFXkPeOPlAU1T9w424psiqxokl7a2P5yIZJ84u3kYT4MG8tAU5C/yPFOkSYCeHi7N/71kCx9lwPBNvj9648SoM9VTe4cl1Ofs3lX0tBRZsxizHB9UtfS4DBT0RtHl0nxwqHJIaDNNwfN+iDPbVvkOLgWeJXklr6/M/LINV4PC4bnPgjMHzCfrZEXebGtYHPrLCI5weFRYgJwiZnIs4PX2TgFpv5E45J5Wm1BXsaAcRjRMP4+G3D073DPGYOM+zTuSQETqYeCM7cmwWwQm5EavJZv6q8ult7kKyPZaiVvU8W60dCz8ZR8h1G8bgPDr+QvcVgYX2vQxtQKDjX7GZSaczNmlcyJiT0R8Y8JLtR6HQnII9j+OsU1artvmz1qGLo0QNJ4vDFRgeTA6SnkyQITuKTcWHdZn9g/xJ+nUkheNZBW6a4OvevKUVLBoTxzAknCFG0V5a/XfrNlwHaUwUadbOtqtdpgdvGlQPc4eVdGLudJgn4/RCKBy6r60qew86AiTN1pt95q4NUqAnRhHBGz/pcHggZZrdVOPhrWVwgBt90w1ue2kEpvckO4N2C8iJGZefxFq0y3KFsGT8Y1sF+2ja5A4H2otZPXQJ0xyuKu9aqoZREGNnKCrddQws8LIA2iXyyB+IwtiADwp5JTxL/Zo9kUXbmkwffcyJhoyBzXPDYMzjCgPOfLSZSW6+bOsMP0jfkf0SzHNPHnfxSFdBF0jKNQqSc4m/aOwwTH3yLIWxLD/VaWMYuzMER9Fkrw6M1lGbjUnp2hbzNPOK0YX1u6h9h1qZZXi31T3mlcwgZHt+EhogE0dFdsrnF0f8X5ydf5/yAE0W4j20gBxO+h2LeAAXOXMc8rMGQakWQ5x+5uiwkC28b8K3kPk4R5bIUN7oDpMKNV5fuINd8/RSXqVg8EblwtFm3mVsF3EqEPv0EkGGwhbfOWAFO1JPd7seA/BL0zbwblrphrihKJMioxJcMQgcU69KG7+rrB7tCJWe4YDjdax1+HstUJcNCgJ7PUU7fpTGeBD8uL1tL4j9yJ8sZRPoFVFAtbYKlI1Q64lW577oqaeKA0EZfPVdyYOYuVcbqKj6zk7zksnAnoI4tlAsdrAgyU7V8pUTVRye8JIeBNXMEXX46QKqFfgn2hYI5wxk9ujkTP2ppoHKCU/nnKy0pb7aprEM/CL3kgYv65m21G4VDHo6bLdTxNo3vyObX0idTp1SyZfcFwKgMUljgAPGcWJKuCXmqvWz3vrEjHPmszRmoJBLDVdNPCPEab/sYvp/HFXzVkegwPCEKGD5C4iAvMruM7EKSuBndPF5cWkCpoUIjOiceFMsrU9KQGEV0g/uEav/EnRFLnqtZN6/gT2WnZr2H6M/UCSpi2vdTNdJCkvJhP4QtT1N1nOEkQ3QixNPE/38+9C8FjV1B8bTIUoTtfT/AAp7EZQomayKqges+M5ZvhhMT1Nw+ZIWiaID0crBbETq4VHl9Hd6iXs6mH4xIucdte8X2RE7ArwyUyZyTS8dn1ZiI/Q26TdzuuZdvR7WFKPHmRsfEh2rExEnExmuHZfjG0q5vdZiV5wS5GIPwETuxipGaTRS1aWWxqM5ZCw0as3m2nQqZD0UItEiQUzphud/+wVRT5Aws5w6N56wcg9xX8xBSIqiTXaNwnNyvx03l8POsZgeeXatZMQaz2mvIG4P49V+hLPdrxU8HaVcg2+wuJHqfBQv7bOqCHbUNxOuei1Kr73B5tB2CK+9kJ/ZVnZqVlsYzler4pXM66CriK/4v8CU8+QYbKU0BHH1Xx8QCbd/8cxnRh0jPZ6CU3a+85ZyVEsTp+EdDZFHi8rJrDngMNxM9wYPIvozGqjyEcc4VMZ58QGRKY3ZXsIXdclV30GYtwaJpMooOEX3FldasQPM9Ilx7/XFgfiKu9iOvTpz9CCCH7filo7q5G71eDb+Txg8PKnVsL57JKSWTtXG3QbQ3l0/P4gJyWI17zsU6qbch2EBf1hlvbTeXG/wYuB57+EQYkxQ2bLFxsLihWrYJRM9HGjk+VCSwOhsGhqESyqemix4h6rhLnfhIwhE2sIVNvqVHTsZ3LSOBGxOoX/+frF9vHapaCmk63c59ZvsOnd6icGwRtux13jg9s4VpShwMvxZ/xB8GectqGu0p8PS+hzyXzgmquROA6Ap+mKNyTHZCXGCtbmHUajCe9UIPOW3yvjFcq/CDM7msieyyp+eujwnLQ+aB4OyVYSqzsXS5xoGiFgG65+72tQHTeXyGC/zPEAwDlxwgwksvgZyDKni6ma9vWvVYiXEWBksZD+gu2IugGN5eMRSLwrKnt7tn/YAs3Ls3hQPomEeDZcIsXtf3C7REYt43UIxwrDAh4DOM/osukrbXVwOpqfCg88/yCwGNRx5vDUU47HduIk2z5ttSOVMNLWoqgWS9wAfXoE7nL0Xz7lq5oP8XZJAD5VCSOTYKwuJvy+NX8SKBXI1KrDeXrwcOWInd9Pent//s6wGyq9o7aPR4kNW7GjITu6M4sKuxWCmULT/5VPr5hCIk5V7tYmXFR7wLdJSuY7pwZWQN8UXgAWgpFXCePxty44lP25b9TQ2qS8nLkXvMBqBCh/rZkWwitL9YRWWhPRkb5MWWMNibtOYazvEeAE0TPKzZCqeqw2RoyTBLFDuEt3aXVYUMYrwI5rT6dK/7kF/juu8YcTMPxLrpRtIuIfY9LUuwoW3CB7grLd+lU1RAVxSs8Ne5ublgJHn2rdDZDCKz7Bg/MVUhjX0+Pzy0vuOOLHqtjQPoFb2tZ4uA2IPS3OnlMWkCDGI+/ojVJCNhn6RnTjeEOJ5j2tbjA3DsNwpwUBfPCVVTalXKjefj7CLYDNpW+8acP2w3H8Ui9l6Y0Mv934rGOtpwSRqFvp5qcI+F4o+3wdO8df2EoBLwip3YLDgh+ZGLcbEV4mAljfGHVcQ27h9+Xvu4mqmCRA3Wj6aoFnvgNqFhpwTk/ZQrI21xtGVUB//5UrC6zKQIOFm9bW3+KY4P1Fn7/QSwleqspud5maRoEc0yGR+taAcRFUR/MGZfLfMA/ivUpWB+ryMXaNRPLtPq7uPiglefzQPgrsB9KH34VcP/tMfihv6U+8EQLCnYbQSvGBaSeSXXTH4jv9GvYOhBgQVqwaXWKKPrvrMjZ6tDMtlkUdR1ADivKHshxirBCzrrfZ7I9tYlIczZ+Ok5VMjd3fxxJo/qITSrpRxz9qM64wl8wL1qLpAvoGGl4Hxv4bnVbKRNnAqGI7s4YWlA33vScPxeAxgbS/igcrkpDSwanuCKo/a2pkD/N4ICWnbehC6RUmHPZgGBCWWRCcBubA8PUVG9iDGkiMax3hwZMoIBSmQAUi4SLM6OETwMoIKL7nAP43NHK/Rnr3zq8d/aZREvyZBrraU8M9k2JVG51rVcpPkSOhSpcn6jq/sLJj/bxJYQcNic/j7/LWycjXcAazpGH+Gg4V/KOlTrfplBTKBwMdNVE8GjSKAa1QIDH81VWqZCxNFsv1LwPNsOn3lA72SkbsoQS5PzCQI1GtMym346BoDpEaP6RTBtikI+khITe0+zxu/33+EQiDfDqnzezhuyruvFJ44O0VKlkPKLWXTf7UYZTWmMujUI1tb9Zu6rjEIlhgK/IW7k3o/cSSyC8O5SMYKaNJD0tja0ouYNkL6+PbtOCdCGbvA/tay7a1KjGSlQg/g/NLHfAh6s9MhW5ia4B30UAi1I0JD/ZYUi+C4VU0iqEDhCRu1gdVZKcgX5UWiWYhOlnd+gwlJ04ab7H1s/8NEUtS854bGFSl61/JiPA0MXozGKt5dbtxCMNBO4aaHFoalmA4eNY68fRVNC8eUMP4hUWqcjfSH+Y2PR9AZXmiaQLvHK7yWm74rWCEG9L0xPMwrCP+E/RE9RN1GUgRaOk8iaOGwMoKjKO8T9/24XCxK1Vgu4aqTCtG6bCVtadiSLBgEjjRg7q8yCDF74AsmMPgNS/8+l10KfMz0Q32uyLu5VJH71VDvzwI52j7vyVMFwy4ESe8F1KmuF2BplhS8AKdIs1ASK0+EZuF2/1ft0IrVlXE5J/InDDozlSe4wUUl/e10BCdxizBhVIr7fMKVJDyy7iIxTAV4CqyaqwDAFXxUywzO8+12za2BZhnaxSiVVncsrfRWEgbDKLfISTO+Ie7YhRsXaS7GWicc1P/g8Qz2t8Av4BKgI2+28k+7JraeDmwxLUdGgo9y7JGHgKEW/arrYNOwBHbBae5CgnOKnTK6oXK4mgZjIp39ywWqHOjCW06VzNAX39mM7j9g9zFBiIllJMwmSi7/hoPwA6xydnuPER5pvXCVAQUnjZ2A5KujaU0REbtvJWlGKoV0omAzRxM789qKI4h7arBdjAy9NCsYGGhOH9WqKu73HTg/ozIgSaOavxotAIpyBTfRB7tsuaVIoGpCDYvvCl09gx25S4xrdi1lUPW5xEu4RBxQTzDs/5Ki+uqfTsjIi+GnHJvfU9RgRdp0k/grxTggTP0l+W64b3lPp41/rokqj9kwMPqhhz78z1fDTg+tTTdOduLsOdgQxhOwg+xCK/U/PUdePZ89mJD/rNq1fcQyQMxoRCQubpTrEfbhqkIPm6wEK1A5uvD7DgHjJnqlbBVdmWeAaEg8hyICgInK+pSJtYfrgDSv5RWYprh8yNtoZ1c+yRgCnnStgfvDf6EogeROZsTD1PSPlZ+WKDCC2meTi/E4Hcgb0gk51kwwm41zaSdiD9Er+35atrFyf/2TQIcA4hNU7r8MOC4pZH43Cly7NVNJt+aq9kYte8wTVltBTxZF9sBYCqQR5c2Lh2P2xECeDKfTBzd2cgZgXK9i8nsN3tjKbGB4Xp2c6wQEOegCofQ3xcVo1oDkImEayQv+0gm045D0+XzaDNtSG/v1DqOCXVMzEI7gEeBVcdleKRdTb0xPZT9oGDCxAeArNJwbRXLNAfDA+oTCT7Nd82jn7VDwjvdOSSBPAoquRMC2mbuugJQfi9Gl+x3yve10DmJUvuGDmSowd6RsiXFpwG6vROVa3v/8lKGCPhd+MamZrG/RMungBzwPJCidZ/lbXENczaAPC5voGzkn9qxcSBera9VGByRPSVbBv7iv4B6MLOoj5I4EQDZvCmhYW6mWRvGkMKIegjZdjdVOdRHYwHgT1u9O/qgh7FFs+IsEaB9S+k55YfT7pSdjXbXg2+DeFS96Zp1j6e+4FJobwtyPMhGuuhys5TO5lMX39jDRWgeGiFsabE/gopEyG0MZnVBdZVgGe62tjvHv/ePU62X712rZmqrykMHSPDcK4rYUVMtqlgERuR7pSpV32hEKDwveD2ZHgFZ3V475rqTd2mJzpvGHPk1xQRDedFBBHXmoqYva1kNWpmrwPm391GCgTovvUqiUBRtZ4P8sDCKhzMBytNYRZZMH6tPpGq9Sz21dMKZ4orK2PomU1DEUkIeGIJdp6u0CMNp9/OxW5+7LdRQGWCzDFD/vJAWdR1DgVI3hwPm1TOoIXL5UTuLeZj1BaIddMEaCCnO97pTHmEcvquisblkXH8RM0bDp1XMh94QzDzpCOEL2y/JIVbE8B+VnQS9c+KTt1JnUBzD1CHztvhSdZnHJvSFBAQryuQIXlPMwMF7YcYtw1eddp7Qier9axUnzPjkXOPL7sjBSDTzm5b9AaRxhqfyXLK2C7ijMF6N0Jj9yWrHLolTLgx/LCndqKRpqLNIoMQFKlk/a02Jn9ng4uVcm6jBF5ksekHQ/VRbUSvUG0M=">
            <a:extLst>
              <a:ext uri="{FF2B5EF4-FFF2-40B4-BE49-F238E27FC236}">
                <a16:creationId xmlns:a16="http://schemas.microsoft.com/office/drawing/2014/main" id="{FA44A890-0751-4098-BAC1-C4045FA70C85}"/>
              </a:ext>
            </a:extLst>
          </p:cNvPr>
          <p:cNvSpPr>
            <a:spLocks noChangeAspect="1"/>
          </p:cNvSpPr>
          <p:nvPr>
            <p:custDataLst>
              <p:tags r:id="rId13"/>
            </p:custDataLst>
          </p:nvPr>
        </p:nvSpPr>
        <p:spPr bwMode="gray">
          <a:xfrm>
            <a:off x="7575696" y="2094404"/>
            <a:ext cx="1869122" cy="4166310"/>
          </a:xfrm>
          <a:prstGeom prst="rect">
            <a:avLst/>
          </a:prstGeom>
          <a:blipFill>
            <a:blip r:embed="rId21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34" name="btfpRunningAgenda1Level432015">
            <a:extLst>
              <a:ext uri="{FF2B5EF4-FFF2-40B4-BE49-F238E27FC236}">
                <a16:creationId xmlns:a16="http://schemas.microsoft.com/office/drawing/2014/main" id="{BC6ABEDA-38A6-4C50-8C33-63C4E41F922C}"/>
              </a:ext>
            </a:extLst>
          </p:cNvPr>
          <p:cNvGrpSpPr/>
          <p:nvPr>
            <p:custDataLst>
              <p:tags r:id="rId14"/>
            </p:custDataLst>
          </p:nvPr>
        </p:nvGrpSpPr>
        <p:grpSpPr>
          <a:xfrm>
            <a:off x="1" y="944429"/>
            <a:ext cx="2747767" cy="257442"/>
            <a:chOff x="0" y="944429"/>
            <a:chExt cx="2747767" cy="257442"/>
          </a:xfrm>
        </p:grpSpPr>
        <p:sp>
          <p:nvSpPr>
            <p:cNvPr id="135" name="btfpRunningAgenda1LevelBarLeft432015">
              <a:extLst>
                <a:ext uri="{FF2B5EF4-FFF2-40B4-BE49-F238E27FC236}">
                  <a16:creationId xmlns:a16="http://schemas.microsoft.com/office/drawing/2014/main" id="{20FACBF6-5305-462C-A1AB-E40032577C46}"/>
                </a:ext>
              </a:extLst>
            </p:cNvPr>
            <p:cNvSpPr/>
            <p:nvPr/>
          </p:nvSpPr>
          <p:spPr bwMode="gray">
            <a:xfrm>
              <a:off x="0" y="944429"/>
              <a:ext cx="2747767" cy="257442"/>
            </a:xfrm>
            <a:custGeom>
              <a:avLst/>
              <a:gdLst>
                <a:gd name="connsiteX0" fmla="*/ 968434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8434 w 1816204"/>
                <a:gd name="connsiteY0" fmla="*/ 0 h 257442"/>
                <a:gd name="connsiteX1" fmla="*/ 913714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8434 w 968434"/>
                <a:gd name="connsiteY0" fmla="*/ 0 h 257442"/>
                <a:gd name="connsiteX1" fmla="*/ 913714 w 968434"/>
                <a:gd name="connsiteY1" fmla="*/ 257442 h 257442"/>
                <a:gd name="connsiteX2" fmla="*/ 1 w 968434"/>
                <a:gd name="connsiteY2" fmla="*/ 257442 h 257442"/>
                <a:gd name="connsiteX3" fmla="*/ 0 w 968434"/>
                <a:gd name="connsiteY3" fmla="*/ 257442 h 257442"/>
                <a:gd name="connsiteX0" fmla="*/ 968433 w 968433"/>
                <a:gd name="connsiteY0" fmla="*/ 0 h 257442"/>
                <a:gd name="connsiteX1" fmla="*/ 913713 w 968433"/>
                <a:gd name="connsiteY1" fmla="*/ 257442 h 257442"/>
                <a:gd name="connsiteX2" fmla="*/ 0 w 968433"/>
                <a:gd name="connsiteY2" fmla="*/ 257442 h 257442"/>
                <a:gd name="connsiteX3" fmla="*/ 0 w 968433"/>
                <a:gd name="connsiteY3" fmla="*/ 0 h 257442"/>
                <a:gd name="connsiteX0" fmla="*/ 1136749 w 1136749"/>
                <a:gd name="connsiteY0" fmla="*/ 0 h 257442"/>
                <a:gd name="connsiteX1" fmla="*/ 913713 w 1136749"/>
                <a:gd name="connsiteY1" fmla="*/ 257442 h 257442"/>
                <a:gd name="connsiteX2" fmla="*/ 0 w 1136749"/>
                <a:gd name="connsiteY2" fmla="*/ 257442 h 257442"/>
                <a:gd name="connsiteX3" fmla="*/ 0 w 1136749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0 w 1136749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0 w 1136749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0 w 1136749"/>
                <a:gd name="connsiteY3" fmla="*/ 0 h 257442"/>
                <a:gd name="connsiteX0" fmla="*/ 1305064 w 1305064"/>
                <a:gd name="connsiteY0" fmla="*/ 0 h 257442"/>
                <a:gd name="connsiteX1" fmla="*/ 1082028 w 1305064"/>
                <a:gd name="connsiteY1" fmla="*/ 257442 h 257442"/>
                <a:gd name="connsiteX2" fmla="*/ 0 w 1305064"/>
                <a:gd name="connsiteY2" fmla="*/ 257442 h 257442"/>
                <a:gd name="connsiteX3" fmla="*/ 0 w 1305064"/>
                <a:gd name="connsiteY3" fmla="*/ 0 h 257442"/>
                <a:gd name="connsiteX0" fmla="*/ 1305064 w 1305064"/>
                <a:gd name="connsiteY0" fmla="*/ 0 h 257442"/>
                <a:gd name="connsiteX1" fmla="*/ 1250342 w 1305064"/>
                <a:gd name="connsiteY1" fmla="*/ 257442 h 257442"/>
                <a:gd name="connsiteX2" fmla="*/ 0 w 1305064"/>
                <a:gd name="connsiteY2" fmla="*/ 257442 h 257442"/>
                <a:gd name="connsiteX3" fmla="*/ 0 w 1305064"/>
                <a:gd name="connsiteY3" fmla="*/ 0 h 257442"/>
                <a:gd name="connsiteX0" fmla="*/ 1305065 w 1305065"/>
                <a:gd name="connsiteY0" fmla="*/ 0 h 257442"/>
                <a:gd name="connsiteX1" fmla="*/ 1250343 w 1305065"/>
                <a:gd name="connsiteY1" fmla="*/ 257442 h 257442"/>
                <a:gd name="connsiteX2" fmla="*/ 0 w 1305065"/>
                <a:gd name="connsiteY2" fmla="*/ 257442 h 257442"/>
                <a:gd name="connsiteX3" fmla="*/ 1 w 1305065"/>
                <a:gd name="connsiteY3" fmla="*/ 0 h 257442"/>
                <a:gd name="connsiteX0" fmla="*/ 1305065 w 1305065"/>
                <a:gd name="connsiteY0" fmla="*/ 0 h 257442"/>
                <a:gd name="connsiteX1" fmla="*/ 1250343 w 1305065"/>
                <a:gd name="connsiteY1" fmla="*/ 257442 h 257442"/>
                <a:gd name="connsiteX2" fmla="*/ 0 w 1305065"/>
                <a:gd name="connsiteY2" fmla="*/ 257442 h 257442"/>
                <a:gd name="connsiteX3" fmla="*/ 1 w 1305065"/>
                <a:gd name="connsiteY3" fmla="*/ 0 h 257442"/>
                <a:gd name="connsiteX0" fmla="*/ 1558339 w 1558339"/>
                <a:gd name="connsiteY0" fmla="*/ 0 h 257442"/>
                <a:gd name="connsiteX1" fmla="*/ 1250343 w 1558339"/>
                <a:gd name="connsiteY1" fmla="*/ 257442 h 257442"/>
                <a:gd name="connsiteX2" fmla="*/ 0 w 1558339"/>
                <a:gd name="connsiteY2" fmla="*/ 257442 h 257442"/>
                <a:gd name="connsiteX3" fmla="*/ 1 w 1558339"/>
                <a:gd name="connsiteY3" fmla="*/ 0 h 257442"/>
                <a:gd name="connsiteX0" fmla="*/ 1558339 w 1558339"/>
                <a:gd name="connsiteY0" fmla="*/ 0 h 257442"/>
                <a:gd name="connsiteX1" fmla="*/ 1503618 w 1558339"/>
                <a:gd name="connsiteY1" fmla="*/ 257442 h 257442"/>
                <a:gd name="connsiteX2" fmla="*/ 0 w 1558339"/>
                <a:gd name="connsiteY2" fmla="*/ 257442 h 257442"/>
                <a:gd name="connsiteX3" fmla="*/ 1 w 1558339"/>
                <a:gd name="connsiteY3" fmla="*/ 0 h 257442"/>
                <a:gd name="connsiteX0" fmla="*/ 1558339 w 1558339"/>
                <a:gd name="connsiteY0" fmla="*/ 0 h 257442"/>
                <a:gd name="connsiteX1" fmla="*/ 1503618 w 1558339"/>
                <a:gd name="connsiteY1" fmla="*/ 257442 h 257442"/>
                <a:gd name="connsiteX2" fmla="*/ 0 w 1558339"/>
                <a:gd name="connsiteY2" fmla="*/ 257442 h 257442"/>
                <a:gd name="connsiteX3" fmla="*/ 1 w 1558339"/>
                <a:gd name="connsiteY3" fmla="*/ 0 h 257442"/>
                <a:gd name="connsiteX0" fmla="*/ 1558339 w 1558339"/>
                <a:gd name="connsiteY0" fmla="*/ 0 h 257442"/>
                <a:gd name="connsiteX1" fmla="*/ 1503618 w 1558339"/>
                <a:gd name="connsiteY1" fmla="*/ 257442 h 257442"/>
                <a:gd name="connsiteX2" fmla="*/ 0 w 1558339"/>
                <a:gd name="connsiteY2" fmla="*/ 257442 h 257442"/>
                <a:gd name="connsiteX3" fmla="*/ 0 w 1558339"/>
                <a:gd name="connsiteY3" fmla="*/ 0 h 257442"/>
                <a:gd name="connsiteX0" fmla="*/ 1726655 w 1726655"/>
                <a:gd name="connsiteY0" fmla="*/ 0 h 257442"/>
                <a:gd name="connsiteX1" fmla="*/ 1503618 w 1726655"/>
                <a:gd name="connsiteY1" fmla="*/ 257442 h 257442"/>
                <a:gd name="connsiteX2" fmla="*/ 0 w 1726655"/>
                <a:gd name="connsiteY2" fmla="*/ 257442 h 257442"/>
                <a:gd name="connsiteX3" fmla="*/ 0 w 1726655"/>
                <a:gd name="connsiteY3" fmla="*/ 0 h 257442"/>
                <a:gd name="connsiteX0" fmla="*/ 1726655 w 1726655"/>
                <a:gd name="connsiteY0" fmla="*/ 0 h 257442"/>
                <a:gd name="connsiteX1" fmla="*/ 1671934 w 1726655"/>
                <a:gd name="connsiteY1" fmla="*/ 257442 h 257442"/>
                <a:gd name="connsiteX2" fmla="*/ 0 w 1726655"/>
                <a:gd name="connsiteY2" fmla="*/ 257442 h 257442"/>
                <a:gd name="connsiteX3" fmla="*/ 0 w 1726655"/>
                <a:gd name="connsiteY3" fmla="*/ 0 h 257442"/>
                <a:gd name="connsiteX0" fmla="*/ 1726655 w 1726655"/>
                <a:gd name="connsiteY0" fmla="*/ 0 h 257442"/>
                <a:gd name="connsiteX1" fmla="*/ 1671934 w 1726655"/>
                <a:gd name="connsiteY1" fmla="*/ 257442 h 257442"/>
                <a:gd name="connsiteX2" fmla="*/ 0 w 1726655"/>
                <a:gd name="connsiteY2" fmla="*/ 257442 h 257442"/>
                <a:gd name="connsiteX3" fmla="*/ 0 w 1726655"/>
                <a:gd name="connsiteY3" fmla="*/ 0 h 257442"/>
                <a:gd name="connsiteX0" fmla="*/ 1726655 w 1726655"/>
                <a:gd name="connsiteY0" fmla="*/ 0 h 257442"/>
                <a:gd name="connsiteX1" fmla="*/ 1671934 w 1726655"/>
                <a:gd name="connsiteY1" fmla="*/ 257442 h 257442"/>
                <a:gd name="connsiteX2" fmla="*/ 0 w 1726655"/>
                <a:gd name="connsiteY2" fmla="*/ 257442 h 257442"/>
                <a:gd name="connsiteX3" fmla="*/ 0 w 1726655"/>
                <a:gd name="connsiteY3" fmla="*/ 0 h 257442"/>
                <a:gd name="connsiteX0" fmla="*/ 1886955 w 1886955"/>
                <a:gd name="connsiteY0" fmla="*/ 0 h 257442"/>
                <a:gd name="connsiteX1" fmla="*/ 1671934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1726655 w 1832234"/>
                <a:gd name="connsiteY0" fmla="*/ 0 h 257442"/>
                <a:gd name="connsiteX1" fmla="*/ 1832234 w 1832234"/>
                <a:gd name="connsiteY1" fmla="*/ 257442 h 257442"/>
                <a:gd name="connsiteX2" fmla="*/ 0 w 1832234"/>
                <a:gd name="connsiteY2" fmla="*/ 257442 h 257442"/>
                <a:gd name="connsiteX3" fmla="*/ 0 w 1832234"/>
                <a:gd name="connsiteY3" fmla="*/ 0 h 257442"/>
                <a:gd name="connsiteX0" fmla="*/ 1726655 w 1726655"/>
                <a:gd name="connsiteY0" fmla="*/ 0 h 257442"/>
                <a:gd name="connsiteX1" fmla="*/ 1671934 w 1726655"/>
                <a:gd name="connsiteY1" fmla="*/ 257442 h 257442"/>
                <a:gd name="connsiteX2" fmla="*/ 0 w 1726655"/>
                <a:gd name="connsiteY2" fmla="*/ 257442 h 257442"/>
                <a:gd name="connsiteX3" fmla="*/ 0 w 1726655"/>
                <a:gd name="connsiteY3" fmla="*/ 0 h 257442"/>
                <a:gd name="connsiteX0" fmla="*/ 1726655 w 1726655"/>
                <a:gd name="connsiteY0" fmla="*/ 0 h 257442"/>
                <a:gd name="connsiteX1" fmla="*/ 1671934 w 1726655"/>
                <a:gd name="connsiteY1" fmla="*/ 257442 h 257442"/>
                <a:gd name="connsiteX2" fmla="*/ 1 w 1726655"/>
                <a:gd name="connsiteY2" fmla="*/ 257442 h 257442"/>
                <a:gd name="connsiteX3" fmla="*/ 0 w 1726655"/>
                <a:gd name="connsiteY3" fmla="*/ 0 h 257442"/>
                <a:gd name="connsiteX0" fmla="*/ 1726654 w 1726654"/>
                <a:gd name="connsiteY0" fmla="*/ 0 h 257442"/>
                <a:gd name="connsiteX1" fmla="*/ 1671933 w 1726654"/>
                <a:gd name="connsiteY1" fmla="*/ 257442 h 257442"/>
                <a:gd name="connsiteX2" fmla="*/ 0 w 1726654"/>
                <a:gd name="connsiteY2" fmla="*/ 257442 h 257442"/>
                <a:gd name="connsiteX3" fmla="*/ 0 w 1726654"/>
                <a:gd name="connsiteY3" fmla="*/ 0 h 257442"/>
                <a:gd name="connsiteX0" fmla="*/ 1987944 w 1987944"/>
                <a:gd name="connsiteY0" fmla="*/ 0 h 257442"/>
                <a:gd name="connsiteX1" fmla="*/ 1671933 w 1987944"/>
                <a:gd name="connsiteY1" fmla="*/ 257442 h 257442"/>
                <a:gd name="connsiteX2" fmla="*/ 0 w 1987944"/>
                <a:gd name="connsiteY2" fmla="*/ 257442 h 257442"/>
                <a:gd name="connsiteX3" fmla="*/ 0 w 1987944"/>
                <a:gd name="connsiteY3" fmla="*/ 0 h 257442"/>
                <a:gd name="connsiteX0" fmla="*/ 1987944 w 1987944"/>
                <a:gd name="connsiteY0" fmla="*/ 0 h 257442"/>
                <a:gd name="connsiteX1" fmla="*/ 1933223 w 1987944"/>
                <a:gd name="connsiteY1" fmla="*/ 257442 h 257442"/>
                <a:gd name="connsiteX2" fmla="*/ 0 w 1987944"/>
                <a:gd name="connsiteY2" fmla="*/ 257442 h 257442"/>
                <a:gd name="connsiteX3" fmla="*/ 0 w 1987944"/>
                <a:gd name="connsiteY3" fmla="*/ 0 h 257442"/>
                <a:gd name="connsiteX0" fmla="*/ 1987944 w 1987944"/>
                <a:gd name="connsiteY0" fmla="*/ 0 h 257442"/>
                <a:gd name="connsiteX1" fmla="*/ 1933223 w 1987944"/>
                <a:gd name="connsiteY1" fmla="*/ 257442 h 257442"/>
                <a:gd name="connsiteX2" fmla="*/ 0 w 1987944"/>
                <a:gd name="connsiteY2" fmla="*/ 257442 h 257442"/>
                <a:gd name="connsiteX3" fmla="*/ 0 w 1987944"/>
                <a:gd name="connsiteY3" fmla="*/ 0 h 257442"/>
                <a:gd name="connsiteX0" fmla="*/ 1987944 w 1987944"/>
                <a:gd name="connsiteY0" fmla="*/ 0 h 257442"/>
                <a:gd name="connsiteX1" fmla="*/ 1933223 w 1987944"/>
                <a:gd name="connsiteY1" fmla="*/ 257442 h 257442"/>
                <a:gd name="connsiteX2" fmla="*/ 0 w 1987944"/>
                <a:gd name="connsiteY2" fmla="*/ 257442 h 257442"/>
                <a:gd name="connsiteX3" fmla="*/ 0 w 1987944"/>
                <a:gd name="connsiteY3" fmla="*/ 0 h 257442"/>
                <a:gd name="connsiteX0" fmla="*/ 2257248 w 2257248"/>
                <a:gd name="connsiteY0" fmla="*/ 0 h 257442"/>
                <a:gd name="connsiteX1" fmla="*/ 1933223 w 2257248"/>
                <a:gd name="connsiteY1" fmla="*/ 257442 h 257442"/>
                <a:gd name="connsiteX2" fmla="*/ 0 w 2257248"/>
                <a:gd name="connsiteY2" fmla="*/ 257442 h 257442"/>
                <a:gd name="connsiteX3" fmla="*/ 0 w 2257248"/>
                <a:gd name="connsiteY3" fmla="*/ 0 h 257442"/>
                <a:gd name="connsiteX0" fmla="*/ 2257248 w 2257248"/>
                <a:gd name="connsiteY0" fmla="*/ 0 h 257442"/>
                <a:gd name="connsiteX1" fmla="*/ 2202527 w 2257248"/>
                <a:gd name="connsiteY1" fmla="*/ 257442 h 257442"/>
                <a:gd name="connsiteX2" fmla="*/ 0 w 2257248"/>
                <a:gd name="connsiteY2" fmla="*/ 257442 h 257442"/>
                <a:gd name="connsiteX3" fmla="*/ 0 w 2257248"/>
                <a:gd name="connsiteY3" fmla="*/ 0 h 257442"/>
                <a:gd name="connsiteX0" fmla="*/ 2257248 w 2257248"/>
                <a:gd name="connsiteY0" fmla="*/ 0 h 257442"/>
                <a:gd name="connsiteX1" fmla="*/ 2202527 w 2257248"/>
                <a:gd name="connsiteY1" fmla="*/ 257442 h 257442"/>
                <a:gd name="connsiteX2" fmla="*/ 0 w 2257248"/>
                <a:gd name="connsiteY2" fmla="*/ 257442 h 257442"/>
                <a:gd name="connsiteX3" fmla="*/ 0 w 2257248"/>
                <a:gd name="connsiteY3" fmla="*/ 0 h 257442"/>
                <a:gd name="connsiteX0" fmla="*/ 2257248 w 2257248"/>
                <a:gd name="connsiteY0" fmla="*/ 0 h 257442"/>
                <a:gd name="connsiteX1" fmla="*/ 2202527 w 2257248"/>
                <a:gd name="connsiteY1" fmla="*/ 257442 h 257442"/>
                <a:gd name="connsiteX2" fmla="*/ 0 w 2257248"/>
                <a:gd name="connsiteY2" fmla="*/ 257442 h 257442"/>
                <a:gd name="connsiteX3" fmla="*/ 0 w 2257248"/>
                <a:gd name="connsiteY3" fmla="*/ 0 h 257442"/>
                <a:gd name="connsiteX0" fmla="*/ 2435182 w 2435182"/>
                <a:gd name="connsiteY0" fmla="*/ 0 h 257442"/>
                <a:gd name="connsiteX1" fmla="*/ 2202527 w 2435182"/>
                <a:gd name="connsiteY1" fmla="*/ 257442 h 257442"/>
                <a:gd name="connsiteX2" fmla="*/ 0 w 2435182"/>
                <a:gd name="connsiteY2" fmla="*/ 257442 h 257442"/>
                <a:gd name="connsiteX3" fmla="*/ 0 w 2435182"/>
                <a:gd name="connsiteY3" fmla="*/ 0 h 257442"/>
                <a:gd name="connsiteX0" fmla="*/ 2435182 w 2435182"/>
                <a:gd name="connsiteY0" fmla="*/ 0 h 257442"/>
                <a:gd name="connsiteX1" fmla="*/ 2380461 w 2435182"/>
                <a:gd name="connsiteY1" fmla="*/ 257442 h 257442"/>
                <a:gd name="connsiteX2" fmla="*/ 0 w 2435182"/>
                <a:gd name="connsiteY2" fmla="*/ 257442 h 257442"/>
                <a:gd name="connsiteX3" fmla="*/ 0 w 2435182"/>
                <a:gd name="connsiteY3" fmla="*/ 0 h 257442"/>
                <a:gd name="connsiteX0" fmla="*/ 2435182 w 2435182"/>
                <a:gd name="connsiteY0" fmla="*/ 0 h 257442"/>
                <a:gd name="connsiteX1" fmla="*/ 2380461 w 2435182"/>
                <a:gd name="connsiteY1" fmla="*/ 257442 h 257442"/>
                <a:gd name="connsiteX2" fmla="*/ 0 w 2435182"/>
                <a:gd name="connsiteY2" fmla="*/ 257442 h 257442"/>
                <a:gd name="connsiteX3" fmla="*/ 0 w 2435182"/>
                <a:gd name="connsiteY3" fmla="*/ 0 h 257442"/>
                <a:gd name="connsiteX0" fmla="*/ 2435182 w 2435182"/>
                <a:gd name="connsiteY0" fmla="*/ 0 h 257442"/>
                <a:gd name="connsiteX1" fmla="*/ 2380461 w 2435182"/>
                <a:gd name="connsiteY1" fmla="*/ 257442 h 257442"/>
                <a:gd name="connsiteX2" fmla="*/ 0 w 2435182"/>
                <a:gd name="connsiteY2" fmla="*/ 257442 h 257442"/>
                <a:gd name="connsiteX3" fmla="*/ 0 w 2435182"/>
                <a:gd name="connsiteY3" fmla="*/ 0 h 257442"/>
                <a:gd name="connsiteX0" fmla="*/ 2603497 w 2603497"/>
                <a:gd name="connsiteY0" fmla="*/ 0 h 257442"/>
                <a:gd name="connsiteX1" fmla="*/ 2380461 w 2603497"/>
                <a:gd name="connsiteY1" fmla="*/ 257442 h 257442"/>
                <a:gd name="connsiteX2" fmla="*/ 0 w 2603497"/>
                <a:gd name="connsiteY2" fmla="*/ 257442 h 257442"/>
                <a:gd name="connsiteX3" fmla="*/ 0 w 2603497"/>
                <a:gd name="connsiteY3" fmla="*/ 0 h 257442"/>
                <a:gd name="connsiteX0" fmla="*/ 2603497 w 2603497"/>
                <a:gd name="connsiteY0" fmla="*/ 0 h 257442"/>
                <a:gd name="connsiteX1" fmla="*/ 2548776 w 2603497"/>
                <a:gd name="connsiteY1" fmla="*/ 257442 h 257442"/>
                <a:gd name="connsiteX2" fmla="*/ 0 w 2603497"/>
                <a:gd name="connsiteY2" fmla="*/ 257442 h 257442"/>
                <a:gd name="connsiteX3" fmla="*/ 0 w 2603497"/>
                <a:gd name="connsiteY3" fmla="*/ 0 h 257442"/>
                <a:gd name="connsiteX0" fmla="*/ 2603497 w 2603497"/>
                <a:gd name="connsiteY0" fmla="*/ 0 h 257442"/>
                <a:gd name="connsiteX1" fmla="*/ 2548776 w 2603497"/>
                <a:gd name="connsiteY1" fmla="*/ 257442 h 257442"/>
                <a:gd name="connsiteX2" fmla="*/ 0 w 2603497"/>
                <a:gd name="connsiteY2" fmla="*/ 257442 h 257442"/>
                <a:gd name="connsiteX3" fmla="*/ 0 w 2603497"/>
                <a:gd name="connsiteY3" fmla="*/ 0 h 257442"/>
                <a:gd name="connsiteX0" fmla="*/ 2603497 w 2603497"/>
                <a:gd name="connsiteY0" fmla="*/ 0 h 257442"/>
                <a:gd name="connsiteX1" fmla="*/ 2548776 w 2603497"/>
                <a:gd name="connsiteY1" fmla="*/ 257442 h 257442"/>
                <a:gd name="connsiteX2" fmla="*/ 0 w 2603497"/>
                <a:gd name="connsiteY2" fmla="*/ 257442 h 257442"/>
                <a:gd name="connsiteX3" fmla="*/ 0 w 2603497"/>
                <a:gd name="connsiteY3" fmla="*/ 0 h 257442"/>
                <a:gd name="connsiteX0" fmla="*/ 2763797 w 2763797"/>
                <a:gd name="connsiteY0" fmla="*/ 0 h 257442"/>
                <a:gd name="connsiteX1" fmla="*/ 2548776 w 2763797"/>
                <a:gd name="connsiteY1" fmla="*/ 257442 h 257442"/>
                <a:gd name="connsiteX2" fmla="*/ 0 w 2763797"/>
                <a:gd name="connsiteY2" fmla="*/ 257442 h 257442"/>
                <a:gd name="connsiteX3" fmla="*/ 0 w 2763797"/>
                <a:gd name="connsiteY3" fmla="*/ 0 h 257442"/>
                <a:gd name="connsiteX0" fmla="*/ 2763797 w 2763797"/>
                <a:gd name="connsiteY0" fmla="*/ 0 h 257442"/>
                <a:gd name="connsiteX1" fmla="*/ 2709076 w 2763797"/>
                <a:gd name="connsiteY1" fmla="*/ 257442 h 257442"/>
                <a:gd name="connsiteX2" fmla="*/ 0 w 2763797"/>
                <a:gd name="connsiteY2" fmla="*/ 257442 h 257442"/>
                <a:gd name="connsiteX3" fmla="*/ 0 w 2763797"/>
                <a:gd name="connsiteY3" fmla="*/ 0 h 257442"/>
                <a:gd name="connsiteX0" fmla="*/ 2763797 w 2763797"/>
                <a:gd name="connsiteY0" fmla="*/ 0 h 257442"/>
                <a:gd name="connsiteX1" fmla="*/ 2709076 w 2763797"/>
                <a:gd name="connsiteY1" fmla="*/ 257442 h 257442"/>
                <a:gd name="connsiteX2" fmla="*/ 0 w 2763797"/>
                <a:gd name="connsiteY2" fmla="*/ 257442 h 257442"/>
                <a:gd name="connsiteX3" fmla="*/ 0 w 2763797"/>
                <a:gd name="connsiteY3" fmla="*/ 0 h 257442"/>
                <a:gd name="connsiteX0" fmla="*/ 2763797 w 2763797"/>
                <a:gd name="connsiteY0" fmla="*/ 0 h 257442"/>
                <a:gd name="connsiteX1" fmla="*/ 2709076 w 2763797"/>
                <a:gd name="connsiteY1" fmla="*/ 257442 h 257442"/>
                <a:gd name="connsiteX2" fmla="*/ 0 w 2763797"/>
                <a:gd name="connsiteY2" fmla="*/ 257442 h 257442"/>
                <a:gd name="connsiteX3" fmla="*/ 0 w 2763797"/>
                <a:gd name="connsiteY3" fmla="*/ 0 h 257442"/>
                <a:gd name="connsiteX0" fmla="*/ 950801 w 2709076"/>
                <a:gd name="connsiteY0" fmla="*/ 0 h 257442"/>
                <a:gd name="connsiteX1" fmla="*/ 2709076 w 2709076"/>
                <a:gd name="connsiteY1" fmla="*/ 257442 h 257442"/>
                <a:gd name="connsiteX2" fmla="*/ 0 w 2709076"/>
                <a:gd name="connsiteY2" fmla="*/ 257442 h 257442"/>
                <a:gd name="connsiteX3" fmla="*/ 0 w 2709076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128734 w 1128734"/>
                <a:gd name="connsiteY0" fmla="*/ 0 h 257442"/>
                <a:gd name="connsiteX1" fmla="*/ 896079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720947 w 1720947"/>
                <a:gd name="connsiteY0" fmla="*/ 0 h 257442"/>
                <a:gd name="connsiteX1" fmla="*/ 1402629 w 1720947"/>
                <a:gd name="connsiteY1" fmla="*/ 257442 h 257442"/>
                <a:gd name="connsiteX2" fmla="*/ 0 w 1720947"/>
                <a:gd name="connsiteY2" fmla="*/ 257442 h 257442"/>
                <a:gd name="connsiteX3" fmla="*/ 0 w 1720947"/>
                <a:gd name="connsiteY3" fmla="*/ 0 h 257442"/>
                <a:gd name="connsiteX0" fmla="*/ 1720947 w 1720947"/>
                <a:gd name="connsiteY0" fmla="*/ 0 h 257442"/>
                <a:gd name="connsiteX1" fmla="*/ 1666226 w 1720947"/>
                <a:gd name="connsiteY1" fmla="*/ 257442 h 257442"/>
                <a:gd name="connsiteX2" fmla="*/ 0 w 1720947"/>
                <a:gd name="connsiteY2" fmla="*/ 257442 h 257442"/>
                <a:gd name="connsiteX3" fmla="*/ 0 w 1720947"/>
                <a:gd name="connsiteY3" fmla="*/ 0 h 257442"/>
                <a:gd name="connsiteX0" fmla="*/ 1720947 w 1720947"/>
                <a:gd name="connsiteY0" fmla="*/ 0 h 257442"/>
                <a:gd name="connsiteX1" fmla="*/ 1666226 w 1720947"/>
                <a:gd name="connsiteY1" fmla="*/ 257442 h 257442"/>
                <a:gd name="connsiteX2" fmla="*/ 0 w 1720947"/>
                <a:gd name="connsiteY2" fmla="*/ 257442 h 257442"/>
                <a:gd name="connsiteX3" fmla="*/ 0 w 1720947"/>
                <a:gd name="connsiteY3" fmla="*/ 0 h 257442"/>
                <a:gd name="connsiteX0" fmla="*/ 1720947 w 1720947"/>
                <a:gd name="connsiteY0" fmla="*/ 0 h 257442"/>
                <a:gd name="connsiteX1" fmla="*/ 1666226 w 1720947"/>
                <a:gd name="connsiteY1" fmla="*/ 257442 h 257442"/>
                <a:gd name="connsiteX2" fmla="*/ 0 w 1720947"/>
                <a:gd name="connsiteY2" fmla="*/ 257442 h 257442"/>
                <a:gd name="connsiteX3" fmla="*/ 0 w 1720947"/>
                <a:gd name="connsiteY3" fmla="*/ 0 h 257442"/>
                <a:gd name="connsiteX0" fmla="*/ 1881248 w 1881248"/>
                <a:gd name="connsiteY0" fmla="*/ 0 h 257442"/>
                <a:gd name="connsiteX1" fmla="*/ 1666226 w 1881248"/>
                <a:gd name="connsiteY1" fmla="*/ 257442 h 257442"/>
                <a:gd name="connsiteX2" fmla="*/ 0 w 1881248"/>
                <a:gd name="connsiteY2" fmla="*/ 257442 h 257442"/>
                <a:gd name="connsiteX3" fmla="*/ 0 w 1881248"/>
                <a:gd name="connsiteY3" fmla="*/ 0 h 257442"/>
                <a:gd name="connsiteX0" fmla="*/ 1881248 w 1881248"/>
                <a:gd name="connsiteY0" fmla="*/ 0 h 257442"/>
                <a:gd name="connsiteX1" fmla="*/ 1826526 w 1881248"/>
                <a:gd name="connsiteY1" fmla="*/ 257442 h 257442"/>
                <a:gd name="connsiteX2" fmla="*/ 0 w 1881248"/>
                <a:gd name="connsiteY2" fmla="*/ 257442 h 257442"/>
                <a:gd name="connsiteX3" fmla="*/ 0 w 1881248"/>
                <a:gd name="connsiteY3" fmla="*/ 0 h 257442"/>
                <a:gd name="connsiteX0" fmla="*/ 1881249 w 1881249"/>
                <a:gd name="connsiteY0" fmla="*/ 0 h 257442"/>
                <a:gd name="connsiteX1" fmla="*/ 1826527 w 1881249"/>
                <a:gd name="connsiteY1" fmla="*/ 257442 h 257442"/>
                <a:gd name="connsiteX2" fmla="*/ 0 w 1881249"/>
                <a:gd name="connsiteY2" fmla="*/ 257442 h 257442"/>
                <a:gd name="connsiteX3" fmla="*/ 1 w 1881249"/>
                <a:gd name="connsiteY3" fmla="*/ 0 h 257442"/>
                <a:gd name="connsiteX0" fmla="*/ 1881249 w 1881249"/>
                <a:gd name="connsiteY0" fmla="*/ 0 h 257442"/>
                <a:gd name="connsiteX1" fmla="*/ 1826527 w 1881249"/>
                <a:gd name="connsiteY1" fmla="*/ 257442 h 257442"/>
                <a:gd name="connsiteX2" fmla="*/ 0 w 1881249"/>
                <a:gd name="connsiteY2" fmla="*/ 257442 h 257442"/>
                <a:gd name="connsiteX3" fmla="*/ 1 w 1881249"/>
                <a:gd name="connsiteY3" fmla="*/ 0 h 257442"/>
                <a:gd name="connsiteX0" fmla="*/ 2041548 w 2041548"/>
                <a:gd name="connsiteY0" fmla="*/ 0 h 257442"/>
                <a:gd name="connsiteX1" fmla="*/ 1826527 w 2041548"/>
                <a:gd name="connsiteY1" fmla="*/ 257442 h 257442"/>
                <a:gd name="connsiteX2" fmla="*/ 0 w 2041548"/>
                <a:gd name="connsiteY2" fmla="*/ 257442 h 257442"/>
                <a:gd name="connsiteX3" fmla="*/ 1 w 2041548"/>
                <a:gd name="connsiteY3" fmla="*/ 0 h 257442"/>
                <a:gd name="connsiteX0" fmla="*/ 2041548 w 2041548"/>
                <a:gd name="connsiteY0" fmla="*/ 0 h 257442"/>
                <a:gd name="connsiteX1" fmla="*/ 1986826 w 2041548"/>
                <a:gd name="connsiteY1" fmla="*/ 257442 h 257442"/>
                <a:gd name="connsiteX2" fmla="*/ 0 w 2041548"/>
                <a:gd name="connsiteY2" fmla="*/ 257442 h 257442"/>
                <a:gd name="connsiteX3" fmla="*/ 1 w 2041548"/>
                <a:gd name="connsiteY3" fmla="*/ 0 h 257442"/>
                <a:gd name="connsiteX0" fmla="*/ 2041549 w 2041549"/>
                <a:gd name="connsiteY0" fmla="*/ 0 h 257442"/>
                <a:gd name="connsiteX1" fmla="*/ 1986827 w 2041549"/>
                <a:gd name="connsiteY1" fmla="*/ 257442 h 257442"/>
                <a:gd name="connsiteX2" fmla="*/ 0 w 2041549"/>
                <a:gd name="connsiteY2" fmla="*/ 257442 h 257442"/>
                <a:gd name="connsiteX3" fmla="*/ 2 w 2041549"/>
                <a:gd name="connsiteY3" fmla="*/ 0 h 257442"/>
                <a:gd name="connsiteX0" fmla="*/ 2041549 w 2041549"/>
                <a:gd name="connsiteY0" fmla="*/ 0 h 257442"/>
                <a:gd name="connsiteX1" fmla="*/ 1986827 w 2041549"/>
                <a:gd name="connsiteY1" fmla="*/ 257442 h 257442"/>
                <a:gd name="connsiteX2" fmla="*/ 0 w 2041549"/>
                <a:gd name="connsiteY2" fmla="*/ 257442 h 257442"/>
                <a:gd name="connsiteX3" fmla="*/ 1 w 2041549"/>
                <a:gd name="connsiteY3" fmla="*/ 0 h 257442"/>
                <a:gd name="connsiteX0" fmla="*/ 2294822 w 2294822"/>
                <a:gd name="connsiteY0" fmla="*/ 0 h 257442"/>
                <a:gd name="connsiteX1" fmla="*/ 1986827 w 2294822"/>
                <a:gd name="connsiteY1" fmla="*/ 257442 h 257442"/>
                <a:gd name="connsiteX2" fmla="*/ 0 w 2294822"/>
                <a:gd name="connsiteY2" fmla="*/ 257442 h 257442"/>
                <a:gd name="connsiteX3" fmla="*/ 1 w 2294822"/>
                <a:gd name="connsiteY3" fmla="*/ 0 h 257442"/>
                <a:gd name="connsiteX0" fmla="*/ 2294822 w 2294822"/>
                <a:gd name="connsiteY0" fmla="*/ 0 h 257442"/>
                <a:gd name="connsiteX1" fmla="*/ 2240100 w 2294822"/>
                <a:gd name="connsiteY1" fmla="*/ 257442 h 257442"/>
                <a:gd name="connsiteX2" fmla="*/ 0 w 2294822"/>
                <a:gd name="connsiteY2" fmla="*/ 257442 h 257442"/>
                <a:gd name="connsiteX3" fmla="*/ 1 w 2294822"/>
                <a:gd name="connsiteY3" fmla="*/ 0 h 257442"/>
                <a:gd name="connsiteX0" fmla="*/ 2294823 w 2294823"/>
                <a:gd name="connsiteY0" fmla="*/ 0 h 257442"/>
                <a:gd name="connsiteX1" fmla="*/ 2240101 w 2294823"/>
                <a:gd name="connsiteY1" fmla="*/ 257442 h 257442"/>
                <a:gd name="connsiteX2" fmla="*/ 0 w 2294823"/>
                <a:gd name="connsiteY2" fmla="*/ 257442 h 257442"/>
                <a:gd name="connsiteX3" fmla="*/ 2 w 2294823"/>
                <a:gd name="connsiteY3" fmla="*/ 0 h 257442"/>
                <a:gd name="connsiteX0" fmla="*/ 2294823 w 2294823"/>
                <a:gd name="connsiteY0" fmla="*/ 0 h 257442"/>
                <a:gd name="connsiteX1" fmla="*/ 2240101 w 2294823"/>
                <a:gd name="connsiteY1" fmla="*/ 257442 h 257442"/>
                <a:gd name="connsiteX2" fmla="*/ 0 w 2294823"/>
                <a:gd name="connsiteY2" fmla="*/ 257442 h 257442"/>
                <a:gd name="connsiteX3" fmla="*/ 1 w 2294823"/>
                <a:gd name="connsiteY3" fmla="*/ 0 h 257442"/>
                <a:gd name="connsiteX0" fmla="*/ 2463138 w 2463138"/>
                <a:gd name="connsiteY0" fmla="*/ 0 h 257442"/>
                <a:gd name="connsiteX1" fmla="*/ 2240101 w 2463138"/>
                <a:gd name="connsiteY1" fmla="*/ 257442 h 257442"/>
                <a:gd name="connsiteX2" fmla="*/ 0 w 2463138"/>
                <a:gd name="connsiteY2" fmla="*/ 257442 h 257442"/>
                <a:gd name="connsiteX3" fmla="*/ 1 w 2463138"/>
                <a:gd name="connsiteY3" fmla="*/ 0 h 257442"/>
                <a:gd name="connsiteX0" fmla="*/ 2463138 w 2463138"/>
                <a:gd name="connsiteY0" fmla="*/ 0 h 257442"/>
                <a:gd name="connsiteX1" fmla="*/ 2408416 w 2463138"/>
                <a:gd name="connsiteY1" fmla="*/ 257442 h 257442"/>
                <a:gd name="connsiteX2" fmla="*/ 0 w 2463138"/>
                <a:gd name="connsiteY2" fmla="*/ 257442 h 257442"/>
                <a:gd name="connsiteX3" fmla="*/ 1 w 2463138"/>
                <a:gd name="connsiteY3" fmla="*/ 0 h 257442"/>
                <a:gd name="connsiteX0" fmla="*/ 2463139 w 2463139"/>
                <a:gd name="connsiteY0" fmla="*/ 0 h 257442"/>
                <a:gd name="connsiteX1" fmla="*/ 2408417 w 2463139"/>
                <a:gd name="connsiteY1" fmla="*/ 257442 h 257442"/>
                <a:gd name="connsiteX2" fmla="*/ 0 w 2463139"/>
                <a:gd name="connsiteY2" fmla="*/ 257442 h 257442"/>
                <a:gd name="connsiteX3" fmla="*/ 2 w 2463139"/>
                <a:gd name="connsiteY3" fmla="*/ 0 h 257442"/>
                <a:gd name="connsiteX0" fmla="*/ 2463139 w 2463139"/>
                <a:gd name="connsiteY0" fmla="*/ 0 h 257442"/>
                <a:gd name="connsiteX1" fmla="*/ 2408417 w 2463139"/>
                <a:gd name="connsiteY1" fmla="*/ 257442 h 257442"/>
                <a:gd name="connsiteX2" fmla="*/ 0 w 2463139"/>
                <a:gd name="connsiteY2" fmla="*/ 257442 h 257442"/>
                <a:gd name="connsiteX3" fmla="*/ 1 w 2463139"/>
                <a:gd name="connsiteY3" fmla="*/ 0 h 257442"/>
                <a:gd name="connsiteX0" fmla="*/ 2631453 w 2631453"/>
                <a:gd name="connsiteY0" fmla="*/ 0 h 257442"/>
                <a:gd name="connsiteX1" fmla="*/ 2408417 w 2631453"/>
                <a:gd name="connsiteY1" fmla="*/ 257442 h 257442"/>
                <a:gd name="connsiteX2" fmla="*/ 0 w 2631453"/>
                <a:gd name="connsiteY2" fmla="*/ 257442 h 257442"/>
                <a:gd name="connsiteX3" fmla="*/ 1 w 2631453"/>
                <a:gd name="connsiteY3" fmla="*/ 0 h 257442"/>
                <a:gd name="connsiteX0" fmla="*/ 2631453 w 2631453"/>
                <a:gd name="connsiteY0" fmla="*/ 0 h 257442"/>
                <a:gd name="connsiteX1" fmla="*/ 2576732 w 2631453"/>
                <a:gd name="connsiteY1" fmla="*/ 257442 h 257442"/>
                <a:gd name="connsiteX2" fmla="*/ 0 w 2631453"/>
                <a:gd name="connsiteY2" fmla="*/ 257442 h 257442"/>
                <a:gd name="connsiteX3" fmla="*/ 1 w 2631453"/>
                <a:gd name="connsiteY3" fmla="*/ 0 h 257442"/>
                <a:gd name="connsiteX0" fmla="*/ 2631453 w 2631453"/>
                <a:gd name="connsiteY0" fmla="*/ 0 h 257442"/>
                <a:gd name="connsiteX1" fmla="*/ 2576732 w 2631453"/>
                <a:gd name="connsiteY1" fmla="*/ 257442 h 257442"/>
                <a:gd name="connsiteX2" fmla="*/ 0 w 2631453"/>
                <a:gd name="connsiteY2" fmla="*/ 257442 h 257442"/>
                <a:gd name="connsiteX3" fmla="*/ 1 w 2631453"/>
                <a:gd name="connsiteY3" fmla="*/ 0 h 257442"/>
                <a:gd name="connsiteX0" fmla="*/ 2631453 w 2631453"/>
                <a:gd name="connsiteY0" fmla="*/ 0 h 257442"/>
                <a:gd name="connsiteX1" fmla="*/ 2576732 w 2631453"/>
                <a:gd name="connsiteY1" fmla="*/ 257442 h 257442"/>
                <a:gd name="connsiteX2" fmla="*/ 0 w 2631453"/>
                <a:gd name="connsiteY2" fmla="*/ 257442 h 257442"/>
                <a:gd name="connsiteX3" fmla="*/ 0 w 2631453"/>
                <a:gd name="connsiteY3" fmla="*/ 0 h 257442"/>
                <a:gd name="connsiteX0" fmla="*/ 2873314 w 2873314"/>
                <a:gd name="connsiteY0" fmla="*/ 0 h 257442"/>
                <a:gd name="connsiteX1" fmla="*/ 2576732 w 2873314"/>
                <a:gd name="connsiteY1" fmla="*/ 257442 h 257442"/>
                <a:gd name="connsiteX2" fmla="*/ 0 w 2873314"/>
                <a:gd name="connsiteY2" fmla="*/ 257442 h 257442"/>
                <a:gd name="connsiteX3" fmla="*/ 0 w 2873314"/>
                <a:gd name="connsiteY3" fmla="*/ 0 h 257442"/>
                <a:gd name="connsiteX0" fmla="*/ 2873314 w 2873314"/>
                <a:gd name="connsiteY0" fmla="*/ 0 h 257442"/>
                <a:gd name="connsiteX1" fmla="*/ 2818592 w 2873314"/>
                <a:gd name="connsiteY1" fmla="*/ 257442 h 257442"/>
                <a:gd name="connsiteX2" fmla="*/ 0 w 2873314"/>
                <a:gd name="connsiteY2" fmla="*/ 257442 h 257442"/>
                <a:gd name="connsiteX3" fmla="*/ 0 w 2873314"/>
                <a:gd name="connsiteY3" fmla="*/ 0 h 257442"/>
                <a:gd name="connsiteX0" fmla="*/ 2873315 w 2873315"/>
                <a:gd name="connsiteY0" fmla="*/ 0 h 257442"/>
                <a:gd name="connsiteX1" fmla="*/ 2818593 w 2873315"/>
                <a:gd name="connsiteY1" fmla="*/ 257442 h 257442"/>
                <a:gd name="connsiteX2" fmla="*/ 0 w 2873315"/>
                <a:gd name="connsiteY2" fmla="*/ 257442 h 257442"/>
                <a:gd name="connsiteX3" fmla="*/ 1 w 2873315"/>
                <a:gd name="connsiteY3" fmla="*/ 0 h 257442"/>
                <a:gd name="connsiteX0" fmla="*/ 2873315 w 2873315"/>
                <a:gd name="connsiteY0" fmla="*/ 0 h 257442"/>
                <a:gd name="connsiteX1" fmla="*/ 2818593 w 2873315"/>
                <a:gd name="connsiteY1" fmla="*/ 257442 h 257442"/>
                <a:gd name="connsiteX2" fmla="*/ 0 w 2873315"/>
                <a:gd name="connsiteY2" fmla="*/ 257442 h 257442"/>
                <a:gd name="connsiteX3" fmla="*/ 1 w 2873315"/>
                <a:gd name="connsiteY3" fmla="*/ 0 h 257442"/>
                <a:gd name="connsiteX0" fmla="*/ 3051248 w 3051248"/>
                <a:gd name="connsiteY0" fmla="*/ 0 h 257442"/>
                <a:gd name="connsiteX1" fmla="*/ 2818593 w 3051248"/>
                <a:gd name="connsiteY1" fmla="*/ 257442 h 257442"/>
                <a:gd name="connsiteX2" fmla="*/ 0 w 3051248"/>
                <a:gd name="connsiteY2" fmla="*/ 257442 h 257442"/>
                <a:gd name="connsiteX3" fmla="*/ 1 w 3051248"/>
                <a:gd name="connsiteY3" fmla="*/ 0 h 257442"/>
                <a:gd name="connsiteX0" fmla="*/ 3051248 w 3051248"/>
                <a:gd name="connsiteY0" fmla="*/ 0 h 257442"/>
                <a:gd name="connsiteX1" fmla="*/ 2996526 w 3051248"/>
                <a:gd name="connsiteY1" fmla="*/ 257442 h 257442"/>
                <a:gd name="connsiteX2" fmla="*/ 0 w 3051248"/>
                <a:gd name="connsiteY2" fmla="*/ 257442 h 257442"/>
                <a:gd name="connsiteX3" fmla="*/ 1 w 3051248"/>
                <a:gd name="connsiteY3" fmla="*/ 0 h 257442"/>
                <a:gd name="connsiteX0" fmla="*/ 3051249 w 3051249"/>
                <a:gd name="connsiteY0" fmla="*/ 0 h 257442"/>
                <a:gd name="connsiteX1" fmla="*/ 2996527 w 3051249"/>
                <a:gd name="connsiteY1" fmla="*/ 257442 h 257442"/>
                <a:gd name="connsiteX2" fmla="*/ 0 w 3051249"/>
                <a:gd name="connsiteY2" fmla="*/ 257442 h 257442"/>
                <a:gd name="connsiteX3" fmla="*/ 2 w 3051249"/>
                <a:gd name="connsiteY3" fmla="*/ 0 h 257442"/>
                <a:gd name="connsiteX0" fmla="*/ 3051249 w 3051249"/>
                <a:gd name="connsiteY0" fmla="*/ 0 h 257442"/>
                <a:gd name="connsiteX1" fmla="*/ 2996527 w 3051249"/>
                <a:gd name="connsiteY1" fmla="*/ 257442 h 257442"/>
                <a:gd name="connsiteX2" fmla="*/ 0 w 3051249"/>
                <a:gd name="connsiteY2" fmla="*/ 257442 h 257442"/>
                <a:gd name="connsiteX3" fmla="*/ 1 w 3051249"/>
                <a:gd name="connsiteY3" fmla="*/ 0 h 257442"/>
                <a:gd name="connsiteX0" fmla="*/ 3219563 w 3219563"/>
                <a:gd name="connsiteY0" fmla="*/ 0 h 257442"/>
                <a:gd name="connsiteX1" fmla="*/ 2996527 w 3219563"/>
                <a:gd name="connsiteY1" fmla="*/ 257442 h 257442"/>
                <a:gd name="connsiteX2" fmla="*/ 0 w 3219563"/>
                <a:gd name="connsiteY2" fmla="*/ 257442 h 257442"/>
                <a:gd name="connsiteX3" fmla="*/ 1 w 3219563"/>
                <a:gd name="connsiteY3" fmla="*/ 0 h 257442"/>
                <a:gd name="connsiteX0" fmla="*/ 3219563 w 3219563"/>
                <a:gd name="connsiteY0" fmla="*/ 0 h 257442"/>
                <a:gd name="connsiteX1" fmla="*/ 3164842 w 3219563"/>
                <a:gd name="connsiteY1" fmla="*/ 257442 h 257442"/>
                <a:gd name="connsiteX2" fmla="*/ 0 w 3219563"/>
                <a:gd name="connsiteY2" fmla="*/ 257442 h 257442"/>
                <a:gd name="connsiteX3" fmla="*/ 1 w 3219563"/>
                <a:gd name="connsiteY3" fmla="*/ 0 h 257442"/>
                <a:gd name="connsiteX0" fmla="*/ 3219563 w 3219563"/>
                <a:gd name="connsiteY0" fmla="*/ 0 h 257442"/>
                <a:gd name="connsiteX1" fmla="*/ 3164842 w 3219563"/>
                <a:gd name="connsiteY1" fmla="*/ 257442 h 257442"/>
                <a:gd name="connsiteX2" fmla="*/ 0 w 3219563"/>
                <a:gd name="connsiteY2" fmla="*/ 257442 h 257442"/>
                <a:gd name="connsiteX3" fmla="*/ 1 w 3219563"/>
                <a:gd name="connsiteY3" fmla="*/ 0 h 257442"/>
                <a:gd name="connsiteX0" fmla="*/ 3219563 w 3219563"/>
                <a:gd name="connsiteY0" fmla="*/ 0 h 257442"/>
                <a:gd name="connsiteX1" fmla="*/ 3164842 w 3219563"/>
                <a:gd name="connsiteY1" fmla="*/ 257442 h 257442"/>
                <a:gd name="connsiteX2" fmla="*/ 0 w 3219563"/>
                <a:gd name="connsiteY2" fmla="*/ 257442 h 257442"/>
                <a:gd name="connsiteX3" fmla="*/ 0 w 3219563"/>
                <a:gd name="connsiteY3" fmla="*/ 0 h 257442"/>
                <a:gd name="connsiteX0" fmla="*/ 3379863 w 3379863"/>
                <a:gd name="connsiteY0" fmla="*/ 0 h 257442"/>
                <a:gd name="connsiteX1" fmla="*/ 3164842 w 3379863"/>
                <a:gd name="connsiteY1" fmla="*/ 257442 h 257442"/>
                <a:gd name="connsiteX2" fmla="*/ 0 w 3379863"/>
                <a:gd name="connsiteY2" fmla="*/ 257442 h 257442"/>
                <a:gd name="connsiteX3" fmla="*/ 0 w 3379863"/>
                <a:gd name="connsiteY3" fmla="*/ 0 h 257442"/>
                <a:gd name="connsiteX0" fmla="*/ 3379863 w 3379863"/>
                <a:gd name="connsiteY0" fmla="*/ 0 h 257442"/>
                <a:gd name="connsiteX1" fmla="*/ 3325142 w 3379863"/>
                <a:gd name="connsiteY1" fmla="*/ 257442 h 257442"/>
                <a:gd name="connsiteX2" fmla="*/ 0 w 3379863"/>
                <a:gd name="connsiteY2" fmla="*/ 257442 h 257442"/>
                <a:gd name="connsiteX3" fmla="*/ 0 w 3379863"/>
                <a:gd name="connsiteY3" fmla="*/ 0 h 257442"/>
                <a:gd name="connsiteX0" fmla="*/ 3379863 w 3379863"/>
                <a:gd name="connsiteY0" fmla="*/ 0 h 257442"/>
                <a:gd name="connsiteX1" fmla="*/ 3325142 w 3379863"/>
                <a:gd name="connsiteY1" fmla="*/ 257442 h 257442"/>
                <a:gd name="connsiteX2" fmla="*/ 0 w 3379863"/>
                <a:gd name="connsiteY2" fmla="*/ 257442 h 257442"/>
                <a:gd name="connsiteX3" fmla="*/ 0 w 3379863"/>
                <a:gd name="connsiteY3" fmla="*/ 0 h 257442"/>
                <a:gd name="connsiteX0" fmla="*/ 3379863 w 3379863"/>
                <a:gd name="connsiteY0" fmla="*/ 0 h 257442"/>
                <a:gd name="connsiteX1" fmla="*/ 3325142 w 3379863"/>
                <a:gd name="connsiteY1" fmla="*/ 257442 h 257442"/>
                <a:gd name="connsiteX2" fmla="*/ 0 w 3379863"/>
                <a:gd name="connsiteY2" fmla="*/ 257442 h 257442"/>
                <a:gd name="connsiteX3" fmla="*/ 0 w 3379863"/>
                <a:gd name="connsiteY3" fmla="*/ 0 h 257442"/>
                <a:gd name="connsiteX0" fmla="*/ 950801 w 3325142"/>
                <a:gd name="connsiteY0" fmla="*/ 0 h 257442"/>
                <a:gd name="connsiteX1" fmla="*/ 3325142 w 3325142"/>
                <a:gd name="connsiteY1" fmla="*/ 257442 h 257442"/>
                <a:gd name="connsiteX2" fmla="*/ 0 w 3325142"/>
                <a:gd name="connsiteY2" fmla="*/ 257442 h 257442"/>
                <a:gd name="connsiteX3" fmla="*/ 0 w 332514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119116 w 1119116"/>
                <a:gd name="connsiteY0" fmla="*/ 0 h 257442"/>
                <a:gd name="connsiteX1" fmla="*/ 896079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287432 w 1287432"/>
                <a:gd name="connsiteY0" fmla="*/ 0 h 257442"/>
                <a:gd name="connsiteX1" fmla="*/ 1064395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455747 w 1455747"/>
                <a:gd name="connsiteY0" fmla="*/ 0 h 257442"/>
                <a:gd name="connsiteX1" fmla="*/ 1232711 w 1455747"/>
                <a:gd name="connsiteY1" fmla="*/ 257442 h 257442"/>
                <a:gd name="connsiteX2" fmla="*/ 0 w 1455747"/>
                <a:gd name="connsiteY2" fmla="*/ 257442 h 257442"/>
                <a:gd name="connsiteX3" fmla="*/ 0 w 1455747"/>
                <a:gd name="connsiteY3" fmla="*/ 0 h 257442"/>
                <a:gd name="connsiteX0" fmla="*/ 1455747 w 1455747"/>
                <a:gd name="connsiteY0" fmla="*/ 0 h 257442"/>
                <a:gd name="connsiteX1" fmla="*/ 1401026 w 1455747"/>
                <a:gd name="connsiteY1" fmla="*/ 257442 h 257442"/>
                <a:gd name="connsiteX2" fmla="*/ 0 w 1455747"/>
                <a:gd name="connsiteY2" fmla="*/ 257442 h 257442"/>
                <a:gd name="connsiteX3" fmla="*/ 0 w 1455747"/>
                <a:gd name="connsiteY3" fmla="*/ 0 h 257442"/>
                <a:gd name="connsiteX0" fmla="*/ 1455747 w 1455747"/>
                <a:gd name="connsiteY0" fmla="*/ 0 h 257442"/>
                <a:gd name="connsiteX1" fmla="*/ 1401026 w 1455747"/>
                <a:gd name="connsiteY1" fmla="*/ 257442 h 257442"/>
                <a:gd name="connsiteX2" fmla="*/ 0 w 1455747"/>
                <a:gd name="connsiteY2" fmla="*/ 257442 h 257442"/>
                <a:gd name="connsiteX3" fmla="*/ 0 w 1455747"/>
                <a:gd name="connsiteY3" fmla="*/ 0 h 257442"/>
                <a:gd name="connsiteX0" fmla="*/ 1455747 w 1455747"/>
                <a:gd name="connsiteY0" fmla="*/ 0 h 257442"/>
                <a:gd name="connsiteX1" fmla="*/ 1401026 w 1455747"/>
                <a:gd name="connsiteY1" fmla="*/ 257442 h 257442"/>
                <a:gd name="connsiteX2" fmla="*/ 0 w 1455747"/>
                <a:gd name="connsiteY2" fmla="*/ 257442 h 257442"/>
                <a:gd name="connsiteX3" fmla="*/ 0 w 1455747"/>
                <a:gd name="connsiteY3" fmla="*/ 0 h 257442"/>
                <a:gd name="connsiteX0" fmla="*/ 1616047 w 1616047"/>
                <a:gd name="connsiteY0" fmla="*/ 0 h 257442"/>
                <a:gd name="connsiteX1" fmla="*/ 1401026 w 1616047"/>
                <a:gd name="connsiteY1" fmla="*/ 257442 h 257442"/>
                <a:gd name="connsiteX2" fmla="*/ 0 w 1616047"/>
                <a:gd name="connsiteY2" fmla="*/ 257442 h 257442"/>
                <a:gd name="connsiteX3" fmla="*/ 0 w 1616047"/>
                <a:gd name="connsiteY3" fmla="*/ 0 h 257442"/>
                <a:gd name="connsiteX0" fmla="*/ 1616047 w 1616047"/>
                <a:gd name="connsiteY0" fmla="*/ 0 h 257442"/>
                <a:gd name="connsiteX1" fmla="*/ 1561326 w 1616047"/>
                <a:gd name="connsiteY1" fmla="*/ 257442 h 257442"/>
                <a:gd name="connsiteX2" fmla="*/ 0 w 1616047"/>
                <a:gd name="connsiteY2" fmla="*/ 257442 h 257442"/>
                <a:gd name="connsiteX3" fmla="*/ 0 w 1616047"/>
                <a:gd name="connsiteY3" fmla="*/ 0 h 257442"/>
                <a:gd name="connsiteX0" fmla="*/ 1616047 w 1616047"/>
                <a:gd name="connsiteY0" fmla="*/ 0 h 257442"/>
                <a:gd name="connsiteX1" fmla="*/ 1561326 w 1616047"/>
                <a:gd name="connsiteY1" fmla="*/ 257442 h 257442"/>
                <a:gd name="connsiteX2" fmla="*/ 0 w 1616047"/>
                <a:gd name="connsiteY2" fmla="*/ 257442 h 257442"/>
                <a:gd name="connsiteX3" fmla="*/ 0 w 1616047"/>
                <a:gd name="connsiteY3" fmla="*/ 0 h 257442"/>
                <a:gd name="connsiteX0" fmla="*/ 1616047 w 1616047"/>
                <a:gd name="connsiteY0" fmla="*/ 0 h 257442"/>
                <a:gd name="connsiteX1" fmla="*/ 1561326 w 1616047"/>
                <a:gd name="connsiteY1" fmla="*/ 257442 h 257442"/>
                <a:gd name="connsiteX2" fmla="*/ 0 w 1616047"/>
                <a:gd name="connsiteY2" fmla="*/ 257442 h 257442"/>
                <a:gd name="connsiteX3" fmla="*/ 0 w 1616047"/>
                <a:gd name="connsiteY3" fmla="*/ 0 h 257442"/>
                <a:gd name="connsiteX0" fmla="*/ 1784363 w 1784363"/>
                <a:gd name="connsiteY0" fmla="*/ 0 h 257442"/>
                <a:gd name="connsiteX1" fmla="*/ 1561326 w 1784363"/>
                <a:gd name="connsiteY1" fmla="*/ 257442 h 257442"/>
                <a:gd name="connsiteX2" fmla="*/ 0 w 1784363"/>
                <a:gd name="connsiteY2" fmla="*/ 257442 h 257442"/>
                <a:gd name="connsiteX3" fmla="*/ 0 w 1784363"/>
                <a:gd name="connsiteY3" fmla="*/ 0 h 257442"/>
                <a:gd name="connsiteX0" fmla="*/ 1784363 w 1784363"/>
                <a:gd name="connsiteY0" fmla="*/ 0 h 257442"/>
                <a:gd name="connsiteX1" fmla="*/ 1729642 w 1784363"/>
                <a:gd name="connsiteY1" fmla="*/ 257442 h 257442"/>
                <a:gd name="connsiteX2" fmla="*/ 0 w 1784363"/>
                <a:gd name="connsiteY2" fmla="*/ 257442 h 257442"/>
                <a:gd name="connsiteX3" fmla="*/ 0 w 1784363"/>
                <a:gd name="connsiteY3" fmla="*/ 0 h 257442"/>
                <a:gd name="connsiteX0" fmla="*/ 1784363 w 1784363"/>
                <a:gd name="connsiteY0" fmla="*/ 0 h 257442"/>
                <a:gd name="connsiteX1" fmla="*/ 1729642 w 1784363"/>
                <a:gd name="connsiteY1" fmla="*/ 257442 h 257442"/>
                <a:gd name="connsiteX2" fmla="*/ 0 w 1784363"/>
                <a:gd name="connsiteY2" fmla="*/ 257442 h 257442"/>
                <a:gd name="connsiteX3" fmla="*/ 0 w 1784363"/>
                <a:gd name="connsiteY3" fmla="*/ 0 h 257442"/>
                <a:gd name="connsiteX0" fmla="*/ 1784363 w 1784363"/>
                <a:gd name="connsiteY0" fmla="*/ 0 h 257442"/>
                <a:gd name="connsiteX1" fmla="*/ 1729642 w 1784363"/>
                <a:gd name="connsiteY1" fmla="*/ 257442 h 257442"/>
                <a:gd name="connsiteX2" fmla="*/ 0 w 1784363"/>
                <a:gd name="connsiteY2" fmla="*/ 257442 h 257442"/>
                <a:gd name="connsiteX3" fmla="*/ 0 w 1784363"/>
                <a:gd name="connsiteY3" fmla="*/ 0 h 257442"/>
                <a:gd name="connsiteX0" fmla="*/ 2037637 w 2037637"/>
                <a:gd name="connsiteY0" fmla="*/ 0 h 257442"/>
                <a:gd name="connsiteX1" fmla="*/ 1729642 w 2037637"/>
                <a:gd name="connsiteY1" fmla="*/ 257442 h 257442"/>
                <a:gd name="connsiteX2" fmla="*/ 0 w 2037637"/>
                <a:gd name="connsiteY2" fmla="*/ 257442 h 257442"/>
                <a:gd name="connsiteX3" fmla="*/ 0 w 2037637"/>
                <a:gd name="connsiteY3" fmla="*/ 0 h 257442"/>
                <a:gd name="connsiteX0" fmla="*/ 2037637 w 2037637"/>
                <a:gd name="connsiteY0" fmla="*/ 0 h 257442"/>
                <a:gd name="connsiteX1" fmla="*/ 1982916 w 2037637"/>
                <a:gd name="connsiteY1" fmla="*/ 257442 h 257442"/>
                <a:gd name="connsiteX2" fmla="*/ 0 w 2037637"/>
                <a:gd name="connsiteY2" fmla="*/ 257442 h 257442"/>
                <a:gd name="connsiteX3" fmla="*/ 0 w 2037637"/>
                <a:gd name="connsiteY3" fmla="*/ 0 h 257442"/>
                <a:gd name="connsiteX0" fmla="*/ 2037637 w 2037637"/>
                <a:gd name="connsiteY0" fmla="*/ 0 h 257442"/>
                <a:gd name="connsiteX1" fmla="*/ 1982916 w 2037637"/>
                <a:gd name="connsiteY1" fmla="*/ 257442 h 257442"/>
                <a:gd name="connsiteX2" fmla="*/ 0 w 2037637"/>
                <a:gd name="connsiteY2" fmla="*/ 257442 h 257442"/>
                <a:gd name="connsiteX3" fmla="*/ 0 w 2037637"/>
                <a:gd name="connsiteY3" fmla="*/ 0 h 257442"/>
                <a:gd name="connsiteX0" fmla="*/ 2037637 w 2037637"/>
                <a:gd name="connsiteY0" fmla="*/ 0 h 257442"/>
                <a:gd name="connsiteX1" fmla="*/ 1982916 w 2037637"/>
                <a:gd name="connsiteY1" fmla="*/ 257442 h 257442"/>
                <a:gd name="connsiteX2" fmla="*/ 0 w 2037637"/>
                <a:gd name="connsiteY2" fmla="*/ 257442 h 257442"/>
                <a:gd name="connsiteX3" fmla="*/ 0 w 2037637"/>
                <a:gd name="connsiteY3" fmla="*/ 0 h 257442"/>
                <a:gd name="connsiteX0" fmla="*/ 2205952 w 2205952"/>
                <a:gd name="connsiteY0" fmla="*/ 0 h 257442"/>
                <a:gd name="connsiteX1" fmla="*/ 1982916 w 2205952"/>
                <a:gd name="connsiteY1" fmla="*/ 257442 h 257442"/>
                <a:gd name="connsiteX2" fmla="*/ 0 w 2205952"/>
                <a:gd name="connsiteY2" fmla="*/ 257442 h 257442"/>
                <a:gd name="connsiteX3" fmla="*/ 0 w 2205952"/>
                <a:gd name="connsiteY3" fmla="*/ 0 h 257442"/>
                <a:gd name="connsiteX0" fmla="*/ 2205952 w 2205952"/>
                <a:gd name="connsiteY0" fmla="*/ 0 h 257442"/>
                <a:gd name="connsiteX1" fmla="*/ 2151230 w 2205952"/>
                <a:gd name="connsiteY1" fmla="*/ 257442 h 257442"/>
                <a:gd name="connsiteX2" fmla="*/ 0 w 2205952"/>
                <a:gd name="connsiteY2" fmla="*/ 257442 h 257442"/>
                <a:gd name="connsiteX3" fmla="*/ 0 w 2205952"/>
                <a:gd name="connsiteY3" fmla="*/ 0 h 257442"/>
                <a:gd name="connsiteX0" fmla="*/ 2205953 w 2205953"/>
                <a:gd name="connsiteY0" fmla="*/ 0 h 257442"/>
                <a:gd name="connsiteX1" fmla="*/ 2151231 w 2205953"/>
                <a:gd name="connsiteY1" fmla="*/ 257442 h 257442"/>
                <a:gd name="connsiteX2" fmla="*/ 0 w 2205953"/>
                <a:gd name="connsiteY2" fmla="*/ 257442 h 257442"/>
                <a:gd name="connsiteX3" fmla="*/ 1 w 2205953"/>
                <a:gd name="connsiteY3" fmla="*/ 0 h 257442"/>
                <a:gd name="connsiteX0" fmla="*/ 2205953 w 2205953"/>
                <a:gd name="connsiteY0" fmla="*/ 0 h 257442"/>
                <a:gd name="connsiteX1" fmla="*/ 2151231 w 2205953"/>
                <a:gd name="connsiteY1" fmla="*/ 257442 h 257442"/>
                <a:gd name="connsiteX2" fmla="*/ 0 w 2205953"/>
                <a:gd name="connsiteY2" fmla="*/ 257442 h 257442"/>
                <a:gd name="connsiteX3" fmla="*/ 1 w 2205953"/>
                <a:gd name="connsiteY3" fmla="*/ 0 h 257442"/>
                <a:gd name="connsiteX0" fmla="*/ 2374268 w 2374268"/>
                <a:gd name="connsiteY0" fmla="*/ 0 h 257442"/>
                <a:gd name="connsiteX1" fmla="*/ 2151231 w 2374268"/>
                <a:gd name="connsiteY1" fmla="*/ 257442 h 257442"/>
                <a:gd name="connsiteX2" fmla="*/ 0 w 2374268"/>
                <a:gd name="connsiteY2" fmla="*/ 257442 h 257442"/>
                <a:gd name="connsiteX3" fmla="*/ 1 w 2374268"/>
                <a:gd name="connsiteY3" fmla="*/ 0 h 257442"/>
                <a:gd name="connsiteX0" fmla="*/ 2374268 w 2374268"/>
                <a:gd name="connsiteY0" fmla="*/ 0 h 257442"/>
                <a:gd name="connsiteX1" fmla="*/ 2319546 w 2374268"/>
                <a:gd name="connsiteY1" fmla="*/ 257442 h 257442"/>
                <a:gd name="connsiteX2" fmla="*/ 0 w 2374268"/>
                <a:gd name="connsiteY2" fmla="*/ 257442 h 257442"/>
                <a:gd name="connsiteX3" fmla="*/ 1 w 2374268"/>
                <a:gd name="connsiteY3" fmla="*/ 0 h 257442"/>
                <a:gd name="connsiteX0" fmla="*/ 2374269 w 2374269"/>
                <a:gd name="connsiteY0" fmla="*/ 0 h 257442"/>
                <a:gd name="connsiteX1" fmla="*/ 2319547 w 2374269"/>
                <a:gd name="connsiteY1" fmla="*/ 257442 h 257442"/>
                <a:gd name="connsiteX2" fmla="*/ 0 w 2374269"/>
                <a:gd name="connsiteY2" fmla="*/ 257442 h 257442"/>
                <a:gd name="connsiteX3" fmla="*/ 2 w 2374269"/>
                <a:gd name="connsiteY3" fmla="*/ 0 h 257442"/>
                <a:gd name="connsiteX0" fmla="*/ 2374269 w 2374269"/>
                <a:gd name="connsiteY0" fmla="*/ 0 h 257442"/>
                <a:gd name="connsiteX1" fmla="*/ 2319547 w 2374269"/>
                <a:gd name="connsiteY1" fmla="*/ 257442 h 257442"/>
                <a:gd name="connsiteX2" fmla="*/ 0 w 2374269"/>
                <a:gd name="connsiteY2" fmla="*/ 257442 h 257442"/>
                <a:gd name="connsiteX3" fmla="*/ 1 w 2374269"/>
                <a:gd name="connsiteY3" fmla="*/ 0 h 257442"/>
                <a:gd name="connsiteX0" fmla="*/ 2534568 w 2534568"/>
                <a:gd name="connsiteY0" fmla="*/ 0 h 257442"/>
                <a:gd name="connsiteX1" fmla="*/ 2319547 w 2534568"/>
                <a:gd name="connsiteY1" fmla="*/ 257442 h 257442"/>
                <a:gd name="connsiteX2" fmla="*/ 0 w 2534568"/>
                <a:gd name="connsiteY2" fmla="*/ 257442 h 257442"/>
                <a:gd name="connsiteX3" fmla="*/ 1 w 2534568"/>
                <a:gd name="connsiteY3" fmla="*/ 0 h 257442"/>
                <a:gd name="connsiteX0" fmla="*/ 2534568 w 2534568"/>
                <a:gd name="connsiteY0" fmla="*/ 0 h 257442"/>
                <a:gd name="connsiteX1" fmla="*/ 2479846 w 2534568"/>
                <a:gd name="connsiteY1" fmla="*/ 257442 h 257442"/>
                <a:gd name="connsiteX2" fmla="*/ 0 w 2534568"/>
                <a:gd name="connsiteY2" fmla="*/ 257442 h 257442"/>
                <a:gd name="connsiteX3" fmla="*/ 1 w 2534568"/>
                <a:gd name="connsiteY3" fmla="*/ 0 h 257442"/>
                <a:gd name="connsiteX0" fmla="*/ 2534569 w 2534569"/>
                <a:gd name="connsiteY0" fmla="*/ 0 h 257442"/>
                <a:gd name="connsiteX1" fmla="*/ 2479847 w 2534569"/>
                <a:gd name="connsiteY1" fmla="*/ 257442 h 257442"/>
                <a:gd name="connsiteX2" fmla="*/ 0 w 2534569"/>
                <a:gd name="connsiteY2" fmla="*/ 257442 h 257442"/>
                <a:gd name="connsiteX3" fmla="*/ 2 w 2534569"/>
                <a:gd name="connsiteY3" fmla="*/ 0 h 257442"/>
                <a:gd name="connsiteX0" fmla="*/ 2534569 w 2534569"/>
                <a:gd name="connsiteY0" fmla="*/ 0 h 257442"/>
                <a:gd name="connsiteX1" fmla="*/ 2479847 w 2534569"/>
                <a:gd name="connsiteY1" fmla="*/ 257442 h 257442"/>
                <a:gd name="connsiteX2" fmla="*/ 0 w 2534569"/>
                <a:gd name="connsiteY2" fmla="*/ 257442 h 257442"/>
                <a:gd name="connsiteX3" fmla="*/ 1 w 2534569"/>
                <a:gd name="connsiteY3" fmla="*/ 0 h 257442"/>
                <a:gd name="connsiteX0" fmla="*/ 2862029 w 2862029"/>
                <a:gd name="connsiteY0" fmla="*/ 0 h 257442"/>
                <a:gd name="connsiteX1" fmla="*/ 2479847 w 2862029"/>
                <a:gd name="connsiteY1" fmla="*/ 257442 h 257442"/>
                <a:gd name="connsiteX2" fmla="*/ 0 w 2862029"/>
                <a:gd name="connsiteY2" fmla="*/ 257442 h 257442"/>
                <a:gd name="connsiteX3" fmla="*/ 1 w 2862029"/>
                <a:gd name="connsiteY3" fmla="*/ 0 h 257442"/>
                <a:gd name="connsiteX0" fmla="*/ 2862029 w 2862029"/>
                <a:gd name="connsiteY0" fmla="*/ 0 h 257442"/>
                <a:gd name="connsiteX1" fmla="*/ 2807308 w 2862029"/>
                <a:gd name="connsiteY1" fmla="*/ 257442 h 257442"/>
                <a:gd name="connsiteX2" fmla="*/ 0 w 2862029"/>
                <a:gd name="connsiteY2" fmla="*/ 257442 h 257442"/>
                <a:gd name="connsiteX3" fmla="*/ 1 w 2862029"/>
                <a:gd name="connsiteY3" fmla="*/ 0 h 257442"/>
                <a:gd name="connsiteX0" fmla="*/ 2862029 w 2862029"/>
                <a:gd name="connsiteY0" fmla="*/ 0 h 257442"/>
                <a:gd name="connsiteX1" fmla="*/ 2807308 w 2862029"/>
                <a:gd name="connsiteY1" fmla="*/ 257442 h 257442"/>
                <a:gd name="connsiteX2" fmla="*/ 0 w 2862029"/>
                <a:gd name="connsiteY2" fmla="*/ 257442 h 257442"/>
                <a:gd name="connsiteX3" fmla="*/ 1 w 2862029"/>
                <a:gd name="connsiteY3" fmla="*/ 0 h 257442"/>
                <a:gd name="connsiteX0" fmla="*/ 2862029 w 2862029"/>
                <a:gd name="connsiteY0" fmla="*/ 0 h 257442"/>
                <a:gd name="connsiteX1" fmla="*/ 2807308 w 2862029"/>
                <a:gd name="connsiteY1" fmla="*/ 257442 h 257442"/>
                <a:gd name="connsiteX2" fmla="*/ 0 w 2862029"/>
                <a:gd name="connsiteY2" fmla="*/ 257442 h 257442"/>
                <a:gd name="connsiteX3" fmla="*/ 0 w 2862029"/>
                <a:gd name="connsiteY3" fmla="*/ 0 h 257442"/>
                <a:gd name="connsiteX0" fmla="*/ 3047977 w 3047977"/>
                <a:gd name="connsiteY0" fmla="*/ 0 h 257442"/>
                <a:gd name="connsiteX1" fmla="*/ 2807308 w 3047977"/>
                <a:gd name="connsiteY1" fmla="*/ 257442 h 257442"/>
                <a:gd name="connsiteX2" fmla="*/ 0 w 3047977"/>
                <a:gd name="connsiteY2" fmla="*/ 257442 h 257442"/>
                <a:gd name="connsiteX3" fmla="*/ 0 w 3047977"/>
                <a:gd name="connsiteY3" fmla="*/ 0 h 257442"/>
                <a:gd name="connsiteX0" fmla="*/ 3047977 w 3047977"/>
                <a:gd name="connsiteY0" fmla="*/ 0 h 257442"/>
                <a:gd name="connsiteX1" fmla="*/ 2993256 w 3047977"/>
                <a:gd name="connsiteY1" fmla="*/ 257442 h 257442"/>
                <a:gd name="connsiteX2" fmla="*/ 0 w 3047977"/>
                <a:gd name="connsiteY2" fmla="*/ 257442 h 257442"/>
                <a:gd name="connsiteX3" fmla="*/ 0 w 3047977"/>
                <a:gd name="connsiteY3" fmla="*/ 0 h 257442"/>
                <a:gd name="connsiteX0" fmla="*/ 3047977 w 3047977"/>
                <a:gd name="connsiteY0" fmla="*/ 0 h 257442"/>
                <a:gd name="connsiteX1" fmla="*/ 2993256 w 3047977"/>
                <a:gd name="connsiteY1" fmla="*/ 257442 h 257442"/>
                <a:gd name="connsiteX2" fmla="*/ 0 w 3047977"/>
                <a:gd name="connsiteY2" fmla="*/ 257442 h 257442"/>
                <a:gd name="connsiteX3" fmla="*/ 0 w 3047977"/>
                <a:gd name="connsiteY3" fmla="*/ 0 h 257442"/>
                <a:gd name="connsiteX0" fmla="*/ 3047977 w 3047977"/>
                <a:gd name="connsiteY0" fmla="*/ 0 h 257442"/>
                <a:gd name="connsiteX1" fmla="*/ 2993256 w 3047977"/>
                <a:gd name="connsiteY1" fmla="*/ 257442 h 257442"/>
                <a:gd name="connsiteX2" fmla="*/ 0 w 3047977"/>
                <a:gd name="connsiteY2" fmla="*/ 257442 h 257442"/>
                <a:gd name="connsiteX3" fmla="*/ 0 w 3047977"/>
                <a:gd name="connsiteY3" fmla="*/ 0 h 257442"/>
                <a:gd name="connsiteX0" fmla="*/ 3208278 w 3208278"/>
                <a:gd name="connsiteY0" fmla="*/ 0 h 257442"/>
                <a:gd name="connsiteX1" fmla="*/ 2993256 w 3208278"/>
                <a:gd name="connsiteY1" fmla="*/ 257442 h 257442"/>
                <a:gd name="connsiteX2" fmla="*/ 0 w 3208278"/>
                <a:gd name="connsiteY2" fmla="*/ 257442 h 257442"/>
                <a:gd name="connsiteX3" fmla="*/ 0 w 3208278"/>
                <a:gd name="connsiteY3" fmla="*/ 0 h 257442"/>
                <a:gd name="connsiteX0" fmla="*/ 3208278 w 3208278"/>
                <a:gd name="connsiteY0" fmla="*/ 0 h 257442"/>
                <a:gd name="connsiteX1" fmla="*/ 3153556 w 3208278"/>
                <a:gd name="connsiteY1" fmla="*/ 257442 h 257442"/>
                <a:gd name="connsiteX2" fmla="*/ 0 w 3208278"/>
                <a:gd name="connsiteY2" fmla="*/ 257442 h 257442"/>
                <a:gd name="connsiteX3" fmla="*/ 0 w 3208278"/>
                <a:gd name="connsiteY3" fmla="*/ 0 h 257442"/>
                <a:gd name="connsiteX0" fmla="*/ 3208279 w 3208279"/>
                <a:gd name="connsiteY0" fmla="*/ 0 h 257442"/>
                <a:gd name="connsiteX1" fmla="*/ 3153557 w 3208279"/>
                <a:gd name="connsiteY1" fmla="*/ 257442 h 257442"/>
                <a:gd name="connsiteX2" fmla="*/ 0 w 3208279"/>
                <a:gd name="connsiteY2" fmla="*/ 257442 h 257442"/>
                <a:gd name="connsiteX3" fmla="*/ 1 w 3208279"/>
                <a:gd name="connsiteY3" fmla="*/ 0 h 257442"/>
                <a:gd name="connsiteX0" fmla="*/ 3208279 w 3208279"/>
                <a:gd name="connsiteY0" fmla="*/ 0 h 257442"/>
                <a:gd name="connsiteX1" fmla="*/ 3153557 w 3208279"/>
                <a:gd name="connsiteY1" fmla="*/ 257442 h 257442"/>
                <a:gd name="connsiteX2" fmla="*/ 0 w 3208279"/>
                <a:gd name="connsiteY2" fmla="*/ 257442 h 257442"/>
                <a:gd name="connsiteX3" fmla="*/ 1 w 3208279"/>
                <a:gd name="connsiteY3" fmla="*/ 0 h 257442"/>
                <a:gd name="connsiteX0" fmla="*/ 3376593 w 3376593"/>
                <a:gd name="connsiteY0" fmla="*/ 0 h 257442"/>
                <a:gd name="connsiteX1" fmla="*/ 3153557 w 3376593"/>
                <a:gd name="connsiteY1" fmla="*/ 257442 h 257442"/>
                <a:gd name="connsiteX2" fmla="*/ 0 w 3376593"/>
                <a:gd name="connsiteY2" fmla="*/ 257442 h 257442"/>
                <a:gd name="connsiteX3" fmla="*/ 1 w 3376593"/>
                <a:gd name="connsiteY3" fmla="*/ 0 h 257442"/>
                <a:gd name="connsiteX0" fmla="*/ 3376593 w 3376593"/>
                <a:gd name="connsiteY0" fmla="*/ 0 h 257442"/>
                <a:gd name="connsiteX1" fmla="*/ 3321872 w 3376593"/>
                <a:gd name="connsiteY1" fmla="*/ 257442 h 257442"/>
                <a:gd name="connsiteX2" fmla="*/ 0 w 3376593"/>
                <a:gd name="connsiteY2" fmla="*/ 257442 h 257442"/>
                <a:gd name="connsiteX3" fmla="*/ 1 w 3376593"/>
                <a:gd name="connsiteY3" fmla="*/ 0 h 257442"/>
                <a:gd name="connsiteX0" fmla="*/ 3376593 w 3376593"/>
                <a:gd name="connsiteY0" fmla="*/ 0 h 257442"/>
                <a:gd name="connsiteX1" fmla="*/ 3321872 w 3376593"/>
                <a:gd name="connsiteY1" fmla="*/ 257442 h 257442"/>
                <a:gd name="connsiteX2" fmla="*/ 0 w 3376593"/>
                <a:gd name="connsiteY2" fmla="*/ 257442 h 257442"/>
                <a:gd name="connsiteX3" fmla="*/ 1 w 3376593"/>
                <a:gd name="connsiteY3" fmla="*/ 0 h 257442"/>
                <a:gd name="connsiteX0" fmla="*/ 3376593 w 3376593"/>
                <a:gd name="connsiteY0" fmla="*/ 0 h 257442"/>
                <a:gd name="connsiteX1" fmla="*/ 3321872 w 3376593"/>
                <a:gd name="connsiteY1" fmla="*/ 257442 h 257442"/>
                <a:gd name="connsiteX2" fmla="*/ 0 w 3376593"/>
                <a:gd name="connsiteY2" fmla="*/ 257442 h 257442"/>
                <a:gd name="connsiteX3" fmla="*/ 0 w 3376593"/>
                <a:gd name="connsiteY3" fmla="*/ 0 h 257442"/>
                <a:gd name="connsiteX0" fmla="*/ 3536894 w 3536894"/>
                <a:gd name="connsiteY0" fmla="*/ 0 h 257442"/>
                <a:gd name="connsiteX1" fmla="*/ 3321872 w 3536894"/>
                <a:gd name="connsiteY1" fmla="*/ 257442 h 257442"/>
                <a:gd name="connsiteX2" fmla="*/ 0 w 3536894"/>
                <a:gd name="connsiteY2" fmla="*/ 257442 h 257442"/>
                <a:gd name="connsiteX3" fmla="*/ 0 w 3536894"/>
                <a:gd name="connsiteY3" fmla="*/ 0 h 257442"/>
                <a:gd name="connsiteX0" fmla="*/ 3536894 w 3536894"/>
                <a:gd name="connsiteY0" fmla="*/ 0 h 257442"/>
                <a:gd name="connsiteX1" fmla="*/ 3482172 w 3536894"/>
                <a:gd name="connsiteY1" fmla="*/ 257442 h 257442"/>
                <a:gd name="connsiteX2" fmla="*/ 0 w 3536894"/>
                <a:gd name="connsiteY2" fmla="*/ 257442 h 257442"/>
                <a:gd name="connsiteX3" fmla="*/ 0 w 3536894"/>
                <a:gd name="connsiteY3" fmla="*/ 0 h 257442"/>
                <a:gd name="connsiteX0" fmla="*/ 3536895 w 3536895"/>
                <a:gd name="connsiteY0" fmla="*/ 0 h 257442"/>
                <a:gd name="connsiteX1" fmla="*/ 3482173 w 3536895"/>
                <a:gd name="connsiteY1" fmla="*/ 257442 h 257442"/>
                <a:gd name="connsiteX2" fmla="*/ 0 w 3536895"/>
                <a:gd name="connsiteY2" fmla="*/ 257442 h 257442"/>
                <a:gd name="connsiteX3" fmla="*/ 1 w 3536895"/>
                <a:gd name="connsiteY3" fmla="*/ 0 h 257442"/>
                <a:gd name="connsiteX0" fmla="*/ 3536895 w 3536895"/>
                <a:gd name="connsiteY0" fmla="*/ 0 h 257442"/>
                <a:gd name="connsiteX1" fmla="*/ 3482173 w 3536895"/>
                <a:gd name="connsiteY1" fmla="*/ 257442 h 257442"/>
                <a:gd name="connsiteX2" fmla="*/ 0 w 3536895"/>
                <a:gd name="connsiteY2" fmla="*/ 257442 h 257442"/>
                <a:gd name="connsiteX3" fmla="*/ 1 w 3536895"/>
                <a:gd name="connsiteY3" fmla="*/ 0 h 257442"/>
                <a:gd name="connsiteX0" fmla="*/ 950801 w 3482173"/>
                <a:gd name="connsiteY0" fmla="*/ 0 h 257442"/>
                <a:gd name="connsiteX1" fmla="*/ 3482173 w 3482173"/>
                <a:gd name="connsiteY1" fmla="*/ 257442 h 257442"/>
                <a:gd name="connsiteX2" fmla="*/ 0 w 3482173"/>
                <a:gd name="connsiteY2" fmla="*/ 257442 h 257442"/>
                <a:gd name="connsiteX3" fmla="*/ 1 w 3482173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1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1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1119116 w 1119116"/>
                <a:gd name="connsiteY0" fmla="*/ 0 h 257442"/>
                <a:gd name="connsiteX1" fmla="*/ 896080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6 w 1119116"/>
                <a:gd name="connsiteY0" fmla="*/ 0 h 257442"/>
                <a:gd name="connsiteX1" fmla="*/ 1064394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7 w 1119117"/>
                <a:gd name="connsiteY0" fmla="*/ 0 h 257442"/>
                <a:gd name="connsiteX1" fmla="*/ 1064395 w 1119117"/>
                <a:gd name="connsiteY1" fmla="*/ 257442 h 257442"/>
                <a:gd name="connsiteX2" fmla="*/ 0 w 1119117"/>
                <a:gd name="connsiteY2" fmla="*/ 257442 h 257442"/>
                <a:gd name="connsiteX3" fmla="*/ 1 w 1119117"/>
                <a:gd name="connsiteY3" fmla="*/ 0 h 257442"/>
                <a:gd name="connsiteX0" fmla="*/ 1119117 w 1119117"/>
                <a:gd name="connsiteY0" fmla="*/ 0 h 257442"/>
                <a:gd name="connsiteX1" fmla="*/ 1064395 w 1119117"/>
                <a:gd name="connsiteY1" fmla="*/ 257442 h 257442"/>
                <a:gd name="connsiteX2" fmla="*/ 0 w 1119117"/>
                <a:gd name="connsiteY2" fmla="*/ 257442 h 257442"/>
                <a:gd name="connsiteX3" fmla="*/ 1 w 1119117"/>
                <a:gd name="connsiteY3" fmla="*/ 0 h 257442"/>
                <a:gd name="connsiteX0" fmla="*/ 1279416 w 1279416"/>
                <a:gd name="connsiteY0" fmla="*/ 0 h 257442"/>
                <a:gd name="connsiteX1" fmla="*/ 1064395 w 1279416"/>
                <a:gd name="connsiteY1" fmla="*/ 257442 h 257442"/>
                <a:gd name="connsiteX2" fmla="*/ 0 w 1279416"/>
                <a:gd name="connsiteY2" fmla="*/ 257442 h 257442"/>
                <a:gd name="connsiteX3" fmla="*/ 1 w 1279416"/>
                <a:gd name="connsiteY3" fmla="*/ 0 h 257442"/>
                <a:gd name="connsiteX0" fmla="*/ 1279416 w 1279416"/>
                <a:gd name="connsiteY0" fmla="*/ 0 h 257442"/>
                <a:gd name="connsiteX1" fmla="*/ 1224694 w 1279416"/>
                <a:gd name="connsiteY1" fmla="*/ 257442 h 257442"/>
                <a:gd name="connsiteX2" fmla="*/ 0 w 1279416"/>
                <a:gd name="connsiteY2" fmla="*/ 257442 h 257442"/>
                <a:gd name="connsiteX3" fmla="*/ 1 w 1279416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2 w 1279417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606878 w 1606878"/>
                <a:gd name="connsiteY0" fmla="*/ 0 h 257442"/>
                <a:gd name="connsiteX1" fmla="*/ 1224695 w 1606878"/>
                <a:gd name="connsiteY1" fmla="*/ 257442 h 257442"/>
                <a:gd name="connsiteX2" fmla="*/ 0 w 1606878"/>
                <a:gd name="connsiteY2" fmla="*/ 257442 h 257442"/>
                <a:gd name="connsiteX3" fmla="*/ 1 w 1606878"/>
                <a:gd name="connsiteY3" fmla="*/ 0 h 257442"/>
                <a:gd name="connsiteX0" fmla="*/ 1606878 w 1606878"/>
                <a:gd name="connsiteY0" fmla="*/ 0 h 257442"/>
                <a:gd name="connsiteX1" fmla="*/ 1552156 w 1606878"/>
                <a:gd name="connsiteY1" fmla="*/ 257442 h 257442"/>
                <a:gd name="connsiteX2" fmla="*/ 0 w 1606878"/>
                <a:gd name="connsiteY2" fmla="*/ 257442 h 257442"/>
                <a:gd name="connsiteX3" fmla="*/ 1 w 1606878"/>
                <a:gd name="connsiteY3" fmla="*/ 0 h 257442"/>
                <a:gd name="connsiteX0" fmla="*/ 1606879 w 1606879"/>
                <a:gd name="connsiteY0" fmla="*/ 0 h 257442"/>
                <a:gd name="connsiteX1" fmla="*/ 1552157 w 1606879"/>
                <a:gd name="connsiteY1" fmla="*/ 257442 h 257442"/>
                <a:gd name="connsiteX2" fmla="*/ 0 w 1606879"/>
                <a:gd name="connsiteY2" fmla="*/ 257442 h 257442"/>
                <a:gd name="connsiteX3" fmla="*/ 2 w 1606879"/>
                <a:gd name="connsiteY3" fmla="*/ 0 h 257442"/>
                <a:gd name="connsiteX0" fmla="*/ 1606879 w 1606879"/>
                <a:gd name="connsiteY0" fmla="*/ 0 h 257442"/>
                <a:gd name="connsiteX1" fmla="*/ 1552157 w 1606879"/>
                <a:gd name="connsiteY1" fmla="*/ 257442 h 257442"/>
                <a:gd name="connsiteX2" fmla="*/ 0 w 1606879"/>
                <a:gd name="connsiteY2" fmla="*/ 257442 h 257442"/>
                <a:gd name="connsiteX3" fmla="*/ 1 w 1606879"/>
                <a:gd name="connsiteY3" fmla="*/ 0 h 257442"/>
                <a:gd name="connsiteX0" fmla="*/ 1792827 w 1792827"/>
                <a:gd name="connsiteY0" fmla="*/ 0 h 257442"/>
                <a:gd name="connsiteX1" fmla="*/ 1552157 w 1792827"/>
                <a:gd name="connsiteY1" fmla="*/ 257442 h 257442"/>
                <a:gd name="connsiteX2" fmla="*/ 0 w 1792827"/>
                <a:gd name="connsiteY2" fmla="*/ 257442 h 257442"/>
                <a:gd name="connsiteX3" fmla="*/ 1 w 1792827"/>
                <a:gd name="connsiteY3" fmla="*/ 0 h 257442"/>
                <a:gd name="connsiteX0" fmla="*/ 1792827 w 1792827"/>
                <a:gd name="connsiteY0" fmla="*/ 0 h 257442"/>
                <a:gd name="connsiteX1" fmla="*/ 1738106 w 1792827"/>
                <a:gd name="connsiteY1" fmla="*/ 257442 h 257442"/>
                <a:gd name="connsiteX2" fmla="*/ 0 w 1792827"/>
                <a:gd name="connsiteY2" fmla="*/ 257442 h 257442"/>
                <a:gd name="connsiteX3" fmla="*/ 1 w 1792827"/>
                <a:gd name="connsiteY3" fmla="*/ 0 h 257442"/>
                <a:gd name="connsiteX0" fmla="*/ 1792827 w 1792827"/>
                <a:gd name="connsiteY0" fmla="*/ 0 h 257442"/>
                <a:gd name="connsiteX1" fmla="*/ 1738106 w 1792827"/>
                <a:gd name="connsiteY1" fmla="*/ 257442 h 257442"/>
                <a:gd name="connsiteX2" fmla="*/ 0 w 1792827"/>
                <a:gd name="connsiteY2" fmla="*/ 257442 h 257442"/>
                <a:gd name="connsiteX3" fmla="*/ 1 w 1792827"/>
                <a:gd name="connsiteY3" fmla="*/ 0 h 257442"/>
                <a:gd name="connsiteX0" fmla="*/ 1792827 w 1792827"/>
                <a:gd name="connsiteY0" fmla="*/ 0 h 257442"/>
                <a:gd name="connsiteX1" fmla="*/ 1738106 w 1792827"/>
                <a:gd name="connsiteY1" fmla="*/ 257442 h 257442"/>
                <a:gd name="connsiteX2" fmla="*/ 0 w 1792827"/>
                <a:gd name="connsiteY2" fmla="*/ 257442 h 257442"/>
                <a:gd name="connsiteX3" fmla="*/ 0 w 1792827"/>
                <a:gd name="connsiteY3" fmla="*/ 0 h 257442"/>
                <a:gd name="connsiteX0" fmla="*/ 1953127 w 1953127"/>
                <a:gd name="connsiteY0" fmla="*/ 0 h 257442"/>
                <a:gd name="connsiteX1" fmla="*/ 1738106 w 1953127"/>
                <a:gd name="connsiteY1" fmla="*/ 257442 h 257442"/>
                <a:gd name="connsiteX2" fmla="*/ 0 w 1953127"/>
                <a:gd name="connsiteY2" fmla="*/ 257442 h 257442"/>
                <a:gd name="connsiteX3" fmla="*/ 0 w 1953127"/>
                <a:gd name="connsiteY3" fmla="*/ 0 h 257442"/>
                <a:gd name="connsiteX0" fmla="*/ 1953127 w 1953127"/>
                <a:gd name="connsiteY0" fmla="*/ 0 h 257442"/>
                <a:gd name="connsiteX1" fmla="*/ 1898406 w 1953127"/>
                <a:gd name="connsiteY1" fmla="*/ 257442 h 257442"/>
                <a:gd name="connsiteX2" fmla="*/ 0 w 1953127"/>
                <a:gd name="connsiteY2" fmla="*/ 257442 h 257442"/>
                <a:gd name="connsiteX3" fmla="*/ 0 w 1953127"/>
                <a:gd name="connsiteY3" fmla="*/ 0 h 257442"/>
                <a:gd name="connsiteX0" fmla="*/ 1953127 w 1953127"/>
                <a:gd name="connsiteY0" fmla="*/ 0 h 257442"/>
                <a:gd name="connsiteX1" fmla="*/ 1898406 w 1953127"/>
                <a:gd name="connsiteY1" fmla="*/ 257442 h 257442"/>
                <a:gd name="connsiteX2" fmla="*/ 0 w 1953127"/>
                <a:gd name="connsiteY2" fmla="*/ 257442 h 257442"/>
                <a:gd name="connsiteX3" fmla="*/ 0 w 1953127"/>
                <a:gd name="connsiteY3" fmla="*/ 0 h 257442"/>
                <a:gd name="connsiteX0" fmla="*/ 1953127 w 1953127"/>
                <a:gd name="connsiteY0" fmla="*/ 0 h 257442"/>
                <a:gd name="connsiteX1" fmla="*/ 1898406 w 1953127"/>
                <a:gd name="connsiteY1" fmla="*/ 257442 h 257442"/>
                <a:gd name="connsiteX2" fmla="*/ 0 w 1953127"/>
                <a:gd name="connsiteY2" fmla="*/ 257442 h 257442"/>
                <a:gd name="connsiteX3" fmla="*/ 0 w 1953127"/>
                <a:gd name="connsiteY3" fmla="*/ 0 h 257442"/>
                <a:gd name="connsiteX0" fmla="*/ 2121442 w 2121442"/>
                <a:gd name="connsiteY0" fmla="*/ 0 h 257442"/>
                <a:gd name="connsiteX1" fmla="*/ 1898406 w 2121442"/>
                <a:gd name="connsiteY1" fmla="*/ 257442 h 257442"/>
                <a:gd name="connsiteX2" fmla="*/ 0 w 2121442"/>
                <a:gd name="connsiteY2" fmla="*/ 257442 h 257442"/>
                <a:gd name="connsiteX3" fmla="*/ 0 w 2121442"/>
                <a:gd name="connsiteY3" fmla="*/ 0 h 257442"/>
                <a:gd name="connsiteX0" fmla="*/ 2121442 w 2121442"/>
                <a:gd name="connsiteY0" fmla="*/ 0 h 257442"/>
                <a:gd name="connsiteX1" fmla="*/ 2066720 w 2121442"/>
                <a:gd name="connsiteY1" fmla="*/ 257442 h 257442"/>
                <a:gd name="connsiteX2" fmla="*/ 0 w 2121442"/>
                <a:gd name="connsiteY2" fmla="*/ 257442 h 257442"/>
                <a:gd name="connsiteX3" fmla="*/ 0 w 2121442"/>
                <a:gd name="connsiteY3" fmla="*/ 0 h 257442"/>
                <a:gd name="connsiteX0" fmla="*/ 2121443 w 2121443"/>
                <a:gd name="connsiteY0" fmla="*/ 0 h 257442"/>
                <a:gd name="connsiteX1" fmla="*/ 2066721 w 2121443"/>
                <a:gd name="connsiteY1" fmla="*/ 257442 h 257442"/>
                <a:gd name="connsiteX2" fmla="*/ 0 w 2121443"/>
                <a:gd name="connsiteY2" fmla="*/ 257442 h 257442"/>
                <a:gd name="connsiteX3" fmla="*/ 1 w 2121443"/>
                <a:gd name="connsiteY3" fmla="*/ 0 h 257442"/>
                <a:gd name="connsiteX0" fmla="*/ 2121443 w 2121443"/>
                <a:gd name="connsiteY0" fmla="*/ 0 h 257442"/>
                <a:gd name="connsiteX1" fmla="*/ 2066721 w 2121443"/>
                <a:gd name="connsiteY1" fmla="*/ 257442 h 257442"/>
                <a:gd name="connsiteX2" fmla="*/ 0 w 2121443"/>
                <a:gd name="connsiteY2" fmla="*/ 257442 h 257442"/>
                <a:gd name="connsiteX3" fmla="*/ 1 w 2121443"/>
                <a:gd name="connsiteY3" fmla="*/ 0 h 257442"/>
                <a:gd name="connsiteX0" fmla="*/ 2385040 w 2385040"/>
                <a:gd name="connsiteY0" fmla="*/ 0 h 257442"/>
                <a:gd name="connsiteX1" fmla="*/ 2066721 w 2385040"/>
                <a:gd name="connsiteY1" fmla="*/ 257442 h 257442"/>
                <a:gd name="connsiteX2" fmla="*/ 0 w 2385040"/>
                <a:gd name="connsiteY2" fmla="*/ 257442 h 257442"/>
                <a:gd name="connsiteX3" fmla="*/ 1 w 2385040"/>
                <a:gd name="connsiteY3" fmla="*/ 0 h 257442"/>
                <a:gd name="connsiteX0" fmla="*/ 2385040 w 2385040"/>
                <a:gd name="connsiteY0" fmla="*/ 0 h 257442"/>
                <a:gd name="connsiteX1" fmla="*/ 2330318 w 2385040"/>
                <a:gd name="connsiteY1" fmla="*/ 257442 h 257442"/>
                <a:gd name="connsiteX2" fmla="*/ 0 w 2385040"/>
                <a:gd name="connsiteY2" fmla="*/ 257442 h 257442"/>
                <a:gd name="connsiteX3" fmla="*/ 1 w 2385040"/>
                <a:gd name="connsiteY3" fmla="*/ 0 h 257442"/>
                <a:gd name="connsiteX0" fmla="*/ 2385041 w 2385041"/>
                <a:gd name="connsiteY0" fmla="*/ 0 h 257442"/>
                <a:gd name="connsiteX1" fmla="*/ 2330319 w 2385041"/>
                <a:gd name="connsiteY1" fmla="*/ 257442 h 257442"/>
                <a:gd name="connsiteX2" fmla="*/ 0 w 2385041"/>
                <a:gd name="connsiteY2" fmla="*/ 257442 h 257442"/>
                <a:gd name="connsiteX3" fmla="*/ 2 w 2385041"/>
                <a:gd name="connsiteY3" fmla="*/ 0 h 257442"/>
                <a:gd name="connsiteX0" fmla="*/ 2385041 w 2385041"/>
                <a:gd name="connsiteY0" fmla="*/ 0 h 257442"/>
                <a:gd name="connsiteX1" fmla="*/ 2330319 w 2385041"/>
                <a:gd name="connsiteY1" fmla="*/ 257442 h 257442"/>
                <a:gd name="connsiteX2" fmla="*/ 0 w 2385041"/>
                <a:gd name="connsiteY2" fmla="*/ 257442 h 257442"/>
                <a:gd name="connsiteX3" fmla="*/ 1 w 2385041"/>
                <a:gd name="connsiteY3" fmla="*/ 0 h 257442"/>
                <a:gd name="connsiteX0" fmla="*/ 2678197 w 2678197"/>
                <a:gd name="connsiteY0" fmla="*/ 0 h 257442"/>
                <a:gd name="connsiteX1" fmla="*/ 2330319 w 2678197"/>
                <a:gd name="connsiteY1" fmla="*/ 257442 h 257442"/>
                <a:gd name="connsiteX2" fmla="*/ 0 w 2678197"/>
                <a:gd name="connsiteY2" fmla="*/ 257442 h 257442"/>
                <a:gd name="connsiteX3" fmla="*/ 1 w 2678197"/>
                <a:gd name="connsiteY3" fmla="*/ 0 h 257442"/>
                <a:gd name="connsiteX0" fmla="*/ 2678197 w 2678197"/>
                <a:gd name="connsiteY0" fmla="*/ 0 h 257442"/>
                <a:gd name="connsiteX1" fmla="*/ 2623476 w 2678197"/>
                <a:gd name="connsiteY1" fmla="*/ 257442 h 257442"/>
                <a:gd name="connsiteX2" fmla="*/ 0 w 2678197"/>
                <a:gd name="connsiteY2" fmla="*/ 257442 h 257442"/>
                <a:gd name="connsiteX3" fmla="*/ 1 w 2678197"/>
                <a:gd name="connsiteY3" fmla="*/ 0 h 257442"/>
                <a:gd name="connsiteX0" fmla="*/ 2678197 w 2678197"/>
                <a:gd name="connsiteY0" fmla="*/ 0 h 257442"/>
                <a:gd name="connsiteX1" fmla="*/ 2623476 w 2678197"/>
                <a:gd name="connsiteY1" fmla="*/ 257442 h 257442"/>
                <a:gd name="connsiteX2" fmla="*/ 0 w 2678197"/>
                <a:gd name="connsiteY2" fmla="*/ 257442 h 257442"/>
                <a:gd name="connsiteX3" fmla="*/ 1 w 2678197"/>
                <a:gd name="connsiteY3" fmla="*/ 0 h 257442"/>
                <a:gd name="connsiteX0" fmla="*/ 2678197 w 2678197"/>
                <a:gd name="connsiteY0" fmla="*/ 0 h 257442"/>
                <a:gd name="connsiteX1" fmla="*/ 2623476 w 2678197"/>
                <a:gd name="connsiteY1" fmla="*/ 257442 h 257442"/>
                <a:gd name="connsiteX2" fmla="*/ 0 w 2678197"/>
                <a:gd name="connsiteY2" fmla="*/ 257442 h 257442"/>
                <a:gd name="connsiteX3" fmla="*/ 0 w 2678197"/>
                <a:gd name="connsiteY3" fmla="*/ 0 h 257442"/>
                <a:gd name="connsiteX0" fmla="*/ 2846512 w 2846512"/>
                <a:gd name="connsiteY0" fmla="*/ 0 h 257442"/>
                <a:gd name="connsiteX1" fmla="*/ 2623476 w 2846512"/>
                <a:gd name="connsiteY1" fmla="*/ 257442 h 257442"/>
                <a:gd name="connsiteX2" fmla="*/ 0 w 2846512"/>
                <a:gd name="connsiteY2" fmla="*/ 257442 h 257442"/>
                <a:gd name="connsiteX3" fmla="*/ 0 w 2846512"/>
                <a:gd name="connsiteY3" fmla="*/ 0 h 257442"/>
                <a:gd name="connsiteX0" fmla="*/ 2846512 w 2846512"/>
                <a:gd name="connsiteY0" fmla="*/ 0 h 257442"/>
                <a:gd name="connsiteX1" fmla="*/ 2791790 w 2846512"/>
                <a:gd name="connsiteY1" fmla="*/ 257442 h 257442"/>
                <a:gd name="connsiteX2" fmla="*/ 0 w 2846512"/>
                <a:gd name="connsiteY2" fmla="*/ 257442 h 257442"/>
                <a:gd name="connsiteX3" fmla="*/ 0 w 2846512"/>
                <a:gd name="connsiteY3" fmla="*/ 0 h 257442"/>
                <a:gd name="connsiteX0" fmla="*/ 2846513 w 2846513"/>
                <a:gd name="connsiteY0" fmla="*/ 0 h 257442"/>
                <a:gd name="connsiteX1" fmla="*/ 2791791 w 2846513"/>
                <a:gd name="connsiteY1" fmla="*/ 257442 h 257442"/>
                <a:gd name="connsiteX2" fmla="*/ 0 w 2846513"/>
                <a:gd name="connsiteY2" fmla="*/ 257442 h 257442"/>
                <a:gd name="connsiteX3" fmla="*/ 1 w 2846513"/>
                <a:gd name="connsiteY3" fmla="*/ 0 h 257442"/>
                <a:gd name="connsiteX0" fmla="*/ 2846513 w 2846513"/>
                <a:gd name="connsiteY0" fmla="*/ 0 h 257442"/>
                <a:gd name="connsiteX1" fmla="*/ 2791791 w 2846513"/>
                <a:gd name="connsiteY1" fmla="*/ 257442 h 257442"/>
                <a:gd name="connsiteX2" fmla="*/ 0 w 2846513"/>
                <a:gd name="connsiteY2" fmla="*/ 257442 h 257442"/>
                <a:gd name="connsiteX3" fmla="*/ 1 w 2846513"/>
                <a:gd name="connsiteY3" fmla="*/ 0 h 257442"/>
                <a:gd name="connsiteX0" fmla="*/ 3099786 w 3099786"/>
                <a:gd name="connsiteY0" fmla="*/ 0 h 257442"/>
                <a:gd name="connsiteX1" fmla="*/ 2791791 w 3099786"/>
                <a:gd name="connsiteY1" fmla="*/ 257442 h 257442"/>
                <a:gd name="connsiteX2" fmla="*/ 0 w 3099786"/>
                <a:gd name="connsiteY2" fmla="*/ 257442 h 257442"/>
                <a:gd name="connsiteX3" fmla="*/ 1 w 3099786"/>
                <a:gd name="connsiteY3" fmla="*/ 0 h 257442"/>
                <a:gd name="connsiteX0" fmla="*/ 3099786 w 3099786"/>
                <a:gd name="connsiteY0" fmla="*/ 0 h 257442"/>
                <a:gd name="connsiteX1" fmla="*/ 3045064 w 3099786"/>
                <a:gd name="connsiteY1" fmla="*/ 257442 h 257442"/>
                <a:gd name="connsiteX2" fmla="*/ 0 w 3099786"/>
                <a:gd name="connsiteY2" fmla="*/ 257442 h 257442"/>
                <a:gd name="connsiteX3" fmla="*/ 1 w 3099786"/>
                <a:gd name="connsiteY3" fmla="*/ 0 h 257442"/>
                <a:gd name="connsiteX0" fmla="*/ 3099787 w 3099787"/>
                <a:gd name="connsiteY0" fmla="*/ 0 h 257442"/>
                <a:gd name="connsiteX1" fmla="*/ 3045065 w 3099787"/>
                <a:gd name="connsiteY1" fmla="*/ 257442 h 257442"/>
                <a:gd name="connsiteX2" fmla="*/ 0 w 3099787"/>
                <a:gd name="connsiteY2" fmla="*/ 257442 h 257442"/>
                <a:gd name="connsiteX3" fmla="*/ 2 w 3099787"/>
                <a:gd name="connsiteY3" fmla="*/ 0 h 257442"/>
                <a:gd name="connsiteX0" fmla="*/ 3099787 w 3099787"/>
                <a:gd name="connsiteY0" fmla="*/ 0 h 257442"/>
                <a:gd name="connsiteX1" fmla="*/ 3045065 w 3099787"/>
                <a:gd name="connsiteY1" fmla="*/ 257442 h 257442"/>
                <a:gd name="connsiteX2" fmla="*/ 0 w 3099787"/>
                <a:gd name="connsiteY2" fmla="*/ 257442 h 257442"/>
                <a:gd name="connsiteX3" fmla="*/ 1 w 3099787"/>
                <a:gd name="connsiteY3" fmla="*/ 0 h 257442"/>
                <a:gd name="connsiteX0" fmla="*/ 3378709 w 3378709"/>
                <a:gd name="connsiteY0" fmla="*/ 0 h 257442"/>
                <a:gd name="connsiteX1" fmla="*/ 3045065 w 3378709"/>
                <a:gd name="connsiteY1" fmla="*/ 257442 h 257442"/>
                <a:gd name="connsiteX2" fmla="*/ 0 w 3378709"/>
                <a:gd name="connsiteY2" fmla="*/ 257442 h 257442"/>
                <a:gd name="connsiteX3" fmla="*/ 1 w 3378709"/>
                <a:gd name="connsiteY3" fmla="*/ 0 h 257442"/>
                <a:gd name="connsiteX0" fmla="*/ 3378709 w 3378709"/>
                <a:gd name="connsiteY0" fmla="*/ 0 h 257442"/>
                <a:gd name="connsiteX1" fmla="*/ 3323988 w 3378709"/>
                <a:gd name="connsiteY1" fmla="*/ 257442 h 257442"/>
                <a:gd name="connsiteX2" fmla="*/ 0 w 3378709"/>
                <a:gd name="connsiteY2" fmla="*/ 257442 h 257442"/>
                <a:gd name="connsiteX3" fmla="*/ 1 w 3378709"/>
                <a:gd name="connsiteY3" fmla="*/ 0 h 257442"/>
                <a:gd name="connsiteX0" fmla="*/ 3378709 w 3378709"/>
                <a:gd name="connsiteY0" fmla="*/ 0 h 257442"/>
                <a:gd name="connsiteX1" fmla="*/ 3323988 w 3378709"/>
                <a:gd name="connsiteY1" fmla="*/ 257442 h 257442"/>
                <a:gd name="connsiteX2" fmla="*/ 0 w 3378709"/>
                <a:gd name="connsiteY2" fmla="*/ 257442 h 257442"/>
                <a:gd name="connsiteX3" fmla="*/ 1 w 3378709"/>
                <a:gd name="connsiteY3" fmla="*/ 0 h 257442"/>
                <a:gd name="connsiteX0" fmla="*/ 3378709 w 3378709"/>
                <a:gd name="connsiteY0" fmla="*/ 0 h 257442"/>
                <a:gd name="connsiteX1" fmla="*/ 3323988 w 3378709"/>
                <a:gd name="connsiteY1" fmla="*/ 257442 h 257442"/>
                <a:gd name="connsiteX2" fmla="*/ 0 w 3378709"/>
                <a:gd name="connsiteY2" fmla="*/ 257442 h 257442"/>
                <a:gd name="connsiteX3" fmla="*/ 0 w 3378709"/>
                <a:gd name="connsiteY3" fmla="*/ 0 h 257442"/>
                <a:gd name="connsiteX0" fmla="*/ 3547025 w 3547025"/>
                <a:gd name="connsiteY0" fmla="*/ 0 h 257442"/>
                <a:gd name="connsiteX1" fmla="*/ 3323988 w 3547025"/>
                <a:gd name="connsiteY1" fmla="*/ 257442 h 257442"/>
                <a:gd name="connsiteX2" fmla="*/ 0 w 3547025"/>
                <a:gd name="connsiteY2" fmla="*/ 257442 h 257442"/>
                <a:gd name="connsiteX3" fmla="*/ 0 w 3547025"/>
                <a:gd name="connsiteY3" fmla="*/ 0 h 257442"/>
                <a:gd name="connsiteX0" fmla="*/ 3547025 w 3547025"/>
                <a:gd name="connsiteY0" fmla="*/ 0 h 257442"/>
                <a:gd name="connsiteX1" fmla="*/ 3492304 w 3547025"/>
                <a:gd name="connsiteY1" fmla="*/ 257442 h 257442"/>
                <a:gd name="connsiteX2" fmla="*/ 0 w 3547025"/>
                <a:gd name="connsiteY2" fmla="*/ 257442 h 257442"/>
                <a:gd name="connsiteX3" fmla="*/ 0 w 3547025"/>
                <a:gd name="connsiteY3" fmla="*/ 0 h 257442"/>
                <a:gd name="connsiteX0" fmla="*/ 3547025 w 3547025"/>
                <a:gd name="connsiteY0" fmla="*/ 0 h 257442"/>
                <a:gd name="connsiteX1" fmla="*/ 3492304 w 3547025"/>
                <a:gd name="connsiteY1" fmla="*/ 257442 h 257442"/>
                <a:gd name="connsiteX2" fmla="*/ 0 w 3547025"/>
                <a:gd name="connsiteY2" fmla="*/ 257442 h 257442"/>
                <a:gd name="connsiteX3" fmla="*/ 0 w 3547025"/>
                <a:gd name="connsiteY3" fmla="*/ 0 h 257442"/>
                <a:gd name="connsiteX0" fmla="*/ 3547025 w 3547025"/>
                <a:gd name="connsiteY0" fmla="*/ 0 h 257442"/>
                <a:gd name="connsiteX1" fmla="*/ 3492304 w 3547025"/>
                <a:gd name="connsiteY1" fmla="*/ 257442 h 257442"/>
                <a:gd name="connsiteX2" fmla="*/ 0 w 3547025"/>
                <a:gd name="connsiteY2" fmla="*/ 257442 h 257442"/>
                <a:gd name="connsiteX3" fmla="*/ 0 w 3547025"/>
                <a:gd name="connsiteY3" fmla="*/ 0 h 257442"/>
                <a:gd name="connsiteX0" fmla="*/ 950801 w 3492304"/>
                <a:gd name="connsiteY0" fmla="*/ 0 h 257442"/>
                <a:gd name="connsiteX1" fmla="*/ 3492304 w 3492304"/>
                <a:gd name="connsiteY1" fmla="*/ 257442 h 257442"/>
                <a:gd name="connsiteX2" fmla="*/ 0 w 3492304"/>
                <a:gd name="connsiteY2" fmla="*/ 257442 h 257442"/>
                <a:gd name="connsiteX3" fmla="*/ 0 w 3492304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119116 w 1119116"/>
                <a:gd name="connsiteY0" fmla="*/ 0 h 257442"/>
                <a:gd name="connsiteX1" fmla="*/ 896079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279416 w 1279416"/>
                <a:gd name="connsiteY0" fmla="*/ 0 h 257442"/>
                <a:gd name="connsiteX1" fmla="*/ 10643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457350 w 1457350"/>
                <a:gd name="connsiteY0" fmla="*/ 0 h 257442"/>
                <a:gd name="connsiteX1" fmla="*/ 1224695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793981 w 1793981"/>
                <a:gd name="connsiteY0" fmla="*/ 0 h 257442"/>
                <a:gd name="connsiteX1" fmla="*/ 1570944 w 1793981"/>
                <a:gd name="connsiteY1" fmla="*/ 257442 h 257442"/>
                <a:gd name="connsiteX2" fmla="*/ 0 w 1793981"/>
                <a:gd name="connsiteY2" fmla="*/ 257442 h 257442"/>
                <a:gd name="connsiteX3" fmla="*/ 0 w 1793981"/>
                <a:gd name="connsiteY3" fmla="*/ 0 h 257442"/>
                <a:gd name="connsiteX0" fmla="*/ 1793981 w 1793981"/>
                <a:gd name="connsiteY0" fmla="*/ 0 h 257442"/>
                <a:gd name="connsiteX1" fmla="*/ 1739260 w 1793981"/>
                <a:gd name="connsiteY1" fmla="*/ 257442 h 257442"/>
                <a:gd name="connsiteX2" fmla="*/ 0 w 1793981"/>
                <a:gd name="connsiteY2" fmla="*/ 257442 h 257442"/>
                <a:gd name="connsiteX3" fmla="*/ 0 w 1793981"/>
                <a:gd name="connsiteY3" fmla="*/ 0 h 257442"/>
                <a:gd name="connsiteX0" fmla="*/ 1793981 w 1793981"/>
                <a:gd name="connsiteY0" fmla="*/ 0 h 257442"/>
                <a:gd name="connsiteX1" fmla="*/ 1739260 w 1793981"/>
                <a:gd name="connsiteY1" fmla="*/ 257442 h 257442"/>
                <a:gd name="connsiteX2" fmla="*/ 0 w 1793981"/>
                <a:gd name="connsiteY2" fmla="*/ 257442 h 257442"/>
                <a:gd name="connsiteX3" fmla="*/ 0 w 1793981"/>
                <a:gd name="connsiteY3" fmla="*/ 0 h 257442"/>
                <a:gd name="connsiteX0" fmla="*/ 1793981 w 1793981"/>
                <a:gd name="connsiteY0" fmla="*/ 0 h 257442"/>
                <a:gd name="connsiteX1" fmla="*/ 1739260 w 1793981"/>
                <a:gd name="connsiteY1" fmla="*/ 257442 h 257442"/>
                <a:gd name="connsiteX2" fmla="*/ 0 w 1793981"/>
                <a:gd name="connsiteY2" fmla="*/ 257442 h 257442"/>
                <a:gd name="connsiteX3" fmla="*/ 0 w 1793981"/>
                <a:gd name="connsiteY3" fmla="*/ 0 h 257442"/>
                <a:gd name="connsiteX0" fmla="*/ 1962295 w 1962295"/>
                <a:gd name="connsiteY0" fmla="*/ 0 h 257442"/>
                <a:gd name="connsiteX1" fmla="*/ 1739260 w 1962295"/>
                <a:gd name="connsiteY1" fmla="*/ 257442 h 257442"/>
                <a:gd name="connsiteX2" fmla="*/ 0 w 1962295"/>
                <a:gd name="connsiteY2" fmla="*/ 257442 h 257442"/>
                <a:gd name="connsiteX3" fmla="*/ 0 w 1962295"/>
                <a:gd name="connsiteY3" fmla="*/ 0 h 257442"/>
                <a:gd name="connsiteX0" fmla="*/ 1962295 w 1962295"/>
                <a:gd name="connsiteY0" fmla="*/ 0 h 257442"/>
                <a:gd name="connsiteX1" fmla="*/ 1907574 w 1962295"/>
                <a:gd name="connsiteY1" fmla="*/ 257442 h 257442"/>
                <a:gd name="connsiteX2" fmla="*/ 0 w 1962295"/>
                <a:gd name="connsiteY2" fmla="*/ 257442 h 257442"/>
                <a:gd name="connsiteX3" fmla="*/ 0 w 1962295"/>
                <a:gd name="connsiteY3" fmla="*/ 0 h 257442"/>
                <a:gd name="connsiteX0" fmla="*/ 1962295 w 1962295"/>
                <a:gd name="connsiteY0" fmla="*/ 0 h 257442"/>
                <a:gd name="connsiteX1" fmla="*/ 1907574 w 1962295"/>
                <a:gd name="connsiteY1" fmla="*/ 257442 h 257442"/>
                <a:gd name="connsiteX2" fmla="*/ 0 w 1962295"/>
                <a:gd name="connsiteY2" fmla="*/ 257442 h 257442"/>
                <a:gd name="connsiteX3" fmla="*/ 0 w 1962295"/>
                <a:gd name="connsiteY3" fmla="*/ 0 h 257442"/>
                <a:gd name="connsiteX0" fmla="*/ 1962295 w 1962295"/>
                <a:gd name="connsiteY0" fmla="*/ 0 h 257442"/>
                <a:gd name="connsiteX1" fmla="*/ 1907574 w 1962295"/>
                <a:gd name="connsiteY1" fmla="*/ 257442 h 257442"/>
                <a:gd name="connsiteX2" fmla="*/ 0 w 1962295"/>
                <a:gd name="connsiteY2" fmla="*/ 257442 h 257442"/>
                <a:gd name="connsiteX3" fmla="*/ 0 w 1962295"/>
                <a:gd name="connsiteY3" fmla="*/ 0 h 257442"/>
                <a:gd name="connsiteX0" fmla="*/ 2122596 w 2122596"/>
                <a:gd name="connsiteY0" fmla="*/ 0 h 257442"/>
                <a:gd name="connsiteX1" fmla="*/ 1907574 w 2122596"/>
                <a:gd name="connsiteY1" fmla="*/ 257442 h 257442"/>
                <a:gd name="connsiteX2" fmla="*/ 0 w 2122596"/>
                <a:gd name="connsiteY2" fmla="*/ 257442 h 257442"/>
                <a:gd name="connsiteX3" fmla="*/ 0 w 2122596"/>
                <a:gd name="connsiteY3" fmla="*/ 0 h 257442"/>
                <a:gd name="connsiteX0" fmla="*/ 2122596 w 2122596"/>
                <a:gd name="connsiteY0" fmla="*/ 0 h 257442"/>
                <a:gd name="connsiteX1" fmla="*/ 2067874 w 2122596"/>
                <a:gd name="connsiteY1" fmla="*/ 257442 h 257442"/>
                <a:gd name="connsiteX2" fmla="*/ 0 w 2122596"/>
                <a:gd name="connsiteY2" fmla="*/ 257442 h 257442"/>
                <a:gd name="connsiteX3" fmla="*/ 0 w 2122596"/>
                <a:gd name="connsiteY3" fmla="*/ 0 h 257442"/>
                <a:gd name="connsiteX0" fmla="*/ 2122597 w 2122597"/>
                <a:gd name="connsiteY0" fmla="*/ 0 h 257442"/>
                <a:gd name="connsiteX1" fmla="*/ 2067875 w 2122597"/>
                <a:gd name="connsiteY1" fmla="*/ 257442 h 257442"/>
                <a:gd name="connsiteX2" fmla="*/ 0 w 2122597"/>
                <a:gd name="connsiteY2" fmla="*/ 257442 h 257442"/>
                <a:gd name="connsiteX3" fmla="*/ 1 w 2122597"/>
                <a:gd name="connsiteY3" fmla="*/ 0 h 257442"/>
                <a:gd name="connsiteX0" fmla="*/ 2122597 w 2122597"/>
                <a:gd name="connsiteY0" fmla="*/ 0 h 257442"/>
                <a:gd name="connsiteX1" fmla="*/ 2067875 w 2122597"/>
                <a:gd name="connsiteY1" fmla="*/ 257442 h 257442"/>
                <a:gd name="connsiteX2" fmla="*/ 0 w 2122597"/>
                <a:gd name="connsiteY2" fmla="*/ 257442 h 257442"/>
                <a:gd name="connsiteX3" fmla="*/ 1 w 2122597"/>
                <a:gd name="connsiteY3" fmla="*/ 0 h 257442"/>
                <a:gd name="connsiteX0" fmla="*/ 950801 w 2067875"/>
                <a:gd name="connsiteY0" fmla="*/ 0 h 257442"/>
                <a:gd name="connsiteX1" fmla="*/ 2067875 w 2067875"/>
                <a:gd name="connsiteY1" fmla="*/ 257442 h 257442"/>
                <a:gd name="connsiteX2" fmla="*/ 0 w 2067875"/>
                <a:gd name="connsiteY2" fmla="*/ 257442 h 257442"/>
                <a:gd name="connsiteX3" fmla="*/ 1 w 2067875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1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1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97050 w 1297050"/>
                <a:gd name="connsiteY0" fmla="*/ 0 h 257442"/>
                <a:gd name="connsiteX1" fmla="*/ 1056380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8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1 w 1297051"/>
                <a:gd name="connsiteY0" fmla="*/ 0 h 257442"/>
                <a:gd name="connsiteX1" fmla="*/ 1242329 w 1297051"/>
                <a:gd name="connsiteY1" fmla="*/ 257442 h 257442"/>
                <a:gd name="connsiteX2" fmla="*/ 0 w 1297051"/>
                <a:gd name="connsiteY2" fmla="*/ 257442 h 257442"/>
                <a:gd name="connsiteX3" fmla="*/ 1 w 1297051"/>
                <a:gd name="connsiteY3" fmla="*/ 0 h 257442"/>
                <a:gd name="connsiteX0" fmla="*/ 1297051 w 1297051"/>
                <a:gd name="connsiteY0" fmla="*/ 0 h 257442"/>
                <a:gd name="connsiteX1" fmla="*/ 1242329 w 1297051"/>
                <a:gd name="connsiteY1" fmla="*/ 257442 h 257442"/>
                <a:gd name="connsiteX2" fmla="*/ 0 w 1297051"/>
                <a:gd name="connsiteY2" fmla="*/ 257442 h 257442"/>
                <a:gd name="connsiteX3" fmla="*/ 1 w 1297051"/>
                <a:gd name="connsiteY3" fmla="*/ 0 h 257442"/>
                <a:gd name="connsiteX0" fmla="*/ 1474984 w 1474984"/>
                <a:gd name="connsiteY0" fmla="*/ 0 h 257442"/>
                <a:gd name="connsiteX1" fmla="*/ 1242329 w 1474984"/>
                <a:gd name="connsiteY1" fmla="*/ 257442 h 257442"/>
                <a:gd name="connsiteX2" fmla="*/ 0 w 1474984"/>
                <a:gd name="connsiteY2" fmla="*/ 257442 h 257442"/>
                <a:gd name="connsiteX3" fmla="*/ 1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1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1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652916 w 1652916"/>
                <a:gd name="connsiteY0" fmla="*/ 0 h 257442"/>
                <a:gd name="connsiteX1" fmla="*/ 1420262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821231 w 1821231"/>
                <a:gd name="connsiteY0" fmla="*/ 0 h 257442"/>
                <a:gd name="connsiteX1" fmla="*/ 1598195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989547 w 1989547"/>
                <a:gd name="connsiteY0" fmla="*/ 0 h 257442"/>
                <a:gd name="connsiteX1" fmla="*/ 1766510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1989547 w 1989547"/>
                <a:gd name="connsiteY0" fmla="*/ 0 h 257442"/>
                <a:gd name="connsiteX1" fmla="*/ 1934826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1989547 w 1989547"/>
                <a:gd name="connsiteY0" fmla="*/ 0 h 257442"/>
                <a:gd name="connsiteX1" fmla="*/ 1934826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1989547 w 1989547"/>
                <a:gd name="connsiteY0" fmla="*/ 0 h 257442"/>
                <a:gd name="connsiteX1" fmla="*/ 1934826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2149847 w 2149847"/>
                <a:gd name="connsiteY0" fmla="*/ 0 h 257442"/>
                <a:gd name="connsiteX1" fmla="*/ 1934826 w 2149847"/>
                <a:gd name="connsiteY1" fmla="*/ 257442 h 257442"/>
                <a:gd name="connsiteX2" fmla="*/ 0 w 2149847"/>
                <a:gd name="connsiteY2" fmla="*/ 257442 h 257442"/>
                <a:gd name="connsiteX3" fmla="*/ 0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0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0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0 w 2149847"/>
                <a:gd name="connsiteY3" fmla="*/ 0 h 257442"/>
                <a:gd name="connsiteX0" fmla="*/ 2318162 w 2318162"/>
                <a:gd name="connsiteY0" fmla="*/ 0 h 257442"/>
                <a:gd name="connsiteX1" fmla="*/ 2095126 w 2318162"/>
                <a:gd name="connsiteY1" fmla="*/ 257442 h 257442"/>
                <a:gd name="connsiteX2" fmla="*/ 0 w 2318162"/>
                <a:gd name="connsiteY2" fmla="*/ 257442 h 257442"/>
                <a:gd name="connsiteX3" fmla="*/ 0 w 2318162"/>
                <a:gd name="connsiteY3" fmla="*/ 0 h 257442"/>
                <a:gd name="connsiteX0" fmla="*/ 2318162 w 2318162"/>
                <a:gd name="connsiteY0" fmla="*/ 0 h 257442"/>
                <a:gd name="connsiteX1" fmla="*/ 2263440 w 2318162"/>
                <a:gd name="connsiteY1" fmla="*/ 257442 h 257442"/>
                <a:gd name="connsiteX2" fmla="*/ 0 w 2318162"/>
                <a:gd name="connsiteY2" fmla="*/ 257442 h 257442"/>
                <a:gd name="connsiteX3" fmla="*/ 0 w 2318162"/>
                <a:gd name="connsiteY3" fmla="*/ 0 h 257442"/>
                <a:gd name="connsiteX0" fmla="*/ 2318163 w 2318163"/>
                <a:gd name="connsiteY0" fmla="*/ 0 h 257442"/>
                <a:gd name="connsiteX1" fmla="*/ 2263441 w 2318163"/>
                <a:gd name="connsiteY1" fmla="*/ 257442 h 257442"/>
                <a:gd name="connsiteX2" fmla="*/ 0 w 2318163"/>
                <a:gd name="connsiteY2" fmla="*/ 257442 h 257442"/>
                <a:gd name="connsiteX3" fmla="*/ 1 w 2318163"/>
                <a:gd name="connsiteY3" fmla="*/ 0 h 257442"/>
                <a:gd name="connsiteX0" fmla="*/ 2318163 w 2318163"/>
                <a:gd name="connsiteY0" fmla="*/ 0 h 257442"/>
                <a:gd name="connsiteX1" fmla="*/ 2263441 w 2318163"/>
                <a:gd name="connsiteY1" fmla="*/ 257442 h 257442"/>
                <a:gd name="connsiteX2" fmla="*/ 0 w 2318163"/>
                <a:gd name="connsiteY2" fmla="*/ 257442 h 257442"/>
                <a:gd name="connsiteX3" fmla="*/ 1 w 2318163"/>
                <a:gd name="connsiteY3" fmla="*/ 0 h 257442"/>
                <a:gd name="connsiteX0" fmla="*/ 2579453 w 2579453"/>
                <a:gd name="connsiteY0" fmla="*/ 0 h 257442"/>
                <a:gd name="connsiteX1" fmla="*/ 2263441 w 2579453"/>
                <a:gd name="connsiteY1" fmla="*/ 257442 h 257442"/>
                <a:gd name="connsiteX2" fmla="*/ 0 w 2579453"/>
                <a:gd name="connsiteY2" fmla="*/ 257442 h 257442"/>
                <a:gd name="connsiteX3" fmla="*/ 1 w 2579453"/>
                <a:gd name="connsiteY3" fmla="*/ 0 h 257442"/>
                <a:gd name="connsiteX0" fmla="*/ 2579453 w 2579453"/>
                <a:gd name="connsiteY0" fmla="*/ 0 h 257442"/>
                <a:gd name="connsiteX1" fmla="*/ 2524732 w 2579453"/>
                <a:gd name="connsiteY1" fmla="*/ 257442 h 257442"/>
                <a:gd name="connsiteX2" fmla="*/ 0 w 2579453"/>
                <a:gd name="connsiteY2" fmla="*/ 257442 h 257442"/>
                <a:gd name="connsiteX3" fmla="*/ 1 w 2579453"/>
                <a:gd name="connsiteY3" fmla="*/ 0 h 257442"/>
                <a:gd name="connsiteX0" fmla="*/ 2579452 w 2579452"/>
                <a:gd name="connsiteY0" fmla="*/ 0 h 257442"/>
                <a:gd name="connsiteX1" fmla="*/ 2524731 w 2579452"/>
                <a:gd name="connsiteY1" fmla="*/ 257442 h 257442"/>
                <a:gd name="connsiteX2" fmla="*/ 0 w 2579452"/>
                <a:gd name="connsiteY2" fmla="*/ 257442 h 257442"/>
                <a:gd name="connsiteX3" fmla="*/ 0 w 2579452"/>
                <a:gd name="connsiteY3" fmla="*/ 0 h 257442"/>
                <a:gd name="connsiteX0" fmla="*/ 2579453 w 2579453"/>
                <a:gd name="connsiteY0" fmla="*/ 0 h 257442"/>
                <a:gd name="connsiteX1" fmla="*/ 2524732 w 2579453"/>
                <a:gd name="connsiteY1" fmla="*/ 257442 h 257442"/>
                <a:gd name="connsiteX2" fmla="*/ 1 w 2579453"/>
                <a:gd name="connsiteY2" fmla="*/ 257442 h 257442"/>
                <a:gd name="connsiteX3" fmla="*/ 0 w 2579453"/>
                <a:gd name="connsiteY3" fmla="*/ 0 h 257442"/>
                <a:gd name="connsiteX0" fmla="*/ 2747768 w 2747768"/>
                <a:gd name="connsiteY0" fmla="*/ 0 h 257442"/>
                <a:gd name="connsiteX1" fmla="*/ 2524732 w 2747768"/>
                <a:gd name="connsiteY1" fmla="*/ 257442 h 257442"/>
                <a:gd name="connsiteX2" fmla="*/ 1 w 2747768"/>
                <a:gd name="connsiteY2" fmla="*/ 257442 h 257442"/>
                <a:gd name="connsiteX3" fmla="*/ 0 w 2747768"/>
                <a:gd name="connsiteY3" fmla="*/ 0 h 257442"/>
                <a:gd name="connsiteX0" fmla="*/ 2747768 w 2747768"/>
                <a:gd name="connsiteY0" fmla="*/ 0 h 257442"/>
                <a:gd name="connsiteX1" fmla="*/ 2693046 w 2747768"/>
                <a:gd name="connsiteY1" fmla="*/ 257442 h 257442"/>
                <a:gd name="connsiteX2" fmla="*/ 1 w 2747768"/>
                <a:gd name="connsiteY2" fmla="*/ 257442 h 257442"/>
                <a:gd name="connsiteX3" fmla="*/ 0 w 2747768"/>
                <a:gd name="connsiteY3" fmla="*/ 0 h 257442"/>
                <a:gd name="connsiteX0" fmla="*/ 2747768 w 2747768"/>
                <a:gd name="connsiteY0" fmla="*/ 0 h 257442"/>
                <a:gd name="connsiteX1" fmla="*/ 2693046 w 2747768"/>
                <a:gd name="connsiteY1" fmla="*/ 257442 h 257442"/>
                <a:gd name="connsiteX2" fmla="*/ 0 w 2747768"/>
                <a:gd name="connsiteY2" fmla="*/ 257442 h 257442"/>
                <a:gd name="connsiteX3" fmla="*/ 0 w 2747768"/>
                <a:gd name="connsiteY3" fmla="*/ 0 h 257442"/>
                <a:gd name="connsiteX0" fmla="*/ 2747768 w 2747768"/>
                <a:gd name="connsiteY0" fmla="*/ 0 h 257442"/>
                <a:gd name="connsiteX1" fmla="*/ 2693046 w 2747768"/>
                <a:gd name="connsiteY1" fmla="*/ 257442 h 257442"/>
                <a:gd name="connsiteX2" fmla="*/ 0 w 2747768"/>
                <a:gd name="connsiteY2" fmla="*/ 257442 h 257442"/>
                <a:gd name="connsiteX3" fmla="*/ 0 w 2747768"/>
                <a:gd name="connsiteY3" fmla="*/ 0 h 257442"/>
                <a:gd name="connsiteX0" fmla="*/ 2908067 w 2908067"/>
                <a:gd name="connsiteY0" fmla="*/ 0 h 257442"/>
                <a:gd name="connsiteX1" fmla="*/ 2693046 w 2908067"/>
                <a:gd name="connsiteY1" fmla="*/ 257442 h 257442"/>
                <a:gd name="connsiteX2" fmla="*/ 0 w 2908067"/>
                <a:gd name="connsiteY2" fmla="*/ 257442 h 257442"/>
                <a:gd name="connsiteX3" fmla="*/ 0 w 2908067"/>
                <a:gd name="connsiteY3" fmla="*/ 0 h 257442"/>
                <a:gd name="connsiteX0" fmla="*/ 2908067 w 2908067"/>
                <a:gd name="connsiteY0" fmla="*/ 0 h 257442"/>
                <a:gd name="connsiteX1" fmla="*/ 2853346 w 2908067"/>
                <a:gd name="connsiteY1" fmla="*/ 257442 h 257442"/>
                <a:gd name="connsiteX2" fmla="*/ 0 w 2908067"/>
                <a:gd name="connsiteY2" fmla="*/ 257442 h 257442"/>
                <a:gd name="connsiteX3" fmla="*/ 0 w 2908067"/>
                <a:gd name="connsiteY3" fmla="*/ 0 h 257442"/>
                <a:gd name="connsiteX0" fmla="*/ 2908067 w 2908067"/>
                <a:gd name="connsiteY0" fmla="*/ 0 h 257442"/>
                <a:gd name="connsiteX1" fmla="*/ 2853346 w 2908067"/>
                <a:gd name="connsiteY1" fmla="*/ 257442 h 257442"/>
                <a:gd name="connsiteX2" fmla="*/ 0 w 2908067"/>
                <a:gd name="connsiteY2" fmla="*/ 257442 h 257442"/>
                <a:gd name="connsiteX3" fmla="*/ 0 w 2908067"/>
                <a:gd name="connsiteY3" fmla="*/ 0 h 257442"/>
                <a:gd name="connsiteX0" fmla="*/ 2908067 w 2908067"/>
                <a:gd name="connsiteY0" fmla="*/ 0 h 257442"/>
                <a:gd name="connsiteX1" fmla="*/ 2853346 w 2908067"/>
                <a:gd name="connsiteY1" fmla="*/ 257442 h 257442"/>
                <a:gd name="connsiteX2" fmla="*/ 0 w 2908067"/>
                <a:gd name="connsiteY2" fmla="*/ 257442 h 257442"/>
                <a:gd name="connsiteX3" fmla="*/ 0 w 2908067"/>
                <a:gd name="connsiteY3" fmla="*/ 0 h 257442"/>
                <a:gd name="connsiteX0" fmla="*/ 2747767 w 2853346"/>
                <a:gd name="connsiteY0" fmla="*/ 0 h 257442"/>
                <a:gd name="connsiteX1" fmla="*/ 2853346 w 2853346"/>
                <a:gd name="connsiteY1" fmla="*/ 257442 h 257442"/>
                <a:gd name="connsiteX2" fmla="*/ 0 w 2853346"/>
                <a:gd name="connsiteY2" fmla="*/ 257442 h 257442"/>
                <a:gd name="connsiteX3" fmla="*/ 0 w 2853346"/>
                <a:gd name="connsiteY3" fmla="*/ 0 h 257442"/>
                <a:gd name="connsiteX0" fmla="*/ 2747767 w 2747767"/>
                <a:gd name="connsiteY0" fmla="*/ 0 h 257442"/>
                <a:gd name="connsiteX1" fmla="*/ 2693046 w 2747767"/>
                <a:gd name="connsiteY1" fmla="*/ 257442 h 257442"/>
                <a:gd name="connsiteX2" fmla="*/ 0 w 2747767"/>
                <a:gd name="connsiteY2" fmla="*/ 257442 h 257442"/>
                <a:gd name="connsiteX3" fmla="*/ 0 w 2747767"/>
                <a:gd name="connsiteY3" fmla="*/ 0 h 257442"/>
                <a:gd name="connsiteX0" fmla="*/ 2747767 w 2747767"/>
                <a:gd name="connsiteY0" fmla="*/ 0 h 257442"/>
                <a:gd name="connsiteX1" fmla="*/ 2693046 w 2747767"/>
                <a:gd name="connsiteY1" fmla="*/ 257442 h 257442"/>
                <a:gd name="connsiteX2" fmla="*/ 1 w 2747767"/>
                <a:gd name="connsiteY2" fmla="*/ 257442 h 257442"/>
                <a:gd name="connsiteX3" fmla="*/ 0 w 2747767"/>
                <a:gd name="connsiteY3" fmla="*/ 0 h 257442"/>
                <a:gd name="connsiteX0" fmla="*/ 2747766 w 2747766"/>
                <a:gd name="connsiteY0" fmla="*/ 0 h 257442"/>
                <a:gd name="connsiteX1" fmla="*/ 2693045 w 2747766"/>
                <a:gd name="connsiteY1" fmla="*/ 257442 h 257442"/>
                <a:gd name="connsiteX2" fmla="*/ 0 w 2747766"/>
                <a:gd name="connsiteY2" fmla="*/ 257442 h 257442"/>
                <a:gd name="connsiteX3" fmla="*/ 0 w 2747766"/>
                <a:gd name="connsiteY3" fmla="*/ 0 h 257442"/>
                <a:gd name="connsiteX0" fmla="*/ 2579451 w 2693045"/>
                <a:gd name="connsiteY0" fmla="*/ 0 h 257442"/>
                <a:gd name="connsiteX1" fmla="*/ 2693045 w 2693045"/>
                <a:gd name="connsiteY1" fmla="*/ 257442 h 257442"/>
                <a:gd name="connsiteX2" fmla="*/ 0 w 2693045"/>
                <a:gd name="connsiteY2" fmla="*/ 257442 h 257442"/>
                <a:gd name="connsiteX3" fmla="*/ 0 w 2693045"/>
                <a:gd name="connsiteY3" fmla="*/ 0 h 257442"/>
                <a:gd name="connsiteX0" fmla="*/ 2579451 w 2579451"/>
                <a:gd name="connsiteY0" fmla="*/ 0 h 257442"/>
                <a:gd name="connsiteX1" fmla="*/ 2524731 w 2579451"/>
                <a:gd name="connsiteY1" fmla="*/ 257442 h 257442"/>
                <a:gd name="connsiteX2" fmla="*/ 0 w 2579451"/>
                <a:gd name="connsiteY2" fmla="*/ 257442 h 257442"/>
                <a:gd name="connsiteX3" fmla="*/ 0 w 2579451"/>
                <a:gd name="connsiteY3" fmla="*/ 0 h 257442"/>
                <a:gd name="connsiteX0" fmla="*/ 2579451 w 2579451"/>
                <a:gd name="connsiteY0" fmla="*/ 0 h 257442"/>
                <a:gd name="connsiteX1" fmla="*/ 2524731 w 2579451"/>
                <a:gd name="connsiteY1" fmla="*/ 257442 h 257442"/>
                <a:gd name="connsiteX2" fmla="*/ 0 w 2579451"/>
                <a:gd name="connsiteY2" fmla="*/ 257442 h 257442"/>
                <a:gd name="connsiteX3" fmla="*/ 0 w 2579451"/>
                <a:gd name="connsiteY3" fmla="*/ 0 h 257442"/>
                <a:gd name="connsiteX0" fmla="*/ 2579451 w 2579451"/>
                <a:gd name="connsiteY0" fmla="*/ 0 h 257442"/>
                <a:gd name="connsiteX1" fmla="*/ 2524731 w 2579451"/>
                <a:gd name="connsiteY1" fmla="*/ 257442 h 257442"/>
                <a:gd name="connsiteX2" fmla="*/ 0 w 2579451"/>
                <a:gd name="connsiteY2" fmla="*/ 257442 h 257442"/>
                <a:gd name="connsiteX3" fmla="*/ 0 w 2579451"/>
                <a:gd name="connsiteY3" fmla="*/ 0 h 257442"/>
                <a:gd name="connsiteX0" fmla="*/ 2419152 w 2524731"/>
                <a:gd name="connsiteY0" fmla="*/ 0 h 257442"/>
                <a:gd name="connsiteX1" fmla="*/ 2524731 w 2524731"/>
                <a:gd name="connsiteY1" fmla="*/ 257442 h 257442"/>
                <a:gd name="connsiteX2" fmla="*/ 0 w 2524731"/>
                <a:gd name="connsiteY2" fmla="*/ 257442 h 257442"/>
                <a:gd name="connsiteX3" fmla="*/ 0 w 2524731"/>
                <a:gd name="connsiteY3" fmla="*/ 0 h 257442"/>
                <a:gd name="connsiteX0" fmla="*/ 2419152 w 2419152"/>
                <a:gd name="connsiteY0" fmla="*/ 0 h 257442"/>
                <a:gd name="connsiteX1" fmla="*/ 2364431 w 2419152"/>
                <a:gd name="connsiteY1" fmla="*/ 257442 h 257442"/>
                <a:gd name="connsiteX2" fmla="*/ 0 w 2419152"/>
                <a:gd name="connsiteY2" fmla="*/ 257442 h 257442"/>
                <a:gd name="connsiteX3" fmla="*/ 0 w 2419152"/>
                <a:gd name="connsiteY3" fmla="*/ 0 h 257442"/>
                <a:gd name="connsiteX0" fmla="*/ 2419152 w 2419152"/>
                <a:gd name="connsiteY0" fmla="*/ 0 h 257442"/>
                <a:gd name="connsiteX1" fmla="*/ 2364431 w 2419152"/>
                <a:gd name="connsiteY1" fmla="*/ 257442 h 257442"/>
                <a:gd name="connsiteX2" fmla="*/ 0 w 2419152"/>
                <a:gd name="connsiteY2" fmla="*/ 257442 h 257442"/>
                <a:gd name="connsiteX3" fmla="*/ 0 w 2419152"/>
                <a:gd name="connsiteY3" fmla="*/ 0 h 257442"/>
                <a:gd name="connsiteX0" fmla="*/ 2419152 w 2419152"/>
                <a:gd name="connsiteY0" fmla="*/ 0 h 257442"/>
                <a:gd name="connsiteX1" fmla="*/ 2364431 w 2419152"/>
                <a:gd name="connsiteY1" fmla="*/ 257442 h 257442"/>
                <a:gd name="connsiteX2" fmla="*/ 0 w 2419152"/>
                <a:gd name="connsiteY2" fmla="*/ 257442 h 257442"/>
                <a:gd name="connsiteX3" fmla="*/ 0 w 2419152"/>
                <a:gd name="connsiteY3" fmla="*/ 0 h 257442"/>
                <a:gd name="connsiteX0" fmla="*/ 2680441 w 2680441"/>
                <a:gd name="connsiteY0" fmla="*/ 0 h 257442"/>
                <a:gd name="connsiteX1" fmla="*/ 2364431 w 2680441"/>
                <a:gd name="connsiteY1" fmla="*/ 257442 h 257442"/>
                <a:gd name="connsiteX2" fmla="*/ 0 w 2680441"/>
                <a:gd name="connsiteY2" fmla="*/ 257442 h 257442"/>
                <a:gd name="connsiteX3" fmla="*/ 0 w 2680441"/>
                <a:gd name="connsiteY3" fmla="*/ 0 h 257442"/>
                <a:gd name="connsiteX0" fmla="*/ 2680441 w 2680441"/>
                <a:gd name="connsiteY0" fmla="*/ 0 h 257442"/>
                <a:gd name="connsiteX1" fmla="*/ 2625720 w 2680441"/>
                <a:gd name="connsiteY1" fmla="*/ 257442 h 257442"/>
                <a:gd name="connsiteX2" fmla="*/ 0 w 2680441"/>
                <a:gd name="connsiteY2" fmla="*/ 257442 h 257442"/>
                <a:gd name="connsiteX3" fmla="*/ 0 w 2680441"/>
                <a:gd name="connsiteY3" fmla="*/ 0 h 257442"/>
                <a:gd name="connsiteX0" fmla="*/ 2680441 w 2680441"/>
                <a:gd name="connsiteY0" fmla="*/ 0 h 257442"/>
                <a:gd name="connsiteX1" fmla="*/ 2625720 w 2680441"/>
                <a:gd name="connsiteY1" fmla="*/ 257442 h 257442"/>
                <a:gd name="connsiteX2" fmla="*/ 0 w 2680441"/>
                <a:gd name="connsiteY2" fmla="*/ 257442 h 257442"/>
                <a:gd name="connsiteX3" fmla="*/ 0 w 2680441"/>
                <a:gd name="connsiteY3" fmla="*/ 0 h 257442"/>
                <a:gd name="connsiteX0" fmla="*/ 2680441 w 2680441"/>
                <a:gd name="connsiteY0" fmla="*/ 0 h 257442"/>
                <a:gd name="connsiteX1" fmla="*/ 2625720 w 2680441"/>
                <a:gd name="connsiteY1" fmla="*/ 257442 h 257442"/>
                <a:gd name="connsiteX2" fmla="*/ 0 w 2680441"/>
                <a:gd name="connsiteY2" fmla="*/ 257442 h 257442"/>
                <a:gd name="connsiteX3" fmla="*/ 0 w 2680441"/>
                <a:gd name="connsiteY3" fmla="*/ 0 h 257442"/>
                <a:gd name="connsiteX0" fmla="*/ 2520141 w 2625720"/>
                <a:gd name="connsiteY0" fmla="*/ 0 h 257442"/>
                <a:gd name="connsiteX1" fmla="*/ 2625720 w 2625720"/>
                <a:gd name="connsiteY1" fmla="*/ 257442 h 257442"/>
                <a:gd name="connsiteX2" fmla="*/ 0 w 2625720"/>
                <a:gd name="connsiteY2" fmla="*/ 257442 h 257442"/>
                <a:gd name="connsiteX3" fmla="*/ 0 w 2625720"/>
                <a:gd name="connsiteY3" fmla="*/ 0 h 257442"/>
                <a:gd name="connsiteX0" fmla="*/ 2520141 w 2520141"/>
                <a:gd name="connsiteY0" fmla="*/ 0 h 257442"/>
                <a:gd name="connsiteX1" fmla="*/ 2465420 w 2520141"/>
                <a:gd name="connsiteY1" fmla="*/ 257442 h 257442"/>
                <a:gd name="connsiteX2" fmla="*/ 0 w 2520141"/>
                <a:gd name="connsiteY2" fmla="*/ 257442 h 257442"/>
                <a:gd name="connsiteX3" fmla="*/ 0 w 2520141"/>
                <a:gd name="connsiteY3" fmla="*/ 0 h 257442"/>
                <a:gd name="connsiteX0" fmla="*/ 2520141 w 2520141"/>
                <a:gd name="connsiteY0" fmla="*/ 0 h 257442"/>
                <a:gd name="connsiteX1" fmla="*/ 2465420 w 2520141"/>
                <a:gd name="connsiteY1" fmla="*/ 257442 h 257442"/>
                <a:gd name="connsiteX2" fmla="*/ 1 w 2520141"/>
                <a:gd name="connsiteY2" fmla="*/ 257442 h 257442"/>
                <a:gd name="connsiteX3" fmla="*/ 0 w 2520141"/>
                <a:gd name="connsiteY3" fmla="*/ 0 h 257442"/>
                <a:gd name="connsiteX0" fmla="*/ 2520140 w 2520140"/>
                <a:gd name="connsiteY0" fmla="*/ 0 h 257442"/>
                <a:gd name="connsiteX1" fmla="*/ 2465419 w 2520140"/>
                <a:gd name="connsiteY1" fmla="*/ 257442 h 257442"/>
                <a:gd name="connsiteX2" fmla="*/ 0 w 2520140"/>
                <a:gd name="connsiteY2" fmla="*/ 257442 h 257442"/>
                <a:gd name="connsiteX3" fmla="*/ 0 w 2520140"/>
                <a:gd name="connsiteY3" fmla="*/ 0 h 257442"/>
                <a:gd name="connsiteX0" fmla="*/ 2419151 w 2465419"/>
                <a:gd name="connsiteY0" fmla="*/ 0 h 257442"/>
                <a:gd name="connsiteX1" fmla="*/ 2465419 w 2465419"/>
                <a:gd name="connsiteY1" fmla="*/ 257442 h 257442"/>
                <a:gd name="connsiteX2" fmla="*/ 0 w 2465419"/>
                <a:gd name="connsiteY2" fmla="*/ 257442 h 257442"/>
                <a:gd name="connsiteX3" fmla="*/ 0 w 2465419"/>
                <a:gd name="connsiteY3" fmla="*/ 0 h 257442"/>
                <a:gd name="connsiteX0" fmla="*/ 2419151 w 2419151"/>
                <a:gd name="connsiteY0" fmla="*/ 0 h 257442"/>
                <a:gd name="connsiteX1" fmla="*/ 2364431 w 2419151"/>
                <a:gd name="connsiteY1" fmla="*/ 257442 h 257442"/>
                <a:gd name="connsiteX2" fmla="*/ 0 w 2419151"/>
                <a:gd name="connsiteY2" fmla="*/ 257442 h 257442"/>
                <a:gd name="connsiteX3" fmla="*/ 0 w 2419151"/>
                <a:gd name="connsiteY3" fmla="*/ 0 h 257442"/>
                <a:gd name="connsiteX0" fmla="*/ 2419151 w 2419151"/>
                <a:gd name="connsiteY0" fmla="*/ 0 h 257442"/>
                <a:gd name="connsiteX1" fmla="*/ 2364431 w 2419151"/>
                <a:gd name="connsiteY1" fmla="*/ 257442 h 257442"/>
                <a:gd name="connsiteX2" fmla="*/ 0 w 2419151"/>
                <a:gd name="connsiteY2" fmla="*/ 257442 h 257442"/>
                <a:gd name="connsiteX3" fmla="*/ 0 w 2419151"/>
                <a:gd name="connsiteY3" fmla="*/ 0 h 257442"/>
                <a:gd name="connsiteX0" fmla="*/ 2419151 w 2419151"/>
                <a:gd name="connsiteY0" fmla="*/ 0 h 257442"/>
                <a:gd name="connsiteX1" fmla="*/ 2364431 w 2419151"/>
                <a:gd name="connsiteY1" fmla="*/ 257442 h 257442"/>
                <a:gd name="connsiteX2" fmla="*/ 0 w 2419151"/>
                <a:gd name="connsiteY2" fmla="*/ 257442 h 257442"/>
                <a:gd name="connsiteX3" fmla="*/ 0 w 2419151"/>
                <a:gd name="connsiteY3" fmla="*/ 0 h 257442"/>
                <a:gd name="connsiteX0" fmla="*/ 2587467 w 2587467"/>
                <a:gd name="connsiteY0" fmla="*/ 0 h 257442"/>
                <a:gd name="connsiteX1" fmla="*/ 2364431 w 2587467"/>
                <a:gd name="connsiteY1" fmla="*/ 257442 h 257442"/>
                <a:gd name="connsiteX2" fmla="*/ 0 w 2587467"/>
                <a:gd name="connsiteY2" fmla="*/ 257442 h 257442"/>
                <a:gd name="connsiteX3" fmla="*/ 0 w 2587467"/>
                <a:gd name="connsiteY3" fmla="*/ 0 h 257442"/>
                <a:gd name="connsiteX0" fmla="*/ 2587467 w 2587467"/>
                <a:gd name="connsiteY0" fmla="*/ 0 h 257442"/>
                <a:gd name="connsiteX1" fmla="*/ 2532746 w 2587467"/>
                <a:gd name="connsiteY1" fmla="*/ 257442 h 257442"/>
                <a:gd name="connsiteX2" fmla="*/ 0 w 2587467"/>
                <a:gd name="connsiteY2" fmla="*/ 257442 h 257442"/>
                <a:gd name="connsiteX3" fmla="*/ 0 w 2587467"/>
                <a:gd name="connsiteY3" fmla="*/ 0 h 257442"/>
                <a:gd name="connsiteX0" fmla="*/ 2587467 w 2587467"/>
                <a:gd name="connsiteY0" fmla="*/ 0 h 257442"/>
                <a:gd name="connsiteX1" fmla="*/ 2532746 w 2587467"/>
                <a:gd name="connsiteY1" fmla="*/ 257442 h 257442"/>
                <a:gd name="connsiteX2" fmla="*/ 0 w 2587467"/>
                <a:gd name="connsiteY2" fmla="*/ 257442 h 257442"/>
                <a:gd name="connsiteX3" fmla="*/ 0 w 2587467"/>
                <a:gd name="connsiteY3" fmla="*/ 0 h 257442"/>
                <a:gd name="connsiteX0" fmla="*/ 2587467 w 2587467"/>
                <a:gd name="connsiteY0" fmla="*/ 0 h 257442"/>
                <a:gd name="connsiteX1" fmla="*/ 2532746 w 2587467"/>
                <a:gd name="connsiteY1" fmla="*/ 257442 h 257442"/>
                <a:gd name="connsiteX2" fmla="*/ 0 w 2587467"/>
                <a:gd name="connsiteY2" fmla="*/ 257442 h 257442"/>
                <a:gd name="connsiteX3" fmla="*/ 0 w 2587467"/>
                <a:gd name="connsiteY3" fmla="*/ 0 h 257442"/>
                <a:gd name="connsiteX0" fmla="*/ 2747767 w 2747767"/>
                <a:gd name="connsiteY0" fmla="*/ 0 h 257442"/>
                <a:gd name="connsiteX1" fmla="*/ 2532746 w 2747767"/>
                <a:gd name="connsiteY1" fmla="*/ 257442 h 257442"/>
                <a:gd name="connsiteX2" fmla="*/ 0 w 2747767"/>
                <a:gd name="connsiteY2" fmla="*/ 257442 h 257442"/>
                <a:gd name="connsiteX3" fmla="*/ 0 w 2747767"/>
                <a:gd name="connsiteY3" fmla="*/ 0 h 257442"/>
                <a:gd name="connsiteX0" fmla="*/ 2747767 w 2747767"/>
                <a:gd name="connsiteY0" fmla="*/ 0 h 257442"/>
                <a:gd name="connsiteX1" fmla="*/ 2693046 w 2747767"/>
                <a:gd name="connsiteY1" fmla="*/ 257442 h 257442"/>
                <a:gd name="connsiteX2" fmla="*/ 0 w 2747767"/>
                <a:gd name="connsiteY2" fmla="*/ 257442 h 257442"/>
                <a:gd name="connsiteX3" fmla="*/ 0 w 2747767"/>
                <a:gd name="connsiteY3" fmla="*/ 0 h 257442"/>
                <a:gd name="connsiteX0" fmla="*/ 2747767 w 2747767"/>
                <a:gd name="connsiteY0" fmla="*/ 0 h 257442"/>
                <a:gd name="connsiteX1" fmla="*/ 2693046 w 2747767"/>
                <a:gd name="connsiteY1" fmla="*/ 257442 h 257442"/>
                <a:gd name="connsiteX2" fmla="*/ 0 w 2747767"/>
                <a:gd name="connsiteY2" fmla="*/ 257442 h 257442"/>
                <a:gd name="connsiteX3" fmla="*/ 0 w 2747767"/>
                <a:gd name="connsiteY3" fmla="*/ 0 h 257442"/>
                <a:gd name="connsiteX0" fmla="*/ 2747767 w 2747767"/>
                <a:gd name="connsiteY0" fmla="*/ 0 h 257442"/>
                <a:gd name="connsiteX1" fmla="*/ 2693046 w 2747767"/>
                <a:gd name="connsiteY1" fmla="*/ 257442 h 257442"/>
                <a:gd name="connsiteX2" fmla="*/ 0 w 2747767"/>
                <a:gd name="connsiteY2" fmla="*/ 257442 h 257442"/>
                <a:gd name="connsiteX3" fmla="*/ 0 w 2747767"/>
                <a:gd name="connsiteY3" fmla="*/ 0 h 257442"/>
                <a:gd name="connsiteX0" fmla="*/ 942786 w 2693046"/>
                <a:gd name="connsiteY0" fmla="*/ 0 h 257442"/>
                <a:gd name="connsiteX1" fmla="*/ 2693046 w 2693046"/>
                <a:gd name="connsiteY1" fmla="*/ 257442 h 257442"/>
                <a:gd name="connsiteX2" fmla="*/ 0 w 2693046"/>
                <a:gd name="connsiteY2" fmla="*/ 257442 h 257442"/>
                <a:gd name="connsiteX3" fmla="*/ 0 w 269304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1111101 w 1111101"/>
                <a:gd name="connsiteY0" fmla="*/ 0 h 257442"/>
                <a:gd name="connsiteX1" fmla="*/ 888065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79416 w 1279416"/>
                <a:gd name="connsiteY0" fmla="*/ 0 h 257442"/>
                <a:gd name="connsiteX1" fmla="*/ 1056380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4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597261 w 1597261"/>
                <a:gd name="connsiteY0" fmla="*/ 0 h 257442"/>
                <a:gd name="connsiteX1" fmla="*/ 1224695 w 1597261"/>
                <a:gd name="connsiteY1" fmla="*/ 257442 h 257442"/>
                <a:gd name="connsiteX2" fmla="*/ 0 w 1597261"/>
                <a:gd name="connsiteY2" fmla="*/ 257442 h 257442"/>
                <a:gd name="connsiteX3" fmla="*/ 1 w 1597261"/>
                <a:gd name="connsiteY3" fmla="*/ 0 h 257442"/>
                <a:gd name="connsiteX0" fmla="*/ 1597261 w 1597261"/>
                <a:gd name="connsiteY0" fmla="*/ 0 h 257442"/>
                <a:gd name="connsiteX1" fmla="*/ 1542540 w 1597261"/>
                <a:gd name="connsiteY1" fmla="*/ 257442 h 257442"/>
                <a:gd name="connsiteX2" fmla="*/ 0 w 1597261"/>
                <a:gd name="connsiteY2" fmla="*/ 257442 h 257442"/>
                <a:gd name="connsiteX3" fmla="*/ 1 w 1597261"/>
                <a:gd name="connsiteY3" fmla="*/ 0 h 257442"/>
                <a:gd name="connsiteX0" fmla="*/ 1597260 w 1597260"/>
                <a:gd name="connsiteY0" fmla="*/ 0 h 257442"/>
                <a:gd name="connsiteX1" fmla="*/ 1542539 w 1597260"/>
                <a:gd name="connsiteY1" fmla="*/ 257442 h 257442"/>
                <a:gd name="connsiteX2" fmla="*/ 0 w 1597260"/>
                <a:gd name="connsiteY2" fmla="*/ 257442 h 257442"/>
                <a:gd name="connsiteX3" fmla="*/ 0 w 1597260"/>
                <a:gd name="connsiteY3" fmla="*/ 0 h 257442"/>
                <a:gd name="connsiteX0" fmla="*/ 1597261 w 1597261"/>
                <a:gd name="connsiteY0" fmla="*/ 0 h 257442"/>
                <a:gd name="connsiteX1" fmla="*/ 1542540 w 1597261"/>
                <a:gd name="connsiteY1" fmla="*/ 257442 h 257442"/>
                <a:gd name="connsiteX2" fmla="*/ 1 w 1597261"/>
                <a:gd name="connsiteY2" fmla="*/ 257442 h 257442"/>
                <a:gd name="connsiteX3" fmla="*/ 0 w 1597261"/>
                <a:gd name="connsiteY3" fmla="*/ 0 h 257442"/>
                <a:gd name="connsiteX0" fmla="*/ 1757561 w 1757561"/>
                <a:gd name="connsiteY0" fmla="*/ 0 h 257442"/>
                <a:gd name="connsiteX1" fmla="*/ 1542540 w 1757561"/>
                <a:gd name="connsiteY1" fmla="*/ 257442 h 257442"/>
                <a:gd name="connsiteX2" fmla="*/ 1 w 1757561"/>
                <a:gd name="connsiteY2" fmla="*/ 257442 h 257442"/>
                <a:gd name="connsiteX3" fmla="*/ 0 w 1757561"/>
                <a:gd name="connsiteY3" fmla="*/ 0 h 257442"/>
                <a:gd name="connsiteX0" fmla="*/ 1757561 w 1757561"/>
                <a:gd name="connsiteY0" fmla="*/ 0 h 257442"/>
                <a:gd name="connsiteX1" fmla="*/ 1702840 w 1757561"/>
                <a:gd name="connsiteY1" fmla="*/ 257442 h 257442"/>
                <a:gd name="connsiteX2" fmla="*/ 1 w 1757561"/>
                <a:gd name="connsiteY2" fmla="*/ 257442 h 257442"/>
                <a:gd name="connsiteX3" fmla="*/ 0 w 1757561"/>
                <a:gd name="connsiteY3" fmla="*/ 0 h 257442"/>
                <a:gd name="connsiteX0" fmla="*/ 1757561 w 1757561"/>
                <a:gd name="connsiteY0" fmla="*/ 0 h 257442"/>
                <a:gd name="connsiteX1" fmla="*/ 1702840 w 1757561"/>
                <a:gd name="connsiteY1" fmla="*/ 257442 h 257442"/>
                <a:gd name="connsiteX2" fmla="*/ 1 w 1757561"/>
                <a:gd name="connsiteY2" fmla="*/ 257442 h 257442"/>
                <a:gd name="connsiteX3" fmla="*/ 0 w 1757561"/>
                <a:gd name="connsiteY3" fmla="*/ 0 h 257442"/>
                <a:gd name="connsiteX0" fmla="*/ 1757560 w 1757560"/>
                <a:gd name="connsiteY0" fmla="*/ 0 h 257442"/>
                <a:gd name="connsiteX1" fmla="*/ 1702839 w 1757560"/>
                <a:gd name="connsiteY1" fmla="*/ 257442 h 257442"/>
                <a:gd name="connsiteX2" fmla="*/ 0 w 1757560"/>
                <a:gd name="connsiteY2" fmla="*/ 257442 h 257442"/>
                <a:gd name="connsiteX3" fmla="*/ 0 w 1757560"/>
                <a:gd name="connsiteY3" fmla="*/ 0 h 257442"/>
                <a:gd name="connsiteX0" fmla="*/ 2018400 w 2018400"/>
                <a:gd name="connsiteY0" fmla="*/ 0 h 257442"/>
                <a:gd name="connsiteX1" fmla="*/ 1702839 w 2018400"/>
                <a:gd name="connsiteY1" fmla="*/ 257442 h 257442"/>
                <a:gd name="connsiteX2" fmla="*/ 0 w 2018400"/>
                <a:gd name="connsiteY2" fmla="*/ 257442 h 257442"/>
                <a:gd name="connsiteX3" fmla="*/ 0 w 2018400"/>
                <a:gd name="connsiteY3" fmla="*/ 0 h 257442"/>
                <a:gd name="connsiteX0" fmla="*/ 2018400 w 2018400"/>
                <a:gd name="connsiteY0" fmla="*/ 0 h 257442"/>
                <a:gd name="connsiteX1" fmla="*/ 1963679 w 2018400"/>
                <a:gd name="connsiteY1" fmla="*/ 257442 h 257442"/>
                <a:gd name="connsiteX2" fmla="*/ 0 w 2018400"/>
                <a:gd name="connsiteY2" fmla="*/ 257442 h 257442"/>
                <a:gd name="connsiteX3" fmla="*/ 0 w 2018400"/>
                <a:gd name="connsiteY3" fmla="*/ 0 h 257442"/>
                <a:gd name="connsiteX0" fmla="*/ 2018401 w 2018401"/>
                <a:gd name="connsiteY0" fmla="*/ 0 h 257442"/>
                <a:gd name="connsiteX1" fmla="*/ 1963680 w 2018401"/>
                <a:gd name="connsiteY1" fmla="*/ 257442 h 257442"/>
                <a:gd name="connsiteX2" fmla="*/ 0 w 2018401"/>
                <a:gd name="connsiteY2" fmla="*/ 257442 h 257442"/>
                <a:gd name="connsiteX3" fmla="*/ 1 w 2018401"/>
                <a:gd name="connsiteY3" fmla="*/ 0 h 257442"/>
                <a:gd name="connsiteX0" fmla="*/ 2018401 w 2018401"/>
                <a:gd name="connsiteY0" fmla="*/ 0 h 257442"/>
                <a:gd name="connsiteX1" fmla="*/ 1963680 w 2018401"/>
                <a:gd name="connsiteY1" fmla="*/ 257442 h 257442"/>
                <a:gd name="connsiteX2" fmla="*/ 0 w 2018401"/>
                <a:gd name="connsiteY2" fmla="*/ 257442 h 257442"/>
                <a:gd name="connsiteX3" fmla="*/ 1 w 2018401"/>
                <a:gd name="connsiteY3" fmla="*/ 0 h 257442"/>
                <a:gd name="connsiteX0" fmla="*/ 2186717 w 2186717"/>
                <a:gd name="connsiteY0" fmla="*/ 0 h 257442"/>
                <a:gd name="connsiteX1" fmla="*/ 1963680 w 2186717"/>
                <a:gd name="connsiteY1" fmla="*/ 257442 h 257442"/>
                <a:gd name="connsiteX2" fmla="*/ 0 w 2186717"/>
                <a:gd name="connsiteY2" fmla="*/ 257442 h 257442"/>
                <a:gd name="connsiteX3" fmla="*/ 1 w 2186717"/>
                <a:gd name="connsiteY3" fmla="*/ 0 h 257442"/>
                <a:gd name="connsiteX0" fmla="*/ 2186717 w 2186717"/>
                <a:gd name="connsiteY0" fmla="*/ 0 h 257442"/>
                <a:gd name="connsiteX1" fmla="*/ 2131996 w 2186717"/>
                <a:gd name="connsiteY1" fmla="*/ 257442 h 257442"/>
                <a:gd name="connsiteX2" fmla="*/ 0 w 2186717"/>
                <a:gd name="connsiteY2" fmla="*/ 257442 h 257442"/>
                <a:gd name="connsiteX3" fmla="*/ 1 w 2186717"/>
                <a:gd name="connsiteY3" fmla="*/ 0 h 257442"/>
                <a:gd name="connsiteX0" fmla="*/ 2186716 w 2186716"/>
                <a:gd name="connsiteY0" fmla="*/ 0 h 257442"/>
                <a:gd name="connsiteX1" fmla="*/ 2131995 w 2186716"/>
                <a:gd name="connsiteY1" fmla="*/ 257442 h 257442"/>
                <a:gd name="connsiteX2" fmla="*/ 0 w 2186716"/>
                <a:gd name="connsiteY2" fmla="*/ 257442 h 257442"/>
                <a:gd name="connsiteX3" fmla="*/ 0 w 2186716"/>
                <a:gd name="connsiteY3" fmla="*/ 0 h 257442"/>
                <a:gd name="connsiteX0" fmla="*/ 2186717 w 2186717"/>
                <a:gd name="connsiteY0" fmla="*/ 0 h 257442"/>
                <a:gd name="connsiteX1" fmla="*/ 2131996 w 2186717"/>
                <a:gd name="connsiteY1" fmla="*/ 257442 h 257442"/>
                <a:gd name="connsiteX2" fmla="*/ 1 w 2186717"/>
                <a:gd name="connsiteY2" fmla="*/ 257442 h 257442"/>
                <a:gd name="connsiteX3" fmla="*/ 0 w 2186717"/>
                <a:gd name="connsiteY3" fmla="*/ 0 h 257442"/>
                <a:gd name="connsiteX0" fmla="*/ 2355033 w 2355033"/>
                <a:gd name="connsiteY0" fmla="*/ 0 h 257442"/>
                <a:gd name="connsiteX1" fmla="*/ 2131996 w 2355033"/>
                <a:gd name="connsiteY1" fmla="*/ 257442 h 257442"/>
                <a:gd name="connsiteX2" fmla="*/ 1 w 2355033"/>
                <a:gd name="connsiteY2" fmla="*/ 257442 h 257442"/>
                <a:gd name="connsiteX3" fmla="*/ 0 w 2355033"/>
                <a:gd name="connsiteY3" fmla="*/ 0 h 257442"/>
                <a:gd name="connsiteX0" fmla="*/ 2355033 w 2355033"/>
                <a:gd name="connsiteY0" fmla="*/ 0 h 257442"/>
                <a:gd name="connsiteX1" fmla="*/ 2300312 w 2355033"/>
                <a:gd name="connsiteY1" fmla="*/ 257442 h 257442"/>
                <a:gd name="connsiteX2" fmla="*/ 1 w 2355033"/>
                <a:gd name="connsiteY2" fmla="*/ 257442 h 257442"/>
                <a:gd name="connsiteX3" fmla="*/ 0 w 2355033"/>
                <a:gd name="connsiteY3" fmla="*/ 0 h 257442"/>
                <a:gd name="connsiteX0" fmla="*/ 2355033 w 2355033"/>
                <a:gd name="connsiteY0" fmla="*/ 0 h 257442"/>
                <a:gd name="connsiteX1" fmla="*/ 2300312 w 2355033"/>
                <a:gd name="connsiteY1" fmla="*/ 257442 h 257442"/>
                <a:gd name="connsiteX2" fmla="*/ 1 w 2355033"/>
                <a:gd name="connsiteY2" fmla="*/ 257442 h 257442"/>
                <a:gd name="connsiteX3" fmla="*/ 0 w 2355033"/>
                <a:gd name="connsiteY3" fmla="*/ 0 h 257442"/>
                <a:gd name="connsiteX0" fmla="*/ 2355032 w 2355032"/>
                <a:gd name="connsiteY0" fmla="*/ 0 h 257442"/>
                <a:gd name="connsiteX1" fmla="*/ 2300311 w 2355032"/>
                <a:gd name="connsiteY1" fmla="*/ 257442 h 257442"/>
                <a:gd name="connsiteX2" fmla="*/ 0 w 2355032"/>
                <a:gd name="connsiteY2" fmla="*/ 257442 h 257442"/>
                <a:gd name="connsiteX3" fmla="*/ 0 w 2355032"/>
                <a:gd name="connsiteY3" fmla="*/ 0 h 257442"/>
                <a:gd name="connsiteX0" fmla="*/ 2186715 w 2300311"/>
                <a:gd name="connsiteY0" fmla="*/ 0 h 257442"/>
                <a:gd name="connsiteX1" fmla="*/ 2300311 w 2300311"/>
                <a:gd name="connsiteY1" fmla="*/ 257442 h 257442"/>
                <a:gd name="connsiteX2" fmla="*/ 0 w 2300311"/>
                <a:gd name="connsiteY2" fmla="*/ 257442 h 257442"/>
                <a:gd name="connsiteX3" fmla="*/ 0 w 2300311"/>
                <a:gd name="connsiteY3" fmla="*/ 0 h 257442"/>
                <a:gd name="connsiteX0" fmla="*/ 2186715 w 2186715"/>
                <a:gd name="connsiteY0" fmla="*/ 0 h 257442"/>
                <a:gd name="connsiteX1" fmla="*/ 2131995 w 2186715"/>
                <a:gd name="connsiteY1" fmla="*/ 257442 h 257442"/>
                <a:gd name="connsiteX2" fmla="*/ 0 w 2186715"/>
                <a:gd name="connsiteY2" fmla="*/ 257442 h 257442"/>
                <a:gd name="connsiteX3" fmla="*/ 0 w 2186715"/>
                <a:gd name="connsiteY3" fmla="*/ 0 h 257442"/>
                <a:gd name="connsiteX0" fmla="*/ 2186715 w 2186715"/>
                <a:gd name="connsiteY0" fmla="*/ 0 h 257442"/>
                <a:gd name="connsiteX1" fmla="*/ 2131995 w 2186715"/>
                <a:gd name="connsiteY1" fmla="*/ 257442 h 257442"/>
                <a:gd name="connsiteX2" fmla="*/ 0 w 2186715"/>
                <a:gd name="connsiteY2" fmla="*/ 257442 h 257442"/>
                <a:gd name="connsiteX3" fmla="*/ 0 w 2186715"/>
                <a:gd name="connsiteY3" fmla="*/ 0 h 257442"/>
                <a:gd name="connsiteX0" fmla="*/ 2186715 w 2186715"/>
                <a:gd name="connsiteY0" fmla="*/ 0 h 257442"/>
                <a:gd name="connsiteX1" fmla="*/ 2131995 w 2186715"/>
                <a:gd name="connsiteY1" fmla="*/ 257442 h 257442"/>
                <a:gd name="connsiteX2" fmla="*/ 0 w 2186715"/>
                <a:gd name="connsiteY2" fmla="*/ 257442 h 257442"/>
                <a:gd name="connsiteX3" fmla="*/ 0 w 2186715"/>
                <a:gd name="connsiteY3" fmla="*/ 0 h 257442"/>
                <a:gd name="connsiteX0" fmla="*/ 2018401 w 2131995"/>
                <a:gd name="connsiteY0" fmla="*/ 0 h 257442"/>
                <a:gd name="connsiteX1" fmla="*/ 2131995 w 2131995"/>
                <a:gd name="connsiteY1" fmla="*/ 257442 h 257442"/>
                <a:gd name="connsiteX2" fmla="*/ 0 w 2131995"/>
                <a:gd name="connsiteY2" fmla="*/ 257442 h 257442"/>
                <a:gd name="connsiteX3" fmla="*/ 0 w 2131995"/>
                <a:gd name="connsiteY3" fmla="*/ 0 h 257442"/>
                <a:gd name="connsiteX0" fmla="*/ 2018401 w 2018401"/>
                <a:gd name="connsiteY0" fmla="*/ 0 h 257442"/>
                <a:gd name="connsiteX1" fmla="*/ 1963680 w 2018401"/>
                <a:gd name="connsiteY1" fmla="*/ 257442 h 257442"/>
                <a:gd name="connsiteX2" fmla="*/ 0 w 2018401"/>
                <a:gd name="connsiteY2" fmla="*/ 257442 h 257442"/>
                <a:gd name="connsiteX3" fmla="*/ 0 w 2018401"/>
                <a:gd name="connsiteY3" fmla="*/ 0 h 257442"/>
                <a:gd name="connsiteX0" fmla="*/ 2018401 w 2018401"/>
                <a:gd name="connsiteY0" fmla="*/ 0 h 257442"/>
                <a:gd name="connsiteX1" fmla="*/ 1963680 w 2018401"/>
                <a:gd name="connsiteY1" fmla="*/ 257442 h 257442"/>
                <a:gd name="connsiteX2" fmla="*/ 0 w 2018401"/>
                <a:gd name="connsiteY2" fmla="*/ 257442 h 257442"/>
                <a:gd name="connsiteX3" fmla="*/ 0 w 2018401"/>
                <a:gd name="connsiteY3" fmla="*/ 0 h 257442"/>
                <a:gd name="connsiteX0" fmla="*/ 2018401 w 2018401"/>
                <a:gd name="connsiteY0" fmla="*/ 0 h 257442"/>
                <a:gd name="connsiteX1" fmla="*/ 1963680 w 2018401"/>
                <a:gd name="connsiteY1" fmla="*/ 257442 h 257442"/>
                <a:gd name="connsiteX2" fmla="*/ 0 w 2018401"/>
                <a:gd name="connsiteY2" fmla="*/ 257442 h 257442"/>
                <a:gd name="connsiteX3" fmla="*/ 0 w 2018401"/>
                <a:gd name="connsiteY3" fmla="*/ 0 h 257442"/>
                <a:gd name="connsiteX0" fmla="*/ 1855792 w 1963680"/>
                <a:gd name="connsiteY0" fmla="*/ 0 h 257442"/>
                <a:gd name="connsiteX1" fmla="*/ 1963680 w 1963680"/>
                <a:gd name="connsiteY1" fmla="*/ 257442 h 257442"/>
                <a:gd name="connsiteX2" fmla="*/ 0 w 1963680"/>
                <a:gd name="connsiteY2" fmla="*/ 257442 h 257442"/>
                <a:gd name="connsiteX3" fmla="*/ 0 w 1963680"/>
                <a:gd name="connsiteY3" fmla="*/ 0 h 257442"/>
                <a:gd name="connsiteX0" fmla="*/ 1855792 w 1855792"/>
                <a:gd name="connsiteY0" fmla="*/ 0 h 257442"/>
                <a:gd name="connsiteX1" fmla="*/ 1801071 w 1855792"/>
                <a:gd name="connsiteY1" fmla="*/ 257442 h 257442"/>
                <a:gd name="connsiteX2" fmla="*/ 0 w 1855792"/>
                <a:gd name="connsiteY2" fmla="*/ 257442 h 257442"/>
                <a:gd name="connsiteX3" fmla="*/ 0 w 1855792"/>
                <a:gd name="connsiteY3" fmla="*/ 0 h 257442"/>
                <a:gd name="connsiteX0" fmla="*/ 1855792 w 1855792"/>
                <a:gd name="connsiteY0" fmla="*/ 0 h 257442"/>
                <a:gd name="connsiteX1" fmla="*/ 1801071 w 1855792"/>
                <a:gd name="connsiteY1" fmla="*/ 257442 h 257442"/>
                <a:gd name="connsiteX2" fmla="*/ 0 w 1855792"/>
                <a:gd name="connsiteY2" fmla="*/ 257442 h 257442"/>
                <a:gd name="connsiteX3" fmla="*/ 0 w 1855792"/>
                <a:gd name="connsiteY3" fmla="*/ 0 h 257442"/>
                <a:gd name="connsiteX0" fmla="*/ 1855792 w 1855792"/>
                <a:gd name="connsiteY0" fmla="*/ 0 h 257442"/>
                <a:gd name="connsiteX1" fmla="*/ 1801071 w 1855792"/>
                <a:gd name="connsiteY1" fmla="*/ 257442 h 257442"/>
                <a:gd name="connsiteX2" fmla="*/ 0 w 1855792"/>
                <a:gd name="connsiteY2" fmla="*/ 257442 h 257442"/>
                <a:gd name="connsiteX3" fmla="*/ 0 w 1855792"/>
                <a:gd name="connsiteY3" fmla="*/ 0 h 257442"/>
                <a:gd name="connsiteX0" fmla="*/ 1757560 w 1801071"/>
                <a:gd name="connsiteY0" fmla="*/ 0 h 257442"/>
                <a:gd name="connsiteX1" fmla="*/ 1801071 w 1801071"/>
                <a:gd name="connsiteY1" fmla="*/ 257442 h 257442"/>
                <a:gd name="connsiteX2" fmla="*/ 0 w 1801071"/>
                <a:gd name="connsiteY2" fmla="*/ 257442 h 257442"/>
                <a:gd name="connsiteX3" fmla="*/ 0 w 1801071"/>
                <a:gd name="connsiteY3" fmla="*/ 0 h 257442"/>
                <a:gd name="connsiteX0" fmla="*/ 1757560 w 1757560"/>
                <a:gd name="connsiteY0" fmla="*/ 0 h 257442"/>
                <a:gd name="connsiteX1" fmla="*/ 1702840 w 1757560"/>
                <a:gd name="connsiteY1" fmla="*/ 257442 h 257442"/>
                <a:gd name="connsiteX2" fmla="*/ 0 w 1757560"/>
                <a:gd name="connsiteY2" fmla="*/ 257442 h 257442"/>
                <a:gd name="connsiteX3" fmla="*/ 0 w 1757560"/>
                <a:gd name="connsiteY3" fmla="*/ 0 h 257442"/>
                <a:gd name="connsiteX0" fmla="*/ 1757560 w 1757560"/>
                <a:gd name="connsiteY0" fmla="*/ 0 h 257442"/>
                <a:gd name="connsiteX1" fmla="*/ 1702840 w 1757560"/>
                <a:gd name="connsiteY1" fmla="*/ 257442 h 257442"/>
                <a:gd name="connsiteX2" fmla="*/ 1 w 1757560"/>
                <a:gd name="connsiteY2" fmla="*/ 257442 h 257442"/>
                <a:gd name="connsiteX3" fmla="*/ 0 w 1757560"/>
                <a:gd name="connsiteY3" fmla="*/ 0 h 257442"/>
                <a:gd name="connsiteX0" fmla="*/ 1757559 w 1757559"/>
                <a:gd name="connsiteY0" fmla="*/ 0 h 257442"/>
                <a:gd name="connsiteX1" fmla="*/ 1702839 w 1757559"/>
                <a:gd name="connsiteY1" fmla="*/ 257442 h 257442"/>
                <a:gd name="connsiteX2" fmla="*/ 0 w 1757559"/>
                <a:gd name="connsiteY2" fmla="*/ 257442 h 257442"/>
                <a:gd name="connsiteX3" fmla="*/ 0 w 1757559"/>
                <a:gd name="connsiteY3" fmla="*/ 0 h 257442"/>
                <a:gd name="connsiteX0" fmla="*/ 2024107 w 2024107"/>
                <a:gd name="connsiteY0" fmla="*/ 0 h 257442"/>
                <a:gd name="connsiteX1" fmla="*/ 1702839 w 2024107"/>
                <a:gd name="connsiteY1" fmla="*/ 257442 h 257442"/>
                <a:gd name="connsiteX2" fmla="*/ 0 w 2024107"/>
                <a:gd name="connsiteY2" fmla="*/ 257442 h 257442"/>
                <a:gd name="connsiteX3" fmla="*/ 0 w 2024107"/>
                <a:gd name="connsiteY3" fmla="*/ 0 h 257442"/>
                <a:gd name="connsiteX0" fmla="*/ 2024107 w 2024107"/>
                <a:gd name="connsiteY0" fmla="*/ 0 h 257442"/>
                <a:gd name="connsiteX1" fmla="*/ 1969386 w 2024107"/>
                <a:gd name="connsiteY1" fmla="*/ 257442 h 257442"/>
                <a:gd name="connsiteX2" fmla="*/ 0 w 2024107"/>
                <a:gd name="connsiteY2" fmla="*/ 257442 h 257442"/>
                <a:gd name="connsiteX3" fmla="*/ 0 w 2024107"/>
                <a:gd name="connsiteY3" fmla="*/ 0 h 257442"/>
                <a:gd name="connsiteX0" fmla="*/ 2024107 w 2024107"/>
                <a:gd name="connsiteY0" fmla="*/ 0 h 257442"/>
                <a:gd name="connsiteX1" fmla="*/ 1969386 w 2024107"/>
                <a:gd name="connsiteY1" fmla="*/ 257442 h 257442"/>
                <a:gd name="connsiteX2" fmla="*/ 0 w 2024107"/>
                <a:gd name="connsiteY2" fmla="*/ 257442 h 257442"/>
                <a:gd name="connsiteX3" fmla="*/ 0 w 2024107"/>
                <a:gd name="connsiteY3" fmla="*/ 0 h 257442"/>
                <a:gd name="connsiteX0" fmla="*/ 2024107 w 2024107"/>
                <a:gd name="connsiteY0" fmla="*/ 0 h 257442"/>
                <a:gd name="connsiteX1" fmla="*/ 1969386 w 2024107"/>
                <a:gd name="connsiteY1" fmla="*/ 257442 h 257442"/>
                <a:gd name="connsiteX2" fmla="*/ 0 w 2024107"/>
                <a:gd name="connsiteY2" fmla="*/ 257442 h 257442"/>
                <a:gd name="connsiteX3" fmla="*/ 0 w 2024107"/>
                <a:gd name="connsiteY3" fmla="*/ 0 h 257442"/>
                <a:gd name="connsiteX0" fmla="*/ 2184408 w 2184408"/>
                <a:gd name="connsiteY0" fmla="*/ 0 h 257442"/>
                <a:gd name="connsiteX1" fmla="*/ 1969386 w 2184408"/>
                <a:gd name="connsiteY1" fmla="*/ 257442 h 257442"/>
                <a:gd name="connsiteX2" fmla="*/ 0 w 2184408"/>
                <a:gd name="connsiteY2" fmla="*/ 257442 h 257442"/>
                <a:gd name="connsiteX3" fmla="*/ 0 w 2184408"/>
                <a:gd name="connsiteY3" fmla="*/ 0 h 257442"/>
                <a:gd name="connsiteX0" fmla="*/ 2184408 w 2184408"/>
                <a:gd name="connsiteY0" fmla="*/ 0 h 257442"/>
                <a:gd name="connsiteX1" fmla="*/ 2129686 w 2184408"/>
                <a:gd name="connsiteY1" fmla="*/ 257442 h 257442"/>
                <a:gd name="connsiteX2" fmla="*/ 0 w 2184408"/>
                <a:gd name="connsiteY2" fmla="*/ 257442 h 257442"/>
                <a:gd name="connsiteX3" fmla="*/ 0 w 2184408"/>
                <a:gd name="connsiteY3" fmla="*/ 0 h 257442"/>
                <a:gd name="connsiteX0" fmla="*/ 2184409 w 2184409"/>
                <a:gd name="connsiteY0" fmla="*/ 0 h 257442"/>
                <a:gd name="connsiteX1" fmla="*/ 2129687 w 2184409"/>
                <a:gd name="connsiteY1" fmla="*/ 257442 h 257442"/>
                <a:gd name="connsiteX2" fmla="*/ 0 w 2184409"/>
                <a:gd name="connsiteY2" fmla="*/ 257442 h 257442"/>
                <a:gd name="connsiteX3" fmla="*/ 1 w 2184409"/>
                <a:gd name="connsiteY3" fmla="*/ 0 h 257442"/>
                <a:gd name="connsiteX0" fmla="*/ 2184409 w 2184409"/>
                <a:gd name="connsiteY0" fmla="*/ 0 h 257442"/>
                <a:gd name="connsiteX1" fmla="*/ 2129687 w 2184409"/>
                <a:gd name="connsiteY1" fmla="*/ 257442 h 257442"/>
                <a:gd name="connsiteX2" fmla="*/ 0 w 2184409"/>
                <a:gd name="connsiteY2" fmla="*/ 257442 h 257442"/>
                <a:gd name="connsiteX3" fmla="*/ 1 w 2184409"/>
                <a:gd name="connsiteY3" fmla="*/ 0 h 257442"/>
                <a:gd name="connsiteX0" fmla="*/ 2370357 w 2370357"/>
                <a:gd name="connsiteY0" fmla="*/ 0 h 257442"/>
                <a:gd name="connsiteX1" fmla="*/ 2129687 w 2370357"/>
                <a:gd name="connsiteY1" fmla="*/ 257442 h 257442"/>
                <a:gd name="connsiteX2" fmla="*/ 0 w 2370357"/>
                <a:gd name="connsiteY2" fmla="*/ 257442 h 257442"/>
                <a:gd name="connsiteX3" fmla="*/ 1 w 2370357"/>
                <a:gd name="connsiteY3" fmla="*/ 0 h 257442"/>
                <a:gd name="connsiteX0" fmla="*/ 2370357 w 2370357"/>
                <a:gd name="connsiteY0" fmla="*/ 0 h 257442"/>
                <a:gd name="connsiteX1" fmla="*/ 2315636 w 2370357"/>
                <a:gd name="connsiteY1" fmla="*/ 257442 h 257442"/>
                <a:gd name="connsiteX2" fmla="*/ 0 w 2370357"/>
                <a:gd name="connsiteY2" fmla="*/ 257442 h 257442"/>
                <a:gd name="connsiteX3" fmla="*/ 1 w 2370357"/>
                <a:gd name="connsiteY3" fmla="*/ 0 h 257442"/>
                <a:gd name="connsiteX0" fmla="*/ 2370356 w 2370356"/>
                <a:gd name="connsiteY0" fmla="*/ 0 h 257442"/>
                <a:gd name="connsiteX1" fmla="*/ 2315635 w 2370356"/>
                <a:gd name="connsiteY1" fmla="*/ 257442 h 257442"/>
                <a:gd name="connsiteX2" fmla="*/ 0 w 2370356"/>
                <a:gd name="connsiteY2" fmla="*/ 257442 h 257442"/>
                <a:gd name="connsiteX3" fmla="*/ 0 w 2370356"/>
                <a:gd name="connsiteY3" fmla="*/ 0 h 257442"/>
                <a:gd name="connsiteX0" fmla="*/ 2370357 w 2370357"/>
                <a:gd name="connsiteY0" fmla="*/ 0 h 257442"/>
                <a:gd name="connsiteX1" fmla="*/ 2315636 w 2370357"/>
                <a:gd name="connsiteY1" fmla="*/ 257442 h 257442"/>
                <a:gd name="connsiteX2" fmla="*/ 1 w 2370357"/>
                <a:gd name="connsiteY2" fmla="*/ 257442 h 257442"/>
                <a:gd name="connsiteX3" fmla="*/ 0 w 2370357"/>
                <a:gd name="connsiteY3" fmla="*/ 0 h 257442"/>
                <a:gd name="connsiteX0" fmla="*/ 2548291 w 2548291"/>
                <a:gd name="connsiteY0" fmla="*/ 0 h 257442"/>
                <a:gd name="connsiteX1" fmla="*/ 2315636 w 2548291"/>
                <a:gd name="connsiteY1" fmla="*/ 257442 h 257442"/>
                <a:gd name="connsiteX2" fmla="*/ 1 w 2548291"/>
                <a:gd name="connsiteY2" fmla="*/ 257442 h 257442"/>
                <a:gd name="connsiteX3" fmla="*/ 0 w 2548291"/>
                <a:gd name="connsiteY3" fmla="*/ 0 h 257442"/>
                <a:gd name="connsiteX0" fmla="*/ 2548291 w 2548291"/>
                <a:gd name="connsiteY0" fmla="*/ 0 h 257442"/>
                <a:gd name="connsiteX1" fmla="*/ 2493570 w 2548291"/>
                <a:gd name="connsiteY1" fmla="*/ 257442 h 257442"/>
                <a:gd name="connsiteX2" fmla="*/ 1 w 2548291"/>
                <a:gd name="connsiteY2" fmla="*/ 257442 h 257442"/>
                <a:gd name="connsiteX3" fmla="*/ 0 w 2548291"/>
                <a:gd name="connsiteY3" fmla="*/ 0 h 257442"/>
                <a:gd name="connsiteX0" fmla="*/ 2548291 w 2548291"/>
                <a:gd name="connsiteY0" fmla="*/ 0 h 257442"/>
                <a:gd name="connsiteX1" fmla="*/ 2493570 w 2548291"/>
                <a:gd name="connsiteY1" fmla="*/ 257442 h 257442"/>
                <a:gd name="connsiteX2" fmla="*/ 1 w 2548291"/>
                <a:gd name="connsiteY2" fmla="*/ 257442 h 257442"/>
                <a:gd name="connsiteX3" fmla="*/ 0 w 2548291"/>
                <a:gd name="connsiteY3" fmla="*/ 0 h 257442"/>
                <a:gd name="connsiteX0" fmla="*/ 2548290 w 2548290"/>
                <a:gd name="connsiteY0" fmla="*/ 0 h 257442"/>
                <a:gd name="connsiteX1" fmla="*/ 2493569 w 2548290"/>
                <a:gd name="connsiteY1" fmla="*/ 257442 h 257442"/>
                <a:gd name="connsiteX2" fmla="*/ 0 w 2548290"/>
                <a:gd name="connsiteY2" fmla="*/ 257442 h 257442"/>
                <a:gd name="connsiteX3" fmla="*/ 0 w 2548290"/>
                <a:gd name="connsiteY3" fmla="*/ 0 h 257442"/>
                <a:gd name="connsiteX0" fmla="*/ 2726222 w 2726222"/>
                <a:gd name="connsiteY0" fmla="*/ 0 h 257442"/>
                <a:gd name="connsiteX1" fmla="*/ 2493569 w 2726222"/>
                <a:gd name="connsiteY1" fmla="*/ 257442 h 257442"/>
                <a:gd name="connsiteX2" fmla="*/ 0 w 2726222"/>
                <a:gd name="connsiteY2" fmla="*/ 257442 h 257442"/>
                <a:gd name="connsiteX3" fmla="*/ 0 w 2726222"/>
                <a:gd name="connsiteY3" fmla="*/ 0 h 257442"/>
                <a:gd name="connsiteX0" fmla="*/ 2726222 w 2726222"/>
                <a:gd name="connsiteY0" fmla="*/ 0 h 257442"/>
                <a:gd name="connsiteX1" fmla="*/ 2671501 w 2726222"/>
                <a:gd name="connsiteY1" fmla="*/ 257442 h 257442"/>
                <a:gd name="connsiteX2" fmla="*/ 0 w 2726222"/>
                <a:gd name="connsiteY2" fmla="*/ 257442 h 257442"/>
                <a:gd name="connsiteX3" fmla="*/ 0 w 2726222"/>
                <a:gd name="connsiteY3" fmla="*/ 0 h 257442"/>
                <a:gd name="connsiteX0" fmla="*/ 2726223 w 2726223"/>
                <a:gd name="connsiteY0" fmla="*/ 0 h 257442"/>
                <a:gd name="connsiteX1" fmla="*/ 2671502 w 2726223"/>
                <a:gd name="connsiteY1" fmla="*/ 257442 h 257442"/>
                <a:gd name="connsiteX2" fmla="*/ 0 w 2726223"/>
                <a:gd name="connsiteY2" fmla="*/ 257442 h 257442"/>
                <a:gd name="connsiteX3" fmla="*/ 1 w 2726223"/>
                <a:gd name="connsiteY3" fmla="*/ 0 h 257442"/>
                <a:gd name="connsiteX0" fmla="*/ 2726223 w 2726223"/>
                <a:gd name="connsiteY0" fmla="*/ 0 h 257442"/>
                <a:gd name="connsiteX1" fmla="*/ 2671502 w 2726223"/>
                <a:gd name="connsiteY1" fmla="*/ 257442 h 257442"/>
                <a:gd name="connsiteX2" fmla="*/ 0 w 2726223"/>
                <a:gd name="connsiteY2" fmla="*/ 257442 h 257442"/>
                <a:gd name="connsiteX3" fmla="*/ 1 w 2726223"/>
                <a:gd name="connsiteY3" fmla="*/ 0 h 257442"/>
                <a:gd name="connsiteX0" fmla="*/ 2894539 w 2894539"/>
                <a:gd name="connsiteY0" fmla="*/ 0 h 257442"/>
                <a:gd name="connsiteX1" fmla="*/ 2671502 w 2894539"/>
                <a:gd name="connsiteY1" fmla="*/ 257442 h 257442"/>
                <a:gd name="connsiteX2" fmla="*/ 0 w 2894539"/>
                <a:gd name="connsiteY2" fmla="*/ 257442 h 257442"/>
                <a:gd name="connsiteX3" fmla="*/ 1 w 2894539"/>
                <a:gd name="connsiteY3" fmla="*/ 0 h 257442"/>
                <a:gd name="connsiteX0" fmla="*/ 2894539 w 2894539"/>
                <a:gd name="connsiteY0" fmla="*/ 0 h 257442"/>
                <a:gd name="connsiteX1" fmla="*/ 2839818 w 2894539"/>
                <a:gd name="connsiteY1" fmla="*/ 257442 h 257442"/>
                <a:gd name="connsiteX2" fmla="*/ 0 w 2894539"/>
                <a:gd name="connsiteY2" fmla="*/ 257442 h 257442"/>
                <a:gd name="connsiteX3" fmla="*/ 1 w 2894539"/>
                <a:gd name="connsiteY3" fmla="*/ 0 h 257442"/>
                <a:gd name="connsiteX0" fmla="*/ 2894538 w 2894538"/>
                <a:gd name="connsiteY0" fmla="*/ 0 h 257442"/>
                <a:gd name="connsiteX1" fmla="*/ 2839817 w 2894538"/>
                <a:gd name="connsiteY1" fmla="*/ 257442 h 257442"/>
                <a:gd name="connsiteX2" fmla="*/ 0 w 2894538"/>
                <a:gd name="connsiteY2" fmla="*/ 257442 h 257442"/>
                <a:gd name="connsiteX3" fmla="*/ 0 w 2894538"/>
                <a:gd name="connsiteY3" fmla="*/ 0 h 257442"/>
                <a:gd name="connsiteX0" fmla="*/ 2894539 w 2894539"/>
                <a:gd name="connsiteY0" fmla="*/ 0 h 257442"/>
                <a:gd name="connsiteX1" fmla="*/ 2839818 w 2894539"/>
                <a:gd name="connsiteY1" fmla="*/ 257442 h 257442"/>
                <a:gd name="connsiteX2" fmla="*/ 1 w 2894539"/>
                <a:gd name="connsiteY2" fmla="*/ 257442 h 257442"/>
                <a:gd name="connsiteX3" fmla="*/ 0 w 2894539"/>
                <a:gd name="connsiteY3" fmla="*/ 0 h 257442"/>
                <a:gd name="connsiteX0" fmla="*/ 3062854 w 3062854"/>
                <a:gd name="connsiteY0" fmla="*/ 0 h 257442"/>
                <a:gd name="connsiteX1" fmla="*/ 2839818 w 3062854"/>
                <a:gd name="connsiteY1" fmla="*/ 257442 h 257442"/>
                <a:gd name="connsiteX2" fmla="*/ 1 w 3062854"/>
                <a:gd name="connsiteY2" fmla="*/ 257442 h 257442"/>
                <a:gd name="connsiteX3" fmla="*/ 0 w 3062854"/>
                <a:gd name="connsiteY3" fmla="*/ 0 h 257442"/>
                <a:gd name="connsiteX0" fmla="*/ 3062854 w 3062854"/>
                <a:gd name="connsiteY0" fmla="*/ 0 h 257442"/>
                <a:gd name="connsiteX1" fmla="*/ 3008132 w 3062854"/>
                <a:gd name="connsiteY1" fmla="*/ 257442 h 257442"/>
                <a:gd name="connsiteX2" fmla="*/ 1 w 3062854"/>
                <a:gd name="connsiteY2" fmla="*/ 257442 h 257442"/>
                <a:gd name="connsiteX3" fmla="*/ 0 w 3062854"/>
                <a:gd name="connsiteY3" fmla="*/ 0 h 257442"/>
                <a:gd name="connsiteX0" fmla="*/ 3062854 w 3062854"/>
                <a:gd name="connsiteY0" fmla="*/ 0 h 257442"/>
                <a:gd name="connsiteX1" fmla="*/ 3008132 w 3062854"/>
                <a:gd name="connsiteY1" fmla="*/ 257442 h 257442"/>
                <a:gd name="connsiteX2" fmla="*/ 0 w 3062854"/>
                <a:gd name="connsiteY2" fmla="*/ 257442 h 257442"/>
                <a:gd name="connsiteX3" fmla="*/ 0 w 3062854"/>
                <a:gd name="connsiteY3" fmla="*/ 0 h 257442"/>
                <a:gd name="connsiteX0" fmla="*/ 3062854 w 3062854"/>
                <a:gd name="connsiteY0" fmla="*/ 0 h 257442"/>
                <a:gd name="connsiteX1" fmla="*/ 3008132 w 3062854"/>
                <a:gd name="connsiteY1" fmla="*/ 257442 h 257442"/>
                <a:gd name="connsiteX2" fmla="*/ 0 w 3062854"/>
                <a:gd name="connsiteY2" fmla="*/ 257442 h 257442"/>
                <a:gd name="connsiteX3" fmla="*/ 0 w 3062854"/>
                <a:gd name="connsiteY3" fmla="*/ 0 h 257442"/>
                <a:gd name="connsiteX0" fmla="*/ 3223153 w 3223153"/>
                <a:gd name="connsiteY0" fmla="*/ 0 h 257442"/>
                <a:gd name="connsiteX1" fmla="*/ 3008132 w 3223153"/>
                <a:gd name="connsiteY1" fmla="*/ 257442 h 257442"/>
                <a:gd name="connsiteX2" fmla="*/ 0 w 3223153"/>
                <a:gd name="connsiteY2" fmla="*/ 257442 h 257442"/>
                <a:gd name="connsiteX3" fmla="*/ 0 w 3223153"/>
                <a:gd name="connsiteY3" fmla="*/ 0 h 257442"/>
                <a:gd name="connsiteX0" fmla="*/ 3223153 w 3223153"/>
                <a:gd name="connsiteY0" fmla="*/ 0 h 257442"/>
                <a:gd name="connsiteX1" fmla="*/ 3168432 w 3223153"/>
                <a:gd name="connsiteY1" fmla="*/ 257442 h 257442"/>
                <a:gd name="connsiteX2" fmla="*/ 0 w 3223153"/>
                <a:gd name="connsiteY2" fmla="*/ 257442 h 257442"/>
                <a:gd name="connsiteX3" fmla="*/ 0 w 3223153"/>
                <a:gd name="connsiteY3" fmla="*/ 0 h 257442"/>
                <a:gd name="connsiteX0" fmla="*/ 3223153 w 3223153"/>
                <a:gd name="connsiteY0" fmla="*/ 0 h 257442"/>
                <a:gd name="connsiteX1" fmla="*/ 3168432 w 3223153"/>
                <a:gd name="connsiteY1" fmla="*/ 257442 h 257442"/>
                <a:gd name="connsiteX2" fmla="*/ 0 w 3223153"/>
                <a:gd name="connsiteY2" fmla="*/ 257442 h 257442"/>
                <a:gd name="connsiteX3" fmla="*/ 0 w 3223153"/>
                <a:gd name="connsiteY3" fmla="*/ 0 h 257442"/>
                <a:gd name="connsiteX0" fmla="*/ 3223153 w 3223153"/>
                <a:gd name="connsiteY0" fmla="*/ 0 h 257442"/>
                <a:gd name="connsiteX1" fmla="*/ 3168432 w 3223153"/>
                <a:gd name="connsiteY1" fmla="*/ 257442 h 257442"/>
                <a:gd name="connsiteX2" fmla="*/ 0 w 3223153"/>
                <a:gd name="connsiteY2" fmla="*/ 257442 h 257442"/>
                <a:gd name="connsiteX3" fmla="*/ 0 w 3223153"/>
                <a:gd name="connsiteY3" fmla="*/ 0 h 257442"/>
                <a:gd name="connsiteX0" fmla="*/ 3391469 w 3391469"/>
                <a:gd name="connsiteY0" fmla="*/ 0 h 257442"/>
                <a:gd name="connsiteX1" fmla="*/ 3168432 w 3391469"/>
                <a:gd name="connsiteY1" fmla="*/ 257442 h 257442"/>
                <a:gd name="connsiteX2" fmla="*/ 0 w 3391469"/>
                <a:gd name="connsiteY2" fmla="*/ 257442 h 257442"/>
                <a:gd name="connsiteX3" fmla="*/ 0 w 3391469"/>
                <a:gd name="connsiteY3" fmla="*/ 0 h 257442"/>
                <a:gd name="connsiteX0" fmla="*/ 3391469 w 3391469"/>
                <a:gd name="connsiteY0" fmla="*/ 0 h 257442"/>
                <a:gd name="connsiteX1" fmla="*/ 3336748 w 3391469"/>
                <a:gd name="connsiteY1" fmla="*/ 257442 h 257442"/>
                <a:gd name="connsiteX2" fmla="*/ 0 w 3391469"/>
                <a:gd name="connsiteY2" fmla="*/ 257442 h 257442"/>
                <a:gd name="connsiteX3" fmla="*/ 0 w 3391469"/>
                <a:gd name="connsiteY3" fmla="*/ 0 h 257442"/>
                <a:gd name="connsiteX0" fmla="*/ 3391469 w 3391469"/>
                <a:gd name="connsiteY0" fmla="*/ 0 h 257442"/>
                <a:gd name="connsiteX1" fmla="*/ 3336748 w 3391469"/>
                <a:gd name="connsiteY1" fmla="*/ 257442 h 257442"/>
                <a:gd name="connsiteX2" fmla="*/ 0 w 3391469"/>
                <a:gd name="connsiteY2" fmla="*/ 257442 h 257442"/>
                <a:gd name="connsiteX3" fmla="*/ 0 w 3391469"/>
                <a:gd name="connsiteY3" fmla="*/ 0 h 257442"/>
                <a:gd name="connsiteX0" fmla="*/ 3391469 w 3391469"/>
                <a:gd name="connsiteY0" fmla="*/ 0 h 257442"/>
                <a:gd name="connsiteX1" fmla="*/ 3336748 w 3391469"/>
                <a:gd name="connsiteY1" fmla="*/ 257442 h 257442"/>
                <a:gd name="connsiteX2" fmla="*/ 0 w 3391469"/>
                <a:gd name="connsiteY2" fmla="*/ 257442 h 257442"/>
                <a:gd name="connsiteX3" fmla="*/ 0 w 3391469"/>
                <a:gd name="connsiteY3" fmla="*/ 0 h 257442"/>
                <a:gd name="connsiteX0" fmla="*/ 3660774 w 3660774"/>
                <a:gd name="connsiteY0" fmla="*/ 0 h 257442"/>
                <a:gd name="connsiteX1" fmla="*/ 3336748 w 3660774"/>
                <a:gd name="connsiteY1" fmla="*/ 257442 h 257442"/>
                <a:gd name="connsiteX2" fmla="*/ 0 w 3660774"/>
                <a:gd name="connsiteY2" fmla="*/ 257442 h 257442"/>
                <a:gd name="connsiteX3" fmla="*/ 0 w 3660774"/>
                <a:gd name="connsiteY3" fmla="*/ 0 h 257442"/>
                <a:gd name="connsiteX0" fmla="*/ 3660774 w 3660774"/>
                <a:gd name="connsiteY0" fmla="*/ 0 h 257442"/>
                <a:gd name="connsiteX1" fmla="*/ 3606052 w 3660774"/>
                <a:gd name="connsiteY1" fmla="*/ 257442 h 257442"/>
                <a:gd name="connsiteX2" fmla="*/ 0 w 3660774"/>
                <a:gd name="connsiteY2" fmla="*/ 257442 h 257442"/>
                <a:gd name="connsiteX3" fmla="*/ 0 w 3660774"/>
                <a:gd name="connsiteY3" fmla="*/ 0 h 257442"/>
                <a:gd name="connsiteX0" fmla="*/ 3660775 w 3660775"/>
                <a:gd name="connsiteY0" fmla="*/ 0 h 257442"/>
                <a:gd name="connsiteX1" fmla="*/ 3606053 w 3660775"/>
                <a:gd name="connsiteY1" fmla="*/ 257442 h 257442"/>
                <a:gd name="connsiteX2" fmla="*/ 0 w 3660775"/>
                <a:gd name="connsiteY2" fmla="*/ 257442 h 257442"/>
                <a:gd name="connsiteX3" fmla="*/ 1 w 3660775"/>
                <a:gd name="connsiteY3" fmla="*/ 0 h 257442"/>
                <a:gd name="connsiteX0" fmla="*/ 3660775 w 3660775"/>
                <a:gd name="connsiteY0" fmla="*/ 0 h 257442"/>
                <a:gd name="connsiteX1" fmla="*/ 3606053 w 3660775"/>
                <a:gd name="connsiteY1" fmla="*/ 257442 h 257442"/>
                <a:gd name="connsiteX2" fmla="*/ 0 w 3660775"/>
                <a:gd name="connsiteY2" fmla="*/ 257442 h 257442"/>
                <a:gd name="connsiteX3" fmla="*/ 1 w 3660775"/>
                <a:gd name="connsiteY3" fmla="*/ 0 h 257442"/>
                <a:gd name="connsiteX0" fmla="*/ 3821075 w 3821075"/>
                <a:gd name="connsiteY0" fmla="*/ 0 h 257442"/>
                <a:gd name="connsiteX1" fmla="*/ 3606053 w 3821075"/>
                <a:gd name="connsiteY1" fmla="*/ 257442 h 257442"/>
                <a:gd name="connsiteX2" fmla="*/ 0 w 3821075"/>
                <a:gd name="connsiteY2" fmla="*/ 257442 h 257442"/>
                <a:gd name="connsiteX3" fmla="*/ 1 w 3821075"/>
                <a:gd name="connsiteY3" fmla="*/ 0 h 257442"/>
                <a:gd name="connsiteX0" fmla="*/ 3821075 w 3821075"/>
                <a:gd name="connsiteY0" fmla="*/ 0 h 257442"/>
                <a:gd name="connsiteX1" fmla="*/ 3766354 w 3821075"/>
                <a:gd name="connsiteY1" fmla="*/ 257442 h 257442"/>
                <a:gd name="connsiteX2" fmla="*/ 0 w 3821075"/>
                <a:gd name="connsiteY2" fmla="*/ 257442 h 257442"/>
                <a:gd name="connsiteX3" fmla="*/ 1 w 3821075"/>
                <a:gd name="connsiteY3" fmla="*/ 0 h 257442"/>
                <a:gd name="connsiteX0" fmla="*/ 3821074 w 3821074"/>
                <a:gd name="connsiteY0" fmla="*/ 0 h 257442"/>
                <a:gd name="connsiteX1" fmla="*/ 3766353 w 3821074"/>
                <a:gd name="connsiteY1" fmla="*/ 257442 h 257442"/>
                <a:gd name="connsiteX2" fmla="*/ 0 w 3821074"/>
                <a:gd name="connsiteY2" fmla="*/ 257442 h 257442"/>
                <a:gd name="connsiteX3" fmla="*/ 0 w 3821074"/>
                <a:gd name="connsiteY3" fmla="*/ 0 h 257442"/>
                <a:gd name="connsiteX0" fmla="*/ 3821075 w 3821075"/>
                <a:gd name="connsiteY0" fmla="*/ 0 h 257442"/>
                <a:gd name="connsiteX1" fmla="*/ 3766354 w 3821075"/>
                <a:gd name="connsiteY1" fmla="*/ 257442 h 257442"/>
                <a:gd name="connsiteX2" fmla="*/ 1 w 3821075"/>
                <a:gd name="connsiteY2" fmla="*/ 257442 h 257442"/>
                <a:gd name="connsiteX3" fmla="*/ 0 w 3821075"/>
                <a:gd name="connsiteY3" fmla="*/ 0 h 257442"/>
                <a:gd name="connsiteX0" fmla="*/ 3562543 w 3766354"/>
                <a:gd name="connsiteY0" fmla="*/ 0 h 257442"/>
                <a:gd name="connsiteX1" fmla="*/ 3766354 w 3766354"/>
                <a:gd name="connsiteY1" fmla="*/ 257442 h 257442"/>
                <a:gd name="connsiteX2" fmla="*/ 1 w 3766354"/>
                <a:gd name="connsiteY2" fmla="*/ 257442 h 257442"/>
                <a:gd name="connsiteX3" fmla="*/ 0 w 3766354"/>
                <a:gd name="connsiteY3" fmla="*/ 0 h 257442"/>
                <a:gd name="connsiteX0" fmla="*/ 3562543 w 3562543"/>
                <a:gd name="connsiteY0" fmla="*/ 0 h 257442"/>
                <a:gd name="connsiteX1" fmla="*/ 3507822 w 3562543"/>
                <a:gd name="connsiteY1" fmla="*/ 257442 h 257442"/>
                <a:gd name="connsiteX2" fmla="*/ 1 w 3562543"/>
                <a:gd name="connsiteY2" fmla="*/ 257442 h 257442"/>
                <a:gd name="connsiteX3" fmla="*/ 0 w 3562543"/>
                <a:gd name="connsiteY3" fmla="*/ 0 h 257442"/>
                <a:gd name="connsiteX0" fmla="*/ 3562543 w 3562543"/>
                <a:gd name="connsiteY0" fmla="*/ 0 h 257442"/>
                <a:gd name="connsiteX1" fmla="*/ 3507822 w 3562543"/>
                <a:gd name="connsiteY1" fmla="*/ 257442 h 257442"/>
                <a:gd name="connsiteX2" fmla="*/ 2 w 3562543"/>
                <a:gd name="connsiteY2" fmla="*/ 257442 h 257442"/>
                <a:gd name="connsiteX3" fmla="*/ 0 w 3562543"/>
                <a:gd name="connsiteY3" fmla="*/ 0 h 257442"/>
                <a:gd name="connsiteX0" fmla="*/ 3562541 w 3562541"/>
                <a:gd name="connsiteY0" fmla="*/ 0 h 257442"/>
                <a:gd name="connsiteX1" fmla="*/ 3507820 w 3562541"/>
                <a:gd name="connsiteY1" fmla="*/ 257442 h 257442"/>
                <a:gd name="connsiteX2" fmla="*/ 0 w 3562541"/>
                <a:gd name="connsiteY2" fmla="*/ 257442 h 257442"/>
                <a:gd name="connsiteX3" fmla="*/ 0 w 3562541"/>
                <a:gd name="connsiteY3" fmla="*/ 0 h 257442"/>
                <a:gd name="connsiteX0" fmla="*/ 3402241 w 3507820"/>
                <a:gd name="connsiteY0" fmla="*/ 0 h 257442"/>
                <a:gd name="connsiteX1" fmla="*/ 3507820 w 3507820"/>
                <a:gd name="connsiteY1" fmla="*/ 257442 h 257442"/>
                <a:gd name="connsiteX2" fmla="*/ 0 w 3507820"/>
                <a:gd name="connsiteY2" fmla="*/ 257442 h 257442"/>
                <a:gd name="connsiteX3" fmla="*/ 0 w 3507820"/>
                <a:gd name="connsiteY3" fmla="*/ 0 h 257442"/>
                <a:gd name="connsiteX0" fmla="*/ 3402241 w 3402241"/>
                <a:gd name="connsiteY0" fmla="*/ 0 h 257442"/>
                <a:gd name="connsiteX1" fmla="*/ 3347520 w 3402241"/>
                <a:gd name="connsiteY1" fmla="*/ 257442 h 257442"/>
                <a:gd name="connsiteX2" fmla="*/ 0 w 3402241"/>
                <a:gd name="connsiteY2" fmla="*/ 257442 h 257442"/>
                <a:gd name="connsiteX3" fmla="*/ 0 w 3402241"/>
                <a:gd name="connsiteY3" fmla="*/ 0 h 257442"/>
                <a:gd name="connsiteX0" fmla="*/ 3402241 w 3402241"/>
                <a:gd name="connsiteY0" fmla="*/ 0 h 257442"/>
                <a:gd name="connsiteX1" fmla="*/ 3347520 w 3402241"/>
                <a:gd name="connsiteY1" fmla="*/ 257442 h 257442"/>
                <a:gd name="connsiteX2" fmla="*/ 1 w 3402241"/>
                <a:gd name="connsiteY2" fmla="*/ 257442 h 257442"/>
                <a:gd name="connsiteX3" fmla="*/ 0 w 3402241"/>
                <a:gd name="connsiteY3" fmla="*/ 0 h 257442"/>
                <a:gd name="connsiteX0" fmla="*/ 3402240 w 3402240"/>
                <a:gd name="connsiteY0" fmla="*/ 0 h 257442"/>
                <a:gd name="connsiteX1" fmla="*/ 3347519 w 3402240"/>
                <a:gd name="connsiteY1" fmla="*/ 257442 h 257442"/>
                <a:gd name="connsiteX2" fmla="*/ 0 w 3402240"/>
                <a:gd name="connsiteY2" fmla="*/ 257442 h 257442"/>
                <a:gd name="connsiteX3" fmla="*/ 0 w 3402240"/>
                <a:gd name="connsiteY3" fmla="*/ 0 h 257442"/>
                <a:gd name="connsiteX0" fmla="*/ 3244697 w 3347519"/>
                <a:gd name="connsiteY0" fmla="*/ 0 h 257442"/>
                <a:gd name="connsiteX1" fmla="*/ 3347519 w 3347519"/>
                <a:gd name="connsiteY1" fmla="*/ 257442 h 257442"/>
                <a:gd name="connsiteX2" fmla="*/ 0 w 3347519"/>
                <a:gd name="connsiteY2" fmla="*/ 257442 h 257442"/>
                <a:gd name="connsiteX3" fmla="*/ 0 w 3347519"/>
                <a:gd name="connsiteY3" fmla="*/ 0 h 257442"/>
                <a:gd name="connsiteX0" fmla="*/ 3244697 w 3244697"/>
                <a:gd name="connsiteY0" fmla="*/ 0 h 257442"/>
                <a:gd name="connsiteX1" fmla="*/ 3189977 w 3244697"/>
                <a:gd name="connsiteY1" fmla="*/ 257442 h 257442"/>
                <a:gd name="connsiteX2" fmla="*/ 0 w 3244697"/>
                <a:gd name="connsiteY2" fmla="*/ 257442 h 257442"/>
                <a:gd name="connsiteX3" fmla="*/ 0 w 3244697"/>
                <a:gd name="connsiteY3" fmla="*/ 0 h 257442"/>
                <a:gd name="connsiteX0" fmla="*/ 3244697 w 3244697"/>
                <a:gd name="connsiteY0" fmla="*/ 0 h 257442"/>
                <a:gd name="connsiteX1" fmla="*/ 3189977 w 3244697"/>
                <a:gd name="connsiteY1" fmla="*/ 257442 h 257442"/>
                <a:gd name="connsiteX2" fmla="*/ 0 w 3244697"/>
                <a:gd name="connsiteY2" fmla="*/ 257442 h 257442"/>
                <a:gd name="connsiteX3" fmla="*/ 0 w 3244697"/>
                <a:gd name="connsiteY3" fmla="*/ 0 h 257442"/>
                <a:gd name="connsiteX0" fmla="*/ 3244697 w 3244697"/>
                <a:gd name="connsiteY0" fmla="*/ 0 h 257442"/>
                <a:gd name="connsiteX1" fmla="*/ 3189977 w 3244697"/>
                <a:gd name="connsiteY1" fmla="*/ 257442 h 257442"/>
                <a:gd name="connsiteX2" fmla="*/ 0 w 3244697"/>
                <a:gd name="connsiteY2" fmla="*/ 257442 h 257442"/>
                <a:gd name="connsiteX3" fmla="*/ 0 w 3244697"/>
                <a:gd name="connsiteY3" fmla="*/ 0 h 257442"/>
                <a:gd name="connsiteX0" fmla="*/ 3076383 w 3189977"/>
                <a:gd name="connsiteY0" fmla="*/ 0 h 257442"/>
                <a:gd name="connsiteX1" fmla="*/ 3189977 w 3189977"/>
                <a:gd name="connsiteY1" fmla="*/ 257442 h 257442"/>
                <a:gd name="connsiteX2" fmla="*/ 0 w 3189977"/>
                <a:gd name="connsiteY2" fmla="*/ 257442 h 257442"/>
                <a:gd name="connsiteX3" fmla="*/ 0 w 3189977"/>
                <a:gd name="connsiteY3" fmla="*/ 0 h 257442"/>
                <a:gd name="connsiteX0" fmla="*/ 3076383 w 3076383"/>
                <a:gd name="connsiteY0" fmla="*/ 0 h 257442"/>
                <a:gd name="connsiteX1" fmla="*/ 302166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076383 w 3076383"/>
                <a:gd name="connsiteY0" fmla="*/ 0 h 257442"/>
                <a:gd name="connsiteX1" fmla="*/ 302166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076383 w 3076383"/>
                <a:gd name="connsiteY0" fmla="*/ 0 h 257442"/>
                <a:gd name="connsiteX1" fmla="*/ 302166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2908067 w 3021662"/>
                <a:gd name="connsiteY0" fmla="*/ 0 h 257442"/>
                <a:gd name="connsiteX1" fmla="*/ 3021662 w 3021662"/>
                <a:gd name="connsiteY1" fmla="*/ 257442 h 257442"/>
                <a:gd name="connsiteX2" fmla="*/ 0 w 3021662"/>
                <a:gd name="connsiteY2" fmla="*/ 257442 h 257442"/>
                <a:gd name="connsiteX3" fmla="*/ 0 w 3021662"/>
                <a:gd name="connsiteY3" fmla="*/ 0 h 257442"/>
                <a:gd name="connsiteX0" fmla="*/ 2908067 w 2908067"/>
                <a:gd name="connsiteY0" fmla="*/ 0 h 257442"/>
                <a:gd name="connsiteX1" fmla="*/ 2853346 w 2908067"/>
                <a:gd name="connsiteY1" fmla="*/ 257442 h 257442"/>
                <a:gd name="connsiteX2" fmla="*/ 0 w 2908067"/>
                <a:gd name="connsiteY2" fmla="*/ 257442 h 257442"/>
                <a:gd name="connsiteX3" fmla="*/ 0 w 2908067"/>
                <a:gd name="connsiteY3" fmla="*/ 0 h 257442"/>
                <a:gd name="connsiteX0" fmla="*/ 2908067 w 2908067"/>
                <a:gd name="connsiteY0" fmla="*/ 0 h 257442"/>
                <a:gd name="connsiteX1" fmla="*/ 2853346 w 2908067"/>
                <a:gd name="connsiteY1" fmla="*/ 257442 h 257442"/>
                <a:gd name="connsiteX2" fmla="*/ 1 w 2908067"/>
                <a:gd name="connsiteY2" fmla="*/ 257442 h 257442"/>
                <a:gd name="connsiteX3" fmla="*/ 0 w 2908067"/>
                <a:gd name="connsiteY3" fmla="*/ 0 h 257442"/>
                <a:gd name="connsiteX0" fmla="*/ 2908066 w 2908066"/>
                <a:gd name="connsiteY0" fmla="*/ 0 h 257442"/>
                <a:gd name="connsiteX1" fmla="*/ 2853345 w 2908066"/>
                <a:gd name="connsiteY1" fmla="*/ 257442 h 257442"/>
                <a:gd name="connsiteX2" fmla="*/ 0 w 2908066"/>
                <a:gd name="connsiteY2" fmla="*/ 257442 h 257442"/>
                <a:gd name="connsiteX3" fmla="*/ 0 w 2908066"/>
                <a:gd name="connsiteY3" fmla="*/ 0 h 257442"/>
                <a:gd name="connsiteX0" fmla="*/ 2747766 w 2853345"/>
                <a:gd name="connsiteY0" fmla="*/ 0 h 257442"/>
                <a:gd name="connsiteX1" fmla="*/ 2853345 w 2853345"/>
                <a:gd name="connsiteY1" fmla="*/ 257442 h 257442"/>
                <a:gd name="connsiteX2" fmla="*/ 0 w 2853345"/>
                <a:gd name="connsiteY2" fmla="*/ 257442 h 257442"/>
                <a:gd name="connsiteX3" fmla="*/ 0 w 2853345"/>
                <a:gd name="connsiteY3" fmla="*/ 0 h 257442"/>
                <a:gd name="connsiteX0" fmla="*/ 2747766 w 2747766"/>
                <a:gd name="connsiteY0" fmla="*/ 0 h 257442"/>
                <a:gd name="connsiteX1" fmla="*/ 2693046 w 2747766"/>
                <a:gd name="connsiteY1" fmla="*/ 257442 h 257442"/>
                <a:gd name="connsiteX2" fmla="*/ 0 w 2747766"/>
                <a:gd name="connsiteY2" fmla="*/ 257442 h 257442"/>
                <a:gd name="connsiteX3" fmla="*/ 0 w 2747766"/>
                <a:gd name="connsiteY3" fmla="*/ 0 h 257442"/>
                <a:gd name="connsiteX0" fmla="*/ 2747766 w 2747766"/>
                <a:gd name="connsiteY0" fmla="*/ 0 h 257442"/>
                <a:gd name="connsiteX1" fmla="*/ 2693046 w 2747766"/>
                <a:gd name="connsiteY1" fmla="*/ 257442 h 257442"/>
                <a:gd name="connsiteX2" fmla="*/ 0 w 2747766"/>
                <a:gd name="connsiteY2" fmla="*/ 257442 h 257442"/>
                <a:gd name="connsiteX3" fmla="*/ 0 w 2747766"/>
                <a:gd name="connsiteY3" fmla="*/ 0 h 257442"/>
                <a:gd name="connsiteX0" fmla="*/ 2747766 w 2747766"/>
                <a:gd name="connsiteY0" fmla="*/ 0 h 257442"/>
                <a:gd name="connsiteX1" fmla="*/ 2693046 w 2747766"/>
                <a:gd name="connsiteY1" fmla="*/ 257442 h 257442"/>
                <a:gd name="connsiteX2" fmla="*/ 0 w 2747766"/>
                <a:gd name="connsiteY2" fmla="*/ 257442 h 257442"/>
                <a:gd name="connsiteX3" fmla="*/ 0 w 2747766"/>
                <a:gd name="connsiteY3" fmla="*/ 0 h 257442"/>
                <a:gd name="connsiteX0" fmla="*/ 3001041 w 3001041"/>
                <a:gd name="connsiteY0" fmla="*/ 0 h 257442"/>
                <a:gd name="connsiteX1" fmla="*/ 2693046 w 3001041"/>
                <a:gd name="connsiteY1" fmla="*/ 257442 h 257442"/>
                <a:gd name="connsiteX2" fmla="*/ 0 w 3001041"/>
                <a:gd name="connsiteY2" fmla="*/ 257442 h 257442"/>
                <a:gd name="connsiteX3" fmla="*/ 0 w 3001041"/>
                <a:gd name="connsiteY3" fmla="*/ 0 h 257442"/>
                <a:gd name="connsiteX0" fmla="*/ 3001041 w 3001041"/>
                <a:gd name="connsiteY0" fmla="*/ 0 h 257442"/>
                <a:gd name="connsiteX1" fmla="*/ 2946320 w 3001041"/>
                <a:gd name="connsiteY1" fmla="*/ 257442 h 257442"/>
                <a:gd name="connsiteX2" fmla="*/ 0 w 3001041"/>
                <a:gd name="connsiteY2" fmla="*/ 257442 h 257442"/>
                <a:gd name="connsiteX3" fmla="*/ 0 w 3001041"/>
                <a:gd name="connsiteY3" fmla="*/ 0 h 257442"/>
                <a:gd name="connsiteX0" fmla="*/ 3001041 w 3001041"/>
                <a:gd name="connsiteY0" fmla="*/ 0 h 257442"/>
                <a:gd name="connsiteX1" fmla="*/ 2946320 w 3001041"/>
                <a:gd name="connsiteY1" fmla="*/ 257442 h 257442"/>
                <a:gd name="connsiteX2" fmla="*/ 0 w 3001041"/>
                <a:gd name="connsiteY2" fmla="*/ 257442 h 257442"/>
                <a:gd name="connsiteX3" fmla="*/ 0 w 3001041"/>
                <a:gd name="connsiteY3" fmla="*/ 0 h 257442"/>
                <a:gd name="connsiteX0" fmla="*/ 3001041 w 3001041"/>
                <a:gd name="connsiteY0" fmla="*/ 0 h 257442"/>
                <a:gd name="connsiteX1" fmla="*/ 2946320 w 3001041"/>
                <a:gd name="connsiteY1" fmla="*/ 257442 h 257442"/>
                <a:gd name="connsiteX2" fmla="*/ 0 w 3001041"/>
                <a:gd name="connsiteY2" fmla="*/ 257442 h 257442"/>
                <a:gd name="connsiteX3" fmla="*/ 0 w 3001041"/>
                <a:gd name="connsiteY3" fmla="*/ 0 h 257442"/>
                <a:gd name="connsiteX0" fmla="*/ 3169357 w 3169357"/>
                <a:gd name="connsiteY0" fmla="*/ 0 h 257442"/>
                <a:gd name="connsiteX1" fmla="*/ 2946320 w 3169357"/>
                <a:gd name="connsiteY1" fmla="*/ 257442 h 257442"/>
                <a:gd name="connsiteX2" fmla="*/ 0 w 3169357"/>
                <a:gd name="connsiteY2" fmla="*/ 257442 h 257442"/>
                <a:gd name="connsiteX3" fmla="*/ 0 w 3169357"/>
                <a:gd name="connsiteY3" fmla="*/ 0 h 257442"/>
                <a:gd name="connsiteX0" fmla="*/ 3169357 w 3169357"/>
                <a:gd name="connsiteY0" fmla="*/ 0 h 257442"/>
                <a:gd name="connsiteX1" fmla="*/ 3114636 w 3169357"/>
                <a:gd name="connsiteY1" fmla="*/ 257442 h 257442"/>
                <a:gd name="connsiteX2" fmla="*/ 0 w 3169357"/>
                <a:gd name="connsiteY2" fmla="*/ 257442 h 257442"/>
                <a:gd name="connsiteX3" fmla="*/ 0 w 3169357"/>
                <a:gd name="connsiteY3" fmla="*/ 0 h 257442"/>
                <a:gd name="connsiteX0" fmla="*/ 3169357 w 3169357"/>
                <a:gd name="connsiteY0" fmla="*/ 0 h 257442"/>
                <a:gd name="connsiteX1" fmla="*/ 3114636 w 3169357"/>
                <a:gd name="connsiteY1" fmla="*/ 257442 h 257442"/>
                <a:gd name="connsiteX2" fmla="*/ 0 w 3169357"/>
                <a:gd name="connsiteY2" fmla="*/ 257442 h 257442"/>
                <a:gd name="connsiteX3" fmla="*/ 0 w 3169357"/>
                <a:gd name="connsiteY3" fmla="*/ 0 h 257442"/>
                <a:gd name="connsiteX0" fmla="*/ 3169357 w 3169357"/>
                <a:gd name="connsiteY0" fmla="*/ 0 h 257442"/>
                <a:gd name="connsiteX1" fmla="*/ 3114636 w 3169357"/>
                <a:gd name="connsiteY1" fmla="*/ 257442 h 257442"/>
                <a:gd name="connsiteX2" fmla="*/ 0 w 3169357"/>
                <a:gd name="connsiteY2" fmla="*/ 257442 h 257442"/>
                <a:gd name="connsiteX3" fmla="*/ 0 w 3169357"/>
                <a:gd name="connsiteY3" fmla="*/ 0 h 257442"/>
                <a:gd name="connsiteX0" fmla="*/ 3355306 w 3355306"/>
                <a:gd name="connsiteY0" fmla="*/ 0 h 257442"/>
                <a:gd name="connsiteX1" fmla="*/ 3114636 w 3355306"/>
                <a:gd name="connsiteY1" fmla="*/ 257442 h 257442"/>
                <a:gd name="connsiteX2" fmla="*/ 0 w 3355306"/>
                <a:gd name="connsiteY2" fmla="*/ 257442 h 257442"/>
                <a:gd name="connsiteX3" fmla="*/ 0 w 3355306"/>
                <a:gd name="connsiteY3" fmla="*/ 0 h 257442"/>
                <a:gd name="connsiteX0" fmla="*/ 3355306 w 3355306"/>
                <a:gd name="connsiteY0" fmla="*/ 0 h 257442"/>
                <a:gd name="connsiteX1" fmla="*/ 3300584 w 3355306"/>
                <a:gd name="connsiteY1" fmla="*/ 257442 h 257442"/>
                <a:gd name="connsiteX2" fmla="*/ 0 w 3355306"/>
                <a:gd name="connsiteY2" fmla="*/ 257442 h 257442"/>
                <a:gd name="connsiteX3" fmla="*/ 0 w 3355306"/>
                <a:gd name="connsiteY3" fmla="*/ 0 h 257442"/>
                <a:gd name="connsiteX0" fmla="*/ 3355307 w 3355307"/>
                <a:gd name="connsiteY0" fmla="*/ 0 h 257442"/>
                <a:gd name="connsiteX1" fmla="*/ 3300585 w 3355307"/>
                <a:gd name="connsiteY1" fmla="*/ 257442 h 257442"/>
                <a:gd name="connsiteX2" fmla="*/ 0 w 3355307"/>
                <a:gd name="connsiteY2" fmla="*/ 257442 h 257442"/>
                <a:gd name="connsiteX3" fmla="*/ 1 w 3355307"/>
                <a:gd name="connsiteY3" fmla="*/ 0 h 257442"/>
                <a:gd name="connsiteX0" fmla="*/ 3355307 w 3355307"/>
                <a:gd name="connsiteY0" fmla="*/ 0 h 257442"/>
                <a:gd name="connsiteX1" fmla="*/ 3300585 w 3355307"/>
                <a:gd name="connsiteY1" fmla="*/ 257442 h 257442"/>
                <a:gd name="connsiteX2" fmla="*/ 0 w 3355307"/>
                <a:gd name="connsiteY2" fmla="*/ 257442 h 257442"/>
                <a:gd name="connsiteX3" fmla="*/ 1 w 3355307"/>
                <a:gd name="connsiteY3" fmla="*/ 0 h 257442"/>
                <a:gd name="connsiteX0" fmla="*/ 3533239 w 3533239"/>
                <a:gd name="connsiteY0" fmla="*/ 0 h 257442"/>
                <a:gd name="connsiteX1" fmla="*/ 3300585 w 3533239"/>
                <a:gd name="connsiteY1" fmla="*/ 257442 h 257442"/>
                <a:gd name="connsiteX2" fmla="*/ 0 w 3533239"/>
                <a:gd name="connsiteY2" fmla="*/ 257442 h 257442"/>
                <a:gd name="connsiteX3" fmla="*/ 1 w 3533239"/>
                <a:gd name="connsiteY3" fmla="*/ 0 h 257442"/>
                <a:gd name="connsiteX0" fmla="*/ 3533239 w 3533239"/>
                <a:gd name="connsiteY0" fmla="*/ 0 h 257442"/>
                <a:gd name="connsiteX1" fmla="*/ 3478518 w 3533239"/>
                <a:gd name="connsiteY1" fmla="*/ 257442 h 257442"/>
                <a:gd name="connsiteX2" fmla="*/ 0 w 3533239"/>
                <a:gd name="connsiteY2" fmla="*/ 257442 h 257442"/>
                <a:gd name="connsiteX3" fmla="*/ 1 w 3533239"/>
                <a:gd name="connsiteY3" fmla="*/ 0 h 257442"/>
                <a:gd name="connsiteX0" fmla="*/ 3533238 w 3533238"/>
                <a:gd name="connsiteY0" fmla="*/ 0 h 257442"/>
                <a:gd name="connsiteX1" fmla="*/ 3478517 w 3533238"/>
                <a:gd name="connsiteY1" fmla="*/ 257442 h 257442"/>
                <a:gd name="connsiteX2" fmla="*/ 0 w 3533238"/>
                <a:gd name="connsiteY2" fmla="*/ 257442 h 257442"/>
                <a:gd name="connsiteX3" fmla="*/ 0 w 3533238"/>
                <a:gd name="connsiteY3" fmla="*/ 0 h 257442"/>
                <a:gd name="connsiteX0" fmla="*/ 3533239 w 3533239"/>
                <a:gd name="connsiteY0" fmla="*/ 0 h 257442"/>
                <a:gd name="connsiteX1" fmla="*/ 3478518 w 3533239"/>
                <a:gd name="connsiteY1" fmla="*/ 257442 h 257442"/>
                <a:gd name="connsiteX2" fmla="*/ 1 w 3533239"/>
                <a:gd name="connsiteY2" fmla="*/ 257442 h 257442"/>
                <a:gd name="connsiteX3" fmla="*/ 0 w 3533239"/>
                <a:gd name="connsiteY3" fmla="*/ 0 h 257442"/>
                <a:gd name="connsiteX0" fmla="*/ 934772 w 3478518"/>
                <a:gd name="connsiteY0" fmla="*/ 0 h 257442"/>
                <a:gd name="connsiteX1" fmla="*/ 3478518 w 3478518"/>
                <a:gd name="connsiteY1" fmla="*/ 257442 h 257442"/>
                <a:gd name="connsiteX2" fmla="*/ 1 w 3478518"/>
                <a:gd name="connsiteY2" fmla="*/ 257442 h 257442"/>
                <a:gd name="connsiteX3" fmla="*/ 0 w 3478518"/>
                <a:gd name="connsiteY3" fmla="*/ 0 h 257442"/>
                <a:gd name="connsiteX0" fmla="*/ 934772 w 934772"/>
                <a:gd name="connsiteY0" fmla="*/ 0 h 257442"/>
                <a:gd name="connsiteX1" fmla="*/ 880051 w 934772"/>
                <a:gd name="connsiteY1" fmla="*/ 257442 h 257442"/>
                <a:gd name="connsiteX2" fmla="*/ 1 w 934772"/>
                <a:gd name="connsiteY2" fmla="*/ 257442 h 257442"/>
                <a:gd name="connsiteX3" fmla="*/ 0 w 934772"/>
                <a:gd name="connsiteY3" fmla="*/ 0 h 257442"/>
                <a:gd name="connsiteX0" fmla="*/ 934772 w 934772"/>
                <a:gd name="connsiteY0" fmla="*/ 0 h 257442"/>
                <a:gd name="connsiteX1" fmla="*/ 880051 w 934772"/>
                <a:gd name="connsiteY1" fmla="*/ 257442 h 257442"/>
                <a:gd name="connsiteX2" fmla="*/ 1 w 934772"/>
                <a:gd name="connsiteY2" fmla="*/ 257442 h 257442"/>
                <a:gd name="connsiteX3" fmla="*/ 0 w 934772"/>
                <a:gd name="connsiteY3" fmla="*/ 0 h 257442"/>
                <a:gd name="connsiteX0" fmla="*/ 934771 w 934771"/>
                <a:gd name="connsiteY0" fmla="*/ 0 h 257442"/>
                <a:gd name="connsiteX1" fmla="*/ 880050 w 934771"/>
                <a:gd name="connsiteY1" fmla="*/ 257442 h 257442"/>
                <a:gd name="connsiteX2" fmla="*/ 0 w 934771"/>
                <a:gd name="connsiteY2" fmla="*/ 257442 h 257442"/>
                <a:gd name="connsiteX3" fmla="*/ 0 w 934771"/>
                <a:gd name="connsiteY3" fmla="*/ 0 h 257442"/>
                <a:gd name="connsiteX0" fmla="*/ 1204076 w 1204076"/>
                <a:gd name="connsiteY0" fmla="*/ 0 h 257442"/>
                <a:gd name="connsiteX1" fmla="*/ 880050 w 1204076"/>
                <a:gd name="connsiteY1" fmla="*/ 257442 h 257442"/>
                <a:gd name="connsiteX2" fmla="*/ 0 w 1204076"/>
                <a:gd name="connsiteY2" fmla="*/ 257442 h 257442"/>
                <a:gd name="connsiteX3" fmla="*/ 0 w 1204076"/>
                <a:gd name="connsiteY3" fmla="*/ 0 h 257442"/>
                <a:gd name="connsiteX0" fmla="*/ 1204076 w 1204076"/>
                <a:gd name="connsiteY0" fmla="*/ 0 h 257442"/>
                <a:gd name="connsiteX1" fmla="*/ 1149354 w 1204076"/>
                <a:gd name="connsiteY1" fmla="*/ 257442 h 257442"/>
                <a:gd name="connsiteX2" fmla="*/ 0 w 1204076"/>
                <a:gd name="connsiteY2" fmla="*/ 257442 h 257442"/>
                <a:gd name="connsiteX3" fmla="*/ 0 w 1204076"/>
                <a:gd name="connsiteY3" fmla="*/ 0 h 257442"/>
                <a:gd name="connsiteX0" fmla="*/ 1204077 w 1204077"/>
                <a:gd name="connsiteY0" fmla="*/ 0 h 257442"/>
                <a:gd name="connsiteX1" fmla="*/ 1149355 w 1204077"/>
                <a:gd name="connsiteY1" fmla="*/ 257442 h 257442"/>
                <a:gd name="connsiteX2" fmla="*/ 0 w 1204077"/>
                <a:gd name="connsiteY2" fmla="*/ 257442 h 257442"/>
                <a:gd name="connsiteX3" fmla="*/ 1 w 1204077"/>
                <a:gd name="connsiteY3" fmla="*/ 0 h 257442"/>
                <a:gd name="connsiteX0" fmla="*/ 1204077 w 1204077"/>
                <a:gd name="connsiteY0" fmla="*/ 0 h 257442"/>
                <a:gd name="connsiteX1" fmla="*/ 1149355 w 1204077"/>
                <a:gd name="connsiteY1" fmla="*/ 257442 h 257442"/>
                <a:gd name="connsiteX2" fmla="*/ 0 w 1204077"/>
                <a:gd name="connsiteY2" fmla="*/ 257442 h 257442"/>
                <a:gd name="connsiteX3" fmla="*/ 1 w 1204077"/>
                <a:gd name="connsiteY3" fmla="*/ 0 h 257442"/>
                <a:gd name="connsiteX0" fmla="*/ 1390025 w 1390025"/>
                <a:gd name="connsiteY0" fmla="*/ 0 h 257442"/>
                <a:gd name="connsiteX1" fmla="*/ 1149355 w 1390025"/>
                <a:gd name="connsiteY1" fmla="*/ 257442 h 257442"/>
                <a:gd name="connsiteX2" fmla="*/ 0 w 1390025"/>
                <a:gd name="connsiteY2" fmla="*/ 257442 h 257442"/>
                <a:gd name="connsiteX3" fmla="*/ 1 w 1390025"/>
                <a:gd name="connsiteY3" fmla="*/ 0 h 257442"/>
                <a:gd name="connsiteX0" fmla="*/ 1390025 w 1390025"/>
                <a:gd name="connsiteY0" fmla="*/ 0 h 257442"/>
                <a:gd name="connsiteX1" fmla="*/ 1335304 w 1390025"/>
                <a:gd name="connsiteY1" fmla="*/ 257442 h 257442"/>
                <a:gd name="connsiteX2" fmla="*/ 0 w 1390025"/>
                <a:gd name="connsiteY2" fmla="*/ 257442 h 257442"/>
                <a:gd name="connsiteX3" fmla="*/ 1 w 1390025"/>
                <a:gd name="connsiteY3" fmla="*/ 0 h 257442"/>
                <a:gd name="connsiteX0" fmla="*/ 1390024 w 1390024"/>
                <a:gd name="connsiteY0" fmla="*/ 0 h 257442"/>
                <a:gd name="connsiteX1" fmla="*/ 1335303 w 1390024"/>
                <a:gd name="connsiteY1" fmla="*/ 257442 h 257442"/>
                <a:gd name="connsiteX2" fmla="*/ 0 w 1390024"/>
                <a:gd name="connsiteY2" fmla="*/ 257442 h 257442"/>
                <a:gd name="connsiteX3" fmla="*/ 0 w 1390024"/>
                <a:gd name="connsiteY3" fmla="*/ 0 h 257442"/>
                <a:gd name="connsiteX0" fmla="*/ 1390025 w 1390025"/>
                <a:gd name="connsiteY0" fmla="*/ 0 h 257442"/>
                <a:gd name="connsiteX1" fmla="*/ 1335304 w 1390025"/>
                <a:gd name="connsiteY1" fmla="*/ 257442 h 257442"/>
                <a:gd name="connsiteX2" fmla="*/ 1 w 1390025"/>
                <a:gd name="connsiteY2" fmla="*/ 257442 h 257442"/>
                <a:gd name="connsiteX3" fmla="*/ 0 w 1390025"/>
                <a:gd name="connsiteY3" fmla="*/ 0 h 257442"/>
                <a:gd name="connsiteX0" fmla="*/ 1567958 w 1567958"/>
                <a:gd name="connsiteY0" fmla="*/ 0 h 257442"/>
                <a:gd name="connsiteX1" fmla="*/ 1335304 w 1567958"/>
                <a:gd name="connsiteY1" fmla="*/ 257442 h 257442"/>
                <a:gd name="connsiteX2" fmla="*/ 1 w 1567958"/>
                <a:gd name="connsiteY2" fmla="*/ 257442 h 257442"/>
                <a:gd name="connsiteX3" fmla="*/ 0 w 1567958"/>
                <a:gd name="connsiteY3" fmla="*/ 0 h 257442"/>
                <a:gd name="connsiteX0" fmla="*/ 1567958 w 1567958"/>
                <a:gd name="connsiteY0" fmla="*/ 0 h 257442"/>
                <a:gd name="connsiteX1" fmla="*/ 1513236 w 1567958"/>
                <a:gd name="connsiteY1" fmla="*/ 257442 h 257442"/>
                <a:gd name="connsiteX2" fmla="*/ 1 w 1567958"/>
                <a:gd name="connsiteY2" fmla="*/ 257442 h 257442"/>
                <a:gd name="connsiteX3" fmla="*/ 0 w 1567958"/>
                <a:gd name="connsiteY3" fmla="*/ 0 h 257442"/>
                <a:gd name="connsiteX0" fmla="*/ 1567958 w 1567958"/>
                <a:gd name="connsiteY0" fmla="*/ 0 h 257442"/>
                <a:gd name="connsiteX1" fmla="*/ 1513236 w 1567958"/>
                <a:gd name="connsiteY1" fmla="*/ 257442 h 257442"/>
                <a:gd name="connsiteX2" fmla="*/ 0 w 1567958"/>
                <a:gd name="connsiteY2" fmla="*/ 257442 h 257442"/>
                <a:gd name="connsiteX3" fmla="*/ 0 w 1567958"/>
                <a:gd name="connsiteY3" fmla="*/ 0 h 257442"/>
                <a:gd name="connsiteX0" fmla="*/ 1567958 w 1567958"/>
                <a:gd name="connsiteY0" fmla="*/ 0 h 257442"/>
                <a:gd name="connsiteX1" fmla="*/ 1513236 w 1567958"/>
                <a:gd name="connsiteY1" fmla="*/ 257442 h 257442"/>
                <a:gd name="connsiteX2" fmla="*/ 0 w 1567958"/>
                <a:gd name="connsiteY2" fmla="*/ 257442 h 257442"/>
                <a:gd name="connsiteX3" fmla="*/ 0 w 1567958"/>
                <a:gd name="connsiteY3" fmla="*/ 0 h 257442"/>
                <a:gd name="connsiteX0" fmla="*/ 1745891 w 1745891"/>
                <a:gd name="connsiteY0" fmla="*/ 0 h 257442"/>
                <a:gd name="connsiteX1" fmla="*/ 1513236 w 1745891"/>
                <a:gd name="connsiteY1" fmla="*/ 257442 h 257442"/>
                <a:gd name="connsiteX2" fmla="*/ 0 w 1745891"/>
                <a:gd name="connsiteY2" fmla="*/ 257442 h 257442"/>
                <a:gd name="connsiteX3" fmla="*/ 0 w 1745891"/>
                <a:gd name="connsiteY3" fmla="*/ 0 h 257442"/>
                <a:gd name="connsiteX0" fmla="*/ 1745891 w 1745891"/>
                <a:gd name="connsiteY0" fmla="*/ 0 h 257442"/>
                <a:gd name="connsiteX1" fmla="*/ 1691170 w 1745891"/>
                <a:gd name="connsiteY1" fmla="*/ 257442 h 257442"/>
                <a:gd name="connsiteX2" fmla="*/ 0 w 1745891"/>
                <a:gd name="connsiteY2" fmla="*/ 257442 h 257442"/>
                <a:gd name="connsiteX3" fmla="*/ 0 w 1745891"/>
                <a:gd name="connsiteY3" fmla="*/ 0 h 257442"/>
                <a:gd name="connsiteX0" fmla="*/ 1745891 w 1745891"/>
                <a:gd name="connsiteY0" fmla="*/ 0 h 257442"/>
                <a:gd name="connsiteX1" fmla="*/ 1691170 w 1745891"/>
                <a:gd name="connsiteY1" fmla="*/ 257442 h 257442"/>
                <a:gd name="connsiteX2" fmla="*/ 0 w 1745891"/>
                <a:gd name="connsiteY2" fmla="*/ 257442 h 257442"/>
                <a:gd name="connsiteX3" fmla="*/ 0 w 1745891"/>
                <a:gd name="connsiteY3" fmla="*/ 0 h 257442"/>
                <a:gd name="connsiteX0" fmla="*/ 1745891 w 1745891"/>
                <a:gd name="connsiteY0" fmla="*/ 0 h 257442"/>
                <a:gd name="connsiteX1" fmla="*/ 1691170 w 1745891"/>
                <a:gd name="connsiteY1" fmla="*/ 257442 h 257442"/>
                <a:gd name="connsiteX2" fmla="*/ 0 w 1745891"/>
                <a:gd name="connsiteY2" fmla="*/ 257442 h 257442"/>
                <a:gd name="connsiteX3" fmla="*/ 0 w 1745891"/>
                <a:gd name="connsiteY3" fmla="*/ 0 h 257442"/>
                <a:gd name="connsiteX0" fmla="*/ 1914205 w 1914205"/>
                <a:gd name="connsiteY0" fmla="*/ 0 h 257442"/>
                <a:gd name="connsiteX1" fmla="*/ 1691170 w 1914205"/>
                <a:gd name="connsiteY1" fmla="*/ 257442 h 257442"/>
                <a:gd name="connsiteX2" fmla="*/ 0 w 1914205"/>
                <a:gd name="connsiteY2" fmla="*/ 257442 h 257442"/>
                <a:gd name="connsiteX3" fmla="*/ 0 w 1914205"/>
                <a:gd name="connsiteY3" fmla="*/ 0 h 257442"/>
                <a:gd name="connsiteX0" fmla="*/ 1914205 w 1914205"/>
                <a:gd name="connsiteY0" fmla="*/ 0 h 257442"/>
                <a:gd name="connsiteX1" fmla="*/ 1859484 w 1914205"/>
                <a:gd name="connsiteY1" fmla="*/ 257442 h 257442"/>
                <a:gd name="connsiteX2" fmla="*/ 0 w 1914205"/>
                <a:gd name="connsiteY2" fmla="*/ 257442 h 257442"/>
                <a:gd name="connsiteX3" fmla="*/ 0 w 1914205"/>
                <a:gd name="connsiteY3" fmla="*/ 0 h 257442"/>
                <a:gd name="connsiteX0" fmla="*/ 1914205 w 1914205"/>
                <a:gd name="connsiteY0" fmla="*/ 0 h 257442"/>
                <a:gd name="connsiteX1" fmla="*/ 1859484 w 1914205"/>
                <a:gd name="connsiteY1" fmla="*/ 257442 h 257442"/>
                <a:gd name="connsiteX2" fmla="*/ 0 w 1914205"/>
                <a:gd name="connsiteY2" fmla="*/ 257442 h 257442"/>
                <a:gd name="connsiteX3" fmla="*/ 0 w 1914205"/>
                <a:gd name="connsiteY3" fmla="*/ 0 h 257442"/>
                <a:gd name="connsiteX0" fmla="*/ 1914205 w 1914205"/>
                <a:gd name="connsiteY0" fmla="*/ 0 h 257442"/>
                <a:gd name="connsiteX1" fmla="*/ 1859484 w 1914205"/>
                <a:gd name="connsiteY1" fmla="*/ 257442 h 257442"/>
                <a:gd name="connsiteX2" fmla="*/ 0 w 1914205"/>
                <a:gd name="connsiteY2" fmla="*/ 257442 h 257442"/>
                <a:gd name="connsiteX3" fmla="*/ 0 w 1914205"/>
                <a:gd name="connsiteY3" fmla="*/ 0 h 257442"/>
                <a:gd name="connsiteX0" fmla="*/ 2082521 w 2082521"/>
                <a:gd name="connsiteY0" fmla="*/ 0 h 257442"/>
                <a:gd name="connsiteX1" fmla="*/ 1859484 w 2082521"/>
                <a:gd name="connsiteY1" fmla="*/ 257442 h 257442"/>
                <a:gd name="connsiteX2" fmla="*/ 0 w 2082521"/>
                <a:gd name="connsiteY2" fmla="*/ 257442 h 257442"/>
                <a:gd name="connsiteX3" fmla="*/ 0 w 2082521"/>
                <a:gd name="connsiteY3" fmla="*/ 0 h 257442"/>
                <a:gd name="connsiteX0" fmla="*/ 2082521 w 2082521"/>
                <a:gd name="connsiteY0" fmla="*/ 0 h 257442"/>
                <a:gd name="connsiteX1" fmla="*/ 2027800 w 2082521"/>
                <a:gd name="connsiteY1" fmla="*/ 257442 h 257442"/>
                <a:gd name="connsiteX2" fmla="*/ 0 w 2082521"/>
                <a:gd name="connsiteY2" fmla="*/ 257442 h 257442"/>
                <a:gd name="connsiteX3" fmla="*/ 0 w 2082521"/>
                <a:gd name="connsiteY3" fmla="*/ 0 h 257442"/>
                <a:gd name="connsiteX0" fmla="*/ 2082521 w 2082521"/>
                <a:gd name="connsiteY0" fmla="*/ 0 h 257442"/>
                <a:gd name="connsiteX1" fmla="*/ 2027800 w 2082521"/>
                <a:gd name="connsiteY1" fmla="*/ 257442 h 257442"/>
                <a:gd name="connsiteX2" fmla="*/ 0 w 2082521"/>
                <a:gd name="connsiteY2" fmla="*/ 257442 h 257442"/>
                <a:gd name="connsiteX3" fmla="*/ 0 w 2082521"/>
                <a:gd name="connsiteY3" fmla="*/ 0 h 257442"/>
                <a:gd name="connsiteX0" fmla="*/ 2082521 w 2082521"/>
                <a:gd name="connsiteY0" fmla="*/ 0 h 257442"/>
                <a:gd name="connsiteX1" fmla="*/ 2027800 w 2082521"/>
                <a:gd name="connsiteY1" fmla="*/ 257442 h 257442"/>
                <a:gd name="connsiteX2" fmla="*/ 0 w 2082521"/>
                <a:gd name="connsiteY2" fmla="*/ 257442 h 257442"/>
                <a:gd name="connsiteX3" fmla="*/ 0 w 2082521"/>
                <a:gd name="connsiteY3" fmla="*/ 0 h 257442"/>
                <a:gd name="connsiteX0" fmla="*/ 2242822 w 2242822"/>
                <a:gd name="connsiteY0" fmla="*/ 0 h 257442"/>
                <a:gd name="connsiteX1" fmla="*/ 2027800 w 2242822"/>
                <a:gd name="connsiteY1" fmla="*/ 257442 h 257442"/>
                <a:gd name="connsiteX2" fmla="*/ 0 w 2242822"/>
                <a:gd name="connsiteY2" fmla="*/ 257442 h 257442"/>
                <a:gd name="connsiteX3" fmla="*/ 0 w 2242822"/>
                <a:gd name="connsiteY3" fmla="*/ 0 h 257442"/>
                <a:gd name="connsiteX0" fmla="*/ 2242822 w 2242822"/>
                <a:gd name="connsiteY0" fmla="*/ 0 h 257442"/>
                <a:gd name="connsiteX1" fmla="*/ 2188100 w 2242822"/>
                <a:gd name="connsiteY1" fmla="*/ 257442 h 257442"/>
                <a:gd name="connsiteX2" fmla="*/ 0 w 2242822"/>
                <a:gd name="connsiteY2" fmla="*/ 257442 h 257442"/>
                <a:gd name="connsiteX3" fmla="*/ 0 w 2242822"/>
                <a:gd name="connsiteY3" fmla="*/ 0 h 257442"/>
                <a:gd name="connsiteX0" fmla="*/ 2242823 w 2242823"/>
                <a:gd name="connsiteY0" fmla="*/ 0 h 257442"/>
                <a:gd name="connsiteX1" fmla="*/ 2188101 w 2242823"/>
                <a:gd name="connsiteY1" fmla="*/ 257442 h 257442"/>
                <a:gd name="connsiteX2" fmla="*/ 0 w 2242823"/>
                <a:gd name="connsiteY2" fmla="*/ 257442 h 257442"/>
                <a:gd name="connsiteX3" fmla="*/ 1 w 2242823"/>
                <a:gd name="connsiteY3" fmla="*/ 0 h 257442"/>
                <a:gd name="connsiteX0" fmla="*/ 2242823 w 2242823"/>
                <a:gd name="connsiteY0" fmla="*/ 0 h 257442"/>
                <a:gd name="connsiteX1" fmla="*/ 2188101 w 2242823"/>
                <a:gd name="connsiteY1" fmla="*/ 257442 h 257442"/>
                <a:gd name="connsiteX2" fmla="*/ 0 w 2242823"/>
                <a:gd name="connsiteY2" fmla="*/ 257442 h 257442"/>
                <a:gd name="connsiteX3" fmla="*/ 1 w 2242823"/>
                <a:gd name="connsiteY3" fmla="*/ 0 h 257442"/>
                <a:gd name="connsiteX0" fmla="*/ 2411137 w 2411137"/>
                <a:gd name="connsiteY0" fmla="*/ 0 h 257442"/>
                <a:gd name="connsiteX1" fmla="*/ 2188101 w 2411137"/>
                <a:gd name="connsiteY1" fmla="*/ 257442 h 257442"/>
                <a:gd name="connsiteX2" fmla="*/ 0 w 2411137"/>
                <a:gd name="connsiteY2" fmla="*/ 257442 h 257442"/>
                <a:gd name="connsiteX3" fmla="*/ 1 w 2411137"/>
                <a:gd name="connsiteY3" fmla="*/ 0 h 257442"/>
                <a:gd name="connsiteX0" fmla="*/ 2411137 w 2411137"/>
                <a:gd name="connsiteY0" fmla="*/ 0 h 257442"/>
                <a:gd name="connsiteX1" fmla="*/ 2356416 w 2411137"/>
                <a:gd name="connsiteY1" fmla="*/ 257442 h 257442"/>
                <a:gd name="connsiteX2" fmla="*/ 0 w 2411137"/>
                <a:gd name="connsiteY2" fmla="*/ 257442 h 257442"/>
                <a:gd name="connsiteX3" fmla="*/ 1 w 2411137"/>
                <a:gd name="connsiteY3" fmla="*/ 0 h 257442"/>
                <a:gd name="connsiteX0" fmla="*/ 2411136 w 2411136"/>
                <a:gd name="connsiteY0" fmla="*/ 0 h 257442"/>
                <a:gd name="connsiteX1" fmla="*/ 2356415 w 2411136"/>
                <a:gd name="connsiteY1" fmla="*/ 257442 h 257442"/>
                <a:gd name="connsiteX2" fmla="*/ 0 w 2411136"/>
                <a:gd name="connsiteY2" fmla="*/ 257442 h 257442"/>
                <a:gd name="connsiteX3" fmla="*/ 0 w 2411136"/>
                <a:gd name="connsiteY3" fmla="*/ 0 h 257442"/>
                <a:gd name="connsiteX0" fmla="*/ 2411137 w 2411137"/>
                <a:gd name="connsiteY0" fmla="*/ 0 h 257442"/>
                <a:gd name="connsiteX1" fmla="*/ 2356416 w 2411137"/>
                <a:gd name="connsiteY1" fmla="*/ 257442 h 257442"/>
                <a:gd name="connsiteX2" fmla="*/ 1 w 2411137"/>
                <a:gd name="connsiteY2" fmla="*/ 257442 h 257442"/>
                <a:gd name="connsiteX3" fmla="*/ 0 w 2411137"/>
                <a:gd name="connsiteY3" fmla="*/ 0 h 257442"/>
                <a:gd name="connsiteX0" fmla="*/ 2680442 w 2680442"/>
                <a:gd name="connsiteY0" fmla="*/ 0 h 257442"/>
                <a:gd name="connsiteX1" fmla="*/ 2356416 w 2680442"/>
                <a:gd name="connsiteY1" fmla="*/ 257442 h 257442"/>
                <a:gd name="connsiteX2" fmla="*/ 1 w 2680442"/>
                <a:gd name="connsiteY2" fmla="*/ 257442 h 257442"/>
                <a:gd name="connsiteX3" fmla="*/ 0 w 2680442"/>
                <a:gd name="connsiteY3" fmla="*/ 0 h 257442"/>
                <a:gd name="connsiteX0" fmla="*/ 2680442 w 2680442"/>
                <a:gd name="connsiteY0" fmla="*/ 0 h 257442"/>
                <a:gd name="connsiteX1" fmla="*/ 2625720 w 2680442"/>
                <a:gd name="connsiteY1" fmla="*/ 257442 h 257442"/>
                <a:gd name="connsiteX2" fmla="*/ 1 w 2680442"/>
                <a:gd name="connsiteY2" fmla="*/ 257442 h 257442"/>
                <a:gd name="connsiteX3" fmla="*/ 0 w 2680442"/>
                <a:gd name="connsiteY3" fmla="*/ 0 h 257442"/>
                <a:gd name="connsiteX0" fmla="*/ 2680442 w 2680442"/>
                <a:gd name="connsiteY0" fmla="*/ 0 h 257442"/>
                <a:gd name="connsiteX1" fmla="*/ 2625720 w 2680442"/>
                <a:gd name="connsiteY1" fmla="*/ 257442 h 257442"/>
                <a:gd name="connsiteX2" fmla="*/ 0 w 2680442"/>
                <a:gd name="connsiteY2" fmla="*/ 257442 h 257442"/>
                <a:gd name="connsiteX3" fmla="*/ 0 w 2680442"/>
                <a:gd name="connsiteY3" fmla="*/ 0 h 257442"/>
                <a:gd name="connsiteX0" fmla="*/ 2680442 w 2680442"/>
                <a:gd name="connsiteY0" fmla="*/ 0 h 257442"/>
                <a:gd name="connsiteX1" fmla="*/ 2625720 w 2680442"/>
                <a:gd name="connsiteY1" fmla="*/ 257442 h 257442"/>
                <a:gd name="connsiteX2" fmla="*/ 0 w 2680442"/>
                <a:gd name="connsiteY2" fmla="*/ 257442 h 257442"/>
                <a:gd name="connsiteX3" fmla="*/ 0 w 2680442"/>
                <a:gd name="connsiteY3" fmla="*/ 0 h 257442"/>
                <a:gd name="connsiteX0" fmla="*/ 2840741 w 2840741"/>
                <a:gd name="connsiteY0" fmla="*/ 0 h 257442"/>
                <a:gd name="connsiteX1" fmla="*/ 2625720 w 2840741"/>
                <a:gd name="connsiteY1" fmla="*/ 257442 h 257442"/>
                <a:gd name="connsiteX2" fmla="*/ 0 w 2840741"/>
                <a:gd name="connsiteY2" fmla="*/ 257442 h 257442"/>
                <a:gd name="connsiteX3" fmla="*/ 0 w 2840741"/>
                <a:gd name="connsiteY3" fmla="*/ 0 h 257442"/>
                <a:gd name="connsiteX0" fmla="*/ 2840741 w 2840741"/>
                <a:gd name="connsiteY0" fmla="*/ 0 h 257442"/>
                <a:gd name="connsiteX1" fmla="*/ 2786020 w 2840741"/>
                <a:gd name="connsiteY1" fmla="*/ 257442 h 257442"/>
                <a:gd name="connsiteX2" fmla="*/ 0 w 2840741"/>
                <a:gd name="connsiteY2" fmla="*/ 257442 h 257442"/>
                <a:gd name="connsiteX3" fmla="*/ 0 w 2840741"/>
                <a:gd name="connsiteY3" fmla="*/ 0 h 257442"/>
                <a:gd name="connsiteX0" fmla="*/ 2840741 w 2840741"/>
                <a:gd name="connsiteY0" fmla="*/ 0 h 257442"/>
                <a:gd name="connsiteX1" fmla="*/ 2786020 w 2840741"/>
                <a:gd name="connsiteY1" fmla="*/ 257442 h 257442"/>
                <a:gd name="connsiteX2" fmla="*/ 0 w 2840741"/>
                <a:gd name="connsiteY2" fmla="*/ 257442 h 257442"/>
                <a:gd name="connsiteX3" fmla="*/ 0 w 2840741"/>
                <a:gd name="connsiteY3" fmla="*/ 0 h 257442"/>
                <a:gd name="connsiteX0" fmla="*/ 2840741 w 2840741"/>
                <a:gd name="connsiteY0" fmla="*/ 0 h 257442"/>
                <a:gd name="connsiteX1" fmla="*/ 2786020 w 2840741"/>
                <a:gd name="connsiteY1" fmla="*/ 257442 h 257442"/>
                <a:gd name="connsiteX2" fmla="*/ 0 w 2840741"/>
                <a:gd name="connsiteY2" fmla="*/ 257442 h 257442"/>
                <a:gd name="connsiteX3" fmla="*/ 0 w 2840741"/>
                <a:gd name="connsiteY3" fmla="*/ 0 h 257442"/>
                <a:gd name="connsiteX0" fmla="*/ 950801 w 2786020"/>
                <a:gd name="connsiteY0" fmla="*/ 0 h 257442"/>
                <a:gd name="connsiteX1" fmla="*/ 2786020 w 2786020"/>
                <a:gd name="connsiteY1" fmla="*/ 257442 h 257442"/>
                <a:gd name="connsiteX2" fmla="*/ 0 w 2786020"/>
                <a:gd name="connsiteY2" fmla="*/ 257442 h 257442"/>
                <a:gd name="connsiteX3" fmla="*/ 0 w 2786020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111100 w 1111100"/>
                <a:gd name="connsiteY0" fmla="*/ 0 h 257442"/>
                <a:gd name="connsiteX1" fmla="*/ 896079 w 1111100"/>
                <a:gd name="connsiteY1" fmla="*/ 257442 h 257442"/>
                <a:gd name="connsiteX2" fmla="*/ 0 w 1111100"/>
                <a:gd name="connsiteY2" fmla="*/ 257442 h 257442"/>
                <a:gd name="connsiteX3" fmla="*/ 0 w 1111100"/>
                <a:gd name="connsiteY3" fmla="*/ 0 h 257442"/>
                <a:gd name="connsiteX0" fmla="*/ 1111100 w 1111100"/>
                <a:gd name="connsiteY0" fmla="*/ 0 h 257442"/>
                <a:gd name="connsiteX1" fmla="*/ 1056379 w 1111100"/>
                <a:gd name="connsiteY1" fmla="*/ 257442 h 257442"/>
                <a:gd name="connsiteX2" fmla="*/ 0 w 1111100"/>
                <a:gd name="connsiteY2" fmla="*/ 257442 h 257442"/>
                <a:gd name="connsiteX3" fmla="*/ 0 w 1111100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297051 w 1297051"/>
                <a:gd name="connsiteY0" fmla="*/ 0 h 257442"/>
                <a:gd name="connsiteX1" fmla="*/ 1056380 w 1297051"/>
                <a:gd name="connsiteY1" fmla="*/ 257442 h 257442"/>
                <a:gd name="connsiteX2" fmla="*/ 0 w 1297051"/>
                <a:gd name="connsiteY2" fmla="*/ 257442 h 257442"/>
                <a:gd name="connsiteX3" fmla="*/ 1 w 1297051"/>
                <a:gd name="connsiteY3" fmla="*/ 0 h 257442"/>
                <a:gd name="connsiteX0" fmla="*/ 1297051 w 1297051"/>
                <a:gd name="connsiteY0" fmla="*/ 0 h 257442"/>
                <a:gd name="connsiteX1" fmla="*/ 1242330 w 1297051"/>
                <a:gd name="connsiteY1" fmla="*/ 257442 h 257442"/>
                <a:gd name="connsiteX2" fmla="*/ 0 w 1297051"/>
                <a:gd name="connsiteY2" fmla="*/ 257442 h 257442"/>
                <a:gd name="connsiteX3" fmla="*/ 1 w 1297051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1 w 1297051"/>
                <a:gd name="connsiteY0" fmla="*/ 0 h 257442"/>
                <a:gd name="connsiteX1" fmla="*/ 1242330 w 1297051"/>
                <a:gd name="connsiteY1" fmla="*/ 257442 h 257442"/>
                <a:gd name="connsiteX2" fmla="*/ 1 w 1297051"/>
                <a:gd name="connsiteY2" fmla="*/ 257442 h 257442"/>
                <a:gd name="connsiteX3" fmla="*/ 0 w 1297051"/>
                <a:gd name="connsiteY3" fmla="*/ 0 h 257442"/>
                <a:gd name="connsiteX0" fmla="*/ 1474984 w 1474984"/>
                <a:gd name="connsiteY0" fmla="*/ 0 h 257442"/>
                <a:gd name="connsiteX1" fmla="*/ 1242330 w 1474984"/>
                <a:gd name="connsiteY1" fmla="*/ 257442 h 257442"/>
                <a:gd name="connsiteX2" fmla="*/ 1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1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652916 w 1652916"/>
                <a:gd name="connsiteY0" fmla="*/ 0 h 257442"/>
                <a:gd name="connsiteX1" fmla="*/ 1420262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821231 w 1821231"/>
                <a:gd name="connsiteY0" fmla="*/ 0 h 257442"/>
                <a:gd name="connsiteX1" fmla="*/ 1598195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989547 w 1989547"/>
                <a:gd name="connsiteY0" fmla="*/ 0 h 257442"/>
                <a:gd name="connsiteX1" fmla="*/ 1766510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1989547 w 1989547"/>
                <a:gd name="connsiteY0" fmla="*/ 0 h 257442"/>
                <a:gd name="connsiteX1" fmla="*/ 1934826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1989547 w 1989547"/>
                <a:gd name="connsiteY0" fmla="*/ 0 h 257442"/>
                <a:gd name="connsiteX1" fmla="*/ 1934826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1989547 w 1989547"/>
                <a:gd name="connsiteY0" fmla="*/ 0 h 257442"/>
                <a:gd name="connsiteX1" fmla="*/ 1934826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2149847 w 2149847"/>
                <a:gd name="connsiteY0" fmla="*/ 0 h 257442"/>
                <a:gd name="connsiteX1" fmla="*/ 1934826 w 2149847"/>
                <a:gd name="connsiteY1" fmla="*/ 257442 h 257442"/>
                <a:gd name="connsiteX2" fmla="*/ 0 w 2149847"/>
                <a:gd name="connsiteY2" fmla="*/ 257442 h 257442"/>
                <a:gd name="connsiteX3" fmla="*/ 0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0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0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0 w 2149847"/>
                <a:gd name="connsiteY3" fmla="*/ 0 h 257442"/>
                <a:gd name="connsiteX0" fmla="*/ 2318162 w 2318162"/>
                <a:gd name="connsiteY0" fmla="*/ 0 h 257442"/>
                <a:gd name="connsiteX1" fmla="*/ 2095126 w 2318162"/>
                <a:gd name="connsiteY1" fmla="*/ 257442 h 257442"/>
                <a:gd name="connsiteX2" fmla="*/ 0 w 2318162"/>
                <a:gd name="connsiteY2" fmla="*/ 257442 h 257442"/>
                <a:gd name="connsiteX3" fmla="*/ 0 w 2318162"/>
                <a:gd name="connsiteY3" fmla="*/ 0 h 257442"/>
                <a:gd name="connsiteX0" fmla="*/ 2318162 w 2318162"/>
                <a:gd name="connsiteY0" fmla="*/ 0 h 257442"/>
                <a:gd name="connsiteX1" fmla="*/ 2263440 w 2318162"/>
                <a:gd name="connsiteY1" fmla="*/ 257442 h 257442"/>
                <a:gd name="connsiteX2" fmla="*/ 0 w 2318162"/>
                <a:gd name="connsiteY2" fmla="*/ 257442 h 257442"/>
                <a:gd name="connsiteX3" fmla="*/ 0 w 2318162"/>
                <a:gd name="connsiteY3" fmla="*/ 0 h 257442"/>
                <a:gd name="connsiteX0" fmla="*/ 2318163 w 2318163"/>
                <a:gd name="connsiteY0" fmla="*/ 0 h 257442"/>
                <a:gd name="connsiteX1" fmla="*/ 2263441 w 2318163"/>
                <a:gd name="connsiteY1" fmla="*/ 257442 h 257442"/>
                <a:gd name="connsiteX2" fmla="*/ 0 w 2318163"/>
                <a:gd name="connsiteY2" fmla="*/ 257442 h 257442"/>
                <a:gd name="connsiteX3" fmla="*/ 1 w 2318163"/>
                <a:gd name="connsiteY3" fmla="*/ 0 h 257442"/>
                <a:gd name="connsiteX0" fmla="*/ 2318163 w 2318163"/>
                <a:gd name="connsiteY0" fmla="*/ 0 h 257442"/>
                <a:gd name="connsiteX1" fmla="*/ 2263441 w 2318163"/>
                <a:gd name="connsiteY1" fmla="*/ 257442 h 257442"/>
                <a:gd name="connsiteX2" fmla="*/ 0 w 2318163"/>
                <a:gd name="connsiteY2" fmla="*/ 257442 h 257442"/>
                <a:gd name="connsiteX3" fmla="*/ 1 w 2318163"/>
                <a:gd name="connsiteY3" fmla="*/ 0 h 257442"/>
                <a:gd name="connsiteX0" fmla="*/ 2587468 w 2587468"/>
                <a:gd name="connsiteY0" fmla="*/ 0 h 257442"/>
                <a:gd name="connsiteX1" fmla="*/ 2263441 w 2587468"/>
                <a:gd name="connsiteY1" fmla="*/ 257442 h 257442"/>
                <a:gd name="connsiteX2" fmla="*/ 0 w 2587468"/>
                <a:gd name="connsiteY2" fmla="*/ 257442 h 257442"/>
                <a:gd name="connsiteX3" fmla="*/ 1 w 2587468"/>
                <a:gd name="connsiteY3" fmla="*/ 0 h 257442"/>
                <a:gd name="connsiteX0" fmla="*/ 2587468 w 2587468"/>
                <a:gd name="connsiteY0" fmla="*/ 0 h 257442"/>
                <a:gd name="connsiteX1" fmla="*/ 2532746 w 2587468"/>
                <a:gd name="connsiteY1" fmla="*/ 257442 h 257442"/>
                <a:gd name="connsiteX2" fmla="*/ 0 w 2587468"/>
                <a:gd name="connsiteY2" fmla="*/ 257442 h 257442"/>
                <a:gd name="connsiteX3" fmla="*/ 1 w 2587468"/>
                <a:gd name="connsiteY3" fmla="*/ 0 h 257442"/>
                <a:gd name="connsiteX0" fmla="*/ 2587468 w 2587468"/>
                <a:gd name="connsiteY0" fmla="*/ 0 h 257442"/>
                <a:gd name="connsiteX1" fmla="*/ 2532746 w 2587468"/>
                <a:gd name="connsiteY1" fmla="*/ 257442 h 257442"/>
                <a:gd name="connsiteX2" fmla="*/ 0 w 2587468"/>
                <a:gd name="connsiteY2" fmla="*/ 257442 h 257442"/>
                <a:gd name="connsiteX3" fmla="*/ 1 w 2587468"/>
                <a:gd name="connsiteY3" fmla="*/ 0 h 257442"/>
                <a:gd name="connsiteX0" fmla="*/ 2587468 w 2587468"/>
                <a:gd name="connsiteY0" fmla="*/ 0 h 257442"/>
                <a:gd name="connsiteX1" fmla="*/ 2532746 w 2587468"/>
                <a:gd name="connsiteY1" fmla="*/ 257442 h 257442"/>
                <a:gd name="connsiteX2" fmla="*/ 0 w 2587468"/>
                <a:gd name="connsiteY2" fmla="*/ 257442 h 257442"/>
                <a:gd name="connsiteX3" fmla="*/ 0 w 2587468"/>
                <a:gd name="connsiteY3" fmla="*/ 0 h 257442"/>
                <a:gd name="connsiteX0" fmla="*/ 2747767 w 2747767"/>
                <a:gd name="connsiteY0" fmla="*/ 0 h 257442"/>
                <a:gd name="connsiteX1" fmla="*/ 2532746 w 2747767"/>
                <a:gd name="connsiteY1" fmla="*/ 257442 h 257442"/>
                <a:gd name="connsiteX2" fmla="*/ 0 w 2747767"/>
                <a:gd name="connsiteY2" fmla="*/ 257442 h 257442"/>
                <a:gd name="connsiteX3" fmla="*/ 0 w 2747767"/>
                <a:gd name="connsiteY3" fmla="*/ 0 h 257442"/>
                <a:gd name="connsiteX0" fmla="*/ 2747767 w 2747767"/>
                <a:gd name="connsiteY0" fmla="*/ 0 h 257442"/>
                <a:gd name="connsiteX1" fmla="*/ 2693046 w 2747767"/>
                <a:gd name="connsiteY1" fmla="*/ 257442 h 257442"/>
                <a:gd name="connsiteX2" fmla="*/ 0 w 2747767"/>
                <a:gd name="connsiteY2" fmla="*/ 257442 h 257442"/>
                <a:gd name="connsiteX3" fmla="*/ 0 w 2747767"/>
                <a:gd name="connsiteY3" fmla="*/ 0 h 257442"/>
                <a:gd name="connsiteX0" fmla="*/ 2747767 w 2747767"/>
                <a:gd name="connsiteY0" fmla="*/ 0 h 257442"/>
                <a:gd name="connsiteX1" fmla="*/ 2693046 w 2747767"/>
                <a:gd name="connsiteY1" fmla="*/ 257442 h 257442"/>
                <a:gd name="connsiteX2" fmla="*/ 0 w 2747767"/>
                <a:gd name="connsiteY2" fmla="*/ 257442 h 257442"/>
                <a:gd name="connsiteX3" fmla="*/ 0 w 2747767"/>
                <a:gd name="connsiteY3" fmla="*/ 0 h 257442"/>
                <a:gd name="connsiteX0" fmla="*/ 2747767 w 2747767"/>
                <a:gd name="connsiteY0" fmla="*/ 0 h 257442"/>
                <a:gd name="connsiteX1" fmla="*/ 2693046 w 2747767"/>
                <a:gd name="connsiteY1" fmla="*/ 257442 h 257442"/>
                <a:gd name="connsiteX2" fmla="*/ 0 w 2747767"/>
                <a:gd name="connsiteY2" fmla="*/ 257442 h 257442"/>
                <a:gd name="connsiteX3" fmla="*/ 0 w 2747767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47767" h="257442">
                  <a:moveTo>
                    <a:pt x="2747767" y="0"/>
                  </a:moveTo>
                  <a:lnTo>
                    <a:pt x="2693046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6" name="btfpRunningAgenda1LevelTextLeft432015">
              <a:extLst>
                <a:ext uri="{FF2B5EF4-FFF2-40B4-BE49-F238E27FC236}">
                  <a16:creationId xmlns:a16="http://schemas.microsoft.com/office/drawing/2014/main" id="{BE85DC4D-5223-4D5C-8071-61432E3AAA03}"/>
                </a:ext>
              </a:extLst>
            </p:cNvPr>
            <p:cNvSpPr txBox="1"/>
            <p:nvPr/>
          </p:nvSpPr>
          <p:spPr bwMode="gray">
            <a:xfrm>
              <a:off x="0" y="944429"/>
              <a:ext cx="2693046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mographics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3722708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btfpColumnIndicatorGroup2">
            <a:extLst>
              <a:ext uri="{FF2B5EF4-FFF2-40B4-BE49-F238E27FC236}">
                <a16:creationId xmlns:a16="http://schemas.microsoft.com/office/drawing/2014/main" id="{A13BF8FD-B2E9-4971-A82D-27DFB0BE7F8B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0" name="btfpColumnGapBlocker695885">
              <a:extLst>
                <a:ext uri="{FF2B5EF4-FFF2-40B4-BE49-F238E27FC236}">
                  <a16:creationId xmlns:a16="http://schemas.microsoft.com/office/drawing/2014/main" id="{0D6B84DA-D515-4CD6-8073-E1D62213EFEC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8" name="btfpColumnGapBlocker140492">
              <a:extLst>
                <a:ext uri="{FF2B5EF4-FFF2-40B4-BE49-F238E27FC236}">
                  <a16:creationId xmlns:a16="http://schemas.microsoft.com/office/drawing/2014/main" id="{A7F9B710-1A38-4C97-B72B-19BCDAEEB15F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" name="btfpColumnIndicator274974">
              <a:extLst>
                <a:ext uri="{FF2B5EF4-FFF2-40B4-BE49-F238E27FC236}">
                  <a16:creationId xmlns:a16="http://schemas.microsoft.com/office/drawing/2014/main" id="{24F56BB1-0D30-438B-B39A-7458E84F30DC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287012">
              <a:extLst>
                <a:ext uri="{FF2B5EF4-FFF2-40B4-BE49-F238E27FC236}">
                  <a16:creationId xmlns:a16="http://schemas.microsoft.com/office/drawing/2014/main" id="{02AE98F2-2493-4A08-A27C-0EDC9285249B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btfpColumnIndicatorGroup1">
            <a:extLst>
              <a:ext uri="{FF2B5EF4-FFF2-40B4-BE49-F238E27FC236}">
                <a16:creationId xmlns:a16="http://schemas.microsoft.com/office/drawing/2014/main" id="{5FFDA2D7-9F9C-48FE-A15B-A2454140E2F1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9" name="btfpColumnGapBlocker196375">
              <a:extLst>
                <a:ext uri="{FF2B5EF4-FFF2-40B4-BE49-F238E27FC236}">
                  <a16:creationId xmlns:a16="http://schemas.microsoft.com/office/drawing/2014/main" id="{17FFCB14-8CE6-46CD-9C5D-AFA93CAFD520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7" name="btfpColumnGapBlocker302321">
              <a:extLst>
                <a:ext uri="{FF2B5EF4-FFF2-40B4-BE49-F238E27FC236}">
                  <a16:creationId xmlns:a16="http://schemas.microsoft.com/office/drawing/2014/main" id="{1C1F55BF-E2DC-4F49-8D64-17A83D1FA13F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182288">
              <a:extLst>
                <a:ext uri="{FF2B5EF4-FFF2-40B4-BE49-F238E27FC236}">
                  <a16:creationId xmlns:a16="http://schemas.microsoft.com/office/drawing/2014/main" id="{D34E9C68-4D88-4F96-8CE8-608C2BB4F78D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" name="btfpColumnIndicator987647">
              <a:extLst>
                <a:ext uri="{FF2B5EF4-FFF2-40B4-BE49-F238E27FC236}">
                  <a16:creationId xmlns:a16="http://schemas.microsoft.com/office/drawing/2014/main" id="{26B8E9D2-0271-4429-BA8C-420CB6DEAEA9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" name="AgendaLine">
            <a:extLst>
              <a:ext uri="{FF2B5EF4-FFF2-40B4-BE49-F238E27FC236}">
                <a16:creationId xmlns:a16="http://schemas.microsoft.com/office/drawing/2014/main" id="{4908DE91-7177-4E64-A83B-38A0084A7148}"/>
              </a:ext>
            </a:extLst>
          </p:cNvPr>
          <p:cNvCxnSpPr/>
          <p:nvPr/>
        </p:nvCxnSpPr>
        <p:spPr bwMode="gray">
          <a:xfrm>
            <a:off x="1616981" y="876300"/>
            <a:ext cx="0" cy="5689600"/>
          </a:xfrm>
          <a:prstGeom prst="line">
            <a:avLst/>
          </a:prstGeom>
          <a:ln w="19050" cap="flat" cmpd="sng">
            <a:solidFill>
              <a:srgbClr val="CC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AgendaTitle">
            <a:extLst>
              <a:ext uri="{FF2B5EF4-FFF2-40B4-BE49-F238E27FC236}">
                <a16:creationId xmlns:a16="http://schemas.microsoft.com/office/drawing/2014/main" id="{3C22ED26-A427-4F35-A641-5200FE1D1AB3}"/>
              </a:ext>
            </a:extLst>
          </p:cNvPr>
          <p:cNvSpPr txBox="1"/>
          <p:nvPr/>
        </p:nvSpPr>
        <p:spPr bwMode="gray">
          <a:xfrm>
            <a:off x="330200" y="952500"/>
            <a:ext cx="1102585" cy="235611"/>
          </a:xfrm>
          <a:prstGeom prst="rect">
            <a:avLst/>
          </a:prstGeom>
          <a:noFill/>
        </p:spPr>
        <p:txBody>
          <a:bodyPr vert="horz" wrap="none" lIns="18136" tIns="25226" rIns="72073" bIns="25226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all" spc="45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genda</a:t>
            </a:r>
            <a:endParaRPr kumimoji="0" lang="en-GB" sz="1200" b="1" i="0" u="none" strike="noStrike" kern="1200" cap="all" spc="45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4" name="AgendaEmphasisBar">
            <a:extLst>
              <a:ext uri="{FF2B5EF4-FFF2-40B4-BE49-F238E27FC236}">
                <a16:creationId xmlns:a16="http://schemas.microsoft.com/office/drawing/2014/main" id="{657B739E-7746-4C9E-8716-DEC1B786931E}"/>
              </a:ext>
            </a:extLst>
          </p:cNvPr>
          <p:cNvSpPr/>
          <p:nvPr/>
        </p:nvSpPr>
        <p:spPr bwMode="gray">
          <a:xfrm>
            <a:off x="1616981" y="1839401"/>
            <a:ext cx="127000" cy="743179"/>
          </a:xfrm>
          <a:prstGeom prst="rect">
            <a:avLst/>
          </a:prstGeom>
          <a:solidFill>
            <a:srgbClr val="CC0000"/>
          </a:solidFill>
          <a:ln w="19050">
            <a:solidFill>
              <a:srgbClr val="CC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25" name="Agenda">
            <a:extLst>
              <a:ext uri="{FF2B5EF4-FFF2-40B4-BE49-F238E27FC236}">
                <a16:creationId xmlns:a16="http://schemas.microsoft.com/office/drawing/2014/main" id="{C52FA4A1-801D-4345-8C59-2312FBBF3FF2}"/>
              </a:ext>
            </a:extLst>
          </p:cNvPr>
          <p:cNvGrpSpPr/>
          <p:nvPr/>
        </p:nvGrpSpPr>
        <p:grpSpPr>
          <a:xfrm>
            <a:off x="1970752" y="1270000"/>
            <a:ext cx="9891047" cy="5295900"/>
            <a:chOff x="1970752" y="1270000"/>
            <a:chExt cx="9891047" cy="5295900"/>
          </a:xfrm>
        </p:grpSpPr>
        <p:sp>
          <p:nvSpPr>
            <p:cNvPr id="126" name="AgendaTextBox">
              <a:extLst>
                <a:ext uri="{FF2B5EF4-FFF2-40B4-BE49-F238E27FC236}">
                  <a16:creationId xmlns:a16="http://schemas.microsoft.com/office/drawing/2014/main" id="{DE14AC7F-E214-4D02-8407-8857F5E08BEF}"/>
                </a:ext>
              </a:extLst>
            </p:cNvPr>
            <p:cNvSpPr txBox="1"/>
            <p:nvPr/>
          </p:nvSpPr>
          <p:spPr bwMode="gray">
            <a:xfrm>
              <a:off x="2034252" y="1270000"/>
              <a:ext cx="9827547" cy="5295900"/>
            </a:xfrm>
            <a:prstGeom prst="rect">
              <a:avLst/>
            </a:prstGeom>
            <a:noFill/>
          </p:spPr>
          <p:txBody>
            <a:bodyPr vert="horz" wrap="square" lIns="36000" tIns="36000" rIns="36000" bIns="36000" rtlCol="0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3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mographics</a:t>
              </a:r>
            </a:p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3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CC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PS</a:t>
              </a:r>
            </a:p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3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KPC</a:t>
              </a:r>
            </a:p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3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wareness and usage</a:t>
              </a:r>
            </a:p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3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witching</a:t>
              </a:r>
            </a:p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3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ice, Spend and SOW</a:t>
              </a:r>
              <a:endParaRPr kumimoji="0" lang="en-GB" sz="2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27" name="AgendaSeparator1">
              <a:extLst>
                <a:ext uri="{FF2B5EF4-FFF2-40B4-BE49-F238E27FC236}">
                  <a16:creationId xmlns:a16="http://schemas.microsoft.com/office/drawing/2014/main" id="{34F9EA9F-ECB7-4902-9EBF-CF299085A73E}"/>
                </a:ext>
              </a:extLst>
            </p:cNvPr>
            <p:cNvCxnSpPr/>
            <p:nvPr/>
          </p:nvCxnSpPr>
          <p:spPr bwMode="gray">
            <a:xfrm>
              <a:off x="1970752" y="1839400"/>
              <a:ext cx="2800414" cy="0"/>
            </a:xfrm>
            <a:prstGeom prst="line">
              <a:avLst/>
            </a:prstGeom>
            <a:ln w="9525" cap="flat">
              <a:solidFill>
                <a:srgbClr val="D6D6D6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AgendaSeparator2">
              <a:extLst>
                <a:ext uri="{FF2B5EF4-FFF2-40B4-BE49-F238E27FC236}">
                  <a16:creationId xmlns:a16="http://schemas.microsoft.com/office/drawing/2014/main" id="{876B3FFF-0CF5-4C79-995D-6B196BDB8211}"/>
                </a:ext>
              </a:extLst>
            </p:cNvPr>
            <p:cNvCxnSpPr/>
            <p:nvPr/>
          </p:nvCxnSpPr>
          <p:spPr bwMode="gray">
            <a:xfrm>
              <a:off x="1970752" y="2601400"/>
              <a:ext cx="2800414" cy="0"/>
            </a:xfrm>
            <a:prstGeom prst="line">
              <a:avLst/>
            </a:prstGeom>
            <a:ln w="9525" cap="flat">
              <a:solidFill>
                <a:srgbClr val="D6D6D6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AgendaSeparator3">
              <a:extLst>
                <a:ext uri="{FF2B5EF4-FFF2-40B4-BE49-F238E27FC236}">
                  <a16:creationId xmlns:a16="http://schemas.microsoft.com/office/drawing/2014/main" id="{F0D7CF84-2A02-4775-9788-50A7876A6F1D}"/>
                </a:ext>
              </a:extLst>
            </p:cNvPr>
            <p:cNvCxnSpPr/>
            <p:nvPr/>
          </p:nvCxnSpPr>
          <p:spPr bwMode="gray">
            <a:xfrm>
              <a:off x="1970752" y="3363400"/>
              <a:ext cx="2800414" cy="0"/>
            </a:xfrm>
            <a:prstGeom prst="line">
              <a:avLst/>
            </a:prstGeom>
            <a:ln w="9525" cap="flat">
              <a:solidFill>
                <a:srgbClr val="D6D6D6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AgendaSeparator4">
              <a:extLst>
                <a:ext uri="{FF2B5EF4-FFF2-40B4-BE49-F238E27FC236}">
                  <a16:creationId xmlns:a16="http://schemas.microsoft.com/office/drawing/2014/main" id="{312A681E-D9D3-4B12-8FF7-013C213CDB15}"/>
                </a:ext>
              </a:extLst>
            </p:cNvPr>
            <p:cNvCxnSpPr/>
            <p:nvPr/>
          </p:nvCxnSpPr>
          <p:spPr bwMode="gray">
            <a:xfrm>
              <a:off x="1970752" y="4125400"/>
              <a:ext cx="2800414" cy="0"/>
            </a:xfrm>
            <a:prstGeom prst="line">
              <a:avLst/>
            </a:prstGeom>
            <a:ln w="9525" cap="flat">
              <a:solidFill>
                <a:srgbClr val="D6D6D6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AgendaSeparator5">
              <a:extLst>
                <a:ext uri="{FF2B5EF4-FFF2-40B4-BE49-F238E27FC236}">
                  <a16:creationId xmlns:a16="http://schemas.microsoft.com/office/drawing/2014/main" id="{63CB6F66-0C5D-43EB-B407-8C1E8463C725}"/>
                </a:ext>
              </a:extLst>
            </p:cNvPr>
            <p:cNvCxnSpPr/>
            <p:nvPr/>
          </p:nvCxnSpPr>
          <p:spPr bwMode="gray">
            <a:xfrm>
              <a:off x="1970752" y="4887400"/>
              <a:ext cx="2800414" cy="0"/>
            </a:xfrm>
            <a:prstGeom prst="line">
              <a:avLst/>
            </a:prstGeom>
            <a:ln w="9525" cap="flat">
              <a:solidFill>
                <a:srgbClr val="D6D6D6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42533944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btfpColumnIndicatorGroup2">
            <a:extLst>
              <a:ext uri="{FF2B5EF4-FFF2-40B4-BE49-F238E27FC236}">
                <a16:creationId xmlns:a16="http://schemas.microsoft.com/office/drawing/2014/main" id="{816E317C-EE51-4E68-8184-778C1BA39C32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0" name="btfpColumnGapBlocker585935">
              <a:extLst>
                <a:ext uri="{FF2B5EF4-FFF2-40B4-BE49-F238E27FC236}">
                  <a16:creationId xmlns:a16="http://schemas.microsoft.com/office/drawing/2014/main" id="{BBBE650F-875F-4B1B-8446-46103EDA19B4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8" name="btfpColumnGapBlocker278396">
              <a:extLst>
                <a:ext uri="{FF2B5EF4-FFF2-40B4-BE49-F238E27FC236}">
                  <a16:creationId xmlns:a16="http://schemas.microsoft.com/office/drawing/2014/main" id="{8D9CD9D0-4AAF-4DDD-9FAA-C6A36B1B265D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" name="btfpColumnIndicator657244">
              <a:extLst>
                <a:ext uri="{FF2B5EF4-FFF2-40B4-BE49-F238E27FC236}">
                  <a16:creationId xmlns:a16="http://schemas.microsoft.com/office/drawing/2014/main" id="{6C5E6BCC-F90E-4037-AC9D-F01087051ED8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622259">
              <a:extLst>
                <a:ext uri="{FF2B5EF4-FFF2-40B4-BE49-F238E27FC236}">
                  <a16:creationId xmlns:a16="http://schemas.microsoft.com/office/drawing/2014/main" id="{A81AF27F-815A-4C6E-B607-BBD292EC1CAB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btfpColumnIndicatorGroup1">
            <a:extLst>
              <a:ext uri="{FF2B5EF4-FFF2-40B4-BE49-F238E27FC236}">
                <a16:creationId xmlns:a16="http://schemas.microsoft.com/office/drawing/2014/main" id="{E76E20C9-C35D-458F-96AB-13442482E139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9" name="btfpColumnGapBlocker671136">
              <a:extLst>
                <a:ext uri="{FF2B5EF4-FFF2-40B4-BE49-F238E27FC236}">
                  <a16:creationId xmlns:a16="http://schemas.microsoft.com/office/drawing/2014/main" id="{04093447-705F-4093-9CEE-F3A8B5808EA5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7" name="btfpColumnGapBlocker323867">
              <a:extLst>
                <a:ext uri="{FF2B5EF4-FFF2-40B4-BE49-F238E27FC236}">
                  <a16:creationId xmlns:a16="http://schemas.microsoft.com/office/drawing/2014/main" id="{7E86A726-30F8-40C6-A165-6A6E69ECB121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265144">
              <a:extLst>
                <a:ext uri="{FF2B5EF4-FFF2-40B4-BE49-F238E27FC236}">
                  <a16:creationId xmlns:a16="http://schemas.microsoft.com/office/drawing/2014/main" id="{BCBB619C-BBC1-4E38-B954-4CDE8BC33DBA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614511">
              <a:extLst>
                <a:ext uri="{FF2B5EF4-FFF2-40B4-BE49-F238E27FC236}">
                  <a16:creationId xmlns:a16="http://schemas.microsoft.com/office/drawing/2014/main" id="{8577F765-0405-49EA-90E0-DFB1CB6339F1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btfpMGChart123825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lENV4Nd3hBen/O1kLX9k3pcNAOL+EE2V3lmD8ruQbE13g1FqVUG0VWnOCyjJJS0CFzMrRb5eXt+rpsG/92dsnLvHpo59OnndKmhsb6FgmugMZqIgyStP9ymmG4xIt5kTVQsOWym1YlgjCxvdF9ttiwvbGWZJs/wazTY0shvaOXw2lSoSTbKRSSlEk8mW6tviIgbOkaFS/aS5bpGkFypPzvadYmJ6g2uzKT3z6jxx2A7EQRSttBH4YypdEjghU5JmAJ/5G7Gpj5N7FrLjJPvhdo7weafVRvQNeRUNnu5GcRVDKIxhwECJ1HSnAqvbYbazq3NtLME6kSvnH2LPUM2gkcZhnSgdzZ04lvRPuOao8FeFP4N8HvgLeIvh7Vt3sCT3yWrQRhPCR199aku6nqPrbsCGBYqM2J1LjDEx1cKDismKeCN5xJxpcnPPNcT426YZYkw/dm5r984wAUF+jywv7bpzKBSLgz+VwafwG/SgDfamFhwycbCjaabdC0b2elt1t5o8HKEI46/G5uo+FkxD1L9JiNI7M8RAiYOfpWySCrEVm2+rg2oJjaflvD7i2Mwbw8lv7ZXBmukw6iC4DeIyBDAe+QUvvrhlwoAM0HFqP91MNvOBoxlZB6LQOgclvk8c2Tth0PXUlQtD/qSyd5hFV0ecHjimTcJBCmIuoyy/mYCbbBTlJD5YWnyZ7kQ8Oi1WDTIuei80msRjcqzrJCVO5BQGhc3f/5otAlqXluhIks3jM7iCADa9jTLGE4EaYooLmOZnNIoHYSYIwmeISqkcCHkgHtxYi58HXbWpfZqnYR6mcJ80iZPjRoZrKK7K1X3W/nXsCDyRNlozr/M8/0EJGf9T9YpZxoVfgfXOTJ74SatktDiKV94fWOHNa7uxlb94OfGUk+bSEKeux989ii4lo6+nknXZwDvn47WlnskfHes0jCVyxTE5xzLBWHlUkZ+FtWz/eEZZ8OqABL0BlWadOKVOx86bBK/rbJ5d619jkNSFf5S1Zs/BdcuvTuWgMrCLFUgfb2FBQcgGC4opO82qxCxdp8tLGke8/+KJIDk5U+uoDJh7cAn5RC/AQQtlUMUzZptGL6NomNS/4hIeYHoJBIuMFL+jvGEpSNT+dDOl1syCYYMthxJk3xgipl3GyvJM0GsQAkK3JwBc7DokOVNY694qH/hqMKW91XHTLePt3v28kAhRn/NSYCo7mUdE+6e6f7QcrALvvoSvtRO/o6jsjvIyPMW18qjsEhfPbbSSyeP0Jt7sdFmit8YYeIkZWNQsHxBS+8mkHrytLmXrRUrgdigW89lBH+ixjam/aKacqcxVa2x3MCjye5FC/hw4Kc9ULZIYi6Rvbm6NCg+JTB+hOPi0PqyEYv86O4SNUwXEYhZKmJhRZabWzU4DtKY73Zf+G4MSRlZK00yEcgWEBbpoySyZuIPYlQU2EE/cbss8EAMYPANdM+/aA03tLvQq3Utx97sSs3BTaKV5HHbKxEaFsf9cGX15Hr72MJS4ci/BWkaMYmL0sg2i17J5ZWX4ED2gRsO9lwRlh97ZB6S/mfMiDQc33sAORS2MZGmEZ3E+dr+kM8zEIF5rSikQrWrxpmSDIbczyo0VLtA1WYlyFnYGk1G9l0JMS5i713dr4u4PZTGOly9wgWQgOIjmR6Y4BdkFlOZXP8sV4iBL8pxil4QoGu68Q3kl6hN6i+CDRbb3XA1PeOrqIgP1K3RDDZb4HQZqBNM9YFZlZflAKsYgD/+/V82mCnzD5hKg5lmwGFmBJFHYwFTuCzYIZVV5kVjSKsxArGC333J7z3vF5TkY6uefL/lPWQN9KKZ2hBKlGNkUaEN0N+lcBlCuN7LVKITgo20aBCPuVO1qsYKOeixSDZk0M72RtHATUb+24tCmwYYm19aO3A0fL0PwrDC6ecaO4XQVI0Y/qhnHCjldieKJW8KZ8SjdnVk7D1B7L+QlMXXhq95jaI+Bwu+Kjt/78MsgJbpqLD9b800VwWNyxCr0kKpKUcKCbhT55zrvH2BI9INPirLF8RPUGVYyPGBfrTBj+4rcjAZC7qKcvGz6ka4VgvEN5b/qbdP7FRIyaHBNrfJjxw8d/wgffNg30smS41FBLZjs+UnjyiIY3CY1X3c5ScRT9DMAGxQv1lNNLV2lowA6CJhZpMyQ7TPhOG4K3XN6rMAgwCEyCsTH3pYUPVsfC/tR7FBu/C60MTpInzEKaaYS69yFXTFlpE0gsIGbrDz0mV8P/gL5gCUA+gaBy0oPoXW3zATfZ4CpOethR/T68wuME/XBn2o1+PutnLXvHdpZfkpnc8ihL4Imlf8Gud/aIKN44XCME+Ntd8fVLDW+ox16tFRav4MUI0WE1dEsH8S1gxBrdM0DddaKM/kjwPGI3tH1WsH5PP/JdzP0D0recrY+vFUCnzowS40IcwGJ4wAONZaYptQ2SuX2qE5QdVORhsfmSWjUoHAve4qZpU5VAm5bXlCnP+QEtcklJl/bnXm79FlLOgBI2vQ9NSxFSSABoCbg/Xu0oI4scqUOYV3ZJrsSnOlrHx4BaUh968d2GtyKqXeuBAwIL6Ka+TlKDAIb6uB98YShDcxXiR1JCkia6eexHMqQDhqwh+Mkbx7vY/jcsmnc8oP8OA4kfWmQpCvJg+WBZrSJsA6Kaj4djCDW18srLx3PZV0z7t7h5R0IxYQPgm7pc/1Zae4t0YqtSAKemdE+BxyCQ4HcXgYWOJPw8U4kuhC6Clho1BalcUOyEy17jjUFoCkBoG/L5Kq08Sr1X5xAjt/55mWRR6xPhPmFH25cUft/2MlzGJeyKLLGnHrPhK+7hrTBYGO+3fKRX2ISV93MOOeEy5rvXUTqRVqSqpQXy48SROPEqzAXYVnKKF2lwrHQg5lMekCbx83bvFefY1t9Kch/E/m3J6DRq7Nqj+u9Z7kYc/JWgQaTcSxdyH43nOb3XKHu5Vg9XnEY7LzqxpgCVjYjt6YeLe0v13uRqzfd5U+wVt6ZQ4tOfvuA/bAPzplN2hP/+AQPaEM/P3+VCQ8dhtgUYLF+cftgZy97naRtJxOeKTUcfNLZqgPvi1F2GTjJkXVnMcjRoBXp6bwgF1l+t5954PjgtBURjcdPL3cyHN0cAYpmELCQrtVvpiFXQQMUcr4tPTIBjP5jGvgJTPxggalouNbMAe0Rl3gUNf92mWh+Or8sMOezJjUFxSmIIpRCaygxnNAfZ24SdkCcW0i1RnBnxGRiuLkKMEnWfzr3066ziPeuLWB9zJtTOxj6zo/uUNkw0ZW+BmEB6BEshnd20ZqCmg8LV2RfBopomPI4TwI0lS8kUw8qN6+QS5o22UZ5WSSKHi++Th4gHb82G30h81NvJ7W1bpwqfmYieHf1/9YoUVVSOxw4NclufH3GveTyMtbsxTlLCt7c9RzPdNE3C/ep+JSNaEAoSMfgw7mX9Cww4AmOnbrCHjvcsV/JiPr45Ae/hiS9I5TunNqb6qfOLN7cJEp82xgD8mRY49OOlWkVYVOowf87c0mEPevJo8iAJzTkbWfXUuki/na5hyT+G/ZjAdajB79ZCiPnYVrczKs2RzZWMA6+Tem469HWq/gDKIy8K40cSt39OAaoz5L+KLrjOIVVnv1Lfi9+ts9wnHEwSgXMB8I2AmOKBXiGSNNqq9i5flKBUmOcsfYRs+JGwGAkK1Am2h1a0LZBDirT7ZDKVy4GAAd8R6wT9q6VsgwWoTiqV6rSAcx0Y0BGMQwWeRm4b9R0hRp9FwycKl8HciM277/TdvewOUNhF543DarqwMjZfiydQm1v4B3PFA/As5UC6ndpvMNXruP8avwahQqP9v5CDzi9Ysk5EXXz3TShE7tGCI8q5oCNJknOgpL62kU2EyXgAottfNXP6sqlBkAtmPnICpu3KwPQs7RKWHpijt0g135xFNG+tWG4mzSwgAprq9vn+IKZQ6HDZKjST3Vu93kFQBpf98UfruecrOG63/DLitNqAeWePixV8ywD23DOqizWLn/1b6CW6x4ajLdkJyRlAgIpPmtDUyv1s0eaJt56ThkkCuW4suoz+SbZT6G7vpsDtwbGXPudfrcoN9inySHWLwSyAFGl19SuAq5wwvOFd7vm1uzwwZsf6QmQTYagiNUB7Ko2LPWDwBtqt8X/hU/nvQ+myBexoyeXHLQ3QhEMPTpESLLk916MkddBbClBmMGRvtORGB4H4PgUOV48Iq/+eg74Sfxz1hG8obl6f9a+pPoayguqcQGVQgkLRvBGgmH4Yq+uqmQDdLnxNDfg7q5GazjutbFxEoB6RNBkANjJvoVRh8ZRJiGhpki65hEUHmfIPXx+BbaMwKNohA33p2l+WSabK4J/Iv3b7i5xI3HPpsJ+uhoIW/3vhEzg3fSCRYwxIHSE7cWh9+CRL5yXNoh7K4YBRLNvLWkc4zReUS2hosrxSFVY0eN1oS7rWbiWGaTfCmFKIgYfCbfjq1+c4lMcHRz48lSTkA22Sjc0wkf1r2k8ZWh0wZQQW/H6X/TKDRlnrXwFNz0uFQOrMifp/ogGXAPPuDBcwwREZTCT1wsSXtZhz8JC1U2UupItYeolCCiK1F030mwAiOXwREvmwd/QxUq22CpZlSsFtGi65BEOI6/a8MUKMY59gkX9NRT4pgndnyho2Ty1Ql4km49ftuPDM3XmPIibApodZNAszHkICFwcskOYpZXypdzj874Et1GsaUDko8OE2AlHpvfRtTAYHSyooFyDmMM1z9ATmw8jqPZ3enlmbc1WOGLmF3msIpiqne+/GqbQfbqWzK4j725axQqQFpvqCJO1VowqLWjExDKUfa16dCuarpwec0iysAida/uMkGaY4B6ZRhAPCiHb0UezGc+s9YWUmjKgJoEGXR/M3Mv1pTNtVOhKx+T8aNZ0C7lBxlyEew1FsHGQ4NaMcym1TnMnC1CZ8+bcpbcuwiF7pBQ9tKgRotllpnDUNIqeZW2o3J9cYNEmqz2hTl5hbPKpiywlA0QCB/Nl86eavoBoLu+Euvtzmujfku9PABEdihnJKJ+k4IkljYkZPn93VVavJaizSmm5I//dnNqEDbIWipjhMeZqoNPy6gh/Edv5ckKgKLMgzttlhk/jKULAYRdJIkgdO5psSA2ebcWmjTGhxbg0qPf/gWv7IV7Tnzxo9z9RAvfVzBnDiaFXxzOy+jPZsU+8WN5PgOeyJI/c+v6BXdojOQQ/Qw2AVSWdwGXwm9Cd9NWN/GNKp0XmiyC1eY2cexmj7+J8GRlOYlLNa8hS1pJbHApa3zlurfch6BpC9UbkgwhTkpSKjzTbcXfD37IyU3UPF6S58GR8rjIvJJiyWvDvFYdp/Lf2atab/9CgEJca0lILJxsrPqWyfyA6l7Om3l6VoVMNxU17OIZwTuDvVtnCCumgJkQ2BXQiIjwx8ENqtkrbhKYbtEM+nPLrTfNM4d9Tf4evkEzcMDxvZRy8MipgdWacq9/sRnYJOkJ6FIuprBb6Oeknv0lyf3fOvWQpgDeqyCRCa7DfhwvW8apkEALyvv+oows6mrSp7eGMr3MGQPcvS9UaCogdnkOf3qnF77xH9Z4y7CspMVj5zCnV666/Tt1vK0jGp1njZqZFbLf+yV9tI7GuBXyE2s83O9MIQInKBkMhOlQNCNtKJ7isi7ITX5Hh6OkdK5dYS1kKiN7aALTcGMvnZ6JPeCPXxsZTpoqbGss9+8YKdcf0tLfjdQtLsIYwH1NCX3y2tM2N0qobwBhERrPHp0kDR5J93P2keughquB7jbP+zC/bv0CIs/bR9mA2d0MpPPd67kn1Diy1jj0TXY/vBu+3xgfAb6U8ESXpQ6GA1utJN2hmZotyOeLJC5u++bvUyPyA9NBIZDqqouJGbIFT5kdoxeK32bVcPIYTO6Cvm5HZo5lKajjlPluP7SUSXAb2bPeQ0BUDDDeDGJiylcUNlQ1lsFIet39/M3HSoxWz0y1p7R4cPx9/1x/1ISlG7ab1JUEyHPCrfXUjHinsKrDXNmLDi4RaOHRXQvWpKYxW3DxzT2qTRo2J1+zm8eSDgU5F4Sa0WXSJvmIeHRyfhJ+btXXmMxNdg3Xc/iVWRMlu+E3KQ8vySJqh1WxVkIyVb44yVXmlKlbxVeZHZPImKPWteIAvXauOR7LtH0QGid4RVdyxorT6+U1PBw2j0255eDzoegbKbY8j9sWcnWn5Kbk+US9Wn0stGAB6EKrVMimPEPnuLX5XLDMqpTalD1Tgn7uFc7TlbnYvhwywq/XjFxN731g50xCMEkt6C4XXdm2FR80VF9jQ9FiJXsKGun6k8craV+4jrf7a09UZkp7xNyJpgWHDWgH1YvdC8msqQRL/lnSXcrGJkFtthZmAZORud9wfHY93S4sGiTBffyFogPvBd5BCXWUmGH7K9ruAMh7MC0+SgWBnHHUpH07F8yIkBugsxbfMClcGAC98cB1N6EH1p1uQosli9IjoqA1ed0/DD2o2qoklrN3fPwX14iFFrr677Z3uJoHbzdyNz60N8d5j1J0kuFvkd1K5yTg0kLcppfzoYLP+hv7M02KeNXjaUEuucpro8yachYcyMTZJXNUHBQDFMpar877M52MaA7tvFjIXljhuhdNYq5cier7T4AguMNneGpTxS4F/ZuomlTcw/EAtLisxd0/mjqgVH8Ks1GxyMbz5owXadFgzNOPjqxuDYbtPjuun7q9AleEeRb68yHkVDEk/kdqyDU9WpKi3B3/WTJeW4KGof69nJZGFJAmQv+6Z9V7e7BglUyMVlSoQm+HtJ9Q85eLM750o9oqsic2TL8D8VhExyKoOt13dNNB940krSrCrkNifcGKGB3BM+vddHDprY8neCq3Mn1zj4ohe6xOlS7LwvtrXAwim1xrqKt1zKo373jU+80xBfOeIO9LbUGUwiz3YUtzv27sFr8e5ZT1ZcEGae7uuTI0c9fnEgy9ZNjcQGdOuz8zWcZAwqCSCJ3SQSras0DEVWYbkdBchunV4DZcook4nknIYmJX7KEl0uJmS5Db0Q7RZ/yYcADfvXKs6SUzLpweqTzj8HEu8VasVj/tQg3FtYf2dSzXswb9gLvs/jA5f7p9Xn6HRT8Kvrmc2S1i6n4+AH9fjSI4Y5Ly4mYyzrMAkh/2c8wGHdge3DL7lFuemp08oTVa7Bec6ry+mQEmfqmShYYRWiSvLGJKLc6Kd4qZ7B/Ruu46ueDUpWS9P/NUP69iXsyi6ZwuVhW8rihlpEvwzLlHE2MvflSwjZbNF/ko56QaO4HadElfVepzjo3vS2dBN9mM0n6fPQLsx+GOaz2/eut7oH4nd3Fj2e2TQVHdiFuxE+kw5cfXwmNBzQPVNSssYHO/qfxweNr3kWYaEwLhu2uBTrfkDYY5y0mkZrulcc1G6cvyYMXtqIhs9PmtCjtZ71OR2VRoZ0Oq6zcsD+2OVe5VWefadE5I/Ih/6hEH17SqLbW1DZAk1z3yy04jS9ryXQqU0a1c4UJpwgtKi7I5tj28KsQSx2xaMtdAv9owwiO1jpjL0V9PQ0JiVN6vhsJ5JDy8xy9Wg3ImgIfTHJXQQ5PtCQ2nDu++QrhVJF/m7QUT45h3N/iKGace8vpEGtyKAt/8qDVxEn6ytMCTwEmjdzQeCBY9WXK/Yx7Y7URrbNuFd1dkuHd01d2Y3ywpOYP2vuO8oCqH3ICrhcztDFOu41dsWQjLcS0fWds8OVURARA08lXfHsjI9uwcy0MNewWsfjURk70HHchdKEf/NHY7HQMN24mDFYbBSyJTYqNzZRLEfhBsLjRJJyhlP/GmhBhGa6YD/eh7cCd5+liZOTHXmSomDKRntdH5UQlrki2d6eDMmbVPLdW44n/UT/DGOQ2gR3vaNsgW8BnJ/IRHfcCMhetbAnsYKqskpdxyCmgMhNMabPK987qalWir+BO4fvYALDnrPrAHLKtIgTy9ZQ7cEG7csSe9BcpJHR3DScMuiKqvgY99DfY2VdPrRdJKKF1laB9R3mIzAKxsc8JVqo94DE+dPJ/GSW7tfPWDMDzO97qzqniy4AOrT+AffnOZO+glqlIgL9tl3y/vnzGpGu2Qe7fpN9/+Xa1ID0xzpGRf0K9a0ksVyt9bqUY4AceVii9k+FJenZOysGYlLW1M3XXMvkTkbOxENXhFk7Bj2nTnLksLNAl//49ZB5DsXf0qQV0+OGjpN6Fv+4OX/5/jMNI2BLih8BipXiVMBmZ97eD6wuyat0BMTUqIvR6THqrJnPJl4962PLw2n1sWUakw2ffKKtARFWnyFd+R32qEdH0EHqVODBKbzhDW0VdFuhk9o2pV+mzdzyNsb760x02m7FnY3Nxbi2PUSHFaiySEnquuZjlplJ4e7cQhrsGe7aVFqrVCkrkjbTZUG1GgPLqRXcFjhMlWB5SNksj94KwidmJJI43BLNcIK7fsd86DG/j9iIBM2ITl7AxvI4fThuxns11zveISV+37VwrRygXIg6ANycrQjZ/RhUUo98J9Nt1U0XYv+81E6s2XfUZtACE5uOdAF+NkB3f2YtqxMfvxb9WbNtA78D4VHhmYE9EVdeThS05EyRsoKmYr7/TbvMkTA1eUy30wxzGxNyr8kmEdEYonk8xXgqVv2fZ3h3DtIYoBfii9SabZi4z4raCgGmjib0xvoaOR20vMJMNQ8VGEPHoKUQZZb222MNc9UVwE/CZMYz/JzmKg4VokZry7HJOHKbneWqHS/KT3QZm4jDmie+D58iL+yTrxA7FpZO+IPCD7pisTn9TQdmMCP/C1QVju9mkV/MbcID+RImlvWJG8XKJMps5JP4tgbAROGGYecoogKLZYWn+j0hLQjmlHZfCOyHdN4kQpIEqFYuIgwI/84PYr3YIpfJizMcbU949Ih/99K3+519L3j5fRPvcHZm16a9w/jHUvSx3ZdlCd9P7WOvDGLGapPVICCIErFTP9uCf8GEZciUjUWtFGI+DuOEXNN4ubsxQAIkcI8Dvma6lsEpPMK7jFF6hI3PUiuMbjrdGh5g+veXozOEFVRSaNGgS/5y6W0Yljk+G29fellVhZtVKEd3s23Tm2fQq+tpjTwFO8BzC2XLm0CDbEmlMNN1GYXn+pW++6LKm/G+9GP1wr8aA2rPyVeXQBZJTiZHtWRNbs1SisUMyMQe/ADEYYj21KECm3i4SG12er+qd7CldEqfuBj/hJF154WVcxrnGixdK6/rtnTgox13CJBdDa6T39HYf6rTnsaQHEbXLQ+gx6D8e8AfMepibgvxAUzIhrLwaJcSbSmHvp8rbXxm4iSF10Tyl1+N0joYXUR+PrWVeMNuUUjReLPVGZWYXzDmjO653TXD3Ef8Jd+GOgHBLXCx6RvNd/7qvsNmSED6RnYFPbtm2t1CvWGEiB0yacr1F/7/XyL1lkqQZf8x90ep6usvA292lMCMmtL9yqXOgQDtkudkqiBW1NANihSqAPAGN3lZrbmwSIfMMZWBEeTeDjWIdvtikKTme/nhN/J8kWkILVnayqAfr+40KFbAjxku8wAVV+UU61fz5X+Bhvc3vnR1hCYugfxB0hhTKf045T+S8uZ8iL72Y1c4SecYr0P0j/R1AcV152rm2EtYQZhFjA7gN+s5vND7fEwoowZdVoN6TUUpBmCyTY/42ZAPgYa0fbu0f43ceeQxPDVmQbCaU8wXMV3LSxYh0kbIND97Efcfjc6xFfiV13tqTlo2sxtTrz2gm1xSLllNBGDkf7UQzR1ZCuULylUtJCaDmkLvoD/ZtLjf2Cq+Q+wDV+/iOQo7BbhunIWe85WcILk6xWGARXOYDa0Vrrj/u+w0kkDQAdIdOeyz27lTA15ZXOtIs1xKL/UN18ntb6QI5xS6pBdVSEsV6QmAe0bSWRiC6GsjSFZd8dj3c02VIXepAXIJEPE6ivY+EWFleS8xY7qFKfzDngW68tX688ikbfE2kDFwcTUizh5jmYs2/aJXEnl0sqo6ovBFL6RrItDRNqPF7nk7E4kxbPDPuQIPfu9hximFJipbYTD1qAxWWVVxqADxFs9da69EmcZJLSpiEyrSZqMXBudUZWhlYm0gAjBi8CUU61E9ZUtsv2Y8Agq74bYlQ0O6J2XRswrq4PxxElc3ZEhNzMq/MJHax/87zqAIZYsmo+5cgQ0tI081vcdhtJ56CQToqrhYLMeF/al8/o4mBQVnrAqB5ehW6mL89Wkx/cgbfviBXaCH3et3k7gR7DmQdmKvL8k10A/dU8BnqcszQdEn9JYEbM94V/DkoYZSbbUZeXJIF8yYneaHLPdFuFpA05gEpvqNTCCKQ+ZezZqYbkBOUJEdPTHO+3gcLHU7oq2jfq0dFlcVbPn/SXTMuRoVXbmmCS0ft2ncouVMErJXH0x45ukvegnTtBel0FdwXccHIyetKK3xAjSrARkMtGJB6K+HdFtU+KmV2cTI4BwbDUYhc5HPr5gmZtFgcDtnuzgSi6cK8GudS5jR+mOCrD8+mtMycp93DdjyK2E2iDzOh4I31keJXNZuV1paZZo6d5m0RXIz9cmoMFq75B3uUoG0Jh6C1ZFcWKHb0pR7IB79XmusNPwDRgJoJlS1ETvlsxTAYwFi2FppNYv9tTbT45MxU0DMzF3k+YiliGL+l8aDqSmbKKJtzaJycsNQIqfGlFI+hcu5dsDhAijUOod38o37bnHS0TX+ch37tS0ySmcJcDJIPsqcFrTP/I3C0y46MB3jPtollyX0l9wjQZAvG4b89Cqf2wAJx2A+R62kFUtT6qUYE8N4jHpErfFKiqm5v+uuoTqunDqKyXgraxVY2WWe0lmO3U/jk1bfyBhFpRfCrbGPAdixUU05PxWvzGY3/Liz8WoTLoC92ubCUlBy1EUx4ZVnOCk2A7tkVZlzHCMcGJuXxwHIEpjcSazNRXauEEPejOmT2qrL7s94oNI8C40Z3U3aRDnjRLhHfmPVSIh8xX8DdUelRQm5dPs8woGuODmu7I8I9uE+G2caJNVtCZF5dar1ALOejohhlVmhykiipYKGCAbPOjUEAFJj4JuF3iDoCOGfSCOlhGBdlTTw27qToZ0eQpQxuE9Ptdm+q6pNBm6tmdmCRVY9UkOSkDH8cnJlQHv2YzBmV821mjCQrnB7t4Yq1MqFrS3Tjw4jCuemohkheDbZZ2eEJjCh0MqqpiX42ft0zo6Msv2q6vqzQydxFhvbryAuKV0dDne25zyie+T5LFPXNOkOd9EAWxVpYy9QDv5JoU5K14XXqQCB59VkmmVCfky9EQqIgv2vIIEHk27YyVIKjX9u+ZdwMfKW+UICV035pZ+5ZtDFWRD8nVENHFqCbGwk3ibP7VlHNImbgFOmZ9x5YJwUb1PLsPL4M2sphxvn0/q18+a37dcVZGWSIZAzF2hRMTVXFWVLIfPqF4JluqHlfUFG/cl2qLQwFvGQeJ8yGdE+ltQb24ex6hCR+dIMaPs8GLBXfVtwDZPrxiyPSmuahLCnqNPjjv+S/FJLra2pxTjd2QtL17R9zMLtSrxlmJoq3/owKkVX2iQMNXfODsIsqylGINBczIE1reCKRLhW7qq8GG0wP+qzTmWF8AxLnYO6IP1EU9vW6ApJVw6BARZkhmiw8TqlZWGuE5ldH8IxURYPQVta811dwTSx9Yr2DaQaewFntKIonRtuMnjc/jc8zpW/BwgRjacUZybuS30KdhpqcKculg9LwCrQvd0p6vZrsHgyfwy9+vGLlUAQ3fGEmtVEQsPWcxrSdlMm92yDVHEN2UOZQ9yhjkW826/GR+MTzBTtdzW1wEHznVBe2d47vZcWmXbGKSnR34cbdqBm+rJdzFK+xX7GAGF5TWv9sFKt5/8etu9/4+xGd1rj833RP7J7nOxzmuvTLCXOMbVfG+hKqQOEEAPGgqzBSp0pS7HraGttLnr+wy3/NoVHtwCLnKMn3l8ac8PK/LnueIQihhGNJd0AoLjF3wmTBlZehgqLeYCL1WBjAtO3vGNHe2QOkz0wQxoSZw84undELKunGkZGAc7nptfuJyGYMBZHEsEdMOnLr6KimcirFW1yr1B6B4L9exCn6Qc5Yp8pAxpa30VL3zBAqH1vT7ngmVvE9Y4axDBsUxR1v5yXsvfrxIQ0zoFQtH2Gz/Mqae2Vw39i8bMKEWDR5zMZc/dT/JoHIfh0ViKfKV6C+UoyObWsnr6o/UTM2bqqigxNTuaqMyTOSyklG1jsDsMTkMAUcVi58JEtN0fa+rTRCzuxV2qNzxOddC308Geop0x+v+E52d/0jY0z/y3X6drHauDhDHiLVORqN6EbxReBiy18j3Hpqn+J1BKUjS13SoL0Wvbz5QF8EGfJRESqqCEPTXJnFUzXP3TgdJgLjRH47rxNxphBB54mYZt3g6h59TsNxWXGhsc0U+gmd4VbBRLgSL7JvPm1CoJ/L9lD1rUR1j1RN82DObwWQcPSSAVNRrgk+Aarq+bJlTBUJvkCGBEoxnbQyI+aeWN+bYc+MK/6j28P8Z1sxFRdzqC3yhKAvbXrNhW8RM3rjCznSWt8i/1yOSpL2YalUX4c0i30mRIDPyqWxxdWStU1eoIccl+jZfdMqZvWfjNKCpS2j2nwhOG76WgvICUejUCnhJuI/asUjv56H/8Cz6xSYvEUUK8EJZofOdnvDUpAtFVxFaXQjML8VP8EQj/LmmhixeLKZLph0idstba4y1zCVvDxfciBrVdAP+e5ZcRe1JrPzykcgBamRW22qL9K1825c1h9IOl8Ay68KHdX+NNRozaN9NJCJdbc/LEwKWcP7NekwpnL+CYGhDc57yQCV+R2A2u0BatIvHjLmes4pZvHrDeD2CZqbjMtaYQHAtKhI8RjEEWx2raNBMCxfn5IT/4JIO0XSo1S3nn2Z1UglG4pNBKIG1vfpbeaK0t6OReN5UZLRz4uYYyUjO6b4TO+TozQTFCs88IQHHIjnPndTyFdaICNwq6zYJ5ayzgF0MzcyqfC/4q7vxRu3CTWiX+4p7/rc9Zcvd9y4c06fvcEnbSYiFgQBxZgxd1z1fq54TdY8TLivcGWMYMnER1JWWNMuOH2WF9DJy9BDzeGbxeO2WITSgQ3AgOZIGJzdvZ/d4gAXu2HtWOXNvMhbVy5UiLhZyNNqj0MrZNasHkr4+t/asHqYMNPl26imXtH2mHCKGMGuhpzm/6LTMzW5joWFe3kKzVu4zWB1HmQV8rv9H1eUZGqXOzipvKwrIHwqJfd84dq0iCPocOCyY6rc5k6f5Sdruv9+SiaYqXrGLmPQRYPA5yjHJf7hjteqVXQ9P8S2BbwtjI6PHqGE5M7i3Gof7hFlRZwJcP66kbtqyEebFOCkLsPNElfQufivZoiyAI+unNlwAI2Nm0DbOM5gIuRr9fQ7ef7rZXpu8vAaGnpMoXPwEqLtGjccxf/56fjHCtN/kTQF0+BP+g1rvc5S9yWgb60/zHYVYTvWLpWuH1Mst9LgSfLxk00q2k3a9kkykFUN1ocSMBcWGffvRUUaXSdcZkp8/K6UzlJyv3Dwq2fJoudo25WY6KEe+s16RE/v/+hzZT2Wivy5TND3CP8cBXh4V53HBh9ql9DBm5ZJ+L+DYEnBfcKVLFfuNMm7ZZD9dCkiSzA9/QM7Bhb3vxZD+QYr0tstBkvK6PD9DwZsC4iDVawkhqOabMfs5ACMbekGzTDHuC0HK+catNUcdk+C9R0iOVDUAsz5mgU3kfTCFpW/xnWrchv0U4nVICBGfmzIIMmYO0MMSuYSXTYrmd9osdeqhzx6Bh3KCoAmDY0Mp4t6oinXXxQOZ6C3sNCbVPXlsmxn3cJviBI/is5n6m2Vk6XMYwWY24jFMuJ0u0yUmIBN7Hx/6sNyjutnPDZpByKBy3ejXFzG+L1NwjfgnVh7qrsBSsPYArhnZzebHL5+SI9fL6ziHyt8XcUbTwXy22ydPbA90GS39ANRGPF+yOpIcEL0zgjwowc334mk8Xn0HEtJ0Zhkg0d3na2dkU6e82UJWV0zQDgkZUmRUuXQOGEVrs90WtEk+Bq6BkJ3sg172EkXR6tQwI//AW7dHuDm/pIcakJm1i9BIlg2WPw2gwf++2M2AOztdS+VsjuUXuQm/ucq1VLRQYP49Fq4UVpkahS2GjmNF00nY4KGG3fhbBAVzmDAtIxTOB/SejPhM6tVQFWHErF+40Ux6rmpsb7GX1sAAmy29UZ4W2W1TcNLZR6G3QrlCzW4SMFaKIyZJyX6q9FTHjrxRoGKu8oQpv+TvdseSlLAc1Xxwb3P/gECII4DRRIAw5aFTM2vTnTzpeSkU1Rtqj+Gm0D4ocZhNGn+55oNKsp7OQCfoWUigCSPAjypaNIW7rbyoizKvuf1IzEveXDA9RBhLqh0VwWJzIJ0OXxi2tQ4oWuu8JXPRYQHgDrJbUzUlm38fMS2siyC+q1joOPapsD/NHmjguMCMliMtI509Z7DCSuU4ZSGHZsSv/o173IWgDX+M0ADEdXQK4Vrwi1tJ2NQ/NSVmNyRwfxdmGJkFNS+HMp2ALhfMVDBF54cVprDO+XTEkDS+EbmGrZB/f0XA9c5Hd/zZao+9ZDI2Wj848xrIEcOSlUuCcrnm0D382bWLEpbYpeG8pmSjZG6nQEF5I9WP5O0dwQLL+GOkgBCpB405fRvLAaNEfo/4LJdWxe/opwUOSvvvdSWPdH/VeyxNH1kYu5k/ECb+fVxVPTke9XlVDGUltqxjLeBEhgggrs/0IUts3guahHahKWs6TELkSbFsjt60BgBCYKnV7Wv+HvS/2h2/h0PlVYj7ht0lA2u3p0GFGqfATzwHN+a1dU98UIil746CO0gJ3ClsT28/RoGU1tHMW9DQBAKJoHJrt4RwDE7E1M0pGTz/j3oAsG1RB8CdzcgNl96cFI7KRZfdEs53+d7FXoF2nlsdu7OZDnIaOjnbB2NL1Xp0+X4aVjA60qHtiQSdaRScKBA584HlZqxlAtsiTj1s+5a32NxFDjGvQCey2w8KdV86VQYOEiJIbgiQhMMM3H3nWX6J5tpqaTs2GChYYZ8VhKP6z4WYUO+Lkm8n/8Rtoz3vGtJPkfTLYpnEvF5WxrB3oXWRVbuxPNznqb6hhFtsrKROVs50RJW6hOYhDrgcnrynD67vDeG4c4AJCwNqomLYyxc11dHGiJ1rRhk1z8ejzoYXN4VgcpTRPl1o45foWgZS6o9PsZA4r8/fT1591vzYPgBSUUZleoHoZtExGPFhLWYAL/hvh3Kcvtqzbr4+iR0OMPojWyWEw1Y+DKUBJ8kCAHvc3T2xknKHwPMWhxRRBf+04/rhKPyjKuTyp4zyfVFo+g/HhZtDCzL8lkydliaYT2WsB/ZP1RLGlcX61uYxKqFE2v6St/t3MsZWgDWQnGldaxGhrtKWxqtymZO/kqMx7sUZiHKBq8nIi6SWIFUUy+Xp/FdAnRcbiIfvDJE1icCh3eB5Ci1qwyl3OHIxwIiGXDXqhfcUkkMwIuCINF6xZN4l6zMI13b5SNJkZdkDS6HGpRuxKGLgu/LBKezT2uDeACDsXANlvBmbgquALdB1jmg61RGns2VnjYhy51KOtJH0JLlK47FLgdXSHUxwX5NQQfKGpnP8yeDPSm1Znx/sNLrA4x8gIb7tvF1OL5HQF1GdwxySSTuhilsUj+Nh1YisSD9jaahP5UIileOgozA177pEHEBzfyZ/jAkeOJvRjMyBlQM3aq4Vpm5FTe0m9SaFURBPXrLM0IKE83tW9E+BHImjAtxSHQrZdr38LLIqrlQj+seEKyOxtTB70fiEyIj+/4FqjOgBFyp2SdIdCpbORnFDqA+OsMqmXsVPEHmIOFKtyKNpqKZnqSGc8ps4GfyMEEDPD0GumCdkoqE/OgSlE5gjHpIc4dj/joBNEu2bOAyVAvRyOli/qU1waWxIuTQWidNx7hLkTImyJ9/F3natpuHeT5GgTvtSbabmmjWGwSReRSLRKPOT7OhNHUpAFnQRxWd8lujkkI50FnXko1tUbFRXECt1/XLyLXwpbMpw8H3youLC83XAeEtz8MXH/zZLOEygzIyXRmlMqsJCSydMIVQB89T5xpfF9tH/AnEDnrpYpc3OyLoCqtAnUIOH30/Z/eNkt6xReEknq8uFfJJauUZJDh1dIPqDMyT/myMz1ttFzcjQRz9fIgeyfVGOa1P9DAnJ0p6l1qys3c15xlfF+YZYt5Fo06d8JJv4roXPl0Xbku4xTOcFXGFrnV9dS7u8NGP4waZV7WbtFKgSuAwxW8GY4XA+OmTcunKyuJWhNzIDUvdQSgRardgzsTk6Z7w20bLdfzz9FQhidm+9wDPIOJ3aIOwpM88mhLja5WE8Z18aME1ZXKOBaH677pIH7vGYvxnNNfCsNmISBfn3O9/bc9SRE9SKmFcNn/PB4L7g2GI2BKWGHZ5rb/t0FGjt/HcA0J5tCsVg3vdOS4jiEcDKplMaltjbHH4QZNNUI0wngXCwob3PLwg0VPvPXUcf1MAwbDOLvjhi9opC0Wlg+DsHpKH6BzyJT5llu7xOb7GOYDelclkQM5yOc5n3B9CHqWrQsqOTIfIGrqWr7lEn2Kx6ke4RruVO/rzdCsEEWc1uaI4TPPOI3Y/m5Q836j2H0/P7cdPYQGCSCRAQMNIQCRmlj/Z+SZjZKJOq+fXziD5Tgl85PLs/+c1HARZlS4Z5JYjcttNiaHYfg6J1wUcAVYDbrv9XQH03Czvw+7jT4JMfUOuWIjLp3m50uEX1Fq+aFIialrDwe3zGbhjtnZG2/sVUhPHRGBNpv0/2F6i+BFXZoDlPtAJm0trWtC/cqfFDVwKrcA39EU6ysZ/rXUOxSdHU2TgaaaGkhfNlAgYHEmOqUFAYq0bKjABJpt3qlkXO5MGJkqleh3Dlz4qIiJurmhA+klvOPP+Fueo/qQ79wU7/NtteZxiBYUkANzlBizDQ11Zwiw/PMxvCFeSOjNM8UIr7UDr/nUtNSau/e/KwkPftt7TzPG5JsIIZB3lKWbVPZWmHYPlvjd5GDKQwkhJ+MTx4rVvTUcD8w3+z7AAq8Ox/lWekfCeV7NmZYaAN77Ldx6Y3Nhm0Jl5NPdpU7O+FA/EeVNSMcin3Lzi7UKDbdyagUcJzL004cWboVLC812/2gD39TdsBpsHpow2rMoxElrpIe2Vm7Ixp6HazQ0syZ86L7bHQGz58jRZJBLkQo5XVcnEGuvgrCc4og09qjH9LSTnY61Em9ZnkNBIwFVQWNPnLKBH0RSmWGj4Z3VuznBcjO+xTXjYsEzLyvbX3K7JbMTLfPkN1f3fU8cCXW2JcXwEOoosgHtcDmVojDHKRhUxbuDmc5QPJ1TuIJL9A9HfvPB23lTGOppP29fKBvnu6yAvrHZ8nkIzgGA5uUak1vcqnwhsJLsZAo56On6AIphRIB9h/whJXlU21ShOuMBiqB/p2DdJmlP2OoFYU7gk0OM4VUxZZMTvqYlVIxj5Fiu1faxYHGpELQ6mzeXnylmg9zVCOFVgQYa0JJv0rjxiSIMvSZVZdcxbeDwoMaldx3FzfxmzQvH9485IOnOoV6zS8rVqLjQ9HaY6mL33OkBGQAcWDQpXj16PiamjGsqZH729rSCg3J1XnAgL9EuiFGPavOJGE6KvnGM5pedSLxO2azzkSae0zXfNmZgdIZbDoIeDjkSmGYWLgYMdGQdbcCDyRWhHFLk/eT6TW1FZ2oi2iiNK8fNUkEbhh/utc9CR/VlUHwTCswl0EqVF2/5q3WsoxAcfKU+rByeTpzcK783dQvDru7lQ+1IlbYZ4897fy6lKPzucO3++HkFNAFkYhBxDUgR4kQyj9CY7BL2c40gLPPJupkJLXAyG7yEZAFYGoIUHHpwiJKcW62h/7xUHUt+zAGSnsu+Jpgob0vBDyuOB2n5zJoivtBPWe7yRwxXnynpSf3Sh/V12Gtupv/CKO0MmCXA9GOXRDFU6zujVTj3Ae5+T1zYZrvQjs8hjloyJKVmHPkDQ/e/S3qtuMqUW8wirxhOg4gCNZFQuf27QVmFtS7gV0ZOXndDjp2+w89lq5iLaMlvzziI1NwXXBVbDRazkvxZ/7HJ91npMNjGrsZSvk/hHCheYJuJ2Qve0RnskhmBBSpP/WkO6BEWKwgKT1TqGu9DEDB9UwccwQ1/7ZJbHGqxc7zqJy0NV2SbVk7IyH7V/pqMX9+PImMO+7AjbhRtipZZDoEgTDOD6LQ+eIm6OR2f5oo/GooTkI+0E0R0Q1uK6T3ilBKrlOAz4K7yHV47QAKkB2+wJFxGvcWftDqKGMjE+aD4lKGaLNg2AsZdkb5H07P4CjFFGiCCZPlxAFMVMv/Gyoby+v0B2s/lVsDTOYeR6jOv5xq7vTyxYDz5vJFMNqVSwDloczeioJRFdKbE3mO/CTgtt8O+pRDBGOnsgFhfybe7neCdkf8aHGqIh9oRAKF35IqpGmpboURGxdK7Wi7icbVXoRi5ELMWlrdU8Dqfm2m9683Y8gYf5u78Nj/Gy+RCCTZHXNVBJe4xzyEzRoioic0x0ACVXx+TvkC0OvJLsICOuUl4j+udgDBcy2Hdz/LKwsW+BwHiQL0LYIOvy6G8vnthayxlP7TZfOKW0/ZNO6z9AQGPjNJkWJstqakzZSNVvofNVgL/04u38z8Em2MGkHfFR8CX7WZJ+TdG3hXggJcWBTlSe4Wy+ZvOeZL8gdnqHjxIb1I9OGilyo2IyX+B1F/+T3iR3SFuBh6f9HHxlAeN0DCTyR0+5u53p9WZ/K7PQtZkg16hWtfo1uK97vl58QcWTANEojiJyLoMAB7faTgppX2QJm2cPegLKVEv5s8wsD53CW2vUBAPTu7TJ5ETdQxJ+4LmVHH3WyR284XFg/Yps/urqgLZFBzlC6Gpbyowk7FsKwaGs7/oYDxGGf/WVbzi5x12tvLzs2ddJZUtB96AwkIuiI1m+rlY2q8z0IQ4ak+eYPsOIF56ewDMKxjYNn+6zsCexyvoaCZjguIwe+Vg4sT8Ln2VudeXSBX+4GedJWvxwM59swpDRZC1Ut6o/BWi3iZ7lXT2Zz6ZcXVzrbmbedBTqllV5wRi3ch8+sCbdxbUx6eCURL0xZPaPKrwzrxj9mD2+lCLa6bkgXAfzAifQHCglpURUhLP9JirpXa/pFd9QJ8Gj5BwtLQAMCtmYSLy40xsFBIElSyn/NbFOL2VtZhnleL1bax2fZQHudCzigyPtZ9GD1rmt4I+4xfpEWNE9RNiU4H3gXQHaj7fEViPAqrsMUOyiJPiPxxTM34JhGFfMWonP4mC+1LNAdSqFUJDvZHHsD7cBgvLh4Fzke3WlpyKhKO7qX7F0aRcaNguuFTz4z11vWpYhfKwu/2VmxYsIqk7uW8gAPSuYA2evdth5vl2owwrK5SkOvmHicjlsKN0rjI0bFMJs31oD23KVtXjOa03wcw3YrR6jmbLfHIJF9msk+EF3502FEsOU42Uw7SGWiRlrQanbMXmpo5HoZ3aqEjpYxwJOm/+bSBRSZiZInIhJgfg0lAlubidqPmkDMmtopAM05/4MILXJYodYf2JddATkV86/JhgNz3BwW+EQaccBX5jRfPnAWnrbAztLO1rJYL8+vuD6gddNjSvGqDt7bKR47v+4ham2H8eO/ArIMyz4tA+oeEJ40DQOt6QsJMZG9pKrjHcFlxwG3xaHjljrEaTBDyGSW9K9cCrWhY4qm9e9SOOJaBNQ/kaDsxhPfUvxNH5FWXVdSqt5yq+c5FW8gJG4mBLTRi3FMBsZK9q0nnWAsrslD1KuG/g3eOeMx+KXdAFHBL7zEOEERu3LQ9FD4ZUJ6Otwh1yCZ1KOR4/iG6OQp5ibUkaSX8k+AdlKiJzuHZbeMVm9hWRg3tUYJOgfzPB8fwhacgb1gbRrHSjnAHBUhQozqkunOW8yWtfcKI/QpOQ4Z8gOz/KiNf1MJfiqt8wDEG38WvAMEHEf3pMeZmq/kGI0LPxV/UMVyAYRy9bNfGkLoc3q5engu2R5jYpOHyf3Y2a3lO8JOTJJSTCYX2UZQvKuB/BvNbjEKqc4BH0UOAoDSE7dy+iNqyFynKm5xhou6Y505SbpHlJa6ztGxIA6P06h0JnxvhRbHo6FCjnmOqsKoMmrHRMw6rml64mp1MDozLe5gbOIkMYzu/Kk0ZooLaDSUfiohwJbBZyNgEglhfMzLSiQ5MzBYpvyp/ld5iBhOXKTv+Eyy1m8QvLn3ZGdwtHGXLdfLi8evfP2f2EXIeNLbbLFz5/sCoWfzNgR3B08sr4LAT3SxuLZIWAAQ0tqiiWci1tdJAauaWJLBGQxZczdUA5KRqe2dnLNBmG84pjRBW7lZ08yZCSmWJAHqGnvYxfTWqJoPSI/ALeX4SawV9rqASd4noas3rn7shxndjX6X0uQTM8CcAM0K7fbIgFev5LTIGkm+7+joAU4RBZi4Nll7wclUfc5AaTTIj2Hn9K8hwRxyY9OvTRltfPEC4nKMn8EF7Xz9lLLhANyhjCYIWGThImCFtUeZ20nK3EdwFhqQFyKGXo6CUFGGW5qrLBamHTShhTwMK+kC3YQkUJDI+E47pejnPt0Z5rIKyT96r+D3XK/L4/nYqQ0HYbNuiJtbdxFSIzRIi8GouBvvsgpdpwbQvK1alFqLhML+8kEvkVsf3RI9l94V2GTsxxtA9Fl8YitZNTTgFK6+Mda2LJ7zgxlfUyLX8DtU7eKjMq/wXzjKdkA5cmw3ncjR2bG0YkurW9+yejQ0Qnj9B0a+nVGi41Cy7sgcdSH5VQp4bymmPDC29WeiHvkD1cULGX8bRI5txAigTcYLXLeSm8Dn+oXJasiTY6Ll5CkR0kJfckcBasGR5jPF60qv0QKP94Ls1LIzhcUlHLRNa67nUN0rRD9BHtQDtJ/AQJG5CESjtCP7E8JLHrKzCe5KrS5ElQEIuPtQETVlinWlpRTmIwv3Ryvxpg5Ma/OVGvLQOLxMb7piCKNFKEdf3/466mpxoQH/tvHpeJKtKmWEV7qYxCcgoN3SbjtS1BzGHB8D3uE3+0M/7+GdMB+sewMOG8uMnKdeCbOISoHPU5H9MizwyHBnCLM36h0dJc+OIU8pY08/sjm1+CNO0JNyWqcEtiODxM9r3xUaOPWbnvIX5BXUxy6eJaBzrCobJjgozFmzRxWmKjYqTN5MEcVTX9eisFg841gXtnZk6IHSg9/MZno954Kxd+ASzUr/OBm4X8uPdjK2cx7vHm8JCBNglu3Sx8MhnfuJxA4U1q1Rq9nSvnj3lweRk3HBfD+8hchfZEcemy6GWTcse/a8aKfQLbU+1Gcx5L9ltZGhVnrrUhwPaGH5AEblZJb4XO9heseL2a9fvJem1p0LPksG5kAZpIZuBsV+nnPYC5OUw7Yg6Fmk/PcXqPBtueIsVVFmFsd36AwFHKFvoRjb0k32CeejMk69EmmvhAJLRBFfEHGIYUq11cPY7m9PVQSDC65D50I7SfIOOlkX4uSParXJY6rmfv6pVOSRltxAu0EZBcbNaHr0u8hfcZy2dePPKT6zQkg3emwCQYW8hS92xlzrgUaFUyQRQbkFjCabcj5MSXuNQgIo9L+oBLmsGpHhy4xoqsJYXK0WD/XuVLe0oDEiArUBJw23I8QFiMtN3fWNpf/L2L2UouWVncowpQR8qvPDJ1OZJ0xqiU50ZlnYPELyHD74I9FVezyNO+lcueAGUXnVqFOXno+bflnFWFr49fhGZU2mmR2XMwaQURYA385JoOp0fQpttMkWrGwy67e2O3cwLXxumi3FJ/IJ2TJIZjjcZ+D6H8rZimN+U0MtLkGGL0v+S8V48JteKBm7qopjEaB+00CC4dz6GRwzAIS1ioi//hEjklkLe9vbDY3AbfK1csQQ/6oNbG5i8HNvk+RRd94Fk0WKR5qjrz8kkWWb+JQMqMDU1gHy985TFKDAJZivbm1emNzdHzWn9ZUFSYiXTHfMjQQaPU0nxWtK1elMC8G2RhYiXs0Xc36vkyWDiLq4tE8mWst2U4dzy7O8sDeA+JC2StPs8VUUVNaaMDkIpkusymtBm6NiX822334RbJ2W4jXI/TzwG9HvxvL5b8hXb3C1f30PbjhUTV31772fMcdV5l4KJ3Fu7Y2Wy3sU2fbg+BQneeZ+dhs8UYggru+FYIvugeHnMiSq4vHvT4rs1oeXX5tky4OSkHWGJeiO9qTPPpxSWT0cTwos08JxbHps0I/QqnUgT5Q5mTFBgOTbglOJA1jLbF8vFj2rjfmm+uF/aWzlEeENBD7g8UqwcV/xtgyUK1/iND2e2d6dbiNbSmuoIeeepdQDgCOJAyxXD+Mf3FsIoi5xeMzI3BOpivhrhCxVD9ZX7R5REwWlDWw2s+TnGWiJhmfwqfb4H3DSjyDeyf9J0TzWrK3XiA5EW4k/AS6maS85u6iXcLOwz0i0CwqTp9pOrwHQuqmQd3M7lU0hqxFnteOVo/Fv088B0uJHIPnqNZ8gndiZCwSNiR/5EscDshu9tjcsGWuZvhMaYQnTOQsdml9J42jleXCsJrrVsDRW9nNggYI48cZTY8+JrGcbxkVsXRPhuxm4IHGIByQzDx+kgV5lZ6RnI1lHhIDH8bDtfsAPOPxpoQMSMQFhAow1rExLougAHoWMuHZZsgNwq7fet0Go1pC/sDhikSHz+b5ORxJMflbdyGcumz5xNqiDr3cjs8hEn8M1FDgK7HK1e/KClytSR5+oC4Icnfyu45puSyrcq2SIQuvHxz4cu+lanxbXsdEPhx9WtsYOoMHZvnhS7hz9BqUjoK4SFEGsvdudATBfBiX7YkGl7uhGo4yTnq1QNrEkEeGLNbDxhdKuaTXC63NU9IjNjkcGUtRGA6PxL3tu9FNrM/xJnh+lOw7lOK4PpiOcyw0s3owsRdhEOgvaOg5BPgY7efNyf4DF5iWR8KHGpf1BUMf9oXAvkcyg/lTcBxTiwF9bHYd6804w7MU6tMBjAGtofbtTUkr/cDxo0tVaRHkSbirYnEFFJU/AVvj/8qPZk2vgLD0PkTkjwZF/PLK57PUNMcsvUaJQCzUnl3PhpkUBAPxcbtvH1BxP4/r4RejQ9BtMeHD6oBw0P32idoaXC6IT9AEW5L4nWyVWZFS/dlkSI6G7BmE0Xp3aIuMh40JGlwr+ewE409csRi6sRYI/s7AomTMBu6E9mcLNif45lhIHmelXtqi/s0o6Q4NutBtIzFqvFB8ZjGIur1roTclabvWQdcVramKLWgeaL/e1/R12JrDWkJLTZzrt5ToFsP29cbUPA8dj8H2WTN6gz3nA2U48E7T/KVLWM8Fdzq7rFJ8CCBqgEADAjBSy5GLTJakcFVAku2zO0r5fu4gxcTC4Suny02OOgxzjULYZyNS2X2QijDF1m/jzMd/SsiItYXh67Au0cuUu0Ffa9vFvs3dflSLBXZOq+4Sl+0IDHCbzjyxFpQKGjjrN8o26ReGgs9MpsaGgMj9Tl3L5RwroBAzgQCAcXuv6m0mFvUCrPKMk/Wb9gOGo69sSwrGoiSP9GsfpfjdiTEgeXUcCUQfasrLlHTQ0vSc8+iYj6TZ5ygiNNlHiMP2xj4nbKv3zqKzAfvVgG2kHONMu9waPZbck0+/wFqi9coTgyIFs7xeJNdUzDj4wBbsvVJmk6imT6zGBdgZhKmneLMlp+c0hwIgOd+JIJBc6OClmCXl4utafu+cLiAX4PSvco/Atuway92QvrK/Hldld6uIPTaXA0AX5Ko3HicQWvIp9/aKxh5SRSN8IC8/kykafna2wnl1nzjE5yv+y25rlukHAOgKBsiEN6TeXO55CuCGEJSlqCriKh9KQmpvNlOF+MSUn+07sZBWS1LBpquE74yKermG5wAp3695Ex0TWtPr5YprHrHwQ28GwsW69GIm33b6q50eqcCSb9JDZRsnGke4NwWnItGPX/OqLD73FJlZO1RXbGau3LGCW56e7bQUTxLzX5sGTFzAhqxedHy7yfLXJtsclcjwn7ubIJ6BbNyqQZN/VmIBu31GHWyr8OidMjyEiBBDaxbp1huMDg62T3MiJTWPbKD5/R7TIGU27/WUeTfVYTfZg+dHfwWz3PbErWCzmEdtDiDgg+mSaBuY/ILFWHZIo3cGIIDLRtYq5tLfJAFW49WWa+AAC98VVwbbxUkIfrJDfJoXJhcDGn9qzg67BBlFV7jzJ5V/FNeWSk4uvXqB6Q0AENhFZNgOyDtEfe8TJXaxfOxGqGY+472rol+BxY9wdC9O4+scER2DLGCStfE2n1drFZLD3ueGoyOYg9m6oCvg4jW7dmdHHpPHwG+eJgllU0aKyeNHloDfKaEXEQY9HRWJ0dl5v+HWudD1ZOr2Z3XwWY5fgsLDR9gbtI4cUAc1Q76+ZSPnXue1cKDDZAaOXn2nurvp2952mJRV/QrQJkr0AtuP9C28jsoeE5Z0IK5fPWKyGkgaliviGDrbpbbDzHmSkOffQYraMOQRP0Px65h0LlnMFXydGkeCZI/Kai4WOpPsMwPHgc0yhtWfheDYYZVwCN+qA05cOth69Xuhrd/2JQ1Qa/fcKH9D+MycoP8SmfV2AMApxloEm+Ba6jOsATcxUyVRdRo2YzlU4hdaiX8ZKXWaTG0q4mza/qlpPqEqa3gdfU13/9X9Ncp5pbFAGgh2iEMv3uQPE1Xch6N+sqmd8n3wThGfzVEVh312UD/quNwoNy4AmcCRvlqArcvgsJPZn5xLFG2H9PuZKpzzzMzzwXjWdZU38eAwyehLl6QUyTk2VT84Gpm8Ub+NmR74NPEawzR1XBrSwkHozLLYH72Fg7swk8cXj2lwDnYqxjOQWF0Or1FprpQJ7pPIJ0d2GUzmg45e/gtMLuhCliRJ5sNMP8AjU3CjcVsBApUqZK813U2a6+Dsr3V3pcW8ey4XPg9epZgTrlYGpPACtkBDG4KjfvlHAifJWVrIK0B32E+bYEyTrk+ougipyc7LLG9M2EPD1D7wNOKd69jYM2sD88T6h3ppGE9SpYOGpBqyXyYgVenEUI84/rUHcmT1J+ibbs+h05eOoche+48ExvFKUPJUdAVq/Mkh7IdlVig7hFwSmJS6486pbG08D+x9ylmOHdj4sB9qwYqmSdKtO296Do/VNeRWrj3sxnEPpQo/gfdoOViSInKgIXU4yRRPzJr04HomGynw5ZsUlgYO4FleaycbQm42h7rULs8iyRQIrvMDS9S/kSZLgfM/c83VrgSzU9pxWsI9jeDXKV73cIwcKMGH0cenq3RmocAvDfflAm/rILRC8A2LfWKBqxD6YcCe4s33EfRxIo6qnxme8nBC5efGjzshKHM2hC1HQMpa8QFFnVY7ROCoLbN4ePCDlFBqiX64vNZ9rQNN92oUXLZ887rVkbNq4iQCXlrDIbM7gpRIZsFqfWoqATNdxdF4W0l/+woBoEb0B2Mk0D+u+ZEH0+gc5+Ab0lSHF0tQLMEe3YFa7gnCgDRg6a+C5VI1xxAG0qLcubwSdXQbDdxIHs0jd6CiBoAJA5+4+F6LbVym5NcPoFiXdzRyH9mni3c4NlQ4q30g7GsMNyMaii1Qb+UXSYeYBvGPBbpfXich/w/P6bydGJRtuAA2gx8UQujAACSZ9A5WjZlBPX3gIJ0x3dUt/vC/gwCfcU6lHTCMB7VX6UVpjh+co7vkPtuy2vZ7FZOOlCQVGtyaLO6nqpRcI63PAI0RvjjLjaFjW1MvUOj445fZmg7EwFvnMj0+UrMhQVEzCNyo3vFQyEEN9E9WUu8QCfVw31IWuwmw8SGp1i+W6F/n6xqCMiw2VpriEo7fUOYWXMeOnpDL58CE7rLttBSke0rI7AAqUviNKetPCnBWvncGksQM7QemscTXYzEMYcW/oFNXNbl8AX6ulAUeXn7xMEsY0A1lHH/1RAyc+MCGv37qvc5VfSB7gXe6U+95xiwoifmg4wtoUDR9U1MHCnOlCd2VP82oKowrBqt6OofW3rX/75M7pxMsQWVh/JIOecZFEY6emnnXwVOBIf7dQ25KKu1hsdnaGu1CSseYEG+W+7kM37gr6pzWpbt2tUQi6G3D+P5FSjry8tL5gIMv3+v6+bOHpwVGB1jKj6A2Y8GNE/63gDfV4REjG3SLrFKLzfDN2T50rF+vyB8r/l5QFUrWMzg52Yvfbm5owh1puRA69L27etCJQatnz158IrG9AMKjDtKOFsih2HzfeoRGetUXMzLkVFomtOevcBzQ+Wo6Gbj4V1Ovr8gRUujG+2PjApoghSZLG2hnzBf4vtl5vtprlPJWARwufgRVk1ZEAjZreifU/YshWG+SF0958wm3tV4E2G1JzkgYHKvj1+jObJk+2vPcejKes0EX1xoLId1UnNSJOl03ikAv4Jr/w2R2huWrUoh6XfeJLlovZN2ybWIFm86SK5VaObHjuy7Xr8cyv8mOy80NcS1aA3mMOP2zV5yh32qBHMnFXmjrjYB42UsR6vlGGSM1S5swHOiQwX9TtXN6qGh+KgenwU4Yl7iHY7NMXhOt15o1pSl6rqbGP2dCUdfAdIe1W3xA7TfPSUGiZrRQKqxFsVIaiuul9effN6ts5XV6GYorBj7T2lx5fZHP/odHo38o0erInNAf6F/74roQ/U9XE1OhHhErkNb9dqxoT8f99jrPixr5cvPTp5kzEJF4OXiXGl1sdRFqpk2xNvz68fUQVkTs1+7I4IwqgKnODkn4wDhkEM0gFYTFUTSKDMcRMq2gGFP8n9/e/scAV1nWMyxw7dsii0Ru0BPXu9yYn9uhLIilmsulz6FV82OTM6E6rZxFdw8lahsmj0f53Sgut67pTDZV0k6ApgjdY4kqYw9F4aXzGHVyn4+KWOaVBhR61dgAQqqRFpjCoKSnm0TF2u1DxHSYJ83KSHITUDGxPcF9RBroVRLKxDYn/OwbzhI0NgdsUytV71pM2nn1BAB8E8gyCw7PES6NK9zOH3dbXARB3LX+ZhsYWZ0Qjfp5Gey2IkzBQyBKwiE2skkvs+HCb4elTxQlCgtF0E5AUZdJ0Yom4eA2L0imMIWJFq9OHmwqBf3UYk5VcP/Du55Ph72+/UcE1S2OMyxWXEi2T9B+cfBHjgZYhTlwdLX3TzBuvAzqOTNXvZhtd/yq5v8nTgWuGgkkrOcpme9TX0vldZWIBWRtLoPqyRvDmK/1CO17hXs/ZO114Vktc8SCHbLn/RQMeMDMNCfY2+aCgZf+I5XLp3xMsk8YphToIHeo2uVqmUK2tEFUbIMbahZqSjajERBi6yu9ufpZ2sVDYCCt6+ooMpYamDfibh5tY5qgMWLHJ6eLTCYIfLtfsByNok4/AKs30T6fZ47YGWqalaHCEB7FKTPS4HCQc8l7B6WsYucNyEoeGC5Kf8pRvaCzGBJlZCw1zAQISxPIlmudjZ71+cBI16vkOJrYhy8pFlbrii+gOefSxC4RGZADagIiwLps45Or6rCt2nuL2ZYBHUXf1v38uIhA1bN02BOjvzCLqIsvbtk3NiwEfWlCbQ5wv4vzpzZWpbb27cvx1aEGXgsDI1gSv8f7ZF0Qjq+t33RqCL8kUvXle/C6tLqFiVI1F3+HyvY2n7G/Jfs7ETOyH/vW4F6wnvZraiwF2bZaffC+EHSXOKOydQN/8I+BX7OKlA9FE+EFsS0+lBMwv5IY39IFJRBPgiZedbJv89T6Mgg9TZLIkg8qrWikaKqqv1dRPsxyg0IeOxT2YlvzonBl/I5g+pAkNdGHknE8gdgyTy/sldtESg2hYV30HNUxMSD8kScVjMDBOJnNIV5OlhJzk8sdCj75HcxfXGPVPzL4ZZFN3vsiGQN8Yq/eaWf3ercYfaMRnh+xVJRKTsTTGRs5mAMLqWL8bOUzgCupCRbcjfQEuH8rSEZ8Gol2hspFeXGLd5xuEJMbq3C9UYzc5t3hvi+FBIrasbv7cb2ClJzQU4mKM1E+zf0gv9BbfkGrF/VNXDcJ4QagIuatcB1gQ8Oaf8a6vzUaJ5CPMnCsIO0n6CKASpp1cBmhz3JyHLzKnDWXCXjmsN4W6Pg+jZjot/Ly9VIfrFHQJoZYxKeidnp6YRGz5EdybvjswY+gaqG5B8cAAxMVXRRuQQNgRC89MSlmKoNs8P2zHqX/+2O06qlFXG3Q334XV1zfvle8RqovT+0WtiueHsMyBGfxjCKFxp4tDnnkUwXAS7JyD8RJQrcXWoheNQCT0inBswmWPvaI46bKHc3yfwEMqDNJF93vyIJV5trm95WHLHGB/6wv4U/EJSY2cuSL2sckzPw1zmZR66Nr7hH5KybjQ4pdzif+970srXftnyx4y3qi02Pfeq4kuosJMRZQCTKvMcEue9FluV7moBrgsqXAYB+2xvUh1W9pZWwgB0qs0n8DGl2RpLH+dZSJnk2V77/GS9G3dws2zye4HyzdmNBNNHh7K00COyyN/zcyBw3Ux0HC200VRz4+BH+QDGoslgMjLVn62XkU+ECJDdRyv0a5dqbZqH+aVaJFFxgnzozkFjNIjYs14lcmPF0TVB9qWhIo7zV/jQZYHCGTlyfgy4HuxGrUmrelJvy+WFK/EzsiEoBjI2yyFO96wXUd7FBrrHnEToRTLTbsnFs71fQ8wgCMDCeaMKf4whuaSBdEqnU1Y+t2kH3XfhB0syBsQtAjXNBb8kfdWt803KiqcfRCM9n6dN327MJpERwMbyhdPUKs+Hqd0CVavjcy6tXOX9tXE7MHPLBp/Rzto9UvLyTKU+B7y97FhnISaxcY94ETHW683Kgs77tg8kRhbo2Q/JPyHGMrmQia0g7FVsgodKeHTg+XzuT67SWNh54rMAKQA2XNu3bFIpue0y9JCDUy0u9n8B8ymWxpbfGb10GhF0cT3LWsjOakxQykEWo1JquTTzNCZCH4fSqXYNB3lWoaaRnq/bD3ZFkpM8jaA3KCgledwgkF9G32yBbXgZyrSPmHkKJTRhJHUBx6tklDnv8KL2CmJw6BnN6NrGfN/2MyX/cxSzXFumW2RibXWSTDoMKly1L6bhxBg16b7ttT2aAIFt+S/gg2bpQg7ACaK18EhZt9LYWPnyPR/hRt9AB93lKo+lmXgDcrYANyaZZSo/YGTynJjNV8zpf6zihZUUfQaXZL5l//hrwuI95x5i1IwiJ5a3+Yc4pAREQ5zLDKXwOVPEDceTt7OxVMC+yB9N4D2W5m44fdaiWwZRHbpmrK5Ux3kBHn5SOeZvhG+sQk7dy030IFO2bif5IgFjlVGevqCWDyVCJzh0n9gUMUkJkPHO6v8+kdx2vx1GR7HWAa8GvGJOb4Q1SsK0e3wixA4QwjzQsZ1CWus3EB+yEEE4KC8d1P0CSxLHmkGCl9egiXbxObbSHYdNfT8OlXqNJW3XBZBrWcZegLP/u+9/glU1S/Ak6x0LXy4xfjD+ofs9I8waizWfyurOpHHPnGee+TBiDBVDmMGp8KUOtzBGH8igM6v9c7xZ0buR5DzE08dFnDQ1FdQxNG+A52eEfubVx3lEZLks6wv3nkaO6TbEnSQGCZtKyOHEzdHkTBvIYW8wQUy95+/3wMxkWr0Ub2MJzGPoBo7Q2wFHnLXpQcilaeB0/ZFXlfT5+hnrn3BL4e2wQxpW1g9CmYClhTcbGP77m6rb1gnkHOb6PsR666Iw6r8ONgk+0qhbo7PszAtcrWoQDu5+QsOnaapVh9kgfRSPaVXjfkJuGQTKPPqnTTre5nyJqSdltzcmC6s8JNsFdk4vUvzuwkpzyu7ajIxx3TsviocAF6w8G0m/rj/ZzVMt0nMCGJPekB8Ks+g7/AK95jL0gyFIYL6xfjvACWsidQF+59ihxkJEzEG5u0U7bMCn9mOQLmP45h6OyB7mE/AZo0tUMD7bQBZzykYsNXUJe0lVGZ2bHKPY5bO2bQ8CVN3TKAyohVK17SXF9KxpYTO9HyccICoe9LgVoMLcCabxvmscO5U6sNfiGucgoM+QiGU6c2+Nz9kgVye1yqBEWfeCKAaG+VbbRWJNsKTCc/qtm28+iFxHAhImgVZhYggXNcbkYueWp9VRBJDqatiVZ3OOy8X0QeupjttfUb/RxO24IrNnRacCQmu8RYLWAyjCL1xA9AoEVM6atONRDMkREh/KmA8BuaUSE4EI0FQBNTGB7tMaQ6XwAx+OjYyVrF88u+jvfc3bzVJmHJrszuS9ITOQFjCqVYLYg00HxFuxYxaCXTN8NceKYLkHrArM6Vsm0hc1P5zr4TC7d9JCX743t6yMJcOmMvOmPxj2IMBMQ9wFUBENA350WFuJlL9z3KCnuve8+ZHeZzrtCGLYAXkQIWEailvv7aI0vaJ70Rwf+XtZvo1POTmG8eALFbGoKyozqBsexIFXW9DdcuqKztSaNTTUTQ80slNdK4QAz/rZ7N5RNbKnRf1Q8nTdWae2dDPsR57IMm8eSp7MCpZiMyNI7qGcqXiUQ27mciXAtEkfZ986rMhLSgTupEx8rk8eRS9VMFga8A2e1pUEdTdztqXx4YdmDHNBaLm0wxDybGiLen44LXTpZnFXvNdXxYiJSxt6w6xgvDcbdnwMR4DhMBWXiYJIl3ctYuj1q8R6A035RRaUPWRr4I/dRKU2kF0mMx/FD5TCWJwJwF2u8CTKjtlmYXpOGJyMs3djmXqhTUExi/Dc82oJPhmsafDVA21V4B+/mIyVHdMCwCM/2jmBmBYKEvysnLvuJG3hdwRLY6T3+oU0MZWDfTGP5jl/eASjyWopCDqTqcYW9CnQBmjIeOsUqeY41hOumCIizEc1GCztt2yjwYdAph7CKPAGYK6dUBRye85lPFYlMpfQpuC9NUSF3fYS0po13uVACdewqMZhfQmoHZ4QAmNR5aonH8hpMqol6dTEPcs3Pev2Azun6DFjdFX4TUlSPeY1p1Q6ano8JqYD3hpvx/RArRW5qjfFkScVI8J4a/qAfceV7fnH0Q1XdaM47BAnmaXE1iRuX1a2zrzfUDXkYxvGPeFmLIdfqpwbMkCHW5Oi/cl35j8ZMJ5efcmIgb4bG9xmQ8VIB24Wf+gYw4wsWeFmVJJKtb0fWGRf9eFcnAUz1fuW+CvPgTnTgCl1dSGx+g+CUlIsV5IEcG6CfVm6U6wNkC/6w4cVIlj0MtvFzcSewyxKeFvkW8qLApbeWJHbiICED5tSzFAyCZzF1Z8mN7iGEFCEZZpGBszlbEEWxrgY8CXm6hutOxrldZ135DqO2F325liTV6yCAwREM4kKOtg286aKVYWecdYcDQQehsrDy790b+hoAVTDOAtEdIR1PTP6pkskpyWh84KenKU9gkr2TbS2fQFBGfKxnIoalKV+oKlB92H2YDclY0tTgNcofbVprONFzWGq++oET0zC1swQcv3VO4ZbjZvJWzhOlkXuJ8tbGuCeK4EtiJWBrj/IfeH9pMM6s8Xe/mNSPR1YFNhLB+3rzugNkk4sKLahM7MhGv4jM/LEdmK7X5SKmoexEWWb9mC95nUJTDXjWL+p16OFvOSFqKbVwhrZGeMFdsypsMxENuape8sb5y/ZsQfe/EimsHOUQq42iUkWj0O7frgpRpkwP4jKtUS55QXPNGw07Mmi7YhxG36kmVdCrl1dEt7VUjUCD51tMQbEx9mfYWhelElEocYmAoFI+O8Lqhf6N4Ls2j3s4C8dUesWsDxnhLouIlP7YHsHUjDQSYH4/LrYfJjrwcBSQdvYPGMgh90jjhAaLKGXvpw+4NIpXdoCnddvVQsl5l4nuNJMLt8znWcukK1kXskHXiUXUr7iu1sJTSGUqzNR5JD3x14uQV6r6ZK0FNR7IscnHrqT66rYuEg08cSg26l8chrkDnJ1O6F09ME6zlT+9L8Mm+j/QuNY6IfVYEZv8H7LfozB1ZhByJrXEOorRBpNRh8QkBTmcIzERbj1xC3aHk6H18w/DKBH8MW3MRMILmgTdKAZEy6GcmGO5tMBz8KKec2vQ76ww38hMgHjA69SCy04cq/vUUPqgzyGOuZmxS7jEeAsvFmgJmhyTRuVVVgzyXpYBccjMqPwowgF+RnU5grII4Nm1BfiWXuFtUThpkN0LTEjEUrh6vtIFQhQRw3CSicBcC/WjRd5s16dVrYae6qc5mbx5qjRLhrN9FEsHOK98L6zf/iPjB6v4hVctmKvldLbbuL+9dErHpdEgCGFmBim6YsJkSNsDBn/l+Osd9wf3xWfNhrtX12VMSJJviL2pbT4c17GT/vj0NJ9WlMB4Bkbe8yHbwCKzFI7/MZWrRnBBTiD24hyyYEN7Qrab6rgNaZXXRYvzQcjFLC/92qmFsv68SacMVmYuapNFt+TtKZHdSNJJSJ0m5eWO/D2oSAaig2CNnApmdM+06ecRt3FgLUdDYCbCntAQ2LSrpVKFWO7DCyLaK09ZO5Riz4vk2rNzR45Oqzh6yQZqtPTEIABiUN/NNMUsx7Kg9M+sgEfvdJtLZOPEGlf1E5R93kmHLN1JhS1eb2scwlW4sBM6fnZ2jZLY0Sa4PDY8yXSlVKJTzkrkgvnOVPy4Z6m8dv4wJfFKij6rK6gkQEX2ebhUwgeOrIcnUBh7YgEMwk31fMC/t+/sXvs6MX4ARgHIBG0ZQwZTkyHC4QLmJW6+F8srZEwf4qypmu8C4R9Wq9m/pEaI85231FW34ePz4ocpYV/6+ZgADlRd4X0Kksh6GqFQzB/A6DsT8F1vxZWFCj/upWuH8V0QsltSuYvMGLUSXF4RmAkqYt0Jp4NT/Q9Vz+Y7I5XBEdN/S4rgevT8NyOZ+yHQm/FxNvQ8AomwFiScc4qHabgwhBUEIFYLmPfqz6OyXEXZztoTme0ty4RMFMV2ZxlJimgp02FUfPhkv6se/FTRS0eAYYzNRlcsN/AtoI0FlR0NEUCg0zick7MXqZ7WQiSxQPS154qGMU0XLDKHVl+2kmUZlaNlyne9NImfztQO5V2hPQA5sye1EoMK6lOmwXvmpx7H1SRoytsAz8j49IYYe4Fm0meRn4VQ5AJ3s3rywhxbC9TaHPvjam2ViCDQsd4fxVecwaKnfUg2+ct25kXVWHb891jOJ/NUweKqjSgyJRv72lYt2hxtn+iU06StwwC24j26HsG/7yE+0THCCcgUwHMPOUSn4eeH9ZmuublOlB2zVVTsEhYoLklWQ8bg3j/gy2Q0McaKWm0s80lNO3Ejgb8Md6q8V4Aqj8g8ANnuN0yaqSlrnCAH96Hgqd6Mj+gqG2IryXmw2hpOAEkcRe3ftcAi7fyZuJwHgjlcqWwo4VIjaf5ZybmfSQClLujB+me5wuTCLcShEE/fXl98cs2nfLGWSyRiaI8P9mznIe5pJFWtf+XyKLzQ5B9kB8FfwxPs7Ju5xEvT1iP8oSxMLS298K2u47iV4y1OvdOcycpHanCqeW2iP61mTY5PygqMlzy1VCB0siL2Ag4wwS7Lb5ZnnKcytZLX3yEz/TcY9lfzLOvc4pfO8ePI/UZOIf5sH9V1hbStyXEZXemwCvilxJC5MzZ9aJVd/UJZZs4/35PqOgvMbfyWElNxSl2smUAXuFjqrGAvIeIi7+DTa2aNxVcN71cfZHnpN6FHw/W8rxg+TWKF7BENn1x2DTypAwBshXQlRJP4bjATfd2AMpwdTUVofiptJjVWFAHaPvXPLqFVgZebUmaJaEqJjc3gcjYGhdiZ8uCXSdBl7a5quMP21rVnt4iNGi37LGPtXVBhaH2Y0pwNWLhaUyPRPBl/7Ei43JSdY5nl+V66mrPbBfOt31AyoTyQzDHQFLqN9qOSY+fcFJaaPCyigk3a6RMhZ6LU/D0V50+rhBlr+Ygn8Nmx4Vrq0e4Ml1/SAwsrsrfWXoTSDUOi3kHV7q98KfPaIDcGyDqbnukltVckc9/wQtFIKeveDH3ThWPguz4PhA2Q+FujlyJ2nGLplScUdMBsSftEQo3rIbDzpPMmle4e49YOLRh1Wv1Y7uFPXubYR7Cm2G6Sp2zpsSOuJrHQ28xzOZQYdZ7aoPqxP1edNdtYOO70bM7VL/etDpb11L/5PYneWPm9LUn3t13kVG2u7fmXSPpXw+0cikN56XlO4fhZqvzITiy6+RtOnsd/IA7yGuto36CiNcsPE60Ebkfhm83RauX5e2RNkEzCjbqKkPzyhIvR9v6OSxD3iO/fgmFx49MvlfULbXSec1sQcztSK6skvXIwlCCQz/EHRK7AViseE0bYXh5XT93b95QZ2aEpP4keI/xh4ijvZ6cN86Ya05b+rqTVQ5jGlmd6xf9cfCw64dudMc7Fa+Dd8PlbAlLgw13IKyueitqaEIG/hT3wpnjqu+6YY/iqau1aDHY0yAXxZyJYqWsCiMlYYGG+zzIbYRPpfaNZVGc3wTj1gH3IXTs4Uu/tnnQjexvwAzVfLkIlQtAISvpxOnr9iqZ0SENOy+YoyOV246OZDkcBp6z3FqD88J0bwlPmHjF55l86qfXRg1l+OUpfnqFeLjy9qiyL5fPdFa2qM8oQhsAb2GoqEEQxZ1ZgwlNutohxJa/fjZhh6t8xRe32TguNPQu/YAU13XdAZxAhvFF9S5S/He4pThWp2jh9FdEOfFsd7R5TC0IMDoTrJcogZFq0mjcBdV+dySLgBwS6fnaCKDXIoDNTyefdvtDcIO4x3dUO3bdqe8QNaSrwjjdx+r6wScwD2RdkSMqqLxgv1I6qaIQUme7tdcbgJ1w8bOE8q3LHdoe6YNYMXLs3I2MMcP6lfgifpNMViRV3CeQhJEWbt+38BSSI4doGYc5wcs8vx7ncv5IaF6BPsQ4I/zwT69aniR4j3AsRH47ZgST3a82m1qjAZvPg5IuKwspuT2g/2ghKUNEAIV79/bEl+StosmINTHQMOxlpXIsyBiXdrvU3v14uqDACDSLCLCLtXCxJtVU1gCOMZpywepkneOb3rObjcD6crxHctbwmGfgTLwL6sxTuvLe7epsG9btLzP6nnR4JQeQXMV6HCLdpCH0FXwoOW13ptq6VrjY0dWbnmVz9N3GGIY5EL+FSPNU8N9tgFdzp3P68SlJ2xrwqOgjrlLk/RE4MHh6n2pecgdyiWxLWh/2oljbuzNAx/QCJc+xtrl8e/INMNgeR+45vaTUfnMWapbPDZMfqkzkqtFPl7PRQGbN3UiaqbpmXnAXhsRu+CCnZqeuorkKcafTsaySH6tONFMweQfUaMt+acpIpy1fRgZqLgeIV/tbU7uw1Z6D7QQZKEVXKgGlohANYwezzY27qrvsYO3u1i3Rc1pm3QNfKWWpgqoNqW9npgR1YWs47JzyLSfHkT1yGKS90Yhx8NITqwKaXV4orJfrq2CPgstcPZ7nFv66EbFJe9h7+GN9AMwNO0Fm3wt7JfvscQkIN9hJ8zUZuBwnVaGkde7seea39a/j+WHKIhGdLl1QPJV6KXKvpuzcR70mG6il8UAKNFi7y+pe0bdwn7DqDSNIep6v3dccndf6ShRbEXMJ2ThLTQw9ZsQH5YK9l2Sj+p6O5AJD8vPjgkupO4phj4Gncq0xiBYc/1QMj4R0t7pMTu6NyfU8XP2qFEsnd975mlAC+4euvqacO4hzACxCTshQJHth98PptNnKrwNpyQQ5WDVOZ+eu1sZ4EkDGwoNilOOI4odi5LPfJoLGP0KlaDCC/FATeFplYjlYoSFB9YEx0Ygmg363laqsVnf18gtmBa96N+wnYNW5Icj8pfuKPR+DLC/lQMvzY8K06tdzF6B+/2zLABREayDMel+Ch8cRyzgxFKxmwX7eFhxzu3SWBH9BlnRfmp3L/pgCL8XwBCnST94Gm0ZMnapOxJ8ZAH+vVpKPRCiSYVtQT1lV7PRZxkBWcHhWJr+cILvnbcb60WsH27b9wUuQB3YzlnVDbnm2LCKumEKNh6zouDsFGrWw1JV1XDxjhqYNWqpSCpCcITKpunbJQAs+kHXB6wet3+T2CRIn82UiuaYVh7TB1VPaxZ3j6kPh5rDlkH6XgmEUfFiDgBipgk5lEIoLumDV32N6U4EUf7BowLYfGBrxidwcTnPS4arPBCWvimEPXSxevJccNLjkRHKDP9x2tx0kgbLKlIAI9ua4No5Upmq/CsHR+BwiCKK9MvEznsd416Fj8d0GwUMXPPjb7aVp+1wpmYtvR/bhiFOV6MaKY73qlCShU9lhIOHUw52Mg3SNcLqZFQ9EjU4Y+r5ARFNn5B/Vpyui3f9vLVypz0L8+4VFsrm7Va1l/tle5vFRbgNVJ/CX33u0yeGkL1rLGCrvVcsMRBKMuP8kUMqWiraMtzwDe2dEz0O4DDPPL9Pzd9NsOdSzd3lttQspw9pS149A6FS92J2Uy7A8GElb3nPXI6+yAu9ecV0dQV/rLaBjsLmllCTb9hyVeE8bx973sc4mBt7hkL3Oe3ABh5RN6CY3v6AVPMVOEFFhu0pR8dIMLhWA8J2S9C4zrND/8or0HEeCRBxocpsbr64ynP9zzvVIRoOfhiZ7n07WVCMXHn/g21SmSpP/1C6Ly8sIiesgGfB6YfOFiqB4QrYGBIZncktLLac3t9xty2tmrHknpxGI673svb2PtlAcahou/3JH4W/NOo9TIkKpfWpQc0qFaIHyWHek6pLvQzRVeg0CL/Nc1TlQHTvEgmQ+kuURENUKMFd1yZdS7eKWloQS4FPbKhS4Wr2a8XmmsT/EUVB3qrLHXtRj3ehuFqrwNJNmeKUboCxfcu2AXwOXYdU0tC0BiUnYMTz2CG4lfv5SDIW4KASUXm+3y2CmQcCyaxPgN+8jRypGd7Se5qfRagv30btUAyWRj64VJ1IREe7/iqcXe36sW309DMX2BlZL46VvjUB7t5x6S+GhKvLhNNVMTCiUtusV5oEzgE2GrwI4RVsRCKf7m9ID1Ais+4BvoYBP0IKXkdMLjBRqukjiDnHNJbV3+o0usJP2cWwHjVq9E2cSOM7VW4QAf3vLuwM1NAiac1ND+bIWkLfgsQiQJtXt9xu4LRsRKLnMoe9oxpNsxJt+onGQgjHvomt3JnpGodqwrEFTGTafP8kpXs6aWWxrzwUPcfwossETC2xXYkEdu5jTf0AGDPV7lx/0LmXR0brTokclBQq/+xMjf01Rj6DhtIUhVgHupIL3dLPMdAgXk3pgNNohTU+l9VGnJXE5sYLJmM299RlMxwl4/CVQ7gl7d2n0O6drHL4S8qDlYO8hihkI9YhABeFDiyVcn03V0wEHBLtO7UOu40Sut6n2K2ji1i9GLChS7fhmN7VMsi+kZNiDORNS44Mue1LkMofziMm3Itn7jXSqf827J95F7LLyVESEAiQ2lLuXdb+h5NYN1mdKUjyBzX8s0VHvxyOqwYFxJoXN3OWC7E11vTyCMe2RtU4xqbb6dS055vHCQ2bux4k1uoyP3SnsGJE30cN+1MrjDrClBsdECfFEvcbnjJDcjdLX0EIxq63j65/BhONe/EwFPdWWXKliArM0tpiNgWxVv/s90+ETPnJukHVJII1uzH0xjCdQzkM+LYnIJtck2C6kl35uSkx0PvB4VBfekKDjUiQmTVhuDftnsQNqrAE4OBAQeb5n8BmDRugH6m4AfMvk8zcpQACZd+OtPFzTnFqewLv2K2if5YtMX/oSRo0nudc6tMCNel+VZeykyoP1nuhxS/ujMWgag2Wge21e4Rr/8d54wNtPfH35te30c5DWp3/dUwMotO12ydEXx1eHXvRZnjlesvPPHxa5kFBvBDEZfWEWRot7so8Jgqqe8flAzh/IHKepVAwLWwcnKihSfS3i/ipffrgLiOvuSyP2igOQ8xQD0h3bjHo5FA4F2pFWfgNzZdtOlsdPIBlRvQacrALayHtBEnZkPhrMIi3C0Pwy1uiewQav5lBRVGiIaCRZrpiRGHDjjaSbZSVIDThwNPrGMughhAAy5DB+Q8vJ967g4zgJ3JlQd/kTBkJebNS+YyigbMhLNkH8sqQz1JmpFGW9DHaR2I8yqMD9yAg6qTJ7p1Lcd5evhHo2ZgyvpZ5NoLEYesKsrYtKmIwNr93YxEXnQvArrS+8TITaEODyO+RpstTpi5BFsb9mNDgcuWm9FsLcbiSA3uzNkQjG25GkrcHTsGNaGNtgv4Z7H3C2nm4NxUYduMxpEmGT82HdGFSUUHCVClDaSE18mbNiz2zsnKeRl8ScWzyiF9n+NIpeAR9hyDrrs6NJgnoLohuhsbfqolecvxoGlrBDFJmZeavpyaTmsRC5D080EU1RED5HPwkrUnUik52C+fgN2INlAONOjwBl6hQrN8vzdLzxV0EhdkHY/XRw6mCkzJgT5bTVKEkTeT5aO9V7m0nM8/pc2xw/VxWL1W1lk8efqkIT3EhuGrq1EJtxzSpkAlxj8cnkRViJ+x37Z4oTFVi/u3LVpsIIu5MqV2v7DmS7OaLn5Tzk9AqHVOaQ/QccwxVDDaDua3j74ekyE/NWaWw+ofJfTVzjT3CzyJpKT5+bJHyPFTf/Q5I0YcobaWWl09RWSqKrRJLVl+dCGVld8ym6k+XUXZiDiOOz4wrAIhdMRlF1ktFdkHyWStt6Dtnfm+vjzY+4LqVZgzGIpvKr7LXT19cPEaYrjku9Qt+ihZbfd33Cr7ym8Ef0SM9dTKkB6BncFk6Y6RjgjHoJbjLhgTp1Nz4df9JP5TLgs3yA7YFHGtQRXUBrxXJFY6z53zJJKNWnOkGsr2z6tZtdJXqPIyYEjdFXHqXTE9utGZbORm0F1dYgrscKxrpDcJ/Wxe2Y9JfXzenLO6SyHrQHJKeNZ1u4sqQseKA6s2N4tySV9uvW2+BrrziAueqn/bEKfFV+UgmoCyt5la96YeJnLo0JtKLSiMmC4J464sVJ8RJ0+c2Pb0Xq3vjjqLpf41JGlxSNOpL452mBybC3FUQCfud1ZRgGuzPfauKwK7a6WFGv/R9Kwao0qKe0eP6qXgvWRRArlZ72ZVZe5Y+nPCSNgQlA3RIdNv4jUVmBEIS3GIQo4EmPBxuuqvydMHJaYEmVvURceo/X73xDTRUMNExZpYE2Dlk3WUVPTHY/jvsznQxQg995GzKEaSUKrKPGpZHJlYQjuYXy25x0RwL2glSZZEAo2sxumD1lvP13kRP3L/xY4jLusfegfLewNjLETUz7GGaMSKqhL88a8BO/NB1nzrYCf9AXhKYuCZRg0yh4CubcJQN4SpW+GcqiY4f6gNxIL13S6MPxkAU+N7MSuq04eyKvxIE7ftwAUCz11x71Rz0puP1X7NjcYwu0+wpLgG6W22fZXaXTbpUzbWL6X6s5I8wBb3obL7bRexbXGTMhkwDqtMR5IDDCi4hbuJT5iOd3NJ/W5evSqm8Jwr4UcPpNGGq8+RI2x4TVozFlAd2NwUG8mebZ31an9c51b7e582rWRahjcL8x1xQtLtYjH5OLCmDp12fIHd2tgZ3WUrFDjDa+tgmF4upvXgKkXYVskIoWzHwiIIr/nVzZ/isb/VPKdVbFmbPTUpapArD5CXGmjn/uwzGCLh2IVl4YTI6xBcwuyPYEmMFJpBsm3HYTLswR+im2jCdMVZeQwcoQw7e0SzPZ6WIqMB1IZLaKBR3Kx7dsterxMf9GTIGqXoPK2P4XGb5vZ/SQR5kDzGUKvzG+Sno3E93rMFUJIX6GxE6NnJHvfo3msgJEE6jBDh3b4WaPQ1jnqC7VDbQltF/HteSuldDFJJNt4x44tJDoQ/KPZH7b/bhTyIPJNPREmoNZzS29wvyTh/f84O+0pYez1GgViastH12f+N/Y4a/uIDWd1T5qBM2KkrjOFO2o5gLo+A2T2s4UOTgMF3ub6IZvyCU39lvvQVNe4BCEuDpzrCRYT8PDHV3wlOulrkTpm/p1z2L1INIGxurzoeNwv/UtM/O3e/wVvhvcTnI+FFSVBalSg46U5NBec2afYuOdi/VbAz+cjQBGxsjCWyUxI3zyp+JgYcz6HXR79T5OjL4DFpN+7ClvP1Hnv6w1Fmnu4tHZVxM3GpvvkQLIYF8PgKuavYmNKtfh43VYX42a3Ft0HPbf7qWLxT0E8d6TE46MTNuR9dVNL1aie3+FqR+wRuQZECyjg+a7X1aXp4mHYgl9nE/nDDXbYUWrDTKLaLT8N4RN6dIvzSXh1fGlKKkLHE1+PMZtDTvCaP5wcMctNYDm6nm/bzFiSBvkFeP1+goh0GuzO/t45tgqROD2UUI7dwXW0JjReo8EeHG18Ior3YYz+qPbWiuBOpHwvkkNCLt+pfuJ57e76sU+m+InogBAY0oyc5lXWaafDMofWcPCBEBB6+u94XTFWmDZNViSNjLQBr1WoJBlQNVatdbbki0KnaQbS3Pr9uFzoHz6UepMyQlojWuJSlR69RD5UQQfbvIT6UHsKw9DYoqZeW1zcYVosQ6O7+WTfUBJR2j/xEv3Di1CKlgtWRBZvAu6x6Q2Lpup9UgjNPFSPW+NoikW+5X6MSbq9zYfx3KwyFQ/UVCjP75nEo8hpsSnp1VvJFm20YlR47VhKgF9VGdoUe4ldV1CXq1QnVQUdRdxkAEFvq5W03da0XYcDEb9TyIgeryH222bwG3m9J6FLUNq5DBqBHoOKRuSD8DHywMSat2bgxgeO6fxmIByjof5qecPOOjI20c8sIFi7DKw2U3r3XJvFPBVeXErnFDrIfI96KykwLFkY3Ifl9T2YIEjTLVN5pFKQMMvaHXLmVRTeaUJwd1LBwGOUb122KQy4bpQcHWj6G7JjboGmb/95FgGciUzAxSOSs+rYsipWnUJcH9gAmMu2xIsJFA4Y/1MwKYIfcANTSFnQuvqFJmS08xIErUsw1I4k3z9aziE5qiJs8rHxRvtcQ7yWPXdHC9qacAW5ayxspP34qw+bOqgTES8+1D1xDs0XLtCc/8PHcegmJSL/CIkMmEHOwPEnWXi2x3HG+AQmdDoDxVQdYGyDwCV+DSXjsLiUfWOLHgooUf1TMKuZaPNiBisyo6zMhp1DEdiRwsunma5bic5Me4yCawGNiWcH7eC6GMyEjOb/cMupGI2oLe0f8qaV9H+uhuXOblRDC318ekOnNMAE2rnCXMCKwqcCeOSMC0J6vpCK6U29Jabvh1o9iJD8bJa0U89gqdngJ/35+fWQ9SKIB6ky5GxtkT59ZZ0nmkLFoS+E0YPc56zQTogQg1aR+yoft66a1KFmfsuPj+LLgWW1EY+fP4rtvCDw9bs3jUdHu9238lGvoeydgmg6ZeFpJLeogMdTpOdek9ev+8QkXrtknzsNvvuYMMz9ZMwqCJATgFgKnqwzOJJAJDmANhOSPm39AAu+DorQUTMO/XAOGZn4xLgcG5bNoIE4kxEEhJpYsHlDH/pjvL2CVHwVHC4WRQkD5c+GvyS+wVLqPUJh9s06OevX40QAL9qTWCifcBR9BYmz3qlN1eHEKdwx+FI2DRAgpQfV2jqOlsSv+CGNTCHPhxDeyfBdHHtXXdGMQsnDJ/INvxgI87PBE+vHieAt7WMTLq6viqx6SDPjGYEy+6uzyO6/PJ3bahYhbPGdU0rIovu380mxQFMQI+zY2Nxp5uhfKW/fWGt/kuGeWicaqAwNkp196GMz//1I1GoxJ+wxCgVoDBjCYx2q2zrXGvRbpxUd8cH7sFnxyS4NhcTZb0Bl3HrRKuRjEPWRDvnFSOnwH0aJCndYDITlYs4PHRrA6CzqHpgGmJzi+AFhsXkLYq6MqM2Wrm/ykH5oujjDkOUGj2E3GjqXCqak0kuD/tAOnNHW1HOif8R17Eo4UCNKNRhQDU3fQIjiHWCKrS5k6zJxpnkvoSSSVDwLRMiD/bXaDiZvepCg06Wc63BTHcCKtsvgdRcfEIZRql1U5mKVwskFawuPk4uFmrdCGpXwlcHOHTebcJYefXGyQamYH4sw13plbpvxfdyA9zhVgDjBtYcyn/twdScavJ3udmMuHAvWMpkQ760KKyzi+cjLWZUtIzb3NyxtnwOJWds2CpSyNXLyOJgvPhA3W0WlHdavl36y3Hq9z81pWDcKqhBQr6XWNGwkwrphMQ/Qe/gufpeaiHDlbHmH+7VpwhBncFawQJrow6kbHe9/n2M86vGD84uR5Zh3YuGH7fiQ7RH+Zd5rOZPBJAOSiRpXqzYJPgbRZ1B9Ue2zl/Qaioee5pOhYU3c5BxomMKGcv0zUvg2mqlwD4czZ0HKE5fNprjbHSHcr4lDK8mv6k/eTa3cKbv/30rYrp9Zc0nCMKckKJIFXHS30/g/MgjeAFq3CZzzZl5+sKLUGZdGiq/ArdSA3jHVaeIUhUXHOEJ34T4E8S3eWEakDiZJHnVg8klVG5fRF5Ap1+MTqjD6e9T8qDDs1kj+ghfffzz3UwIvNR3id4fZRfRV8ppAy1O9PK8JbJtClGI+l3XM7ZIGuq2dmZg81604JLTQTTxMhO8qHwUOM4N2lgti0UCINCYa3g/osvSUpntnK1STkKpw5p1trNtwPt6XnwzsbTiBh99k7idj3iT0rUnUf8oqdE5Z3a84AyLr5lT0//HT0BDeOx/meDrCrZy3/6g7a58aR9aKZHqP2KznEEM3wuuyKU4/eevNVFmAGnhQ1joDv/7Re0/Y7/4IOF2ElZJZKTmK1p5ZQWe0/wtceCFSukF+mZr7hUCfj+WwbRwJyDImOAoW4KalTEtFBoLkebhK/dpo/fZHhPyoiCMmoXUQ0taehtldXHqV3Ov36N3tfxNgML16VsaFJK8LEqaGwgNujyBfCF8T4kdenMcHZCh5ts0CIAgDS64leHDC5IMEuweJQ6u0r+qbsszP7iajDSaQL+DWZk5ji3ZdLuO24mBg4wKKpBr8oc/L3UAL3jOcWf+HCuKZWLMf+f2DJBHdfsiAnZTuroIiksZ40Hao+cyY0Q8u7OEJpfH3umwKAgDtWcA/KAXSWoagVRik/Vp0m5sgDAfOKkcDoqsQWHuhOSaa1TyfRnNQ8fghKBS6iu4iJVYbhvLny8nxYaRXx+9RSjydbenT1QSx8aLoordmLReMmg9dJXSPdsS4jNfX3qRFhmRJKWlelZ5gDBZn1rbOYBDWWUXPHro8V7dPVmVQZPMiS5wMKuucF/HyiHFXRb2aZPYO1/Qiow7fvGCg5T/HV2gfFFlovvPeQQzbWEpV+K0p3ZrnPcgXvQXPii3XK3jzDwVVhtpTBepEySUzliiZjvActdNFEmM+GdcBT0a0NUXMg/+z+OX5VppSEK72oBCb3mQ4cFJJXecRzImsyn47k9I9U2HTexgYdVhXIm2gZZmGiwJ+z0slgUMzB2SHVRXTiPlYDTdglNWHrEA6o/CLkB34r4zU2lebzIftRla8HZz+1bhrsIDbPASuwL2NjnlAJquMGV4JMaC0OdFXZ/n1Ki6nzUdVq77XsIGp+9Kd0OnV2LTraUe7MHdPdD74OgpJGEpghLFpPrBhvarLlXnlkephMoO0+Yt8N77DJOWFdlwezjA/ZEF7lDgBpGPQJoYoY8yc5GiXGAgJs1ctyQEwkcSlbAzC/KFH/rT7TB+lR8ZLSNVO5v9NI7y0n5ga+lEvI3iUdJwnGWVD30/yE81X98Sdbdc5iST0Xhyu2IgxgpG5nQa/9IWQ7r2IkABA6R4m0tZlExqSZKyjE0ztQSlt+4aUKNGNG7bQs46CbZnJMW3io/E2Xd4/sLn4CxCoDLUy5xbDjzqfHzvfFbjzVLF1bzokAmMzGh22+YiXIKoOXgPgpAP4EZpOE4+Zeq1FD67kJdOSKxLcozH/5HjY2/70ZXDkOdd1V4QQo64AwKXLenmeNn2rTAvnjFgF8kdBSoI3Lo9W3mXs3mfNugc04l0RQK81YhinSvTHQj9VIb4bgbs9j+gaeilcntpWuNtbNSB9hLIivrUTzVgBoxeKfbhquZ4nZidtiOdYjidXoaUu3ZMrwqC1OnglOaNeOuCv47Fki9K5umXrbLP7Dq2ZQbEt+KSn2UgEgbN9nfA5VOc8CRsSJy0LtsNS3Nbm5HAp7RdUbcoKg+/TtsM7GivJpkuNqKlSeYgPGc0/Kqzsr2oEKldK22hsd4Sf0Ud5XsD7Xm5lwlIij2WSggGI3Zr6Yktxp8b4pG5Gw0y/aepdJ6RWRofVgVA8Qp7r1O+Pe/0WWYH6zmeLvsGvOaC6o2hjlxILwGqQlI/6TYaVoJD01544ZfraIeTMf3+k9KEhM0BshG451hWQJ8c7M/TMnha3EPVXsB/uCQFAiUv8gUpwS0stW3vdqrIf42b6bMmMcP6ONXygAL63J4blxTBS/BcOApE6OeVDCQY8QKN6PdtDyEwOOmhlgxiwH2VatYyW8NHwiddJPrklA/EgahdjHUrzECGHDYfiEEPdS64FMqmSHnFKdFBuzomUixvVtAgiGuZdNiGkaUtxBl19fewbesuWlfjZemVzdtKThn3g10Za2tAD0nED2kJOwJAi/pTqSIJOKlJMp7SwR4h3qyglHpbrHBzxSL+Mj5EbZT3DQthfZPZ3qtl8z7KFJj/2nnC+n9SRoOfavSOEZN/39jyPdLxbBclMuny3OPk63XbLGAXgS0BtkP5eNOuBZMJKbCxP+Gw8L8DZakqXOuDzOsGGKK9KX6s34ynN6WzT6FvVnSJz3vR2VQv2cFd1EUVoXdZmoTyf/DWsoRMwvfsKzaq2qy+IUD42pjk5DGSNkcLcPKCMsuLTFBGHfMbsoB7zgEPK057qnBE67LD8inY4A0oAinvGcVtVGzC7XacbQPqrEMCKhGjPD1tvsozlPManmIRFZKzsKi5VSSPBCdS9FjxfphJmoKYZ1P2oxzht5QXUx2kOgFzquEHNVrUsxj2YrDsv9vnGBgatvC7Y0YwSMPH08cJt/LkQeDLBSmAh4r0ZDuuwdx5E+ZytaRG5cfOeIDuR4kCRBpn2RjaXT+3xQqwhOCWIXDnuWmW+8qah4KO4zMLO9q4EB76027n1IIINpv8hJPxs1bna/EbDSPu2p9KSnioNsj14ddgeFXKWjQlIgrJ9FcdpmwQCnmoG3GXlpY10pvCzSb/QHEI0c4Ei+k+OHiloKsyGmjCSRIKau8eE7z4TGPHGp7ei21rbGpu1438gsOD8/4O+6PSbuOMVJOLDVZ+EMUQ6iFEN7hEY35DggHHEArJF3xOwR0/hqom3R7dBLK8IkRznxjQalxibbo3s424jEN5FQ5Oucl9BGoCbU0853VlGw5kPFeCkGc0h7W2m7KRHYyANhAaGerPPbs7g7eyv7QGeLniGUIZESgmby9Y+EM01+82x1wkE8M7GDk6wyIcwrqz5AdQyM7uvfutySeIWnJyz6v4ZLp2tFUkoowE7GG/crNEcvXS5Jo4opLvnUPtWjE4Qt5vlSVbr5F6V7NaIokQh3tU02wCxok6dBjxz/j+fKqJXa2JVUe8DBYX0FA1W1fo83k4oP625yoWf7F5X/6eOYjqAR3bMvqcD3AD/foKuZqtO2AD4unywa5sOJpgOYgdungPSyNZwfMWh7vZC6/FwnpeHgDOrassexIGebY8bcnV+WE0B2Hkq5DKTWZe/mHO3VQOPKVnkqYRr8DM8FMbFHSEIbT6J7aFieQjSZiYhrlqriup2C8jmnFN6mtSzpujsmcjnj+Oepq1qFdeFWN17SsrtsE8m7kRqfsXaST2zoUx21Ic1D2L4LHa5zPSpF2KbKwcl2CSy2szcmDZc8zMIeE3wZ3eKmdUNR45SjbcG3gLbuacFSmHp3DVCEK94oe/FhDH1XEZAcN+O/ofqehV8oJOhzliO0ZY9S4/MWiknVoNLabrOsnt8nZrC8DbIWfOCegyWENChRJ3uYx2simfDkuKboNlJKtq6tWJUFc9favvv/W6H+1vbfgkCstWSC75rS9x86Ltlac5FMb1YsuIxhzSSAY3hTMMya5NWppShl+blBqRao/rRfokvly+Vy/1Ol1jFD+pkuDSo4RXfYFurXoGlE1DT0hWx0yp1xcrs4grbyNQjaoawqrZTonS/CMC6uM+vhM15i8X0SGz5PypQVuLVMW1I6KliEYEndR4IyHIA26bNvTLbZTVioHzRPYG0c7DJRs8Dxd+ure0Ds1saKGMZmHCjEoYN94Aq5MsWJg9KJf23B0lMGCptilwsEaZw3odZlsoTw7026XL7URAU85P7WsraLjryBnaFLXfDPwQL63W5aMVHsiLd6PqKHKveyWJAwFEOha0Msjy/2Hwb6Cwd8mCPgZeWW4wJIoRCfKc9Z99A9eyTp57tOMGNH0hFFQj0jWl01B05mnhIZeINfkEU7GegoWVxxJeoBE+EnPQ1cwJQDBn5F1Bx47Mr8gaaY6JGg81f0gAFCVHONvY53QTyyglShF3edrZrOkTupYaLm/rlcc1rw/l/Mque6u+ioQM38qOrBpdehFDSun2tXv3sx+c1jr06T7psrAJe3qUaCAYfQYqIqFkOLgpLrycel2hHuxnDbAM2hW6C8oxQJb0UvjHy/HANHzfm5H3UB3vCwtIEniQueQia2DMqsFk+cgliHJ6JIevLAs/8/co1/h5HpMnQJkhJ2e1e2ep3hk83uDpSuDWiNZL8kskW7chMktkoAR/23XoQOXzKoVr4UkgNWyaaggkR7HOQGLzQUf77z+2SMtrVW09DThbb8bbIvKtZHgc/Z2WwL52JiFHp1omjZoPD/SJ28EKe40I9+52JtkJZlar9LpNhFwmbDcXbtqRq9/0h6zsMLaVB0mM6KlUScqB3s5RJaa65a1ZLl3yrwekuofiq9s0ftPDROfi0WKxxO+pDkaZCyHbPRi8FR1L+Aa29hogzo2c3pDlUKY7wclfV+MOfbpxWH/r2An1GtUrawiTQUGZJTrEqC3FT+RIAD2nRts6+aUxyrI0jopQt0nabVvwyiTZM4vlgKBcPjn0M9qfRq+udQg9vyrhgND+q26fYkGRod7fI5D+704gWAEmNBtons2gp7TF5IMMsvriowmIyR88Y3UyuZ0BQnhoSkshDR9gOnovnY5MTtS8/O7uNOk9ZA+NoAjUDxkBe5fbO2bFrv25MlvrS03J6wi/QKZf9jCrG9dsZVs4bWRQ3aGz3FRaLrTbaPdZpdvwQs5gjevqLCCqhMRQ/LreYeeHvTFXtrHJZwH/kkIpeXTq1WpEGcCPJaYhT2VmkgizQfXaMm9I5bfHUgcIKY0AhLNpxyIBu9NM5sfMApdJEe2w6Owg6XkrOZP89P/Q/jM7OzkXk0SZqhAYYfBTN2Rum1WeOpXqXotvCCIoqEPC6mzN5Jm5Jx1p/6r+tf/OqgR9pUYuHNeIxei8w2sux2W659qAIDV7nDhpXf9BenQRx2NiYEXMlYZ8ho/jwWZFzA8ZjrVgaELxJorSrJ0n2dHXPboZu4LOPAyVdfq2w6JGvDanElz87B7pPOJAEoNqe9OMddHCdJ1HcVDMz76wG4EfJjRBK9OvO/WM4c8pxcbl7NHT+RgeTXRgISkoTjYYMxjUfnJPWIkgp3CHYzWVqWoPbGLjVV5SxutGLdiF0fq2rGbHRMnqRJNIX5jtE3uuM/aatqF/HQH0Pfc/HPqxPeQJ4nP3dCR/z1ANwnRoqlyoCF68BK1lsrzbAnp4GZuh4edU4RPVHDT6u9HF93bv9kA3vD9mr486sOTiYmMe4HUdCvnfesXKchpiKL+j8RFZWDS+jGU8bkX6js0IxT8aMrF8pfKXWNDTjBj/a1ubWrzYwIgGt8Q7QIM1NFCc3aW3QF/Jzf0yuLFXHoanRheG/TPwsOIkuEjnWmyLjdSX8Ueesps9dPe2STjri2uoPafXGWNiR27RWDkDQ1E7Mqs3Oe8zJ8shOmbw2X1kYYOjffhO6Ct319vSKxAa2+Js9KGkb9Y8xJm9wsz+RpxL/TgSq/wqjioe4Rkb+4KUcSd61MX9HcJVUV8LQoahqnavUzS2+Qv0WLnp9RO0UCssFFduAV/h9Y9dUXufQbnHLUx8AGc9uj/7ZEi0fvPZbzX1OIPTX2Us+dqKOtAWpO7hB4d9Az/5Cu2SCA+FYVQ6Wej960SbnrAm73iXwjeOUq3kIiOHoRtObhRKMbuTRh7CX9RdaCZq9SXjcdgOUvzmMldZuwoYWE3GFOjW7UGwFr0m5LsBtXs6qqxJPyCXkecoQY5iXaubvueR8Fqg7BiddxeBZjxX0WHBEwCTGp1vkUgjvvDivVPf7/IVf2942jrKSzF+DTdNHUrUMjR0PA7KLoSBHvke7ZOYjrAZv1LlIrEwDqnJhEgrDfITc6IobALKfUCNmfK9hBZAyLEnXjYv1de9Rnuc7jc0AYGZtB81S6BIeZZWVwfErSn3cVo3WYzmAKWKyOCvQJDA9q4kTRiTVe3IM/1wqn/UGwWRluosx65O1Q7MW48ciz43KUUObauChid+RqWOLgXXzHXM1y54m3HB+tl3SW4+mPytOKV2eDgkOeeAk0eCUh/99ABvYDiBx78KG1inKP2bpVNmKZ9fTWfNrSoQHkN5kPCLwUzBQyg0o5KLP1Nns8iaG2Cze/k26anKuCwkxtTfIkoFhx81bsKoyTl+GAi5QddgJzC1ObvPdAE6w01gmerrDDubZpV0W8zbrgHfrIWjkotz8KTVp+Ttr37Re4pZ+11NoPurHJ/KN8w2DjPqu0/7cD3Eepf4U5XqQIrwQhM9IfzoqlCWjPIkyEm0QzJ0TvzkqCSLidHT5aZRdXNC/H5z3oarIzzXweBC91KrKn/nxThNUSykC490OZKVq5PS6vLVXm3wfWLrlOId8NIWHiZSJ7+cEwHBwomZPuVrs6JmA2Nvdz3f2xTVUxOPcAOkESi9hQYJcTqyys5gK0SanRfbLIabNH9k4Q0tXndD8R2LDXdPbgpf5gxITkjcGObIqK3nqKWVo6vvf9Jti+W6S10eAna8EPhgyz5wMmGS0zeFwBTNgWEM0kk7nIUpIb0xO7/36C5rz43+5H6SGSj+W9XlWROw+yOE+WrkjAyAhFuU7Yvyouv5Csw5rdcRwkhH9K3DRPzltTBY+F/CTy9Hioxq3bRAUtqyIAW+wsjZxYA+LLXE1w2AuwBgtXxt8OwaPSxz0ZHmmTRSbTvINVBcYWMbK0Gfn2Xa3BTKKt3eWrQ0kovOfcMm9xcqzpTB6jEko+FKf1iq7sYS6ZrO9DJ+VRJljucraOoVafw20b38Au0+ScfMyDF10khqy2lExGUQQoTFfOzfS1W4ZC0B/KnUpIqeJ9EJPLnAk/sgnsJorD7AsVm/3UWVdzgcfHdSPIgMKLaQPcgKqPik50UmH6Erg86mg7+fZZPVONFNx376tUGXe0r3Bh53Ns5uK2rCEsBfbTUQwxCHqxykOk3dMcXKQWzQ2fPeaskOB0gzat7CE0ew47I8nWGWixsP3gHvxj64aBVi3Xzi21EKQYmL5Pkfr8Ab+k4sgi5Vs409DEFDGBHgx1hAjpTD9jjw9qJrRLerrHLa5kM8qJoAcp+XtlD2//OacZYfKnJoD8rCxLczAr9BA6XKu+6Qo6ZKb7L+sNnGDbgmmtYOOnzSlT5KdUrDM039GhgsyXCIYf/eavYXTaYqe6Zgqk1r/HJSt1KADex11e+shUnHzkP8cz8H+ClD4WEAKkmm9dTQwgfPZdc+T5iFIMtJFm5jpYVYAgCHTFsYwibXAuuGK3GdN4QbxnUdan/klrJKrrrWywI0lo60dgEJj5LlBkJ8cJrFbinISdP1WrmI7F76tcz0aBB6vE=" title="Mekko Graphics Chart">
            <a:extLst>
              <a:ext uri="{FF2B5EF4-FFF2-40B4-BE49-F238E27FC236}">
                <a16:creationId xmlns:a16="http://schemas.microsoft.com/office/drawing/2014/main" id="{C9710A41-F891-4DB8-9E90-2D95BFE396FF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 bwMode="gray">
          <a:xfrm>
            <a:off x="330199" y="1807401"/>
            <a:ext cx="11517312" cy="4311952"/>
          </a:xfrm>
          <a:prstGeom prst="rect">
            <a:avLst/>
          </a:prstGeom>
          <a:blipFill>
            <a:blip r:embed="rId8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06DD16-D685-42B6-B219-2E283AB5BE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/>
              <a:t>Customer Advocacy:</a:t>
            </a:r>
            <a:r>
              <a:rPr lang="en-GB"/>
              <a:t> </a:t>
            </a:r>
            <a:r>
              <a:rPr lang="en-AU"/>
              <a:t>X middle of the pack on customer advocacy with ~X% NPS</a:t>
            </a:r>
          </a:p>
        </p:txBody>
      </p:sp>
      <p:sp>
        <p:nvSpPr>
          <p:cNvPr id="29" name="btfpNotesBox350040">
            <a:extLst>
              <a:ext uri="{FF2B5EF4-FFF2-40B4-BE49-F238E27FC236}">
                <a16:creationId xmlns:a16="http://schemas.microsoft.com/office/drawing/2014/main" id="{9A437081-7020-4C29-B035-0A33B142C67C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 Others and brands with N&lt;X are hidden</a:t>
            </a:r>
          </a:p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87AA2E2-CD29-44A8-8C01-8C3DEE9B1081}"/>
              </a:ext>
            </a:extLst>
          </p:cNvPr>
          <p:cNvSpPr/>
          <p:nvPr/>
        </p:nvSpPr>
        <p:spPr bwMode="gray">
          <a:xfrm>
            <a:off x="339726" y="1333050"/>
            <a:ext cx="11512548" cy="486970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1" indent="0" algn="ctr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 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ow </a:t>
            </a:r>
            <a:r>
              <a:rPr kumimoji="0" lang="en-US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kely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re you </a:t>
            </a:r>
            <a:r>
              <a:rPr kumimoji="0" lang="en-US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recommend 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provider&gt; to a colleague?</a:t>
            </a:r>
            <a:endParaRPr kumimoji="0" lang="en-AU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3C6FA77-8924-4333-AB81-39E49BB88054}"/>
              </a:ext>
            </a:extLst>
          </p:cNvPr>
          <p:cNvSpPr/>
          <p:nvPr/>
        </p:nvSpPr>
        <p:spPr bwMode="gray">
          <a:xfrm>
            <a:off x="828977" y="2239257"/>
            <a:ext cx="1146128" cy="3890167"/>
          </a:xfrm>
          <a:prstGeom prst="rect">
            <a:avLst/>
          </a:prstGeom>
          <a:noFill/>
          <a:ln w="12700">
            <a:solidFill>
              <a:srgbClr val="C0000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2" name="btfpStatusSticker269916">
            <a:extLst>
              <a:ext uri="{FF2B5EF4-FFF2-40B4-BE49-F238E27FC236}">
                <a16:creationId xmlns:a16="http://schemas.microsoft.com/office/drawing/2014/main" id="{04264FF5-E651-48AE-8456-2F56F160D190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100356" y="955344"/>
            <a:ext cx="1761444" cy="235611"/>
            <a:chOff x="-2280176" y="876300"/>
            <a:chExt cx="1761444" cy="235611"/>
          </a:xfrm>
        </p:grpSpPr>
        <p:sp>
          <p:nvSpPr>
            <p:cNvPr id="33" name="btfpStatusStickerText269916">
              <a:extLst>
                <a:ext uri="{FF2B5EF4-FFF2-40B4-BE49-F238E27FC236}">
                  <a16:creationId xmlns:a16="http://schemas.microsoft.com/office/drawing/2014/main" id="{37B9440E-D152-43E5-9A60-186AC7532575}"/>
                </a:ext>
              </a:extLst>
            </p:cNvPr>
            <p:cNvSpPr txBox="1"/>
            <p:nvPr/>
          </p:nvSpPr>
          <p:spPr bwMode="gray">
            <a:xfrm>
              <a:off x="-2280176" y="876300"/>
              <a:ext cx="17614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liminary</a:t>
              </a:r>
            </a:p>
          </p:txBody>
        </p:sp>
        <p:cxnSp>
          <p:nvCxnSpPr>
            <p:cNvPr id="34" name="btfpStatusStickerLine269916">
              <a:extLst>
                <a:ext uri="{FF2B5EF4-FFF2-40B4-BE49-F238E27FC236}">
                  <a16:creationId xmlns:a16="http://schemas.microsoft.com/office/drawing/2014/main" id="{4A7DECC4-E532-4F12-B039-017B99066E5D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80176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btfpRunningAgenda2Level403778">
            <a:extLst>
              <a:ext uri="{FF2B5EF4-FFF2-40B4-BE49-F238E27FC236}">
                <a16:creationId xmlns:a16="http://schemas.microsoft.com/office/drawing/2014/main" id="{F782DEAD-3D63-4631-B37D-C5CE8B1614E9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-1" y="944429"/>
            <a:ext cx="3259157" cy="257442"/>
            <a:chOff x="-1" y="876300"/>
            <a:chExt cx="3259157" cy="257442"/>
          </a:xfrm>
        </p:grpSpPr>
        <p:sp>
          <p:nvSpPr>
            <p:cNvPr id="38" name="btfpRunningAgenda2LevelBarLeft403778">
              <a:extLst>
                <a:ext uri="{FF2B5EF4-FFF2-40B4-BE49-F238E27FC236}">
                  <a16:creationId xmlns:a16="http://schemas.microsoft.com/office/drawing/2014/main" id="{2BAB5784-566B-4C17-AC55-0B3CDD2BB9CA}"/>
                </a:ext>
              </a:extLst>
            </p:cNvPr>
            <p:cNvSpPr/>
            <p:nvPr/>
          </p:nvSpPr>
          <p:spPr bwMode="gray">
            <a:xfrm>
              <a:off x="-1" y="876300"/>
              <a:ext cx="2122597" cy="257442"/>
            </a:xfrm>
            <a:custGeom>
              <a:avLst/>
              <a:gdLst>
                <a:gd name="connsiteX0" fmla="*/ 950801 w 2462432"/>
                <a:gd name="connsiteY0" fmla="*/ 0 h 257442"/>
                <a:gd name="connsiteX1" fmla="*/ 2462432 w 2462432"/>
                <a:gd name="connsiteY1" fmla="*/ 0 h 257442"/>
                <a:gd name="connsiteX2" fmla="*/ 2407711 w 2462432"/>
                <a:gd name="connsiteY2" fmla="*/ 257442 h 257442"/>
                <a:gd name="connsiteX3" fmla="*/ 0 w 2462432"/>
                <a:gd name="connsiteY3" fmla="*/ 257442 h 257442"/>
                <a:gd name="connsiteX0" fmla="*/ 950801 w 2407711"/>
                <a:gd name="connsiteY0" fmla="*/ 0 h 257442"/>
                <a:gd name="connsiteX1" fmla="*/ 896080 w 2407711"/>
                <a:gd name="connsiteY1" fmla="*/ 257442 h 257442"/>
                <a:gd name="connsiteX2" fmla="*/ 2407711 w 2407711"/>
                <a:gd name="connsiteY2" fmla="*/ 257442 h 257442"/>
                <a:gd name="connsiteX3" fmla="*/ 0 w 2407711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111100 w 1111100"/>
                <a:gd name="connsiteY0" fmla="*/ 0 h 257442"/>
                <a:gd name="connsiteX1" fmla="*/ 896079 w 1111100"/>
                <a:gd name="connsiteY1" fmla="*/ 257442 h 257442"/>
                <a:gd name="connsiteX2" fmla="*/ 0 w 1111100"/>
                <a:gd name="connsiteY2" fmla="*/ 257442 h 257442"/>
                <a:gd name="connsiteX3" fmla="*/ 0 w 1111100"/>
                <a:gd name="connsiteY3" fmla="*/ 0 h 257442"/>
                <a:gd name="connsiteX0" fmla="*/ 1111100 w 1111100"/>
                <a:gd name="connsiteY0" fmla="*/ 0 h 257442"/>
                <a:gd name="connsiteX1" fmla="*/ 1056379 w 1111100"/>
                <a:gd name="connsiteY1" fmla="*/ 257442 h 257442"/>
                <a:gd name="connsiteX2" fmla="*/ 0 w 1111100"/>
                <a:gd name="connsiteY2" fmla="*/ 257442 h 257442"/>
                <a:gd name="connsiteX3" fmla="*/ 0 w 1111100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271403 w 1271403"/>
                <a:gd name="connsiteY0" fmla="*/ 0 h 257442"/>
                <a:gd name="connsiteX1" fmla="*/ 1056380 w 1271403"/>
                <a:gd name="connsiteY1" fmla="*/ 257442 h 257442"/>
                <a:gd name="connsiteX2" fmla="*/ 0 w 1271403"/>
                <a:gd name="connsiteY2" fmla="*/ 257442 h 257442"/>
                <a:gd name="connsiteX3" fmla="*/ 1 w 1271403"/>
                <a:gd name="connsiteY3" fmla="*/ 0 h 257442"/>
                <a:gd name="connsiteX0" fmla="*/ 1271403 w 1271403"/>
                <a:gd name="connsiteY0" fmla="*/ 0 h 257442"/>
                <a:gd name="connsiteX1" fmla="*/ 1216682 w 1271403"/>
                <a:gd name="connsiteY1" fmla="*/ 257442 h 257442"/>
                <a:gd name="connsiteX2" fmla="*/ 0 w 1271403"/>
                <a:gd name="connsiteY2" fmla="*/ 257442 h 257442"/>
                <a:gd name="connsiteX3" fmla="*/ 1 w 1271403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3 w 1271403"/>
                <a:gd name="connsiteY0" fmla="*/ 0 h 257442"/>
                <a:gd name="connsiteX1" fmla="*/ 1216682 w 1271403"/>
                <a:gd name="connsiteY1" fmla="*/ 257442 h 257442"/>
                <a:gd name="connsiteX2" fmla="*/ 1 w 1271403"/>
                <a:gd name="connsiteY2" fmla="*/ 257442 h 257442"/>
                <a:gd name="connsiteX3" fmla="*/ 0 w 1271403"/>
                <a:gd name="connsiteY3" fmla="*/ 0 h 257442"/>
                <a:gd name="connsiteX0" fmla="*/ 950802 w 1216682"/>
                <a:gd name="connsiteY0" fmla="*/ 0 h 257442"/>
                <a:gd name="connsiteX1" fmla="*/ 1216682 w 1216682"/>
                <a:gd name="connsiteY1" fmla="*/ 257442 h 257442"/>
                <a:gd name="connsiteX2" fmla="*/ 1 w 1216682"/>
                <a:gd name="connsiteY2" fmla="*/ 257442 h 257442"/>
                <a:gd name="connsiteX3" fmla="*/ 0 w 1216682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1 w 950802"/>
                <a:gd name="connsiteY2" fmla="*/ 257442 h 257442"/>
                <a:gd name="connsiteX3" fmla="*/ 0 w 950802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1 w 950802"/>
                <a:gd name="connsiteY2" fmla="*/ 257442 h 257442"/>
                <a:gd name="connsiteX3" fmla="*/ 0 w 95080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71402 w 1271402"/>
                <a:gd name="connsiteY0" fmla="*/ 0 h 257442"/>
                <a:gd name="connsiteX1" fmla="*/ 1056380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2 w 1271402"/>
                <a:gd name="connsiteY0" fmla="*/ 0 h 257442"/>
                <a:gd name="connsiteX1" fmla="*/ 1216680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3 w 1271403"/>
                <a:gd name="connsiteY0" fmla="*/ 0 h 257442"/>
                <a:gd name="connsiteX1" fmla="*/ 1216681 w 1271403"/>
                <a:gd name="connsiteY1" fmla="*/ 257442 h 257442"/>
                <a:gd name="connsiteX2" fmla="*/ 0 w 1271403"/>
                <a:gd name="connsiteY2" fmla="*/ 257442 h 257442"/>
                <a:gd name="connsiteX3" fmla="*/ 1 w 1271403"/>
                <a:gd name="connsiteY3" fmla="*/ 0 h 257442"/>
                <a:gd name="connsiteX0" fmla="*/ 1271403 w 1271403"/>
                <a:gd name="connsiteY0" fmla="*/ 0 h 257442"/>
                <a:gd name="connsiteX1" fmla="*/ 1216681 w 1271403"/>
                <a:gd name="connsiteY1" fmla="*/ 257442 h 257442"/>
                <a:gd name="connsiteX2" fmla="*/ 0 w 1271403"/>
                <a:gd name="connsiteY2" fmla="*/ 257442 h 257442"/>
                <a:gd name="connsiteX3" fmla="*/ 1 w 1271403"/>
                <a:gd name="connsiteY3" fmla="*/ 0 h 257442"/>
                <a:gd name="connsiteX0" fmla="*/ 1423688 w 1423688"/>
                <a:gd name="connsiteY0" fmla="*/ 0 h 257442"/>
                <a:gd name="connsiteX1" fmla="*/ 1216681 w 1423688"/>
                <a:gd name="connsiteY1" fmla="*/ 257442 h 257442"/>
                <a:gd name="connsiteX2" fmla="*/ 0 w 1423688"/>
                <a:gd name="connsiteY2" fmla="*/ 257442 h 257442"/>
                <a:gd name="connsiteX3" fmla="*/ 1 w 1423688"/>
                <a:gd name="connsiteY3" fmla="*/ 0 h 257442"/>
                <a:gd name="connsiteX0" fmla="*/ 1423688 w 1423688"/>
                <a:gd name="connsiteY0" fmla="*/ 0 h 257442"/>
                <a:gd name="connsiteX1" fmla="*/ 1368966 w 1423688"/>
                <a:gd name="connsiteY1" fmla="*/ 257442 h 257442"/>
                <a:gd name="connsiteX2" fmla="*/ 0 w 1423688"/>
                <a:gd name="connsiteY2" fmla="*/ 257442 h 257442"/>
                <a:gd name="connsiteX3" fmla="*/ 1 w 1423688"/>
                <a:gd name="connsiteY3" fmla="*/ 0 h 257442"/>
                <a:gd name="connsiteX0" fmla="*/ 1423688 w 1423688"/>
                <a:gd name="connsiteY0" fmla="*/ 0 h 257442"/>
                <a:gd name="connsiteX1" fmla="*/ 1368966 w 1423688"/>
                <a:gd name="connsiteY1" fmla="*/ 257442 h 257442"/>
                <a:gd name="connsiteX2" fmla="*/ 0 w 1423688"/>
                <a:gd name="connsiteY2" fmla="*/ 257442 h 257442"/>
                <a:gd name="connsiteX3" fmla="*/ 1 w 1423688"/>
                <a:gd name="connsiteY3" fmla="*/ 0 h 257442"/>
                <a:gd name="connsiteX0" fmla="*/ 1423688 w 1423688"/>
                <a:gd name="connsiteY0" fmla="*/ 0 h 257442"/>
                <a:gd name="connsiteX1" fmla="*/ 1368966 w 1423688"/>
                <a:gd name="connsiteY1" fmla="*/ 257442 h 257442"/>
                <a:gd name="connsiteX2" fmla="*/ 0 w 1423688"/>
                <a:gd name="connsiteY2" fmla="*/ 257442 h 257442"/>
                <a:gd name="connsiteX3" fmla="*/ 0 w 1423688"/>
                <a:gd name="connsiteY3" fmla="*/ 0 h 257442"/>
                <a:gd name="connsiteX0" fmla="*/ 1592002 w 1592002"/>
                <a:gd name="connsiteY0" fmla="*/ 0 h 257442"/>
                <a:gd name="connsiteX1" fmla="*/ 1368966 w 1592002"/>
                <a:gd name="connsiteY1" fmla="*/ 257442 h 257442"/>
                <a:gd name="connsiteX2" fmla="*/ 0 w 1592002"/>
                <a:gd name="connsiteY2" fmla="*/ 257442 h 257442"/>
                <a:gd name="connsiteX3" fmla="*/ 0 w 1592002"/>
                <a:gd name="connsiteY3" fmla="*/ 0 h 257442"/>
                <a:gd name="connsiteX0" fmla="*/ 1592002 w 1592002"/>
                <a:gd name="connsiteY0" fmla="*/ 0 h 257442"/>
                <a:gd name="connsiteX1" fmla="*/ 1537281 w 1592002"/>
                <a:gd name="connsiteY1" fmla="*/ 257442 h 257442"/>
                <a:gd name="connsiteX2" fmla="*/ 0 w 1592002"/>
                <a:gd name="connsiteY2" fmla="*/ 257442 h 257442"/>
                <a:gd name="connsiteX3" fmla="*/ 0 w 1592002"/>
                <a:gd name="connsiteY3" fmla="*/ 0 h 257442"/>
                <a:gd name="connsiteX0" fmla="*/ 1592002 w 1592002"/>
                <a:gd name="connsiteY0" fmla="*/ 0 h 257442"/>
                <a:gd name="connsiteX1" fmla="*/ 1537281 w 1592002"/>
                <a:gd name="connsiteY1" fmla="*/ 257442 h 257442"/>
                <a:gd name="connsiteX2" fmla="*/ 0 w 1592002"/>
                <a:gd name="connsiteY2" fmla="*/ 257442 h 257442"/>
                <a:gd name="connsiteX3" fmla="*/ 0 w 1592002"/>
                <a:gd name="connsiteY3" fmla="*/ 0 h 257442"/>
                <a:gd name="connsiteX0" fmla="*/ 1592002 w 1592002"/>
                <a:gd name="connsiteY0" fmla="*/ 0 h 257442"/>
                <a:gd name="connsiteX1" fmla="*/ 1537281 w 1592002"/>
                <a:gd name="connsiteY1" fmla="*/ 257442 h 257442"/>
                <a:gd name="connsiteX2" fmla="*/ 0 w 1592002"/>
                <a:gd name="connsiteY2" fmla="*/ 257442 h 257442"/>
                <a:gd name="connsiteX3" fmla="*/ 0 w 1592002"/>
                <a:gd name="connsiteY3" fmla="*/ 0 h 257442"/>
                <a:gd name="connsiteX0" fmla="*/ 1752303 w 1752303"/>
                <a:gd name="connsiteY0" fmla="*/ 0 h 257442"/>
                <a:gd name="connsiteX1" fmla="*/ 1537281 w 1752303"/>
                <a:gd name="connsiteY1" fmla="*/ 257442 h 257442"/>
                <a:gd name="connsiteX2" fmla="*/ 0 w 1752303"/>
                <a:gd name="connsiteY2" fmla="*/ 257442 h 257442"/>
                <a:gd name="connsiteX3" fmla="*/ 0 w 1752303"/>
                <a:gd name="connsiteY3" fmla="*/ 0 h 257442"/>
                <a:gd name="connsiteX0" fmla="*/ 1752303 w 1752303"/>
                <a:gd name="connsiteY0" fmla="*/ 0 h 257442"/>
                <a:gd name="connsiteX1" fmla="*/ 1697582 w 1752303"/>
                <a:gd name="connsiteY1" fmla="*/ 257442 h 257442"/>
                <a:gd name="connsiteX2" fmla="*/ 0 w 1752303"/>
                <a:gd name="connsiteY2" fmla="*/ 257442 h 257442"/>
                <a:gd name="connsiteX3" fmla="*/ 0 w 1752303"/>
                <a:gd name="connsiteY3" fmla="*/ 0 h 257442"/>
                <a:gd name="connsiteX0" fmla="*/ 1752303 w 1752303"/>
                <a:gd name="connsiteY0" fmla="*/ 0 h 257442"/>
                <a:gd name="connsiteX1" fmla="*/ 1697582 w 1752303"/>
                <a:gd name="connsiteY1" fmla="*/ 257442 h 257442"/>
                <a:gd name="connsiteX2" fmla="*/ 0 w 1752303"/>
                <a:gd name="connsiteY2" fmla="*/ 257442 h 257442"/>
                <a:gd name="connsiteX3" fmla="*/ 0 w 1752303"/>
                <a:gd name="connsiteY3" fmla="*/ 0 h 257442"/>
                <a:gd name="connsiteX0" fmla="*/ 1752303 w 1752303"/>
                <a:gd name="connsiteY0" fmla="*/ 0 h 257442"/>
                <a:gd name="connsiteX1" fmla="*/ 1697582 w 1752303"/>
                <a:gd name="connsiteY1" fmla="*/ 257442 h 257442"/>
                <a:gd name="connsiteX2" fmla="*/ 0 w 1752303"/>
                <a:gd name="connsiteY2" fmla="*/ 257442 h 257442"/>
                <a:gd name="connsiteX3" fmla="*/ 0 w 1752303"/>
                <a:gd name="connsiteY3" fmla="*/ 0 h 257442"/>
                <a:gd name="connsiteX0" fmla="*/ 1904587 w 1904587"/>
                <a:gd name="connsiteY0" fmla="*/ 0 h 257442"/>
                <a:gd name="connsiteX1" fmla="*/ 1697582 w 1904587"/>
                <a:gd name="connsiteY1" fmla="*/ 257442 h 257442"/>
                <a:gd name="connsiteX2" fmla="*/ 0 w 1904587"/>
                <a:gd name="connsiteY2" fmla="*/ 257442 h 257442"/>
                <a:gd name="connsiteX3" fmla="*/ 0 w 1904587"/>
                <a:gd name="connsiteY3" fmla="*/ 0 h 257442"/>
                <a:gd name="connsiteX0" fmla="*/ 1904587 w 1904587"/>
                <a:gd name="connsiteY0" fmla="*/ 0 h 257442"/>
                <a:gd name="connsiteX1" fmla="*/ 1849866 w 1904587"/>
                <a:gd name="connsiteY1" fmla="*/ 257442 h 257442"/>
                <a:gd name="connsiteX2" fmla="*/ 0 w 1904587"/>
                <a:gd name="connsiteY2" fmla="*/ 257442 h 257442"/>
                <a:gd name="connsiteX3" fmla="*/ 0 w 1904587"/>
                <a:gd name="connsiteY3" fmla="*/ 0 h 257442"/>
                <a:gd name="connsiteX0" fmla="*/ 1904587 w 1904587"/>
                <a:gd name="connsiteY0" fmla="*/ 0 h 257442"/>
                <a:gd name="connsiteX1" fmla="*/ 1849866 w 1904587"/>
                <a:gd name="connsiteY1" fmla="*/ 257442 h 257442"/>
                <a:gd name="connsiteX2" fmla="*/ 0 w 1904587"/>
                <a:gd name="connsiteY2" fmla="*/ 257442 h 257442"/>
                <a:gd name="connsiteX3" fmla="*/ 0 w 1904587"/>
                <a:gd name="connsiteY3" fmla="*/ 0 h 257442"/>
                <a:gd name="connsiteX0" fmla="*/ 1904587 w 1904587"/>
                <a:gd name="connsiteY0" fmla="*/ 0 h 257442"/>
                <a:gd name="connsiteX1" fmla="*/ 1849866 w 1904587"/>
                <a:gd name="connsiteY1" fmla="*/ 257442 h 257442"/>
                <a:gd name="connsiteX2" fmla="*/ 0 w 1904587"/>
                <a:gd name="connsiteY2" fmla="*/ 257442 h 257442"/>
                <a:gd name="connsiteX3" fmla="*/ 0 w 1904587"/>
                <a:gd name="connsiteY3" fmla="*/ 0 h 257442"/>
                <a:gd name="connsiteX0" fmla="*/ 2005577 w 2005577"/>
                <a:gd name="connsiteY0" fmla="*/ 0 h 257442"/>
                <a:gd name="connsiteX1" fmla="*/ 1849866 w 2005577"/>
                <a:gd name="connsiteY1" fmla="*/ 257442 h 257442"/>
                <a:gd name="connsiteX2" fmla="*/ 0 w 2005577"/>
                <a:gd name="connsiteY2" fmla="*/ 257442 h 257442"/>
                <a:gd name="connsiteX3" fmla="*/ 0 w 2005577"/>
                <a:gd name="connsiteY3" fmla="*/ 0 h 257442"/>
                <a:gd name="connsiteX0" fmla="*/ 2005577 w 2005577"/>
                <a:gd name="connsiteY0" fmla="*/ 0 h 257442"/>
                <a:gd name="connsiteX1" fmla="*/ 1950856 w 2005577"/>
                <a:gd name="connsiteY1" fmla="*/ 257442 h 257442"/>
                <a:gd name="connsiteX2" fmla="*/ 0 w 2005577"/>
                <a:gd name="connsiteY2" fmla="*/ 257442 h 257442"/>
                <a:gd name="connsiteX3" fmla="*/ 0 w 2005577"/>
                <a:gd name="connsiteY3" fmla="*/ 0 h 257442"/>
                <a:gd name="connsiteX0" fmla="*/ 2005577 w 2005577"/>
                <a:gd name="connsiteY0" fmla="*/ 0 h 257442"/>
                <a:gd name="connsiteX1" fmla="*/ 1950856 w 2005577"/>
                <a:gd name="connsiteY1" fmla="*/ 257442 h 257442"/>
                <a:gd name="connsiteX2" fmla="*/ 0 w 2005577"/>
                <a:gd name="connsiteY2" fmla="*/ 257442 h 257442"/>
                <a:gd name="connsiteX3" fmla="*/ 0 w 2005577"/>
                <a:gd name="connsiteY3" fmla="*/ 0 h 257442"/>
                <a:gd name="connsiteX0" fmla="*/ 2005577 w 2005577"/>
                <a:gd name="connsiteY0" fmla="*/ 0 h 257442"/>
                <a:gd name="connsiteX1" fmla="*/ 1950856 w 2005577"/>
                <a:gd name="connsiteY1" fmla="*/ 257442 h 257442"/>
                <a:gd name="connsiteX2" fmla="*/ 0 w 2005577"/>
                <a:gd name="connsiteY2" fmla="*/ 257442 h 257442"/>
                <a:gd name="connsiteX3" fmla="*/ 0 w 2005577"/>
                <a:gd name="connsiteY3" fmla="*/ 0 h 257442"/>
                <a:gd name="connsiteX0" fmla="*/ 2173892 w 2173892"/>
                <a:gd name="connsiteY0" fmla="*/ 0 h 257442"/>
                <a:gd name="connsiteX1" fmla="*/ 1950856 w 2173892"/>
                <a:gd name="connsiteY1" fmla="*/ 257442 h 257442"/>
                <a:gd name="connsiteX2" fmla="*/ 0 w 2173892"/>
                <a:gd name="connsiteY2" fmla="*/ 257442 h 257442"/>
                <a:gd name="connsiteX3" fmla="*/ 0 w 2173892"/>
                <a:gd name="connsiteY3" fmla="*/ 0 h 257442"/>
                <a:gd name="connsiteX0" fmla="*/ 2173892 w 2173892"/>
                <a:gd name="connsiteY0" fmla="*/ 0 h 257442"/>
                <a:gd name="connsiteX1" fmla="*/ 2119170 w 2173892"/>
                <a:gd name="connsiteY1" fmla="*/ 257442 h 257442"/>
                <a:gd name="connsiteX2" fmla="*/ 0 w 2173892"/>
                <a:gd name="connsiteY2" fmla="*/ 257442 h 257442"/>
                <a:gd name="connsiteX3" fmla="*/ 0 w 2173892"/>
                <a:gd name="connsiteY3" fmla="*/ 0 h 257442"/>
                <a:gd name="connsiteX0" fmla="*/ 2173893 w 2173893"/>
                <a:gd name="connsiteY0" fmla="*/ 0 h 257442"/>
                <a:gd name="connsiteX1" fmla="*/ 2119171 w 2173893"/>
                <a:gd name="connsiteY1" fmla="*/ 257442 h 257442"/>
                <a:gd name="connsiteX2" fmla="*/ 0 w 2173893"/>
                <a:gd name="connsiteY2" fmla="*/ 257442 h 257442"/>
                <a:gd name="connsiteX3" fmla="*/ 1 w 2173893"/>
                <a:gd name="connsiteY3" fmla="*/ 0 h 257442"/>
                <a:gd name="connsiteX0" fmla="*/ 2173893 w 2173893"/>
                <a:gd name="connsiteY0" fmla="*/ 0 h 257442"/>
                <a:gd name="connsiteX1" fmla="*/ 2119171 w 2173893"/>
                <a:gd name="connsiteY1" fmla="*/ 257442 h 257442"/>
                <a:gd name="connsiteX2" fmla="*/ 0 w 2173893"/>
                <a:gd name="connsiteY2" fmla="*/ 257442 h 257442"/>
                <a:gd name="connsiteX3" fmla="*/ 1 w 2173893"/>
                <a:gd name="connsiteY3" fmla="*/ 0 h 257442"/>
                <a:gd name="connsiteX0" fmla="*/ 2274883 w 2274883"/>
                <a:gd name="connsiteY0" fmla="*/ 0 h 257442"/>
                <a:gd name="connsiteX1" fmla="*/ 2119171 w 2274883"/>
                <a:gd name="connsiteY1" fmla="*/ 257442 h 257442"/>
                <a:gd name="connsiteX2" fmla="*/ 0 w 2274883"/>
                <a:gd name="connsiteY2" fmla="*/ 257442 h 257442"/>
                <a:gd name="connsiteX3" fmla="*/ 1 w 2274883"/>
                <a:gd name="connsiteY3" fmla="*/ 0 h 257442"/>
                <a:gd name="connsiteX0" fmla="*/ 2274883 w 2274883"/>
                <a:gd name="connsiteY0" fmla="*/ 0 h 257442"/>
                <a:gd name="connsiteX1" fmla="*/ 2220162 w 2274883"/>
                <a:gd name="connsiteY1" fmla="*/ 257442 h 257442"/>
                <a:gd name="connsiteX2" fmla="*/ 0 w 2274883"/>
                <a:gd name="connsiteY2" fmla="*/ 257442 h 257442"/>
                <a:gd name="connsiteX3" fmla="*/ 1 w 2274883"/>
                <a:gd name="connsiteY3" fmla="*/ 0 h 257442"/>
                <a:gd name="connsiteX0" fmla="*/ 2274882 w 2274882"/>
                <a:gd name="connsiteY0" fmla="*/ 0 h 257442"/>
                <a:gd name="connsiteX1" fmla="*/ 2220161 w 2274882"/>
                <a:gd name="connsiteY1" fmla="*/ 257442 h 257442"/>
                <a:gd name="connsiteX2" fmla="*/ 0 w 2274882"/>
                <a:gd name="connsiteY2" fmla="*/ 257442 h 257442"/>
                <a:gd name="connsiteX3" fmla="*/ 0 w 2274882"/>
                <a:gd name="connsiteY3" fmla="*/ 0 h 257442"/>
                <a:gd name="connsiteX0" fmla="*/ 2274883 w 2274883"/>
                <a:gd name="connsiteY0" fmla="*/ 0 h 257442"/>
                <a:gd name="connsiteX1" fmla="*/ 2220162 w 2274883"/>
                <a:gd name="connsiteY1" fmla="*/ 257442 h 257442"/>
                <a:gd name="connsiteX2" fmla="*/ 1 w 2274883"/>
                <a:gd name="connsiteY2" fmla="*/ 257442 h 257442"/>
                <a:gd name="connsiteX3" fmla="*/ 0 w 2274883"/>
                <a:gd name="connsiteY3" fmla="*/ 0 h 257442"/>
                <a:gd name="connsiteX0" fmla="*/ 2435183 w 2435183"/>
                <a:gd name="connsiteY0" fmla="*/ 0 h 257442"/>
                <a:gd name="connsiteX1" fmla="*/ 2220162 w 2435183"/>
                <a:gd name="connsiteY1" fmla="*/ 257442 h 257442"/>
                <a:gd name="connsiteX2" fmla="*/ 1 w 2435183"/>
                <a:gd name="connsiteY2" fmla="*/ 257442 h 257442"/>
                <a:gd name="connsiteX3" fmla="*/ 0 w 2435183"/>
                <a:gd name="connsiteY3" fmla="*/ 0 h 257442"/>
                <a:gd name="connsiteX0" fmla="*/ 2435183 w 2435183"/>
                <a:gd name="connsiteY0" fmla="*/ 0 h 257442"/>
                <a:gd name="connsiteX1" fmla="*/ 2380462 w 2435183"/>
                <a:gd name="connsiteY1" fmla="*/ 257442 h 257442"/>
                <a:gd name="connsiteX2" fmla="*/ 1 w 2435183"/>
                <a:gd name="connsiteY2" fmla="*/ 257442 h 257442"/>
                <a:gd name="connsiteX3" fmla="*/ 0 w 2435183"/>
                <a:gd name="connsiteY3" fmla="*/ 0 h 257442"/>
                <a:gd name="connsiteX0" fmla="*/ 2435183 w 2435183"/>
                <a:gd name="connsiteY0" fmla="*/ 0 h 257442"/>
                <a:gd name="connsiteX1" fmla="*/ 2380462 w 2435183"/>
                <a:gd name="connsiteY1" fmla="*/ 257442 h 257442"/>
                <a:gd name="connsiteX2" fmla="*/ 1 w 2435183"/>
                <a:gd name="connsiteY2" fmla="*/ 257442 h 257442"/>
                <a:gd name="connsiteX3" fmla="*/ 0 w 2435183"/>
                <a:gd name="connsiteY3" fmla="*/ 0 h 257442"/>
                <a:gd name="connsiteX0" fmla="*/ 2435182 w 2435182"/>
                <a:gd name="connsiteY0" fmla="*/ 0 h 257442"/>
                <a:gd name="connsiteX1" fmla="*/ 2380461 w 2435182"/>
                <a:gd name="connsiteY1" fmla="*/ 257442 h 257442"/>
                <a:gd name="connsiteX2" fmla="*/ 0 w 2435182"/>
                <a:gd name="connsiteY2" fmla="*/ 257442 h 257442"/>
                <a:gd name="connsiteX3" fmla="*/ 0 w 2435182"/>
                <a:gd name="connsiteY3" fmla="*/ 0 h 257442"/>
                <a:gd name="connsiteX0" fmla="*/ 2603496 w 2603496"/>
                <a:gd name="connsiteY0" fmla="*/ 0 h 257442"/>
                <a:gd name="connsiteX1" fmla="*/ 2380461 w 2603496"/>
                <a:gd name="connsiteY1" fmla="*/ 257442 h 257442"/>
                <a:gd name="connsiteX2" fmla="*/ 0 w 2603496"/>
                <a:gd name="connsiteY2" fmla="*/ 257442 h 257442"/>
                <a:gd name="connsiteX3" fmla="*/ 0 w 2603496"/>
                <a:gd name="connsiteY3" fmla="*/ 0 h 257442"/>
                <a:gd name="connsiteX0" fmla="*/ 2603496 w 2603496"/>
                <a:gd name="connsiteY0" fmla="*/ 0 h 257442"/>
                <a:gd name="connsiteX1" fmla="*/ 2548775 w 2603496"/>
                <a:gd name="connsiteY1" fmla="*/ 257442 h 257442"/>
                <a:gd name="connsiteX2" fmla="*/ 0 w 2603496"/>
                <a:gd name="connsiteY2" fmla="*/ 257442 h 257442"/>
                <a:gd name="connsiteX3" fmla="*/ 0 w 2603496"/>
                <a:gd name="connsiteY3" fmla="*/ 0 h 257442"/>
                <a:gd name="connsiteX0" fmla="*/ 2603497 w 2603497"/>
                <a:gd name="connsiteY0" fmla="*/ 0 h 257442"/>
                <a:gd name="connsiteX1" fmla="*/ 2548776 w 2603497"/>
                <a:gd name="connsiteY1" fmla="*/ 257442 h 257442"/>
                <a:gd name="connsiteX2" fmla="*/ 0 w 2603497"/>
                <a:gd name="connsiteY2" fmla="*/ 257442 h 257442"/>
                <a:gd name="connsiteX3" fmla="*/ 1 w 2603497"/>
                <a:gd name="connsiteY3" fmla="*/ 0 h 257442"/>
                <a:gd name="connsiteX0" fmla="*/ 2603497 w 2603497"/>
                <a:gd name="connsiteY0" fmla="*/ 0 h 257442"/>
                <a:gd name="connsiteX1" fmla="*/ 2548776 w 2603497"/>
                <a:gd name="connsiteY1" fmla="*/ 257442 h 257442"/>
                <a:gd name="connsiteX2" fmla="*/ 0 w 2603497"/>
                <a:gd name="connsiteY2" fmla="*/ 257442 h 257442"/>
                <a:gd name="connsiteX3" fmla="*/ 1 w 2603497"/>
                <a:gd name="connsiteY3" fmla="*/ 0 h 257442"/>
                <a:gd name="connsiteX0" fmla="*/ 2771813 w 2771813"/>
                <a:gd name="connsiteY0" fmla="*/ 0 h 257442"/>
                <a:gd name="connsiteX1" fmla="*/ 2548776 w 2771813"/>
                <a:gd name="connsiteY1" fmla="*/ 257442 h 257442"/>
                <a:gd name="connsiteX2" fmla="*/ 0 w 2771813"/>
                <a:gd name="connsiteY2" fmla="*/ 257442 h 257442"/>
                <a:gd name="connsiteX3" fmla="*/ 1 w 2771813"/>
                <a:gd name="connsiteY3" fmla="*/ 0 h 257442"/>
                <a:gd name="connsiteX0" fmla="*/ 2771813 w 2771813"/>
                <a:gd name="connsiteY0" fmla="*/ 0 h 257442"/>
                <a:gd name="connsiteX1" fmla="*/ 2717092 w 2771813"/>
                <a:gd name="connsiteY1" fmla="*/ 257442 h 257442"/>
                <a:gd name="connsiteX2" fmla="*/ 0 w 2771813"/>
                <a:gd name="connsiteY2" fmla="*/ 257442 h 257442"/>
                <a:gd name="connsiteX3" fmla="*/ 1 w 2771813"/>
                <a:gd name="connsiteY3" fmla="*/ 0 h 257442"/>
                <a:gd name="connsiteX0" fmla="*/ 2771812 w 2771812"/>
                <a:gd name="connsiteY0" fmla="*/ 0 h 257442"/>
                <a:gd name="connsiteX1" fmla="*/ 2717091 w 2771812"/>
                <a:gd name="connsiteY1" fmla="*/ 257442 h 257442"/>
                <a:gd name="connsiteX2" fmla="*/ 0 w 2771812"/>
                <a:gd name="connsiteY2" fmla="*/ 257442 h 257442"/>
                <a:gd name="connsiteX3" fmla="*/ 0 w 2771812"/>
                <a:gd name="connsiteY3" fmla="*/ 0 h 257442"/>
                <a:gd name="connsiteX0" fmla="*/ 2771813 w 2771813"/>
                <a:gd name="connsiteY0" fmla="*/ 0 h 257442"/>
                <a:gd name="connsiteX1" fmla="*/ 2717092 w 2771813"/>
                <a:gd name="connsiteY1" fmla="*/ 257442 h 257442"/>
                <a:gd name="connsiteX2" fmla="*/ 1 w 2771813"/>
                <a:gd name="connsiteY2" fmla="*/ 257442 h 257442"/>
                <a:gd name="connsiteX3" fmla="*/ 0 w 2771813"/>
                <a:gd name="connsiteY3" fmla="*/ 0 h 257442"/>
                <a:gd name="connsiteX0" fmla="*/ 2949746 w 2949746"/>
                <a:gd name="connsiteY0" fmla="*/ 0 h 257442"/>
                <a:gd name="connsiteX1" fmla="*/ 2717092 w 2949746"/>
                <a:gd name="connsiteY1" fmla="*/ 257442 h 257442"/>
                <a:gd name="connsiteX2" fmla="*/ 1 w 2949746"/>
                <a:gd name="connsiteY2" fmla="*/ 257442 h 257442"/>
                <a:gd name="connsiteX3" fmla="*/ 0 w 2949746"/>
                <a:gd name="connsiteY3" fmla="*/ 0 h 257442"/>
                <a:gd name="connsiteX0" fmla="*/ 2949746 w 2949746"/>
                <a:gd name="connsiteY0" fmla="*/ 0 h 257442"/>
                <a:gd name="connsiteX1" fmla="*/ 2895024 w 2949746"/>
                <a:gd name="connsiteY1" fmla="*/ 257442 h 257442"/>
                <a:gd name="connsiteX2" fmla="*/ 1 w 2949746"/>
                <a:gd name="connsiteY2" fmla="*/ 257442 h 257442"/>
                <a:gd name="connsiteX3" fmla="*/ 0 w 2949746"/>
                <a:gd name="connsiteY3" fmla="*/ 0 h 257442"/>
                <a:gd name="connsiteX0" fmla="*/ 2949746 w 2949746"/>
                <a:gd name="connsiteY0" fmla="*/ 0 h 257442"/>
                <a:gd name="connsiteX1" fmla="*/ 2895024 w 2949746"/>
                <a:gd name="connsiteY1" fmla="*/ 257442 h 257442"/>
                <a:gd name="connsiteX2" fmla="*/ 0 w 2949746"/>
                <a:gd name="connsiteY2" fmla="*/ 257442 h 257442"/>
                <a:gd name="connsiteX3" fmla="*/ 0 w 2949746"/>
                <a:gd name="connsiteY3" fmla="*/ 0 h 257442"/>
                <a:gd name="connsiteX0" fmla="*/ 2949746 w 2949746"/>
                <a:gd name="connsiteY0" fmla="*/ 0 h 257442"/>
                <a:gd name="connsiteX1" fmla="*/ 2895024 w 2949746"/>
                <a:gd name="connsiteY1" fmla="*/ 257442 h 257442"/>
                <a:gd name="connsiteX2" fmla="*/ 0 w 2949746"/>
                <a:gd name="connsiteY2" fmla="*/ 257442 h 257442"/>
                <a:gd name="connsiteX3" fmla="*/ 0 w 2949746"/>
                <a:gd name="connsiteY3" fmla="*/ 0 h 257442"/>
                <a:gd name="connsiteX0" fmla="*/ 3110046 w 3110046"/>
                <a:gd name="connsiteY0" fmla="*/ 0 h 257442"/>
                <a:gd name="connsiteX1" fmla="*/ 2895024 w 3110046"/>
                <a:gd name="connsiteY1" fmla="*/ 257442 h 257442"/>
                <a:gd name="connsiteX2" fmla="*/ 0 w 3110046"/>
                <a:gd name="connsiteY2" fmla="*/ 257442 h 257442"/>
                <a:gd name="connsiteX3" fmla="*/ 0 w 3110046"/>
                <a:gd name="connsiteY3" fmla="*/ 0 h 257442"/>
                <a:gd name="connsiteX0" fmla="*/ 3110046 w 3110046"/>
                <a:gd name="connsiteY0" fmla="*/ 0 h 257442"/>
                <a:gd name="connsiteX1" fmla="*/ 3055325 w 3110046"/>
                <a:gd name="connsiteY1" fmla="*/ 257442 h 257442"/>
                <a:gd name="connsiteX2" fmla="*/ 0 w 3110046"/>
                <a:gd name="connsiteY2" fmla="*/ 257442 h 257442"/>
                <a:gd name="connsiteX3" fmla="*/ 0 w 3110046"/>
                <a:gd name="connsiteY3" fmla="*/ 0 h 257442"/>
                <a:gd name="connsiteX0" fmla="*/ 3110046 w 3110046"/>
                <a:gd name="connsiteY0" fmla="*/ 0 h 257442"/>
                <a:gd name="connsiteX1" fmla="*/ 3055325 w 3110046"/>
                <a:gd name="connsiteY1" fmla="*/ 257442 h 257442"/>
                <a:gd name="connsiteX2" fmla="*/ 0 w 3110046"/>
                <a:gd name="connsiteY2" fmla="*/ 257442 h 257442"/>
                <a:gd name="connsiteX3" fmla="*/ 0 w 3110046"/>
                <a:gd name="connsiteY3" fmla="*/ 0 h 257442"/>
                <a:gd name="connsiteX0" fmla="*/ 3110046 w 3110046"/>
                <a:gd name="connsiteY0" fmla="*/ 0 h 257442"/>
                <a:gd name="connsiteX1" fmla="*/ 3055325 w 3110046"/>
                <a:gd name="connsiteY1" fmla="*/ 257442 h 257442"/>
                <a:gd name="connsiteX2" fmla="*/ 0 w 3110046"/>
                <a:gd name="connsiteY2" fmla="*/ 257442 h 257442"/>
                <a:gd name="connsiteX3" fmla="*/ 0 w 3110046"/>
                <a:gd name="connsiteY3" fmla="*/ 0 h 257442"/>
                <a:gd name="connsiteX0" fmla="*/ 3278361 w 3278361"/>
                <a:gd name="connsiteY0" fmla="*/ 0 h 257442"/>
                <a:gd name="connsiteX1" fmla="*/ 3055325 w 3278361"/>
                <a:gd name="connsiteY1" fmla="*/ 257442 h 257442"/>
                <a:gd name="connsiteX2" fmla="*/ 0 w 3278361"/>
                <a:gd name="connsiteY2" fmla="*/ 257442 h 257442"/>
                <a:gd name="connsiteX3" fmla="*/ 0 w 3278361"/>
                <a:gd name="connsiteY3" fmla="*/ 0 h 257442"/>
                <a:gd name="connsiteX0" fmla="*/ 3278361 w 3278361"/>
                <a:gd name="connsiteY0" fmla="*/ 0 h 257442"/>
                <a:gd name="connsiteX1" fmla="*/ 3223640 w 3278361"/>
                <a:gd name="connsiteY1" fmla="*/ 257442 h 257442"/>
                <a:gd name="connsiteX2" fmla="*/ 0 w 3278361"/>
                <a:gd name="connsiteY2" fmla="*/ 257442 h 257442"/>
                <a:gd name="connsiteX3" fmla="*/ 0 w 3278361"/>
                <a:gd name="connsiteY3" fmla="*/ 0 h 257442"/>
                <a:gd name="connsiteX0" fmla="*/ 3278361 w 3278361"/>
                <a:gd name="connsiteY0" fmla="*/ 0 h 257442"/>
                <a:gd name="connsiteX1" fmla="*/ 3223640 w 3278361"/>
                <a:gd name="connsiteY1" fmla="*/ 257442 h 257442"/>
                <a:gd name="connsiteX2" fmla="*/ 0 w 3278361"/>
                <a:gd name="connsiteY2" fmla="*/ 257442 h 257442"/>
                <a:gd name="connsiteX3" fmla="*/ 0 w 3278361"/>
                <a:gd name="connsiteY3" fmla="*/ 0 h 257442"/>
                <a:gd name="connsiteX0" fmla="*/ 3278361 w 3278361"/>
                <a:gd name="connsiteY0" fmla="*/ 0 h 257442"/>
                <a:gd name="connsiteX1" fmla="*/ 3223640 w 3278361"/>
                <a:gd name="connsiteY1" fmla="*/ 257442 h 257442"/>
                <a:gd name="connsiteX2" fmla="*/ 0 w 3278361"/>
                <a:gd name="connsiteY2" fmla="*/ 257442 h 257442"/>
                <a:gd name="connsiteX3" fmla="*/ 0 w 3278361"/>
                <a:gd name="connsiteY3" fmla="*/ 0 h 257442"/>
                <a:gd name="connsiteX0" fmla="*/ 3432955 w 3432955"/>
                <a:gd name="connsiteY0" fmla="*/ 0 h 257442"/>
                <a:gd name="connsiteX1" fmla="*/ 3223640 w 3432955"/>
                <a:gd name="connsiteY1" fmla="*/ 257442 h 257442"/>
                <a:gd name="connsiteX2" fmla="*/ 0 w 3432955"/>
                <a:gd name="connsiteY2" fmla="*/ 257442 h 257442"/>
                <a:gd name="connsiteX3" fmla="*/ 0 w 3432955"/>
                <a:gd name="connsiteY3" fmla="*/ 0 h 257442"/>
                <a:gd name="connsiteX0" fmla="*/ 3432955 w 3432955"/>
                <a:gd name="connsiteY0" fmla="*/ 0 h 257442"/>
                <a:gd name="connsiteX1" fmla="*/ 3378234 w 3432955"/>
                <a:gd name="connsiteY1" fmla="*/ 257442 h 257442"/>
                <a:gd name="connsiteX2" fmla="*/ 0 w 3432955"/>
                <a:gd name="connsiteY2" fmla="*/ 257442 h 257442"/>
                <a:gd name="connsiteX3" fmla="*/ 0 w 3432955"/>
                <a:gd name="connsiteY3" fmla="*/ 0 h 257442"/>
                <a:gd name="connsiteX0" fmla="*/ 3432955 w 3432955"/>
                <a:gd name="connsiteY0" fmla="*/ 0 h 257442"/>
                <a:gd name="connsiteX1" fmla="*/ 3378234 w 3432955"/>
                <a:gd name="connsiteY1" fmla="*/ 257442 h 257442"/>
                <a:gd name="connsiteX2" fmla="*/ 0 w 3432955"/>
                <a:gd name="connsiteY2" fmla="*/ 257442 h 257442"/>
                <a:gd name="connsiteX3" fmla="*/ 0 w 3432955"/>
                <a:gd name="connsiteY3" fmla="*/ 0 h 257442"/>
                <a:gd name="connsiteX0" fmla="*/ 3432955 w 3432955"/>
                <a:gd name="connsiteY0" fmla="*/ 0 h 257442"/>
                <a:gd name="connsiteX1" fmla="*/ 3378234 w 3432955"/>
                <a:gd name="connsiteY1" fmla="*/ 257442 h 257442"/>
                <a:gd name="connsiteX2" fmla="*/ 0 w 3432955"/>
                <a:gd name="connsiteY2" fmla="*/ 257442 h 257442"/>
                <a:gd name="connsiteX3" fmla="*/ 0 w 3432955"/>
                <a:gd name="connsiteY3" fmla="*/ 0 h 257442"/>
                <a:gd name="connsiteX0" fmla="*/ 968434 w 3378234"/>
                <a:gd name="connsiteY0" fmla="*/ 0 h 257442"/>
                <a:gd name="connsiteX1" fmla="*/ 3378234 w 3378234"/>
                <a:gd name="connsiteY1" fmla="*/ 257442 h 257442"/>
                <a:gd name="connsiteX2" fmla="*/ 0 w 3378234"/>
                <a:gd name="connsiteY2" fmla="*/ 257442 h 257442"/>
                <a:gd name="connsiteX3" fmla="*/ 0 w 3378234"/>
                <a:gd name="connsiteY3" fmla="*/ 0 h 257442"/>
                <a:gd name="connsiteX0" fmla="*/ 968434 w 968434"/>
                <a:gd name="connsiteY0" fmla="*/ 0 h 257442"/>
                <a:gd name="connsiteX1" fmla="*/ 913713 w 968434"/>
                <a:gd name="connsiteY1" fmla="*/ 257442 h 257442"/>
                <a:gd name="connsiteX2" fmla="*/ 0 w 968434"/>
                <a:gd name="connsiteY2" fmla="*/ 257442 h 257442"/>
                <a:gd name="connsiteX3" fmla="*/ 0 w 968434"/>
                <a:gd name="connsiteY3" fmla="*/ 0 h 257442"/>
                <a:gd name="connsiteX0" fmla="*/ 968434 w 968434"/>
                <a:gd name="connsiteY0" fmla="*/ 0 h 257442"/>
                <a:gd name="connsiteX1" fmla="*/ 913713 w 968434"/>
                <a:gd name="connsiteY1" fmla="*/ 257442 h 257442"/>
                <a:gd name="connsiteX2" fmla="*/ 0 w 968434"/>
                <a:gd name="connsiteY2" fmla="*/ 257442 h 257442"/>
                <a:gd name="connsiteX3" fmla="*/ 0 w 968434"/>
                <a:gd name="connsiteY3" fmla="*/ 0 h 257442"/>
                <a:gd name="connsiteX0" fmla="*/ 968434 w 968434"/>
                <a:gd name="connsiteY0" fmla="*/ 0 h 257442"/>
                <a:gd name="connsiteX1" fmla="*/ 913713 w 968434"/>
                <a:gd name="connsiteY1" fmla="*/ 257442 h 257442"/>
                <a:gd name="connsiteX2" fmla="*/ 0 w 968434"/>
                <a:gd name="connsiteY2" fmla="*/ 257442 h 257442"/>
                <a:gd name="connsiteX3" fmla="*/ 0 w 968434"/>
                <a:gd name="connsiteY3" fmla="*/ 0 h 257442"/>
                <a:gd name="connsiteX0" fmla="*/ 1128734 w 1128734"/>
                <a:gd name="connsiteY0" fmla="*/ 0 h 257442"/>
                <a:gd name="connsiteX1" fmla="*/ 9137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398038 w 1398038"/>
                <a:gd name="connsiteY0" fmla="*/ 0 h 257442"/>
                <a:gd name="connsiteX1" fmla="*/ 1242329 w 1398038"/>
                <a:gd name="connsiteY1" fmla="*/ 257442 h 257442"/>
                <a:gd name="connsiteX2" fmla="*/ 0 w 1398038"/>
                <a:gd name="connsiteY2" fmla="*/ 257442 h 257442"/>
                <a:gd name="connsiteX3" fmla="*/ 0 w 1398038"/>
                <a:gd name="connsiteY3" fmla="*/ 0 h 257442"/>
                <a:gd name="connsiteX0" fmla="*/ 1398038 w 1398038"/>
                <a:gd name="connsiteY0" fmla="*/ 0 h 257442"/>
                <a:gd name="connsiteX1" fmla="*/ 1343317 w 1398038"/>
                <a:gd name="connsiteY1" fmla="*/ 257442 h 257442"/>
                <a:gd name="connsiteX2" fmla="*/ 0 w 1398038"/>
                <a:gd name="connsiteY2" fmla="*/ 257442 h 257442"/>
                <a:gd name="connsiteX3" fmla="*/ 0 w 1398038"/>
                <a:gd name="connsiteY3" fmla="*/ 0 h 257442"/>
                <a:gd name="connsiteX0" fmla="*/ 1398038 w 1398038"/>
                <a:gd name="connsiteY0" fmla="*/ 0 h 257442"/>
                <a:gd name="connsiteX1" fmla="*/ 1343317 w 1398038"/>
                <a:gd name="connsiteY1" fmla="*/ 257442 h 257442"/>
                <a:gd name="connsiteX2" fmla="*/ 0 w 1398038"/>
                <a:gd name="connsiteY2" fmla="*/ 257442 h 257442"/>
                <a:gd name="connsiteX3" fmla="*/ 0 w 1398038"/>
                <a:gd name="connsiteY3" fmla="*/ 0 h 257442"/>
                <a:gd name="connsiteX0" fmla="*/ 1398038 w 1398038"/>
                <a:gd name="connsiteY0" fmla="*/ 0 h 257442"/>
                <a:gd name="connsiteX1" fmla="*/ 1343317 w 1398038"/>
                <a:gd name="connsiteY1" fmla="*/ 257442 h 257442"/>
                <a:gd name="connsiteX2" fmla="*/ 0 w 1398038"/>
                <a:gd name="connsiteY2" fmla="*/ 257442 h 257442"/>
                <a:gd name="connsiteX3" fmla="*/ 0 w 1398038"/>
                <a:gd name="connsiteY3" fmla="*/ 0 h 257442"/>
                <a:gd name="connsiteX0" fmla="*/ 1566354 w 1566354"/>
                <a:gd name="connsiteY0" fmla="*/ 0 h 257442"/>
                <a:gd name="connsiteX1" fmla="*/ 1343317 w 1566354"/>
                <a:gd name="connsiteY1" fmla="*/ 257442 h 257442"/>
                <a:gd name="connsiteX2" fmla="*/ 0 w 1566354"/>
                <a:gd name="connsiteY2" fmla="*/ 257442 h 257442"/>
                <a:gd name="connsiteX3" fmla="*/ 0 w 1566354"/>
                <a:gd name="connsiteY3" fmla="*/ 0 h 257442"/>
                <a:gd name="connsiteX0" fmla="*/ 1566354 w 1566354"/>
                <a:gd name="connsiteY0" fmla="*/ 0 h 257442"/>
                <a:gd name="connsiteX1" fmla="*/ 1511633 w 1566354"/>
                <a:gd name="connsiteY1" fmla="*/ 257442 h 257442"/>
                <a:gd name="connsiteX2" fmla="*/ 0 w 1566354"/>
                <a:gd name="connsiteY2" fmla="*/ 257442 h 257442"/>
                <a:gd name="connsiteX3" fmla="*/ 0 w 1566354"/>
                <a:gd name="connsiteY3" fmla="*/ 0 h 257442"/>
                <a:gd name="connsiteX0" fmla="*/ 1566354 w 1566354"/>
                <a:gd name="connsiteY0" fmla="*/ 0 h 257442"/>
                <a:gd name="connsiteX1" fmla="*/ 1511633 w 1566354"/>
                <a:gd name="connsiteY1" fmla="*/ 257442 h 257442"/>
                <a:gd name="connsiteX2" fmla="*/ 0 w 1566354"/>
                <a:gd name="connsiteY2" fmla="*/ 257442 h 257442"/>
                <a:gd name="connsiteX3" fmla="*/ 0 w 1566354"/>
                <a:gd name="connsiteY3" fmla="*/ 0 h 257442"/>
                <a:gd name="connsiteX0" fmla="*/ 1566354 w 1566354"/>
                <a:gd name="connsiteY0" fmla="*/ 0 h 257442"/>
                <a:gd name="connsiteX1" fmla="*/ 1511633 w 1566354"/>
                <a:gd name="connsiteY1" fmla="*/ 257442 h 257442"/>
                <a:gd name="connsiteX2" fmla="*/ 0 w 1566354"/>
                <a:gd name="connsiteY2" fmla="*/ 257442 h 257442"/>
                <a:gd name="connsiteX3" fmla="*/ 0 w 1566354"/>
                <a:gd name="connsiteY3" fmla="*/ 0 h 257442"/>
                <a:gd name="connsiteX0" fmla="*/ 1734669 w 1734669"/>
                <a:gd name="connsiteY0" fmla="*/ 0 h 257442"/>
                <a:gd name="connsiteX1" fmla="*/ 1511633 w 1734669"/>
                <a:gd name="connsiteY1" fmla="*/ 257442 h 257442"/>
                <a:gd name="connsiteX2" fmla="*/ 0 w 1734669"/>
                <a:gd name="connsiteY2" fmla="*/ 257442 h 257442"/>
                <a:gd name="connsiteX3" fmla="*/ 0 w 1734669"/>
                <a:gd name="connsiteY3" fmla="*/ 0 h 257442"/>
                <a:gd name="connsiteX0" fmla="*/ 1734669 w 1734669"/>
                <a:gd name="connsiteY0" fmla="*/ 0 h 257442"/>
                <a:gd name="connsiteX1" fmla="*/ 1679948 w 1734669"/>
                <a:gd name="connsiteY1" fmla="*/ 257442 h 257442"/>
                <a:gd name="connsiteX2" fmla="*/ 0 w 1734669"/>
                <a:gd name="connsiteY2" fmla="*/ 257442 h 257442"/>
                <a:gd name="connsiteX3" fmla="*/ 0 w 1734669"/>
                <a:gd name="connsiteY3" fmla="*/ 0 h 257442"/>
                <a:gd name="connsiteX0" fmla="*/ 1734669 w 1734669"/>
                <a:gd name="connsiteY0" fmla="*/ 0 h 257442"/>
                <a:gd name="connsiteX1" fmla="*/ 1679948 w 1734669"/>
                <a:gd name="connsiteY1" fmla="*/ 257442 h 257442"/>
                <a:gd name="connsiteX2" fmla="*/ 0 w 1734669"/>
                <a:gd name="connsiteY2" fmla="*/ 257442 h 257442"/>
                <a:gd name="connsiteX3" fmla="*/ 0 w 1734669"/>
                <a:gd name="connsiteY3" fmla="*/ 0 h 257442"/>
                <a:gd name="connsiteX0" fmla="*/ 1734669 w 1734669"/>
                <a:gd name="connsiteY0" fmla="*/ 0 h 257442"/>
                <a:gd name="connsiteX1" fmla="*/ 1679948 w 1734669"/>
                <a:gd name="connsiteY1" fmla="*/ 257442 h 257442"/>
                <a:gd name="connsiteX2" fmla="*/ 0 w 1734669"/>
                <a:gd name="connsiteY2" fmla="*/ 257442 h 257442"/>
                <a:gd name="connsiteX3" fmla="*/ 0 w 1734669"/>
                <a:gd name="connsiteY3" fmla="*/ 0 h 257442"/>
                <a:gd name="connsiteX0" fmla="*/ 1886955 w 1886955"/>
                <a:gd name="connsiteY0" fmla="*/ 0 h 257442"/>
                <a:gd name="connsiteX1" fmla="*/ 1679948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3488354 w 3488354"/>
                <a:gd name="connsiteY0" fmla="*/ 0 h 257442"/>
                <a:gd name="connsiteX1" fmla="*/ 1832234 w 3488354"/>
                <a:gd name="connsiteY1" fmla="*/ 257442 h 257442"/>
                <a:gd name="connsiteX2" fmla="*/ 0 w 3488354"/>
                <a:gd name="connsiteY2" fmla="*/ 257442 h 257442"/>
                <a:gd name="connsiteX3" fmla="*/ 0 w 3488354"/>
                <a:gd name="connsiteY3" fmla="*/ 0 h 257442"/>
                <a:gd name="connsiteX0" fmla="*/ 3488354 w 3488354"/>
                <a:gd name="connsiteY0" fmla="*/ 0 h 257442"/>
                <a:gd name="connsiteX1" fmla="*/ 3433632 w 3488354"/>
                <a:gd name="connsiteY1" fmla="*/ 257442 h 257442"/>
                <a:gd name="connsiteX2" fmla="*/ 0 w 3488354"/>
                <a:gd name="connsiteY2" fmla="*/ 257442 h 257442"/>
                <a:gd name="connsiteX3" fmla="*/ 0 w 3488354"/>
                <a:gd name="connsiteY3" fmla="*/ 0 h 257442"/>
                <a:gd name="connsiteX0" fmla="*/ 3488355 w 3488355"/>
                <a:gd name="connsiteY0" fmla="*/ 0 h 257442"/>
                <a:gd name="connsiteX1" fmla="*/ 3433633 w 3488355"/>
                <a:gd name="connsiteY1" fmla="*/ 257442 h 257442"/>
                <a:gd name="connsiteX2" fmla="*/ 0 w 3488355"/>
                <a:gd name="connsiteY2" fmla="*/ 257442 h 257442"/>
                <a:gd name="connsiteX3" fmla="*/ 1 w 3488355"/>
                <a:gd name="connsiteY3" fmla="*/ 0 h 257442"/>
                <a:gd name="connsiteX0" fmla="*/ 3488355 w 3488355"/>
                <a:gd name="connsiteY0" fmla="*/ 0 h 257442"/>
                <a:gd name="connsiteX1" fmla="*/ 3433633 w 3488355"/>
                <a:gd name="connsiteY1" fmla="*/ 257442 h 257442"/>
                <a:gd name="connsiteX2" fmla="*/ 0 w 3488355"/>
                <a:gd name="connsiteY2" fmla="*/ 257442 h 257442"/>
                <a:gd name="connsiteX3" fmla="*/ 1 w 3488355"/>
                <a:gd name="connsiteY3" fmla="*/ 0 h 257442"/>
                <a:gd name="connsiteX0" fmla="*/ 782551 w 3433633"/>
                <a:gd name="connsiteY0" fmla="*/ 0 h 257442"/>
                <a:gd name="connsiteX1" fmla="*/ 3433633 w 3433633"/>
                <a:gd name="connsiteY1" fmla="*/ 257442 h 257442"/>
                <a:gd name="connsiteX2" fmla="*/ 0 w 3433633"/>
                <a:gd name="connsiteY2" fmla="*/ 257442 h 257442"/>
                <a:gd name="connsiteX3" fmla="*/ 1 w 3433633"/>
                <a:gd name="connsiteY3" fmla="*/ 0 h 257442"/>
                <a:gd name="connsiteX0" fmla="*/ 782551 w 782551"/>
                <a:gd name="connsiteY0" fmla="*/ 0 h 257442"/>
                <a:gd name="connsiteX1" fmla="*/ 727830 w 782551"/>
                <a:gd name="connsiteY1" fmla="*/ 257442 h 257442"/>
                <a:gd name="connsiteX2" fmla="*/ 0 w 782551"/>
                <a:gd name="connsiteY2" fmla="*/ 257442 h 257442"/>
                <a:gd name="connsiteX3" fmla="*/ 1 w 782551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1 w 782551"/>
                <a:gd name="connsiteY0" fmla="*/ 0 h 257442"/>
                <a:gd name="connsiteX1" fmla="*/ 727830 w 782551"/>
                <a:gd name="connsiteY1" fmla="*/ 257442 h 257442"/>
                <a:gd name="connsiteX2" fmla="*/ 1 w 782551"/>
                <a:gd name="connsiteY2" fmla="*/ 257442 h 257442"/>
                <a:gd name="connsiteX3" fmla="*/ 0 w 782551"/>
                <a:gd name="connsiteY3" fmla="*/ 0 h 257442"/>
                <a:gd name="connsiteX0" fmla="*/ 883476 w 883476"/>
                <a:gd name="connsiteY0" fmla="*/ 0 h 257442"/>
                <a:gd name="connsiteX1" fmla="*/ 727830 w 883476"/>
                <a:gd name="connsiteY1" fmla="*/ 257442 h 257442"/>
                <a:gd name="connsiteX2" fmla="*/ 1 w 883476"/>
                <a:gd name="connsiteY2" fmla="*/ 257442 h 257442"/>
                <a:gd name="connsiteX3" fmla="*/ 0 w 883476"/>
                <a:gd name="connsiteY3" fmla="*/ 0 h 257442"/>
                <a:gd name="connsiteX0" fmla="*/ 883476 w 883476"/>
                <a:gd name="connsiteY0" fmla="*/ 0 h 257442"/>
                <a:gd name="connsiteX1" fmla="*/ 828754 w 883476"/>
                <a:gd name="connsiteY1" fmla="*/ 257442 h 257442"/>
                <a:gd name="connsiteX2" fmla="*/ 1 w 883476"/>
                <a:gd name="connsiteY2" fmla="*/ 257442 h 257442"/>
                <a:gd name="connsiteX3" fmla="*/ 0 w 883476"/>
                <a:gd name="connsiteY3" fmla="*/ 0 h 257442"/>
                <a:gd name="connsiteX0" fmla="*/ 883476 w 883476"/>
                <a:gd name="connsiteY0" fmla="*/ 0 h 257442"/>
                <a:gd name="connsiteX1" fmla="*/ 828754 w 883476"/>
                <a:gd name="connsiteY1" fmla="*/ 257442 h 257442"/>
                <a:gd name="connsiteX2" fmla="*/ 0 w 883476"/>
                <a:gd name="connsiteY2" fmla="*/ 257442 h 257442"/>
                <a:gd name="connsiteX3" fmla="*/ 0 w 883476"/>
                <a:gd name="connsiteY3" fmla="*/ 0 h 257442"/>
                <a:gd name="connsiteX0" fmla="*/ 883476 w 883476"/>
                <a:gd name="connsiteY0" fmla="*/ 0 h 257442"/>
                <a:gd name="connsiteX1" fmla="*/ 828754 w 883476"/>
                <a:gd name="connsiteY1" fmla="*/ 257442 h 257442"/>
                <a:gd name="connsiteX2" fmla="*/ 0 w 883476"/>
                <a:gd name="connsiteY2" fmla="*/ 257442 h 257442"/>
                <a:gd name="connsiteX3" fmla="*/ 0 w 883476"/>
                <a:gd name="connsiteY3" fmla="*/ 0 h 257442"/>
                <a:gd name="connsiteX0" fmla="*/ 782550 w 828754"/>
                <a:gd name="connsiteY0" fmla="*/ 0 h 257442"/>
                <a:gd name="connsiteX1" fmla="*/ 828754 w 828754"/>
                <a:gd name="connsiteY1" fmla="*/ 257442 h 257442"/>
                <a:gd name="connsiteX2" fmla="*/ 0 w 828754"/>
                <a:gd name="connsiteY2" fmla="*/ 257442 h 257442"/>
                <a:gd name="connsiteX3" fmla="*/ 0 w 828754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883475 w 883475"/>
                <a:gd name="connsiteY0" fmla="*/ 0 h 257442"/>
                <a:gd name="connsiteX1" fmla="*/ 727829 w 883475"/>
                <a:gd name="connsiteY1" fmla="*/ 257442 h 257442"/>
                <a:gd name="connsiteX2" fmla="*/ 0 w 883475"/>
                <a:gd name="connsiteY2" fmla="*/ 257442 h 257442"/>
                <a:gd name="connsiteX3" fmla="*/ 0 w 883475"/>
                <a:gd name="connsiteY3" fmla="*/ 0 h 257442"/>
                <a:gd name="connsiteX0" fmla="*/ 883475 w 883475"/>
                <a:gd name="connsiteY0" fmla="*/ 0 h 257442"/>
                <a:gd name="connsiteX1" fmla="*/ 828754 w 883475"/>
                <a:gd name="connsiteY1" fmla="*/ 257442 h 257442"/>
                <a:gd name="connsiteX2" fmla="*/ 0 w 883475"/>
                <a:gd name="connsiteY2" fmla="*/ 257442 h 257442"/>
                <a:gd name="connsiteX3" fmla="*/ 0 w 883475"/>
                <a:gd name="connsiteY3" fmla="*/ 0 h 257442"/>
                <a:gd name="connsiteX0" fmla="*/ 883475 w 883475"/>
                <a:gd name="connsiteY0" fmla="*/ 0 h 257442"/>
                <a:gd name="connsiteX1" fmla="*/ 828754 w 883475"/>
                <a:gd name="connsiteY1" fmla="*/ 257442 h 257442"/>
                <a:gd name="connsiteX2" fmla="*/ 0 w 883475"/>
                <a:gd name="connsiteY2" fmla="*/ 257442 h 257442"/>
                <a:gd name="connsiteX3" fmla="*/ 0 w 883475"/>
                <a:gd name="connsiteY3" fmla="*/ 0 h 257442"/>
                <a:gd name="connsiteX0" fmla="*/ 883475 w 883475"/>
                <a:gd name="connsiteY0" fmla="*/ 0 h 257442"/>
                <a:gd name="connsiteX1" fmla="*/ 828754 w 883475"/>
                <a:gd name="connsiteY1" fmla="*/ 257442 h 257442"/>
                <a:gd name="connsiteX2" fmla="*/ 0 w 883475"/>
                <a:gd name="connsiteY2" fmla="*/ 257442 h 257442"/>
                <a:gd name="connsiteX3" fmla="*/ 0 w 883475"/>
                <a:gd name="connsiteY3" fmla="*/ 0 h 257442"/>
                <a:gd name="connsiteX0" fmla="*/ 984464 w 984464"/>
                <a:gd name="connsiteY0" fmla="*/ 0 h 257442"/>
                <a:gd name="connsiteX1" fmla="*/ 828754 w 984464"/>
                <a:gd name="connsiteY1" fmla="*/ 257442 h 257442"/>
                <a:gd name="connsiteX2" fmla="*/ 0 w 984464"/>
                <a:gd name="connsiteY2" fmla="*/ 257442 h 257442"/>
                <a:gd name="connsiteX3" fmla="*/ 0 w 984464"/>
                <a:gd name="connsiteY3" fmla="*/ 0 h 257442"/>
                <a:gd name="connsiteX0" fmla="*/ 984464 w 984464"/>
                <a:gd name="connsiteY0" fmla="*/ 0 h 257442"/>
                <a:gd name="connsiteX1" fmla="*/ 929742 w 984464"/>
                <a:gd name="connsiteY1" fmla="*/ 257442 h 257442"/>
                <a:gd name="connsiteX2" fmla="*/ 0 w 984464"/>
                <a:gd name="connsiteY2" fmla="*/ 257442 h 257442"/>
                <a:gd name="connsiteX3" fmla="*/ 0 w 984464"/>
                <a:gd name="connsiteY3" fmla="*/ 0 h 257442"/>
                <a:gd name="connsiteX0" fmla="*/ 984465 w 984465"/>
                <a:gd name="connsiteY0" fmla="*/ 0 h 257442"/>
                <a:gd name="connsiteX1" fmla="*/ 929743 w 984465"/>
                <a:gd name="connsiteY1" fmla="*/ 257442 h 257442"/>
                <a:gd name="connsiteX2" fmla="*/ 0 w 984465"/>
                <a:gd name="connsiteY2" fmla="*/ 257442 h 257442"/>
                <a:gd name="connsiteX3" fmla="*/ 1 w 984465"/>
                <a:gd name="connsiteY3" fmla="*/ 0 h 257442"/>
                <a:gd name="connsiteX0" fmla="*/ 984465 w 984465"/>
                <a:gd name="connsiteY0" fmla="*/ 0 h 257442"/>
                <a:gd name="connsiteX1" fmla="*/ 929743 w 984465"/>
                <a:gd name="connsiteY1" fmla="*/ 257442 h 257442"/>
                <a:gd name="connsiteX2" fmla="*/ 0 w 984465"/>
                <a:gd name="connsiteY2" fmla="*/ 257442 h 257442"/>
                <a:gd name="connsiteX3" fmla="*/ 1 w 984465"/>
                <a:gd name="connsiteY3" fmla="*/ 0 h 257442"/>
                <a:gd name="connsiteX0" fmla="*/ 1085454 w 1085454"/>
                <a:gd name="connsiteY0" fmla="*/ 0 h 257442"/>
                <a:gd name="connsiteX1" fmla="*/ 929743 w 1085454"/>
                <a:gd name="connsiteY1" fmla="*/ 257442 h 257442"/>
                <a:gd name="connsiteX2" fmla="*/ 0 w 1085454"/>
                <a:gd name="connsiteY2" fmla="*/ 257442 h 257442"/>
                <a:gd name="connsiteX3" fmla="*/ 1 w 1085454"/>
                <a:gd name="connsiteY3" fmla="*/ 0 h 257442"/>
                <a:gd name="connsiteX0" fmla="*/ 1085454 w 1085454"/>
                <a:gd name="connsiteY0" fmla="*/ 0 h 257442"/>
                <a:gd name="connsiteX1" fmla="*/ 1030732 w 1085454"/>
                <a:gd name="connsiteY1" fmla="*/ 257442 h 257442"/>
                <a:gd name="connsiteX2" fmla="*/ 0 w 1085454"/>
                <a:gd name="connsiteY2" fmla="*/ 257442 h 257442"/>
                <a:gd name="connsiteX3" fmla="*/ 1 w 1085454"/>
                <a:gd name="connsiteY3" fmla="*/ 0 h 257442"/>
                <a:gd name="connsiteX0" fmla="*/ 1085454 w 1085454"/>
                <a:gd name="connsiteY0" fmla="*/ 0 h 257442"/>
                <a:gd name="connsiteX1" fmla="*/ 1030732 w 1085454"/>
                <a:gd name="connsiteY1" fmla="*/ 257442 h 257442"/>
                <a:gd name="connsiteX2" fmla="*/ 0 w 1085454"/>
                <a:gd name="connsiteY2" fmla="*/ 257442 h 257442"/>
                <a:gd name="connsiteX3" fmla="*/ 1 w 1085454"/>
                <a:gd name="connsiteY3" fmla="*/ 0 h 257442"/>
                <a:gd name="connsiteX0" fmla="*/ 1085454 w 1085454"/>
                <a:gd name="connsiteY0" fmla="*/ 0 h 257442"/>
                <a:gd name="connsiteX1" fmla="*/ 1030732 w 1085454"/>
                <a:gd name="connsiteY1" fmla="*/ 257442 h 257442"/>
                <a:gd name="connsiteX2" fmla="*/ 0 w 1085454"/>
                <a:gd name="connsiteY2" fmla="*/ 257442 h 257442"/>
                <a:gd name="connsiteX3" fmla="*/ 0 w 1085454"/>
                <a:gd name="connsiteY3" fmla="*/ 0 h 257442"/>
                <a:gd name="connsiteX0" fmla="*/ 1186442 w 1186442"/>
                <a:gd name="connsiteY0" fmla="*/ 0 h 257442"/>
                <a:gd name="connsiteX1" fmla="*/ 1030732 w 1186442"/>
                <a:gd name="connsiteY1" fmla="*/ 257442 h 257442"/>
                <a:gd name="connsiteX2" fmla="*/ 0 w 1186442"/>
                <a:gd name="connsiteY2" fmla="*/ 257442 h 257442"/>
                <a:gd name="connsiteX3" fmla="*/ 0 w 1186442"/>
                <a:gd name="connsiteY3" fmla="*/ 0 h 257442"/>
                <a:gd name="connsiteX0" fmla="*/ 1186442 w 1186442"/>
                <a:gd name="connsiteY0" fmla="*/ 0 h 257442"/>
                <a:gd name="connsiteX1" fmla="*/ 1131721 w 1186442"/>
                <a:gd name="connsiteY1" fmla="*/ 257442 h 257442"/>
                <a:gd name="connsiteX2" fmla="*/ 0 w 1186442"/>
                <a:gd name="connsiteY2" fmla="*/ 257442 h 257442"/>
                <a:gd name="connsiteX3" fmla="*/ 0 w 1186442"/>
                <a:gd name="connsiteY3" fmla="*/ 0 h 257442"/>
                <a:gd name="connsiteX0" fmla="*/ 1186442 w 1186442"/>
                <a:gd name="connsiteY0" fmla="*/ 0 h 257442"/>
                <a:gd name="connsiteX1" fmla="*/ 1131721 w 1186442"/>
                <a:gd name="connsiteY1" fmla="*/ 257442 h 257442"/>
                <a:gd name="connsiteX2" fmla="*/ 0 w 1186442"/>
                <a:gd name="connsiteY2" fmla="*/ 257442 h 257442"/>
                <a:gd name="connsiteX3" fmla="*/ 0 w 1186442"/>
                <a:gd name="connsiteY3" fmla="*/ 0 h 257442"/>
                <a:gd name="connsiteX0" fmla="*/ 1186442 w 1186442"/>
                <a:gd name="connsiteY0" fmla="*/ 0 h 257442"/>
                <a:gd name="connsiteX1" fmla="*/ 1131721 w 1186442"/>
                <a:gd name="connsiteY1" fmla="*/ 257442 h 257442"/>
                <a:gd name="connsiteX2" fmla="*/ 0 w 1186442"/>
                <a:gd name="connsiteY2" fmla="*/ 257442 h 257442"/>
                <a:gd name="connsiteX3" fmla="*/ 0 w 1186442"/>
                <a:gd name="connsiteY3" fmla="*/ 0 h 257442"/>
                <a:gd name="connsiteX0" fmla="*/ 1287432 w 1287432"/>
                <a:gd name="connsiteY0" fmla="*/ 0 h 257442"/>
                <a:gd name="connsiteX1" fmla="*/ 1131721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388420 w 1388420"/>
                <a:gd name="connsiteY0" fmla="*/ 0 h 257442"/>
                <a:gd name="connsiteX1" fmla="*/ 1232711 w 1388420"/>
                <a:gd name="connsiteY1" fmla="*/ 257442 h 257442"/>
                <a:gd name="connsiteX2" fmla="*/ 0 w 1388420"/>
                <a:gd name="connsiteY2" fmla="*/ 257442 h 257442"/>
                <a:gd name="connsiteX3" fmla="*/ 0 w 1388420"/>
                <a:gd name="connsiteY3" fmla="*/ 0 h 257442"/>
                <a:gd name="connsiteX0" fmla="*/ 1388420 w 1388420"/>
                <a:gd name="connsiteY0" fmla="*/ 0 h 257442"/>
                <a:gd name="connsiteX1" fmla="*/ 1333699 w 1388420"/>
                <a:gd name="connsiteY1" fmla="*/ 257442 h 257442"/>
                <a:gd name="connsiteX2" fmla="*/ 0 w 1388420"/>
                <a:gd name="connsiteY2" fmla="*/ 257442 h 257442"/>
                <a:gd name="connsiteX3" fmla="*/ 0 w 1388420"/>
                <a:gd name="connsiteY3" fmla="*/ 0 h 257442"/>
                <a:gd name="connsiteX0" fmla="*/ 1388420 w 1388420"/>
                <a:gd name="connsiteY0" fmla="*/ 0 h 257442"/>
                <a:gd name="connsiteX1" fmla="*/ 1333699 w 1388420"/>
                <a:gd name="connsiteY1" fmla="*/ 257442 h 257442"/>
                <a:gd name="connsiteX2" fmla="*/ 0 w 1388420"/>
                <a:gd name="connsiteY2" fmla="*/ 257442 h 257442"/>
                <a:gd name="connsiteX3" fmla="*/ 0 w 1388420"/>
                <a:gd name="connsiteY3" fmla="*/ 0 h 257442"/>
                <a:gd name="connsiteX0" fmla="*/ 1388420 w 1388420"/>
                <a:gd name="connsiteY0" fmla="*/ 0 h 257442"/>
                <a:gd name="connsiteX1" fmla="*/ 1333699 w 1388420"/>
                <a:gd name="connsiteY1" fmla="*/ 257442 h 257442"/>
                <a:gd name="connsiteX2" fmla="*/ 0 w 1388420"/>
                <a:gd name="connsiteY2" fmla="*/ 257442 h 257442"/>
                <a:gd name="connsiteX3" fmla="*/ 0 w 1388420"/>
                <a:gd name="connsiteY3" fmla="*/ 0 h 257442"/>
                <a:gd name="connsiteX0" fmla="*/ 1489410 w 1489410"/>
                <a:gd name="connsiteY0" fmla="*/ 0 h 257442"/>
                <a:gd name="connsiteX1" fmla="*/ 1333699 w 1489410"/>
                <a:gd name="connsiteY1" fmla="*/ 257442 h 257442"/>
                <a:gd name="connsiteX2" fmla="*/ 0 w 1489410"/>
                <a:gd name="connsiteY2" fmla="*/ 257442 h 257442"/>
                <a:gd name="connsiteX3" fmla="*/ 0 w 1489410"/>
                <a:gd name="connsiteY3" fmla="*/ 0 h 257442"/>
                <a:gd name="connsiteX0" fmla="*/ 1489410 w 1489410"/>
                <a:gd name="connsiteY0" fmla="*/ 0 h 257442"/>
                <a:gd name="connsiteX1" fmla="*/ 1434689 w 1489410"/>
                <a:gd name="connsiteY1" fmla="*/ 257442 h 257442"/>
                <a:gd name="connsiteX2" fmla="*/ 0 w 1489410"/>
                <a:gd name="connsiteY2" fmla="*/ 257442 h 257442"/>
                <a:gd name="connsiteX3" fmla="*/ 0 w 1489410"/>
                <a:gd name="connsiteY3" fmla="*/ 0 h 257442"/>
                <a:gd name="connsiteX0" fmla="*/ 1489410 w 1489410"/>
                <a:gd name="connsiteY0" fmla="*/ 0 h 257442"/>
                <a:gd name="connsiteX1" fmla="*/ 1434689 w 1489410"/>
                <a:gd name="connsiteY1" fmla="*/ 257442 h 257442"/>
                <a:gd name="connsiteX2" fmla="*/ 0 w 1489410"/>
                <a:gd name="connsiteY2" fmla="*/ 257442 h 257442"/>
                <a:gd name="connsiteX3" fmla="*/ 0 w 1489410"/>
                <a:gd name="connsiteY3" fmla="*/ 0 h 257442"/>
                <a:gd name="connsiteX0" fmla="*/ 1489410 w 1489410"/>
                <a:gd name="connsiteY0" fmla="*/ 0 h 257442"/>
                <a:gd name="connsiteX1" fmla="*/ 1434689 w 1489410"/>
                <a:gd name="connsiteY1" fmla="*/ 257442 h 257442"/>
                <a:gd name="connsiteX2" fmla="*/ 0 w 1489410"/>
                <a:gd name="connsiteY2" fmla="*/ 257442 h 257442"/>
                <a:gd name="connsiteX3" fmla="*/ 0 w 1489410"/>
                <a:gd name="connsiteY3" fmla="*/ 0 h 257442"/>
                <a:gd name="connsiteX0" fmla="*/ 1691389 w 1691389"/>
                <a:gd name="connsiteY0" fmla="*/ 0 h 257442"/>
                <a:gd name="connsiteX1" fmla="*/ 1434689 w 1691389"/>
                <a:gd name="connsiteY1" fmla="*/ 257442 h 257442"/>
                <a:gd name="connsiteX2" fmla="*/ 0 w 1691389"/>
                <a:gd name="connsiteY2" fmla="*/ 257442 h 257442"/>
                <a:gd name="connsiteX3" fmla="*/ 0 w 1691389"/>
                <a:gd name="connsiteY3" fmla="*/ 0 h 257442"/>
                <a:gd name="connsiteX0" fmla="*/ 1691389 w 1691389"/>
                <a:gd name="connsiteY0" fmla="*/ 0 h 257442"/>
                <a:gd name="connsiteX1" fmla="*/ 1636668 w 1691389"/>
                <a:gd name="connsiteY1" fmla="*/ 257442 h 257442"/>
                <a:gd name="connsiteX2" fmla="*/ 0 w 1691389"/>
                <a:gd name="connsiteY2" fmla="*/ 257442 h 257442"/>
                <a:gd name="connsiteX3" fmla="*/ 0 w 1691389"/>
                <a:gd name="connsiteY3" fmla="*/ 0 h 257442"/>
                <a:gd name="connsiteX0" fmla="*/ 1691389 w 1691389"/>
                <a:gd name="connsiteY0" fmla="*/ 0 h 257442"/>
                <a:gd name="connsiteX1" fmla="*/ 1636668 w 1691389"/>
                <a:gd name="connsiteY1" fmla="*/ 257442 h 257442"/>
                <a:gd name="connsiteX2" fmla="*/ 0 w 1691389"/>
                <a:gd name="connsiteY2" fmla="*/ 257442 h 257442"/>
                <a:gd name="connsiteX3" fmla="*/ 0 w 1691389"/>
                <a:gd name="connsiteY3" fmla="*/ 0 h 257442"/>
                <a:gd name="connsiteX0" fmla="*/ 1691389 w 1691389"/>
                <a:gd name="connsiteY0" fmla="*/ 0 h 257442"/>
                <a:gd name="connsiteX1" fmla="*/ 1636668 w 1691389"/>
                <a:gd name="connsiteY1" fmla="*/ 257442 h 257442"/>
                <a:gd name="connsiteX2" fmla="*/ 0 w 1691389"/>
                <a:gd name="connsiteY2" fmla="*/ 257442 h 257442"/>
                <a:gd name="connsiteX3" fmla="*/ 0 w 1691389"/>
                <a:gd name="connsiteY3" fmla="*/ 0 h 257442"/>
                <a:gd name="connsiteX0" fmla="*/ 1792377 w 1792377"/>
                <a:gd name="connsiteY0" fmla="*/ 0 h 257442"/>
                <a:gd name="connsiteX1" fmla="*/ 1636668 w 1792377"/>
                <a:gd name="connsiteY1" fmla="*/ 257442 h 257442"/>
                <a:gd name="connsiteX2" fmla="*/ 0 w 1792377"/>
                <a:gd name="connsiteY2" fmla="*/ 257442 h 257442"/>
                <a:gd name="connsiteX3" fmla="*/ 0 w 1792377"/>
                <a:gd name="connsiteY3" fmla="*/ 0 h 257442"/>
                <a:gd name="connsiteX0" fmla="*/ 1792377 w 1792377"/>
                <a:gd name="connsiteY0" fmla="*/ 0 h 257442"/>
                <a:gd name="connsiteX1" fmla="*/ 1737656 w 1792377"/>
                <a:gd name="connsiteY1" fmla="*/ 257442 h 257442"/>
                <a:gd name="connsiteX2" fmla="*/ 0 w 1792377"/>
                <a:gd name="connsiteY2" fmla="*/ 257442 h 257442"/>
                <a:gd name="connsiteX3" fmla="*/ 0 w 1792377"/>
                <a:gd name="connsiteY3" fmla="*/ 0 h 257442"/>
                <a:gd name="connsiteX0" fmla="*/ 1792377 w 1792377"/>
                <a:gd name="connsiteY0" fmla="*/ 0 h 257442"/>
                <a:gd name="connsiteX1" fmla="*/ 1737656 w 1792377"/>
                <a:gd name="connsiteY1" fmla="*/ 257442 h 257442"/>
                <a:gd name="connsiteX2" fmla="*/ 0 w 1792377"/>
                <a:gd name="connsiteY2" fmla="*/ 257442 h 257442"/>
                <a:gd name="connsiteX3" fmla="*/ 0 w 1792377"/>
                <a:gd name="connsiteY3" fmla="*/ 0 h 257442"/>
                <a:gd name="connsiteX0" fmla="*/ 1792377 w 1792377"/>
                <a:gd name="connsiteY0" fmla="*/ 0 h 257442"/>
                <a:gd name="connsiteX1" fmla="*/ 1737656 w 1792377"/>
                <a:gd name="connsiteY1" fmla="*/ 257442 h 257442"/>
                <a:gd name="connsiteX2" fmla="*/ 0 w 1792377"/>
                <a:gd name="connsiteY2" fmla="*/ 257442 h 257442"/>
                <a:gd name="connsiteX3" fmla="*/ 0 w 1792377"/>
                <a:gd name="connsiteY3" fmla="*/ 0 h 257442"/>
                <a:gd name="connsiteX0" fmla="*/ 1893367 w 1893367"/>
                <a:gd name="connsiteY0" fmla="*/ 0 h 257442"/>
                <a:gd name="connsiteX1" fmla="*/ 1737656 w 1893367"/>
                <a:gd name="connsiteY1" fmla="*/ 257442 h 257442"/>
                <a:gd name="connsiteX2" fmla="*/ 0 w 1893367"/>
                <a:gd name="connsiteY2" fmla="*/ 257442 h 257442"/>
                <a:gd name="connsiteX3" fmla="*/ 0 w 1893367"/>
                <a:gd name="connsiteY3" fmla="*/ 0 h 257442"/>
                <a:gd name="connsiteX0" fmla="*/ 1893367 w 1893367"/>
                <a:gd name="connsiteY0" fmla="*/ 0 h 257442"/>
                <a:gd name="connsiteX1" fmla="*/ 1838646 w 1893367"/>
                <a:gd name="connsiteY1" fmla="*/ 257442 h 257442"/>
                <a:gd name="connsiteX2" fmla="*/ 0 w 1893367"/>
                <a:gd name="connsiteY2" fmla="*/ 257442 h 257442"/>
                <a:gd name="connsiteX3" fmla="*/ 0 w 1893367"/>
                <a:gd name="connsiteY3" fmla="*/ 0 h 257442"/>
                <a:gd name="connsiteX0" fmla="*/ 1893367 w 1893367"/>
                <a:gd name="connsiteY0" fmla="*/ 0 h 257442"/>
                <a:gd name="connsiteX1" fmla="*/ 1838646 w 1893367"/>
                <a:gd name="connsiteY1" fmla="*/ 257442 h 257442"/>
                <a:gd name="connsiteX2" fmla="*/ 0 w 1893367"/>
                <a:gd name="connsiteY2" fmla="*/ 257442 h 257442"/>
                <a:gd name="connsiteX3" fmla="*/ 0 w 1893367"/>
                <a:gd name="connsiteY3" fmla="*/ 0 h 257442"/>
                <a:gd name="connsiteX0" fmla="*/ 1893367 w 1893367"/>
                <a:gd name="connsiteY0" fmla="*/ 0 h 257442"/>
                <a:gd name="connsiteX1" fmla="*/ 1838646 w 1893367"/>
                <a:gd name="connsiteY1" fmla="*/ 257442 h 257442"/>
                <a:gd name="connsiteX2" fmla="*/ 0 w 1893367"/>
                <a:gd name="connsiteY2" fmla="*/ 257442 h 257442"/>
                <a:gd name="connsiteX3" fmla="*/ 0 w 1893367"/>
                <a:gd name="connsiteY3" fmla="*/ 0 h 257442"/>
                <a:gd name="connsiteX0" fmla="*/ 1994356 w 1994356"/>
                <a:gd name="connsiteY0" fmla="*/ 0 h 257442"/>
                <a:gd name="connsiteX1" fmla="*/ 1838646 w 1994356"/>
                <a:gd name="connsiteY1" fmla="*/ 257442 h 257442"/>
                <a:gd name="connsiteX2" fmla="*/ 0 w 1994356"/>
                <a:gd name="connsiteY2" fmla="*/ 257442 h 257442"/>
                <a:gd name="connsiteX3" fmla="*/ 0 w 1994356"/>
                <a:gd name="connsiteY3" fmla="*/ 0 h 257442"/>
                <a:gd name="connsiteX0" fmla="*/ 1994356 w 1994356"/>
                <a:gd name="connsiteY0" fmla="*/ 0 h 257442"/>
                <a:gd name="connsiteX1" fmla="*/ 1939634 w 1994356"/>
                <a:gd name="connsiteY1" fmla="*/ 257442 h 257442"/>
                <a:gd name="connsiteX2" fmla="*/ 0 w 1994356"/>
                <a:gd name="connsiteY2" fmla="*/ 257442 h 257442"/>
                <a:gd name="connsiteX3" fmla="*/ 0 w 1994356"/>
                <a:gd name="connsiteY3" fmla="*/ 0 h 257442"/>
                <a:gd name="connsiteX0" fmla="*/ 1994357 w 1994357"/>
                <a:gd name="connsiteY0" fmla="*/ 0 h 257442"/>
                <a:gd name="connsiteX1" fmla="*/ 1939635 w 1994357"/>
                <a:gd name="connsiteY1" fmla="*/ 257442 h 257442"/>
                <a:gd name="connsiteX2" fmla="*/ 0 w 1994357"/>
                <a:gd name="connsiteY2" fmla="*/ 257442 h 257442"/>
                <a:gd name="connsiteX3" fmla="*/ 1 w 1994357"/>
                <a:gd name="connsiteY3" fmla="*/ 0 h 257442"/>
                <a:gd name="connsiteX0" fmla="*/ 1994357 w 1994357"/>
                <a:gd name="connsiteY0" fmla="*/ 0 h 257442"/>
                <a:gd name="connsiteX1" fmla="*/ 1939635 w 1994357"/>
                <a:gd name="connsiteY1" fmla="*/ 257442 h 257442"/>
                <a:gd name="connsiteX2" fmla="*/ 0 w 1994357"/>
                <a:gd name="connsiteY2" fmla="*/ 257442 h 257442"/>
                <a:gd name="connsiteX3" fmla="*/ 1 w 1994357"/>
                <a:gd name="connsiteY3" fmla="*/ 0 h 257442"/>
                <a:gd name="connsiteX0" fmla="*/ 1893368 w 1939635"/>
                <a:gd name="connsiteY0" fmla="*/ 0 h 257442"/>
                <a:gd name="connsiteX1" fmla="*/ 1939635 w 1939635"/>
                <a:gd name="connsiteY1" fmla="*/ 257442 h 257442"/>
                <a:gd name="connsiteX2" fmla="*/ 0 w 1939635"/>
                <a:gd name="connsiteY2" fmla="*/ 257442 h 257442"/>
                <a:gd name="connsiteX3" fmla="*/ 1 w 1939635"/>
                <a:gd name="connsiteY3" fmla="*/ 0 h 257442"/>
                <a:gd name="connsiteX0" fmla="*/ 1893368 w 1893368"/>
                <a:gd name="connsiteY0" fmla="*/ 0 h 257442"/>
                <a:gd name="connsiteX1" fmla="*/ 1838647 w 1893368"/>
                <a:gd name="connsiteY1" fmla="*/ 257442 h 257442"/>
                <a:gd name="connsiteX2" fmla="*/ 0 w 1893368"/>
                <a:gd name="connsiteY2" fmla="*/ 257442 h 257442"/>
                <a:gd name="connsiteX3" fmla="*/ 1 w 1893368"/>
                <a:gd name="connsiteY3" fmla="*/ 0 h 257442"/>
                <a:gd name="connsiteX0" fmla="*/ 1893367 w 1893367"/>
                <a:gd name="connsiteY0" fmla="*/ 0 h 257442"/>
                <a:gd name="connsiteX1" fmla="*/ 1838646 w 1893367"/>
                <a:gd name="connsiteY1" fmla="*/ 257442 h 257442"/>
                <a:gd name="connsiteX2" fmla="*/ 0 w 1893367"/>
                <a:gd name="connsiteY2" fmla="*/ 257442 h 257442"/>
                <a:gd name="connsiteX3" fmla="*/ 0 w 1893367"/>
                <a:gd name="connsiteY3" fmla="*/ 0 h 257442"/>
                <a:gd name="connsiteX0" fmla="*/ 1893367 w 1893367"/>
                <a:gd name="connsiteY0" fmla="*/ 0 h 257442"/>
                <a:gd name="connsiteX1" fmla="*/ 1838646 w 1893367"/>
                <a:gd name="connsiteY1" fmla="*/ 257442 h 257442"/>
                <a:gd name="connsiteX2" fmla="*/ 0 w 1893367"/>
                <a:gd name="connsiteY2" fmla="*/ 257442 h 257442"/>
                <a:gd name="connsiteX3" fmla="*/ 0 w 1893367"/>
                <a:gd name="connsiteY3" fmla="*/ 0 h 257442"/>
                <a:gd name="connsiteX0" fmla="*/ 1792377 w 1838646"/>
                <a:gd name="connsiteY0" fmla="*/ 0 h 257442"/>
                <a:gd name="connsiteX1" fmla="*/ 1838646 w 1838646"/>
                <a:gd name="connsiteY1" fmla="*/ 257442 h 257442"/>
                <a:gd name="connsiteX2" fmla="*/ 0 w 1838646"/>
                <a:gd name="connsiteY2" fmla="*/ 257442 h 257442"/>
                <a:gd name="connsiteX3" fmla="*/ 0 w 1838646"/>
                <a:gd name="connsiteY3" fmla="*/ 0 h 257442"/>
                <a:gd name="connsiteX0" fmla="*/ 1792377 w 1792377"/>
                <a:gd name="connsiteY0" fmla="*/ 0 h 257442"/>
                <a:gd name="connsiteX1" fmla="*/ 1737656 w 1792377"/>
                <a:gd name="connsiteY1" fmla="*/ 257442 h 257442"/>
                <a:gd name="connsiteX2" fmla="*/ 0 w 1792377"/>
                <a:gd name="connsiteY2" fmla="*/ 257442 h 257442"/>
                <a:gd name="connsiteX3" fmla="*/ 0 w 1792377"/>
                <a:gd name="connsiteY3" fmla="*/ 0 h 257442"/>
                <a:gd name="connsiteX0" fmla="*/ 1792377 w 1792377"/>
                <a:gd name="connsiteY0" fmla="*/ 0 h 257442"/>
                <a:gd name="connsiteX1" fmla="*/ 1737656 w 1792377"/>
                <a:gd name="connsiteY1" fmla="*/ 257442 h 257442"/>
                <a:gd name="connsiteX2" fmla="*/ 1 w 1792377"/>
                <a:gd name="connsiteY2" fmla="*/ 257442 h 257442"/>
                <a:gd name="connsiteX3" fmla="*/ 0 w 1792377"/>
                <a:gd name="connsiteY3" fmla="*/ 0 h 257442"/>
                <a:gd name="connsiteX0" fmla="*/ 1792376 w 1792376"/>
                <a:gd name="connsiteY0" fmla="*/ 0 h 257442"/>
                <a:gd name="connsiteX1" fmla="*/ 1737655 w 1792376"/>
                <a:gd name="connsiteY1" fmla="*/ 257442 h 257442"/>
                <a:gd name="connsiteX2" fmla="*/ 0 w 1792376"/>
                <a:gd name="connsiteY2" fmla="*/ 257442 h 257442"/>
                <a:gd name="connsiteX3" fmla="*/ 0 w 1792376"/>
                <a:gd name="connsiteY3" fmla="*/ 0 h 257442"/>
                <a:gd name="connsiteX0" fmla="*/ 1691388 w 1737655"/>
                <a:gd name="connsiteY0" fmla="*/ 0 h 257442"/>
                <a:gd name="connsiteX1" fmla="*/ 1737655 w 1737655"/>
                <a:gd name="connsiteY1" fmla="*/ 257442 h 257442"/>
                <a:gd name="connsiteX2" fmla="*/ 0 w 1737655"/>
                <a:gd name="connsiteY2" fmla="*/ 257442 h 257442"/>
                <a:gd name="connsiteX3" fmla="*/ 0 w 1737655"/>
                <a:gd name="connsiteY3" fmla="*/ 0 h 257442"/>
                <a:gd name="connsiteX0" fmla="*/ 1691388 w 1691388"/>
                <a:gd name="connsiteY0" fmla="*/ 0 h 257442"/>
                <a:gd name="connsiteX1" fmla="*/ 1636668 w 1691388"/>
                <a:gd name="connsiteY1" fmla="*/ 257442 h 257442"/>
                <a:gd name="connsiteX2" fmla="*/ 0 w 1691388"/>
                <a:gd name="connsiteY2" fmla="*/ 257442 h 257442"/>
                <a:gd name="connsiteX3" fmla="*/ 0 w 1691388"/>
                <a:gd name="connsiteY3" fmla="*/ 0 h 257442"/>
                <a:gd name="connsiteX0" fmla="*/ 1691388 w 1691388"/>
                <a:gd name="connsiteY0" fmla="*/ 0 h 257442"/>
                <a:gd name="connsiteX1" fmla="*/ 1636668 w 1691388"/>
                <a:gd name="connsiteY1" fmla="*/ 257442 h 257442"/>
                <a:gd name="connsiteX2" fmla="*/ 0 w 1691388"/>
                <a:gd name="connsiteY2" fmla="*/ 257442 h 257442"/>
                <a:gd name="connsiteX3" fmla="*/ 0 w 1691388"/>
                <a:gd name="connsiteY3" fmla="*/ 0 h 257442"/>
                <a:gd name="connsiteX0" fmla="*/ 1691388 w 1691388"/>
                <a:gd name="connsiteY0" fmla="*/ 0 h 257442"/>
                <a:gd name="connsiteX1" fmla="*/ 1636668 w 1691388"/>
                <a:gd name="connsiteY1" fmla="*/ 257442 h 257442"/>
                <a:gd name="connsiteX2" fmla="*/ 0 w 1691388"/>
                <a:gd name="connsiteY2" fmla="*/ 257442 h 257442"/>
                <a:gd name="connsiteX3" fmla="*/ 0 w 1691388"/>
                <a:gd name="connsiteY3" fmla="*/ 0 h 257442"/>
                <a:gd name="connsiteX0" fmla="*/ 1590399 w 1636668"/>
                <a:gd name="connsiteY0" fmla="*/ 0 h 257442"/>
                <a:gd name="connsiteX1" fmla="*/ 1636668 w 1636668"/>
                <a:gd name="connsiteY1" fmla="*/ 257442 h 257442"/>
                <a:gd name="connsiteX2" fmla="*/ 0 w 1636668"/>
                <a:gd name="connsiteY2" fmla="*/ 257442 h 257442"/>
                <a:gd name="connsiteX3" fmla="*/ 0 w 1636668"/>
                <a:gd name="connsiteY3" fmla="*/ 0 h 257442"/>
                <a:gd name="connsiteX0" fmla="*/ 1590399 w 1590399"/>
                <a:gd name="connsiteY0" fmla="*/ 0 h 257442"/>
                <a:gd name="connsiteX1" fmla="*/ 1535678 w 1590399"/>
                <a:gd name="connsiteY1" fmla="*/ 257442 h 257442"/>
                <a:gd name="connsiteX2" fmla="*/ 0 w 1590399"/>
                <a:gd name="connsiteY2" fmla="*/ 257442 h 257442"/>
                <a:gd name="connsiteX3" fmla="*/ 0 w 1590399"/>
                <a:gd name="connsiteY3" fmla="*/ 0 h 257442"/>
                <a:gd name="connsiteX0" fmla="*/ 1590399 w 1590399"/>
                <a:gd name="connsiteY0" fmla="*/ 0 h 257442"/>
                <a:gd name="connsiteX1" fmla="*/ 1535678 w 1590399"/>
                <a:gd name="connsiteY1" fmla="*/ 257442 h 257442"/>
                <a:gd name="connsiteX2" fmla="*/ 1 w 1590399"/>
                <a:gd name="connsiteY2" fmla="*/ 257442 h 257442"/>
                <a:gd name="connsiteX3" fmla="*/ 0 w 1590399"/>
                <a:gd name="connsiteY3" fmla="*/ 0 h 257442"/>
                <a:gd name="connsiteX0" fmla="*/ 1590398 w 1590398"/>
                <a:gd name="connsiteY0" fmla="*/ 0 h 257442"/>
                <a:gd name="connsiteX1" fmla="*/ 1535677 w 1590398"/>
                <a:gd name="connsiteY1" fmla="*/ 257442 h 257442"/>
                <a:gd name="connsiteX2" fmla="*/ 0 w 1590398"/>
                <a:gd name="connsiteY2" fmla="*/ 257442 h 257442"/>
                <a:gd name="connsiteX3" fmla="*/ 0 w 1590398"/>
                <a:gd name="connsiteY3" fmla="*/ 0 h 257442"/>
                <a:gd name="connsiteX0" fmla="*/ 1489409 w 1535677"/>
                <a:gd name="connsiteY0" fmla="*/ 0 h 257442"/>
                <a:gd name="connsiteX1" fmla="*/ 1535677 w 1535677"/>
                <a:gd name="connsiteY1" fmla="*/ 257442 h 257442"/>
                <a:gd name="connsiteX2" fmla="*/ 0 w 1535677"/>
                <a:gd name="connsiteY2" fmla="*/ 257442 h 257442"/>
                <a:gd name="connsiteX3" fmla="*/ 0 w 1535677"/>
                <a:gd name="connsiteY3" fmla="*/ 0 h 257442"/>
                <a:gd name="connsiteX0" fmla="*/ 1489409 w 1489409"/>
                <a:gd name="connsiteY0" fmla="*/ 0 h 257442"/>
                <a:gd name="connsiteX1" fmla="*/ 1434689 w 1489409"/>
                <a:gd name="connsiteY1" fmla="*/ 257442 h 257442"/>
                <a:gd name="connsiteX2" fmla="*/ 0 w 1489409"/>
                <a:gd name="connsiteY2" fmla="*/ 257442 h 257442"/>
                <a:gd name="connsiteX3" fmla="*/ 0 w 1489409"/>
                <a:gd name="connsiteY3" fmla="*/ 0 h 257442"/>
                <a:gd name="connsiteX0" fmla="*/ 1489409 w 1489409"/>
                <a:gd name="connsiteY0" fmla="*/ 0 h 257442"/>
                <a:gd name="connsiteX1" fmla="*/ 1434689 w 1489409"/>
                <a:gd name="connsiteY1" fmla="*/ 257442 h 257442"/>
                <a:gd name="connsiteX2" fmla="*/ 0 w 1489409"/>
                <a:gd name="connsiteY2" fmla="*/ 257442 h 257442"/>
                <a:gd name="connsiteX3" fmla="*/ 0 w 1489409"/>
                <a:gd name="connsiteY3" fmla="*/ 0 h 257442"/>
                <a:gd name="connsiteX0" fmla="*/ 1489409 w 1489409"/>
                <a:gd name="connsiteY0" fmla="*/ 0 h 257442"/>
                <a:gd name="connsiteX1" fmla="*/ 1434689 w 1489409"/>
                <a:gd name="connsiteY1" fmla="*/ 257442 h 257442"/>
                <a:gd name="connsiteX2" fmla="*/ 0 w 1489409"/>
                <a:gd name="connsiteY2" fmla="*/ 257442 h 257442"/>
                <a:gd name="connsiteX3" fmla="*/ 0 w 1489409"/>
                <a:gd name="connsiteY3" fmla="*/ 0 h 257442"/>
                <a:gd name="connsiteX0" fmla="*/ 1388420 w 1434689"/>
                <a:gd name="connsiteY0" fmla="*/ 0 h 257442"/>
                <a:gd name="connsiteX1" fmla="*/ 1434689 w 1434689"/>
                <a:gd name="connsiteY1" fmla="*/ 257442 h 257442"/>
                <a:gd name="connsiteX2" fmla="*/ 0 w 1434689"/>
                <a:gd name="connsiteY2" fmla="*/ 257442 h 257442"/>
                <a:gd name="connsiteX3" fmla="*/ 0 w 1434689"/>
                <a:gd name="connsiteY3" fmla="*/ 0 h 257442"/>
                <a:gd name="connsiteX0" fmla="*/ 1388420 w 1388420"/>
                <a:gd name="connsiteY0" fmla="*/ 0 h 257442"/>
                <a:gd name="connsiteX1" fmla="*/ 1333699 w 1388420"/>
                <a:gd name="connsiteY1" fmla="*/ 257442 h 257442"/>
                <a:gd name="connsiteX2" fmla="*/ 0 w 1388420"/>
                <a:gd name="connsiteY2" fmla="*/ 257442 h 257442"/>
                <a:gd name="connsiteX3" fmla="*/ 0 w 1388420"/>
                <a:gd name="connsiteY3" fmla="*/ 0 h 257442"/>
                <a:gd name="connsiteX0" fmla="*/ 1388420 w 1388420"/>
                <a:gd name="connsiteY0" fmla="*/ 0 h 257442"/>
                <a:gd name="connsiteX1" fmla="*/ 1333699 w 1388420"/>
                <a:gd name="connsiteY1" fmla="*/ 257442 h 257442"/>
                <a:gd name="connsiteX2" fmla="*/ 0 w 1388420"/>
                <a:gd name="connsiteY2" fmla="*/ 257442 h 257442"/>
                <a:gd name="connsiteX3" fmla="*/ 0 w 1388420"/>
                <a:gd name="connsiteY3" fmla="*/ 0 h 257442"/>
                <a:gd name="connsiteX0" fmla="*/ 1388420 w 1388420"/>
                <a:gd name="connsiteY0" fmla="*/ 0 h 257442"/>
                <a:gd name="connsiteX1" fmla="*/ 1333699 w 1388420"/>
                <a:gd name="connsiteY1" fmla="*/ 257442 h 257442"/>
                <a:gd name="connsiteX2" fmla="*/ 0 w 1388420"/>
                <a:gd name="connsiteY2" fmla="*/ 257442 h 257442"/>
                <a:gd name="connsiteX3" fmla="*/ 0 w 1388420"/>
                <a:gd name="connsiteY3" fmla="*/ 0 h 257442"/>
                <a:gd name="connsiteX0" fmla="*/ 1287432 w 1333699"/>
                <a:gd name="connsiteY0" fmla="*/ 0 h 257442"/>
                <a:gd name="connsiteX1" fmla="*/ 1333699 w 1333699"/>
                <a:gd name="connsiteY1" fmla="*/ 257442 h 257442"/>
                <a:gd name="connsiteX2" fmla="*/ 0 w 1333699"/>
                <a:gd name="connsiteY2" fmla="*/ 257442 h 257442"/>
                <a:gd name="connsiteX3" fmla="*/ 0 w 1333699"/>
                <a:gd name="connsiteY3" fmla="*/ 0 h 257442"/>
                <a:gd name="connsiteX0" fmla="*/ 1287432 w 1287432"/>
                <a:gd name="connsiteY0" fmla="*/ 0 h 257442"/>
                <a:gd name="connsiteX1" fmla="*/ 1232712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287432 w 1287432"/>
                <a:gd name="connsiteY0" fmla="*/ 0 h 257442"/>
                <a:gd name="connsiteX1" fmla="*/ 1232712 w 1287432"/>
                <a:gd name="connsiteY1" fmla="*/ 257442 h 257442"/>
                <a:gd name="connsiteX2" fmla="*/ 1 w 1287432"/>
                <a:gd name="connsiteY2" fmla="*/ 257442 h 257442"/>
                <a:gd name="connsiteX3" fmla="*/ 0 w 1287432"/>
                <a:gd name="connsiteY3" fmla="*/ 0 h 257442"/>
                <a:gd name="connsiteX0" fmla="*/ 1287431 w 1287431"/>
                <a:gd name="connsiteY0" fmla="*/ 0 h 257442"/>
                <a:gd name="connsiteX1" fmla="*/ 1232711 w 1287431"/>
                <a:gd name="connsiteY1" fmla="*/ 257442 h 257442"/>
                <a:gd name="connsiteX2" fmla="*/ 0 w 1287431"/>
                <a:gd name="connsiteY2" fmla="*/ 257442 h 257442"/>
                <a:gd name="connsiteX3" fmla="*/ 0 w 1287431"/>
                <a:gd name="connsiteY3" fmla="*/ 0 h 257442"/>
                <a:gd name="connsiteX0" fmla="*/ 1186442 w 1232711"/>
                <a:gd name="connsiteY0" fmla="*/ 0 h 257442"/>
                <a:gd name="connsiteX1" fmla="*/ 1232711 w 1232711"/>
                <a:gd name="connsiteY1" fmla="*/ 257442 h 257442"/>
                <a:gd name="connsiteX2" fmla="*/ 0 w 1232711"/>
                <a:gd name="connsiteY2" fmla="*/ 257442 h 257442"/>
                <a:gd name="connsiteX3" fmla="*/ 0 w 1232711"/>
                <a:gd name="connsiteY3" fmla="*/ 0 h 257442"/>
                <a:gd name="connsiteX0" fmla="*/ 1186442 w 1186442"/>
                <a:gd name="connsiteY0" fmla="*/ 0 h 257442"/>
                <a:gd name="connsiteX1" fmla="*/ 1131721 w 1186442"/>
                <a:gd name="connsiteY1" fmla="*/ 257442 h 257442"/>
                <a:gd name="connsiteX2" fmla="*/ 0 w 1186442"/>
                <a:gd name="connsiteY2" fmla="*/ 257442 h 257442"/>
                <a:gd name="connsiteX3" fmla="*/ 0 w 1186442"/>
                <a:gd name="connsiteY3" fmla="*/ 0 h 257442"/>
                <a:gd name="connsiteX0" fmla="*/ 1186442 w 1186442"/>
                <a:gd name="connsiteY0" fmla="*/ 0 h 257442"/>
                <a:gd name="connsiteX1" fmla="*/ 1131721 w 1186442"/>
                <a:gd name="connsiteY1" fmla="*/ 257442 h 257442"/>
                <a:gd name="connsiteX2" fmla="*/ 0 w 1186442"/>
                <a:gd name="connsiteY2" fmla="*/ 257442 h 257442"/>
                <a:gd name="connsiteX3" fmla="*/ 0 w 1186442"/>
                <a:gd name="connsiteY3" fmla="*/ 0 h 257442"/>
                <a:gd name="connsiteX0" fmla="*/ 1186442 w 1186442"/>
                <a:gd name="connsiteY0" fmla="*/ 0 h 257442"/>
                <a:gd name="connsiteX1" fmla="*/ 1131721 w 1186442"/>
                <a:gd name="connsiteY1" fmla="*/ 257442 h 257442"/>
                <a:gd name="connsiteX2" fmla="*/ 0 w 1186442"/>
                <a:gd name="connsiteY2" fmla="*/ 257442 h 257442"/>
                <a:gd name="connsiteX3" fmla="*/ 0 w 1186442"/>
                <a:gd name="connsiteY3" fmla="*/ 0 h 257442"/>
                <a:gd name="connsiteX0" fmla="*/ 1085453 w 1131721"/>
                <a:gd name="connsiteY0" fmla="*/ 0 h 257442"/>
                <a:gd name="connsiteX1" fmla="*/ 1131721 w 1131721"/>
                <a:gd name="connsiteY1" fmla="*/ 257442 h 257442"/>
                <a:gd name="connsiteX2" fmla="*/ 0 w 1131721"/>
                <a:gd name="connsiteY2" fmla="*/ 257442 h 257442"/>
                <a:gd name="connsiteX3" fmla="*/ 0 w 1131721"/>
                <a:gd name="connsiteY3" fmla="*/ 0 h 257442"/>
                <a:gd name="connsiteX0" fmla="*/ 1085453 w 1085453"/>
                <a:gd name="connsiteY0" fmla="*/ 0 h 257442"/>
                <a:gd name="connsiteX1" fmla="*/ 1030733 w 1085453"/>
                <a:gd name="connsiteY1" fmla="*/ 257442 h 257442"/>
                <a:gd name="connsiteX2" fmla="*/ 0 w 1085453"/>
                <a:gd name="connsiteY2" fmla="*/ 257442 h 257442"/>
                <a:gd name="connsiteX3" fmla="*/ 0 w 1085453"/>
                <a:gd name="connsiteY3" fmla="*/ 0 h 257442"/>
                <a:gd name="connsiteX0" fmla="*/ 1085453 w 1085453"/>
                <a:gd name="connsiteY0" fmla="*/ 0 h 257442"/>
                <a:gd name="connsiteX1" fmla="*/ 1030733 w 1085453"/>
                <a:gd name="connsiteY1" fmla="*/ 257442 h 257442"/>
                <a:gd name="connsiteX2" fmla="*/ 1 w 1085453"/>
                <a:gd name="connsiteY2" fmla="*/ 257442 h 257442"/>
                <a:gd name="connsiteX3" fmla="*/ 0 w 1085453"/>
                <a:gd name="connsiteY3" fmla="*/ 0 h 257442"/>
                <a:gd name="connsiteX0" fmla="*/ 1085452 w 1085452"/>
                <a:gd name="connsiteY0" fmla="*/ 0 h 257442"/>
                <a:gd name="connsiteX1" fmla="*/ 1030732 w 1085452"/>
                <a:gd name="connsiteY1" fmla="*/ 257442 h 257442"/>
                <a:gd name="connsiteX2" fmla="*/ 0 w 1085452"/>
                <a:gd name="connsiteY2" fmla="*/ 257442 h 257442"/>
                <a:gd name="connsiteX3" fmla="*/ 0 w 1085452"/>
                <a:gd name="connsiteY3" fmla="*/ 0 h 257442"/>
                <a:gd name="connsiteX0" fmla="*/ 984463 w 1030732"/>
                <a:gd name="connsiteY0" fmla="*/ 0 h 257442"/>
                <a:gd name="connsiteX1" fmla="*/ 1030732 w 1030732"/>
                <a:gd name="connsiteY1" fmla="*/ 257442 h 257442"/>
                <a:gd name="connsiteX2" fmla="*/ 0 w 1030732"/>
                <a:gd name="connsiteY2" fmla="*/ 257442 h 257442"/>
                <a:gd name="connsiteX3" fmla="*/ 0 w 1030732"/>
                <a:gd name="connsiteY3" fmla="*/ 0 h 257442"/>
                <a:gd name="connsiteX0" fmla="*/ 984463 w 984463"/>
                <a:gd name="connsiteY0" fmla="*/ 0 h 257442"/>
                <a:gd name="connsiteX1" fmla="*/ 929742 w 984463"/>
                <a:gd name="connsiteY1" fmla="*/ 257442 h 257442"/>
                <a:gd name="connsiteX2" fmla="*/ 0 w 984463"/>
                <a:gd name="connsiteY2" fmla="*/ 257442 h 257442"/>
                <a:gd name="connsiteX3" fmla="*/ 0 w 984463"/>
                <a:gd name="connsiteY3" fmla="*/ 0 h 257442"/>
                <a:gd name="connsiteX0" fmla="*/ 984463 w 984463"/>
                <a:gd name="connsiteY0" fmla="*/ 0 h 257442"/>
                <a:gd name="connsiteX1" fmla="*/ 929742 w 984463"/>
                <a:gd name="connsiteY1" fmla="*/ 257442 h 257442"/>
                <a:gd name="connsiteX2" fmla="*/ 0 w 984463"/>
                <a:gd name="connsiteY2" fmla="*/ 257442 h 257442"/>
                <a:gd name="connsiteX3" fmla="*/ 0 w 984463"/>
                <a:gd name="connsiteY3" fmla="*/ 0 h 257442"/>
                <a:gd name="connsiteX0" fmla="*/ 984463 w 984463"/>
                <a:gd name="connsiteY0" fmla="*/ 0 h 257442"/>
                <a:gd name="connsiteX1" fmla="*/ 929742 w 984463"/>
                <a:gd name="connsiteY1" fmla="*/ 257442 h 257442"/>
                <a:gd name="connsiteX2" fmla="*/ 0 w 984463"/>
                <a:gd name="connsiteY2" fmla="*/ 257442 h 257442"/>
                <a:gd name="connsiteX3" fmla="*/ 0 w 984463"/>
                <a:gd name="connsiteY3" fmla="*/ 0 h 257442"/>
                <a:gd name="connsiteX0" fmla="*/ 883475 w 929742"/>
                <a:gd name="connsiteY0" fmla="*/ 0 h 257442"/>
                <a:gd name="connsiteX1" fmla="*/ 929742 w 929742"/>
                <a:gd name="connsiteY1" fmla="*/ 257442 h 257442"/>
                <a:gd name="connsiteX2" fmla="*/ 0 w 929742"/>
                <a:gd name="connsiteY2" fmla="*/ 257442 h 257442"/>
                <a:gd name="connsiteX3" fmla="*/ 0 w 929742"/>
                <a:gd name="connsiteY3" fmla="*/ 0 h 257442"/>
                <a:gd name="connsiteX0" fmla="*/ 883475 w 883475"/>
                <a:gd name="connsiteY0" fmla="*/ 0 h 257442"/>
                <a:gd name="connsiteX1" fmla="*/ 828754 w 883475"/>
                <a:gd name="connsiteY1" fmla="*/ 257442 h 257442"/>
                <a:gd name="connsiteX2" fmla="*/ 0 w 883475"/>
                <a:gd name="connsiteY2" fmla="*/ 257442 h 257442"/>
                <a:gd name="connsiteX3" fmla="*/ 0 w 883475"/>
                <a:gd name="connsiteY3" fmla="*/ 0 h 257442"/>
                <a:gd name="connsiteX0" fmla="*/ 883475 w 883475"/>
                <a:gd name="connsiteY0" fmla="*/ 0 h 257442"/>
                <a:gd name="connsiteX1" fmla="*/ 828754 w 883475"/>
                <a:gd name="connsiteY1" fmla="*/ 257442 h 257442"/>
                <a:gd name="connsiteX2" fmla="*/ 1 w 883475"/>
                <a:gd name="connsiteY2" fmla="*/ 257442 h 257442"/>
                <a:gd name="connsiteX3" fmla="*/ 0 w 883475"/>
                <a:gd name="connsiteY3" fmla="*/ 0 h 257442"/>
                <a:gd name="connsiteX0" fmla="*/ 883474 w 883474"/>
                <a:gd name="connsiteY0" fmla="*/ 0 h 257442"/>
                <a:gd name="connsiteX1" fmla="*/ 828753 w 883474"/>
                <a:gd name="connsiteY1" fmla="*/ 257442 h 257442"/>
                <a:gd name="connsiteX2" fmla="*/ 0 w 883474"/>
                <a:gd name="connsiteY2" fmla="*/ 257442 h 257442"/>
                <a:gd name="connsiteX3" fmla="*/ 0 w 883474"/>
                <a:gd name="connsiteY3" fmla="*/ 0 h 257442"/>
                <a:gd name="connsiteX0" fmla="*/ 1043774 w 1043774"/>
                <a:gd name="connsiteY0" fmla="*/ 0 h 257442"/>
                <a:gd name="connsiteX1" fmla="*/ 828753 w 1043774"/>
                <a:gd name="connsiteY1" fmla="*/ 257442 h 257442"/>
                <a:gd name="connsiteX2" fmla="*/ 0 w 1043774"/>
                <a:gd name="connsiteY2" fmla="*/ 257442 h 257442"/>
                <a:gd name="connsiteX3" fmla="*/ 0 w 1043774"/>
                <a:gd name="connsiteY3" fmla="*/ 0 h 257442"/>
                <a:gd name="connsiteX0" fmla="*/ 1043774 w 1043774"/>
                <a:gd name="connsiteY0" fmla="*/ 0 h 257442"/>
                <a:gd name="connsiteX1" fmla="*/ 989053 w 1043774"/>
                <a:gd name="connsiteY1" fmla="*/ 257442 h 257442"/>
                <a:gd name="connsiteX2" fmla="*/ 0 w 1043774"/>
                <a:gd name="connsiteY2" fmla="*/ 257442 h 257442"/>
                <a:gd name="connsiteX3" fmla="*/ 0 w 1043774"/>
                <a:gd name="connsiteY3" fmla="*/ 0 h 257442"/>
                <a:gd name="connsiteX0" fmla="*/ 1043775 w 1043775"/>
                <a:gd name="connsiteY0" fmla="*/ 0 h 257442"/>
                <a:gd name="connsiteX1" fmla="*/ 989054 w 1043775"/>
                <a:gd name="connsiteY1" fmla="*/ 257442 h 257442"/>
                <a:gd name="connsiteX2" fmla="*/ 0 w 1043775"/>
                <a:gd name="connsiteY2" fmla="*/ 257442 h 257442"/>
                <a:gd name="connsiteX3" fmla="*/ 1 w 1043775"/>
                <a:gd name="connsiteY3" fmla="*/ 0 h 257442"/>
                <a:gd name="connsiteX0" fmla="*/ 1043775 w 1043775"/>
                <a:gd name="connsiteY0" fmla="*/ 0 h 257442"/>
                <a:gd name="connsiteX1" fmla="*/ 989054 w 1043775"/>
                <a:gd name="connsiteY1" fmla="*/ 257442 h 257442"/>
                <a:gd name="connsiteX2" fmla="*/ 0 w 1043775"/>
                <a:gd name="connsiteY2" fmla="*/ 257442 h 257442"/>
                <a:gd name="connsiteX3" fmla="*/ 1 w 1043775"/>
                <a:gd name="connsiteY3" fmla="*/ 0 h 257442"/>
                <a:gd name="connsiteX0" fmla="*/ 950802 w 989054"/>
                <a:gd name="connsiteY0" fmla="*/ 0 h 257442"/>
                <a:gd name="connsiteX1" fmla="*/ 989054 w 989054"/>
                <a:gd name="connsiteY1" fmla="*/ 257442 h 257442"/>
                <a:gd name="connsiteX2" fmla="*/ 0 w 989054"/>
                <a:gd name="connsiteY2" fmla="*/ 257442 h 257442"/>
                <a:gd name="connsiteX3" fmla="*/ 1 w 989054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0 w 950802"/>
                <a:gd name="connsiteY2" fmla="*/ 257442 h 257442"/>
                <a:gd name="connsiteX3" fmla="*/ 1 w 95080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1119116 w 1119116"/>
                <a:gd name="connsiteY0" fmla="*/ 0 h 257442"/>
                <a:gd name="connsiteX1" fmla="*/ 896080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6 w 1119116"/>
                <a:gd name="connsiteY0" fmla="*/ 0 h 257442"/>
                <a:gd name="connsiteX1" fmla="*/ 1064394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7 w 1119117"/>
                <a:gd name="connsiteY0" fmla="*/ 0 h 257442"/>
                <a:gd name="connsiteX1" fmla="*/ 1064395 w 1119117"/>
                <a:gd name="connsiteY1" fmla="*/ 257442 h 257442"/>
                <a:gd name="connsiteX2" fmla="*/ 0 w 1119117"/>
                <a:gd name="connsiteY2" fmla="*/ 257442 h 257442"/>
                <a:gd name="connsiteX3" fmla="*/ 1 w 1119117"/>
                <a:gd name="connsiteY3" fmla="*/ 0 h 257442"/>
                <a:gd name="connsiteX0" fmla="*/ 1119117 w 1119117"/>
                <a:gd name="connsiteY0" fmla="*/ 0 h 257442"/>
                <a:gd name="connsiteX1" fmla="*/ 1064395 w 1119117"/>
                <a:gd name="connsiteY1" fmla="*/ 257442 h 257442"/>
                <a:gd name="connsiteX2" fmla="*/ 0 w 1119117"/>
                <a:gd name="connsiteY2" fmla="*/ 257442 h 257442"/>
                <a:gd name="connsiteX3" fmla="*/ 1 w 1119117"/>
                <a:gd name="connsiteY3" fmla="*/ 0 h 257442"/>
                <a:gd name="connsiteX0" fmla="*/ 1279417 w 1279417"/>
                <a:gd name="connsiteY0" fmla="*/ 0 h 257442"/>
                <a:gd name="connsiteX1" fmla="*/ 10643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279417 w 1279417"/>
                <a:gd name="connsiteY0" fmla="*/ 0 h 257442"/>
                <a:gd name="connsiteX1" fmla="*/ 1224696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7 w 1279417"/>
                <a:gd name="connsiteY0" fmla="*/ 0 h 257442"/>
                <a:gd name="connsiteX1" fmla="*/ 1224696 w 1279417"/>
                <a:gd name="connsiteY1" fmla="*/ 257442 h 257442"/>
                <a:gd name="connsiteX2" fmla="*/ 1 w 1279417"/>
                <a:gd name="connsiteY2" fmla="*/ 257442 h 257442"/>
                <a:gd name="connsiteX3" fmla="*/ 0 w 1279417"/>
                <a:gd name="connsiteY3" fmla="*/ 0 h 257442"/>
                <a:gd name="connsiteX0" fmla="*/ 1457351 w 1457351"/>
                <a:gd name="connsiteY0" fmla="*/ 0 h 257442"/>
                <a:gd name="connsiteX1" fmla="*/ 1224696 w 1457351"/>
                <a:gd name="connsiteY1" fmla="*/ 257442 h 257442"/>
                <a:gd name="connsiteX2" fmla="*/ 1 w 1457351"/>
                <a:gd name="connsiteY2" fmla="*/ 257442 h 257442"/>
                <a:gd name="connsiteX3" fmla="*/ 0 w 1457351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1 w 1457351"/>
                <a:gd name="connsiteY2" fmla="*/ 257442 h 257442"/>
                <a:gd name="connsiteX3" fmla="*/ 0 w 1457351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1 w 1457351"/>
                <a:gd name="connsiteY2" fmla="*/ 257442 h 257442"/>
                <a:gd name="connsiteX3" fmla="*/ 0 w 1457351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4 w 1625664"/>
                <a:gd name="connsiteY0" fmla="*/ 0 h 257442"/>
                <a:gd name="connsiteX1" fmla="*/ 1402629 w 1625664"/>
                <a:gd name="connsiteY1" fmla="*/ 257442 h 257442"/>
                <a:gd name="connsiteX2" fmla="*/ 0 w 1625664"/>
                <a:gd name="connsiteY2" fmla="*/ 257442 h 257442"/>
                <a:gd name="connsiteX3" fmla="*/ 0 w 1625664"/>
                <a:gd name="connsiteY3" fmla="*/ 0 h 257442"/>
                <a:gd name="connsiteX0" fmla="*/ 1625664 w 1625664"/>
                <a:gd name="connsiteY0" fmla="*/ 0 h 257442"/>
                <a:gd name="connsiteX1" fmla="*/ 1570943 w 1625664"/>
                <a:gd name="connsiteY1" fmla="*/ 257442 h 257442"/>
                <a:gd name="connsiteX2" fmla="*/ 0 w 1625664"/>
                <a:gd name="connsiteY2" fmla="*/ 257442 h 257442"/>
                <a:gd name="connsiteX3" fmla="*/ 0 w 1625664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1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1 w 1625665"/>
                <a:gd name="connsiteY3" fmla="*/ 0 h 257442"/>
                <a:gd name="connsiteX0" fmla="*/ 1793982 w 1793982"/>
                <a:gd name="connsiteY0" fmla="*/ 0 h 257442"/>
                <a:gd name="connsiteX1" fmla="*/ 1570944 w 1793982"/>
                <a:gd name="connsiteY1" fmla="*/ 257442 h 257442"/>
                <a:gd name="connsiteX2" fmla="*/ 0 w 1793982"/>
                <a:gd name="connsiteY2" fmla="*/ 257442 h 257442"/>
                <a:gd name="connsiteX3" fmla="*/ 1 w 1793982"/>
                <a:gd name="connsiteY3" fmla="*/ 0 h 257442"/>
                <a:gd name="connsiteX0" fmla="*/ 1793982 w 1793982"/>
                <a:gd name="connsiteY0" fmla="*/ 0 h 257442"/>
                <a:gd name="connsiteX1" fmla="*/ 1739260 w 1793982"/>
                <a:gd name="connsiteY1" fmla="*/ 257442 h 257442"/>
                <a:gd name="connsiteX2" fmla="*/ 0 w 1793982"/>
                <a:gd name="connsiteY2" fmla="*/ 257442 h 257442"/>
                <a:gd name="connsiteX3" fmla="*/ 1 w 1793982"/>
                <a:gd name="connsiteY3" fmla="*/ 0 h 257442"/>
                <a:gd name="connsiteX0" fmla="*/ 1793982 w 1793982"/>
                <a:gd name="connsiteY0" fmla="*/ 0 h 257442"/>
                <a:gd name="connsiteX1" fmla="*/ 1739260 w 1793982"/>
                <a:gd name="connsiteY1" fmla="*/ 257442 h 257442"/>
                <a:gd name="connsiteX2" fmla="*/ 0 w 1793982"/>
                <a:gd name="connsiteY2" fmla="*/ 257442 h 257442"/>
                <a:gd name="connsiteX3" fmla="*/ 1 w 1793982"/>
                <a:gd name="connsiteY3" fmla="*/ 0 h 257442"/>
                <a:gd name="connsiteX0" fmla="*/ 1793982 w 1793982"/>
                <a:gd name="connsiteY0" fmla="*/ 0 h 257442"/>
                <a:gd name="connsiteX1" fmla="*/ 1739260 w 1793982"/>
                <a:gd name="connsiteY1" fmla="*/ 257442 h 257442"/>
                <a:gd name="connsiteX2" fmla="*/ 0 w 1793982"/>
                <a:gd name="connsiteY2" fmla="*/ 257442 h 257442"/>
                <a:gd name="connsiteX3" fmla="*/ 0 w 1793982"/>
                <a:gd name="connsiteY3" fmla="*/ 0 h 257442"/>
                <a:gd name="connsiteX0" fmla="*/ 1962295 w 1962295"/>
                <a:gd name="connsiteY0" fmla="*/ 0 h 257442"/>
                <a:gd name="connsiteX1" fmla="*/ 1739260 w 1962295"/>
                <a:gd name="connsiteY1" fmla="*/ 257442 h 257442"/>
                <a:gd name="connsiteX2" fmla="*/ 0 w 1962295"/>
                <a:gd name="connsiteY2" fmla="*/ 257442 h 257442"/>
                <a:gd name="connsiteX3" fmla="*/ 0 w 1962295"/>
                <a:gd name="connsiteY3" fmla="*/ 0 h 257442"/>
                <a:gd name="connsiteX0" fmla="*/ 1962295 w 1962295"/>
                <a:gd name="connsiteY0" fmla="*/ 0 h 257442"/>
                <a:gd name="connsiteX1" fmla="*/ 1907574 w 1962295"/>
                <a:gd name="connsiteY1" fmla="*/ 257442 h 257442"/>
                <a:gd name="connsiteX2" fmla="*/ 0 w 1962295"/>
                <a:gd name="connsiteY2" fmla="*/ 257442 h 257442"/>
                <a:gd name="connsiteX3" fmla="*/ 0 w 1962295"/>
                <a:gd name="connsiteY3" fmla="*/ 0 h 257442"/>
                <a:gd name="connsiteX0" fmla="*/ 1962295 w 1962295"/>
                <a:gd name="connsiteY0" fmla="*/ 0 h 257442"/>
                <a:gd name="connsiteX1" fmla="*/ 1907574 w 1962295"/>
                <a:gd name="connsiteY1" fmla="*/ 257442 h 257442"/>
                <a:gd name="connsiteX2" fmla="*/ 0 w 1962295"/>
                <a:gd name="connsiteY2" fmla="*/ 257442 h 257442"/>
                <a:gd name="connsiteX3" fmla="*/ 0 w 1962295"/>
                <a:gd name="connsiteY3" fmla="*/ 0 h 257442"/>
                <a:gd name="connsiteX0" fmla="*/ 1962295 w 1962295"/>
                <a:gd name="connsiteY0" fmla="*/ 0 h 257442"/>
                <a:gd name="connsiteX1" fmla="*/ 1907574 w 1962295"/>
                <a:gd name="connsiteY1" fmla="*/ 257442 h 257442"/>
                <a:gd name="connsiteX2" fmla="*/ 0 w 1962295"/>
                <a:gd name="connsiteY2" fmla="*/ 257442 h 257442"/>
                <a:gd name="connsiteX3" fmla="*/ 0 w 1962295"/>
                <a:gd name="connsiteY3" fmla="*/ 0 h 257442"/>
                <a:gd name="connsiteX0" fmla="*/ 2122596 w 2122596"/>
                <a:gd name="connsiteY0" fmla="*/ 0 h 257442"/>
                <a:gd name="connsiteX1" fmla="*/ 1907574 w 2122596"/>
                <a:gd name="connsiteY1" fmla="*/ 257442 h 257442"/>
                <a:gd name="connsiteX2" fmla="*/ 0 w 2122596"/>
                <a:gd name="connsiteY2" fmla="*/ 257442 h 257442"/>
                <a:gd name="connsiteX3" fmla="*/ 0 w 2122596"/>
                <a:gd name="connsiteY3" fmla="*/ 0 h 257442"/>
                <a:gd name="connsiteX0" fmla="*/ 2122596 w 2122596"/>
                <a:gd name="connsiteY0" fmla="*/ 0 h 257442"/>
                <a:gd name="connsiteX1" fmla="*/ 2067874 w 2122596"/>
                <a:gd name="connsiteY1" fmla="*/ 257442 h 257442"/>
                <a:gd name="connsiteX2" fmla="*/ 0 w 2122596"/>
                <a:gd name="connsiteY2" fmla="*/ 257442 h 257442"/>
                <a:gd name="connsiteX3" fmla="*/ 0 w 2122596"/>
                <a:gd name="connsiteY3" fmla="*/ 0 h 257442"/>
                <a:gd name="connsiteX0" fmla="*/ 2122597 w 2122597"/>
                <a:gd name="connsiteY0" fmla="*/ 0 h 257442"/>
                <a:gd name="connsiteX1" fmla="*/ 2067875 w 2122597"/>
                <a:gd name="connsiteY1" fmla="*/ 257442 h 257442"/>
                <a:gd name="connsiteX2" fmla="*/ 0 w 2122597"/>
                <a:gd name="connsiteY2" fmla="*/ 257442 h 257442"/>
                <a:gd name="connsiteX3" fmla="*/ 1 w 2122597"/>
                <a:gd name="connsiteY3" fmla="*/ 0 h 257442"/>
                <a:gd name="connsiteX0" fmla="*/ 2122597 w 2122597"/>
                <a:gd name="connsiteY0" fmla="*/ 0 h 257442"/>
                <a:gd name="connsiteX1" fmla="*/ 2067875 w 2122597"/>
                <a:gd name="connsiteY1" fmla="*/ 257442 h 257442"/>
                <a:gd name="connsiteX2" fmla="*/ 0 w 2122597"/>
                <a:gd name="connsiteY2" fmla="*/ 257442 h 257442"/>
                <a:gd name="connsiteX3" fmla="*/ 1 w 2122597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2597" h="257442">
                  <a:moveTo>
                    <a:pt x="2122597" y="0"/>
                  </a:moveTo>
                  <a:lnTo>
                    <a:pt x="2067875" y="257442"/>
                  </a:lnTo>
                  <a:lnTo>
                    <a:pt x="0" y="257442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btfpRunningAgenda2LevelTextLeft403778">
              <a:extLst>
                <a:ext uri="{FF2B5EF4-FFF2-40B4-BE49-F238E27FC236}">
                  <a16:creationId xmlns:a16="http://schemas.microsoft.com/office/drawing/2014/main" id="{6731D8F7-E1E3-44D3-BAD9-34B29E4C60EA}"/>
                </a:ext>
              </a:extLst>
            </p:cNvPr>
            <p:cNvSpPr txBox="1"/>
            <p:nvPr/>
          </p:nvSpPr>
          <p:spPr bwMode="gray">
            <a:xfrm>
              <a:off x="0" y="876300"/>
              <a:ext cx="2067875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dvocacy</a:t>
              </a:r>
            </a:p>
          </p:txBody>
        </p:sp>
        <p:sp>
          <p:nvSpPr>
            <p:cNvPr id="41" name="btfpRunningAgenda2LevelBarRight403778">
              <a:extLst>
                <a:ext uri="{FF2B5EF4-FFF2-40B4-BE49-F238E27FC236}">
                  <a16:creationId xmlns:a16="http://schemas.microsoft.com/office/drawing/2014/main" id="{4477CE6F-3D04-4420-8EAE-D59299C4A572}"/>
                </a:ext>
              </a:extLst>
            </p:cNvPr>
            <p:cNvSpPr/>
            <p:nvPr/>
          </p:nvSpPr>
          <p:spPr bwMode="gray">
            <a:xfrm>
              <a:off x="1987754" y="876300"/>
              <a:ext cx="1271402" cy="257442"/>
            </a:xfrm>
            <a:custGeom>
              <a:avLst/>
              <a:gdLst>
                <a:gd name="connsiteX0" fmla="*/ 95080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50801 w 2313135"/>
                <a:gd name="connsiteY0" fmla="*/ 0 h 257442"/>
                <a:gd name="connsiteX1" fmla="*/ 89608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1 w 950800"/>
                <a:gd name="connsiteY3" fmla="*/ 0 h 257442"/>
                <a:gd name="connsiteX0" fmla="*/ 1111100 w 1111100"/>
                <a:gd name="connsiteY0" fmla="*/ 0 h 257442"/>
                <a:gd name="connsiteX1" fmla="*/ 896079 w 1111100"/>
                <a:gd name="connsiteY1" fmla="*/ 257442 h 257442"/>
                <a:gd name="connsiteX2" fmla="*/ 0 w 1111100"/>
                <a:gd name="connsiteY2" fmla="*/ 257442 h 257442"/>
                <a:gd name="connsiteX3" fmla="*/ 54721 w 1111100"/>
                <a:gd name="connsiteY3" fmla="*/ 0 h 257442"/>
                <a:gd name="connsiteX0" fmla="*/ 1111100 w 1111100"/>
                <a:gd name="connsiteY0" fmla="*/ 0 h 257442"/>
                <a:gd name="connsiteX1" fmla="*/ 1056379 w 1111100"/>
                <a:gd name="connsiteY1" fmla="*/ 257442 h 257442"/>
                <a:gd name="connsiteX2" fmla="*/ 0 w 1111100"/>
                <a:gd name="connsiteY2" fmla="*/ 257442 h 257442"/>
                <a:gd name="connsiteX3" fmla="*/ 54721 w 1111100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2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2 w 1111101"/>
                <a:gd name="connsiteY3" fmla="*/ 0 h 257442"/>
                <a:gd name="connsiteX0" fmla="*/ 1271403 w 1271403"/>
                <a:gd name="connsiteY0" fmla="*/ 0 h 257442"/>
                <a:gd name="connsiteX1" fmla="*/ 1056380 w 1271403"/>
                <a:gd name="connsiteY1" fmla="*/ 257442 h 257442"/>
                <a:gd name="connsiteX2" fmla="*/ 0 w 1271403"/>
                <a:gd name="connsiteY2" fmla="*/ 257442 h 257442"/>
                <a:gd name="connsiteX3" fmla="*/ 54722 w 1271403"/>
                <a:gd name="connsiteY3" fmla="*/ 0 h 257442"/>
                <a:gd name="connsiteX0" fmla="*/ 1271403 w 1271403"/>
                <a:gd name="connsiteY0" fmla="*/ 0 h 257442"/>
                <a:gd name="connsiteX1" fmla="*/ 1216682 w 1271403"/>
                <a:gd name="connsiteY1" fmla="*/ 257442 h 257442"/>
                <a:gd name="connsiteX2" fmla="*/ 0 w 1271403"/>
                <a:gd name="connsiteY2" fmla="*/ 257442 h 257442"/>
                <a:gd name="connsiteX3" fmla="*/ 54722 w 1271403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0 w 1271402"/>
                <a:gd name="connsiteY3" fmla="*/ 0 h 257442"/>
                <a:gd name="connsiteX0" fmla="*/ 1592001 w 1592001"/>
                <a:gd name="connsiteY0" fmla="*/ 0 h 257442"/>
                <a:gd name="connsiteX1" fmla="*/ 1216681 w 1592001"/>
                <a:gd name="connsiteY1" fmla="*/ 257442 h 257442"/>
                <a:gd name="connsiteX2" fmla="*/ 0 w 1592001"/>
                <a:gd name="connsiteY2" fmla="*/ 257442 h 257442"/>
                <a:gd name="connsiteX3" fmla="*/ 54720 w 1592001"/>
                <a:gd name="connsiteY3" fmla="*/ 0 h 257442"/>
                <a:gd name="connsiteX0" fmla="*/ 1592001 w 1592001"/>
                <a:gd name="connsiteY0" fmla="*/ 0 h 257442"/>
                <a:gd name="connsiteX1" fmla="*/ 1537280 w 1592001"/>
                <a:gd name="connsiteY1" fmla="*/ 257442 h 257442"/>
                <a:gd name="connsiteX2" fmla="*/ 0 w 1592001"/>
                <a:gd name="connsiteY2" fmla="*/ 257442 h 257442"/>
                <a:gd name="connsiteX3" fmla="*/ 54720 w 1592001"/>
                <a:gd name="connsiteY3" fmla="*/ 0 h 257442"/>
                <a:gd name="connsiteX0" fmla="*/ 1592002 w 1592002"/>
                <a:gd name="connsiteY0" fmla="*/ 0 h 257442"/>
                <a:gd name="connsiteX1" fmla="*/ 1537281 w 1592002"/>
                <a:gd name="connsiteY1" fmla="*/ 257442 h 257442"/>
                <a:gd name="connsiteX2" fmla="*/ 0 w 1592002"/>
                <a:gd name="connsiteY2" fmla="*/ 257442 h 257442"/>
                <a:gd name="connsiteX3" fmla="*/ 54721 w 1592002"/>
                <a:gd name="connsiteY3" fmla="*/ 0 h 257442"/>
                <a:gd name="connsiteX0" fmla="*/ 1592002 w 1592002"/>
                <a:gd name="connsiteY0" fmla="*/ 0 h 257442"/>
                <a:gd name="connsiteX1" fmla="*/ 1537281 w 1592002"/>
                <a:gd name="connsiteY1" fmla="*/ 257442 h 257442"/>
                <a:gd name="connsiteX2" fmla="*/ 0 w 1592002"/>
                <a:gd name="connsiteY2" fmla="*/ 257442 h 257442"/>
                <a:gd name="connsiteX3" fmla="*/ 54721 w 1592002"/>
                <a:gd name="connsiteY3" fmla="*/ 0 h 257442"/>
                <a:gd name="connsiteX0" fmla="*/ 1752303 w 1752303"/>
                <a:gd name="connsiteY0" fmla="*/ 0 h 257442"/>
                <a:gd name="connsiteX1" fmla="*/ 1537281 w 1752303"/>
                <a:gd name="connsiteY1" fmla="*/ 257442 h 257442"/>
                <a:gd name="connsiteX2" fmla="*/ 0 w 1752303"/>
                <a:gd name="connsiteY2" fmla="*/ 257442 h 257442"/>
                <a:gd name="connsiteX3" fmla="*/ 54721 w 1752303"/>
                <a:gd name="connsiteY3" fmla="*/ 0 h 257442"/>
                <a:gd name="connsiteX0" fmla="*/ 1752303 w 1752303"/>
                <a:gd name="connsiteY0" fmla="*/ 0 h 257442"/>
                <a:gd name="connsiteX1" fmla="*/ 1697582 w 1752303"/>
                <a:gd name="connsiteY1" fmla="*/ 257442 h 257442"/>
                <a:gd name="connsiteX2" fmla="*/ 0 w 1752303"/>
                <a:gd name="connsiteY2" fmla="*/ 257442 h 257442"/>
                <a:gd name="connsiteX3" fmla="*/ 54721 w 1752303"/>
                <a:gd name="connsiteY3" fmla="*/ 0 h 257442"/>
                <a:gd name="connsiteX0" fmla="*/ 1752303 w 1752303"/>
                <a:gd name="connsiteY0" fmla="*/ 0 h 257442"/>
                <a:gd name="connsiteX1" fmla="*/ 1697582 w 1752303"/>
                <a:gd name="connsiteY1" fmla="*/ 257442 h 257442"/>
                <a:gd name="connsiteX2" fmla="*/ 0 w 1752303"/>
                <a:gd name="connsiteY2" fmla="*/ 257442 h 257442"/>
                <a:gd name="connsiteX3" fmla="*/ 54721 w 1752303"/>
                <a:gd name="connsiteY3" fmla="*/ 0 h 257442"/>
                <a:gd name="connsiteX0" fmla="*/ 1752303 w 1752303"/>
                <a:gd name="connsiteY0" fmla="*/ 0 h 257442"/>
                <a:gd name="connsiteX1" fmla="*/ 1697582 w 1752303"/>
                <a:gd name="connsiteY1" fmla="*/ 257442 h 257442"/>
                <a:gd name="connsiteX2" fmla="*/ 0 w 1752303"/>
                <a:gd name="connsiteY2" fmla="*/ 257442 h 257442"/>
                <a:gd name="connsiteX3" fmla="*/ 54721 w 1752303"/>
                <a:gd name="connsiteY3" fmla="*/ 0 h 257442"/>
                <a:gd name="connsiteX0" fmla="*/ 2005577 w 2005577"/>
                <a:gd name="connsiteY0" fmla="*/ 0 h 257442"/>
                <a:gd name="connsiteX1" fmla="*/ 1697582 w 2005577"/>
                <a:gd name="connsiteY1" fmla="*/ 257442 h 257442"/>
                <a:gd name="connsiteX2" fmla="*/ 0 w 2005577"/>
                <a:gd name="connsiteY2" fmla="*/ 257442 h 257442"/>
                <a:gd name="connsiteX3" fmla="*/ 54721 w 2005577"/>
                <a:gd name="connsiteY3" fmla="*/ 0 h 257442"/>
                <a:gd name="connsiteX0" fmla="*/ 2005577 w 2005577"/>
                <a:gd name="connsiteY0" fmla="*/ 0 h 257442"/>
                <a:gd name="connsiteX1" fmla="*/ 1950856 w 2005577"/>
                <a:gd name="connsiteY1" fmla="*/ 257442 h 257442"/>
                <a:gd name="connsiteX2" fmla="*/ 0 w 2005577"/>
                <a:gd name="connsiteY2" fmla="*/ 257442 h 257442"/>
                <a:gd name="connsiteX3" fmla="*/ 54721 w 2005577"/>
                <a:gd name="connsiteY3" fmla="*/ 0 h 257442"/>
                <a:gd name="connsiteX0" fmla="*/ 2005577 w 2005577"/>
                <a:gd name="connsiteY0" fmla="*/ 0 h 257442"/>
                <a:gd name="connsiteX1" fmla="*/ 1950856 w 2005577"/>
                <a:gd name="connsiteY1" fmla="*/ 257442 h 257442"/>
                <a:gd name="connsiteX2" fmla="*/ 0 w 2005577"/>
                <a:gd name="connsiteY2" fmla="*/ 257442 h 257442"/>
                <a:gd name="connsiteX3" fmla="*/ 54721 w 2005577"/>
                <a:gd name="connsiteY3" fmla="*/ 0 h 257442"/>
                <a:gd name="connsiteX0" fmla="*/ 2005577 w 2005577"/>
                <a:gd name="connsiteY0" fmla="*/ 0 h 257442"/>
                <a:gd name="connsiteX1" fmla="*/ 1950856 w 2005577"/>
                <a:gd name="connsiteY1" fmla="*/ 257442 h 257442"/>
                <a:gd name="connsiteX2" fmla="*/ 0 w 2005577"/>
                <a:gd name="connsiteY2" fmla="*/ 257442 h 257442"/>
                <a:gd name="connsiteX3" fmla="*/ 54721 w 2005577"/>
                <a:gd name="connsiteY3" fmla="*/ 0 h 257442"/>
                <a:gd name="connsiteX0" fmla="*/ 2173892 w 2173892"/>
                <a:gd name="connsiteY0" fmla="*/ 0 h 257442"/>
                <a:gd name="connsiteX1" fmla="*/ 1950856 w 2173892"/>
                <a:gd name="connsiteY1" fmla="*/ 257442 h 257442"/>
                <a:gd name="connsiteX2" fmla="*/ 0 w 2173892"/>
                <a:gd name="connsiteY2" fmla="*/ 257442 h 257442"/>
                <a:gd name="connsiteX3" fmla="*/ 54721 w 2173892"/>
                <a:gd name="connsiteY3" fmla="*/ 0 h 257442"/>
                <a:gd name="connsiteX0" fmla="*/ 2173892 w 2173892"/>
                <a:gd name="connsiteY0" fmla="*/ 0 h 257442"/>
                <a:gd name="connsiteX1" fmla="*/ 2119170 w 2173892"/>
                <a:gd name="connsiteY1" fmla="*/ 257442 h 257442"/>
                <a:gd name="connsiteX2" fmla="*/ 0 w 2173892"/>
                <a:gd name="connsiteY2" fmla="*/ 257442 h 257442"/>
                <a:gd name="connsiteX3" fmla="*/ 54721 w 2173892"/>
                <a:gd name="connsiteY3" fmla="*/ 0 h 257442"/>
                <a:gd name="connsiteX0" fmla="*/ 2173893 w 2173893"/>
                <a:gd name="connsiteY0" fmla="*/ 0 h 257442"/>
                <a:gd name="connsiteX1" fmla="*/ 2119171 w 2173893"/>
                <a:gd name="connsiteY1" fmla="*/ 257442 h 257442"/>
                <a:gd name="connsiteX2" fmla="*/ 0 w 2173893"/>
                <a:gd name="connsiteY2" fmla="*/ 257442 h 257442"/>
                <a:gd name="connsiteX3" fmla="*/ 54722 w 2173893"/>
                <a:gd name="connsiteY3" fmla="*/ 0 h 257442"/>
                <a:gd name="connsiteX0" fmla="*/ 2173893 w 2173893"/>
                <a:gd name="connsiteY0" fmla="*/ 0 h 257442"/>
                <a:gd name="connsiteX1" fmla="*/ 2119171 w 2173893"/>
                <a:gd name="connsiteY1" fmla="*/ 257442 h 257442"/>
                <a:gd name="connsiteX2" fmla="*/ 0 w 2173893"/>
                <a:gd name="connsiteY2" fmla="*/ 257442 h 257442"/>
                <a:gd name="connsiteX3" fmla="*/ 54722 w 2173893"/>
                <a:gd name="connsiteY3" fmla="*/ 0 h 257442"/>
                <a:gd name="connsiteX0" fmla="*/ 2435183 w 2435183"/>
                <a:gd name="connsiteY0" fmla="*/ 0 h 257442"/>
                <a:gd name="connsiteX1" fmla="*/ 2119171 w 2435183"/>
                <a:gd name="connsiteY1" fmla="*/ 257442 h 257442"/>
                <a:gd name="connsiteX2" fmla="*/ 0 w 2435183"/>
                <a:gd name="connsiteY2" fmla="*/ 257442 h 257442"/>
                <a:gd name="connsiteX3" fmla="*/ 54722 w 2435183"/>
                <a:gd name="connsiteY3" fmla="*/ 0 h 257442"/>
                <a:gd name="connsiteX0" fmla="*/ 2435183 w 2435183"/>
                <a:gd name="connsiteY0" fmla="*/ 0 h 257442"/>
                <a:gd name="connsiteX1" fmla="*/ 2380462 w 2435183"/>
                <a:gd name="connsiteY1" fmla="*/ 257442 h 257442"/>
                <a:gd name="connsiteX2" fmla="*/ 0 w 2435183"/>
                <a:gd name="connsiteY2" fmla="*/ 257442 h 257442"/>
                <a:gd name="connsiteX3" fmla="*/ 54722 w 2435183"/>
                <a:gd name="connsiteY3" fmla="*/ 0 h 257442"/>
                <a:gd name="connsiteX0" fmla="*/ 2435182 w 2435182"/>
                <a:gd name="connsiteY0" fmla="*/ 0 h 257442"/>
                <a:gd name="connsiteX1" fmla="*/ 2380461 w 2435182"/>
                <a:gd name="connsiteY1" fmla="*/ 257442 h 257442"/>
                <a:gd name="connsiteX2" fmla="*/ 0 w 2435182"/>
                <a:gd name="connsiteY2" fmla="*/ 257442 h 257442"/>
                <a:gd name="connsiteX3" fmla="*/ 54721 w 2435182"/>
                <a:gd name="connsiteY3" fmla="*/ 0 h 257442"/>
                <a:gd name="connsiteX0" fmla="*/ 2435182 w 2435182"/>
                <a:gd name="connsiteY0" fmla="*/ 0 h 257442"/>
                <a:gd name="connsiteX1" fmla="*/ 2380461 w 2435182"/>
                <a:gd name="connsiteY1" fmla="*/ 257442 h 257442"/>
                <a:gd name="connsiteX2" fmla="*/ 0 w 2435182"/>
                <a:gd name="connsiteY2" fmla="*/ 257442 h 257442"/>
                <a:gd name="connsiteX3" fmla="*/ 54720 w 2435182"/>
                <a:gd name="connsiteY3" fmla="*/ 0 h 257442"/>
                <a:gd name="connsiteX0" fmla="*/ 2603496 w 2603496"/>
                <a:gd name="connsiteY0" fmla="*/ 0 h 257442"/>
                <a:gd name="connsiteX1" fmla="*/ 2380461 w 2603496"/>
                <a:gd name="connsiteY1" fmla="*/ 257442 h 257442"/>
                <a:gd name="connsiteX2" fmla="*/ 0 w 2603496"/>
                <a:gd name="connsiteY2" fmla="*/ 257442 h 257442"/>
                <a:gd name="connsiteX3" fmla="*/ 54720 w 2603496"/>
                <a:gd name="connsiteY3" fmla="*/ 0 h 257442"/>
                <a:gd name="connsiteX0" fmla="*/ 2603496 w 2603496"/>
                <a:gd name="connsiteY0" fmla="*/ 0 h 257442"/>
                <a:gd name="connsiteX1" fmla="*/ 2548775 w 2603496"/>
                <a:gd name="connsiteY1" fmla="*/ 257442 h 257442"/>
                <a:gd name="connsiteX2" fmla="*/ 0 w 2603496"/>
                <a:gd name="connsiteY2" fmla="*/ 257442 h 257442"/>
                <a:gd name="connsiteX3" fmla="*/ 54720 w 2603496"/>
                <a:gd name="connsiteY3" fmla="*/ 0 h 257442"/>
                <a:gd name="connsiteX0" fmla="*/ 2603497 w 2603497"/>
                <a:gd name="connsiteY0" fmla="*/ 0 h 257442"/>
                <a:gd name="connsiteX1" fmla="*/ 2548776 w 2603497"/>
                <a:gd name="connsiteY1" fmla="*/ 257442 h 257442"/>
                <a:gd name="connsiteX2" fmla="*/ 0 w 2603497"/>
                <a:gd name="connsiteY2" fmla="*/ 257442 h 257442"/>
                <a:gd name="connsiteX3" fmla="*/ 54721 w 2603497"/>
                <a:gd name="connsiteY3" fmla="*/ 0 h 257442"/>
                <a:gd name="connsiteX0" fmla="*/ 2603497 w 2603497"/>
                <a:gd name="connsiteY0" fmla="*/ 0 h 257442"/>
                <a:gd name="connsiteX1" fmla="*/ 2548776 w 2603497"/>
                <a:gd name="connsiteY1" fmla="*/ 257442 h 257442"/>
                <a:gd name="connsiteX2" fmla="*/ 0 w 2603497"/>
                <a:gd name="connsiteY2" fmla="*/ 257442 h 257442"/>
                <a:gd name="connsiteX3" fmla="*/ 54722 w 2603497"/>
                <a:gd name="connsiteY3" fmla="*/ 0 h 257442"/>
                <a:gd name="connsiteX0" fmla="*/ 2771813 w 2771813"/>
                <a:gd name="connsiteY0" fmla="*/ 0 h 257442"/>
                <a:gd name="connsiteX1" fmla="*/ 2548776 w 2771813"/>
                <a:gd name="connsiteY1" fmla="*/ 257442 h 257442"/>
                <a:gd name="connsiteX2" fmla="*/ 0 w 2771813"/>
                <a:gd name="connsiteY2" fmla="*/ 257442 h 257442"/>
                <a:gd name="connsiteX3" fmla="*/ 54722 w 2771813"/>
                <a:gd name="connsiteY3" fmla="*/ 0 h 257442"/>
                <a:gd name="connsiteX0" fmla="*/ 2771813 w 2771813"/>
                <a:gd name="connsiteY0" fmla="*/ 0 h 257442"/>
                <a:gd name="connsiteX1" fmla="*/ 2717092 w 2771813"/>
                <a:gd name="connsiteY1" fmla="*/ 257442 h 257442"/>
                <a:gd name="connsiteX2" fmla="*/ 0 w 2771813"/>
                <a:gd name="connsiteY2" fmla="*/ 257442 h 257442"/>
                <a:gd name="connsiteX3" fmla="*/ 54722 w 2771813"/>
                <a:gd name="connsiteY3" fmla="*/ 0 h 257442"/>
                <a:gd name="connsiteX0" fmla="*/ 2771812 w 2771812"/>
                <a:gd name="connsiteY0" fmla="*/ 0 h 257442"/>
                <a:gd name="connsiteX1" fmla="*/ 2717091 w 2771812"/>
                <a:gd name="connsiteY1" fmla="*/ 257442 h 257442"/>
                <a:gd name="connsiteX2" fmla="*/ 0 w 2771812"/>
                <a:gd name="connsiteY2" fmla="*/ 257442 h 257442"/>
                <a:gd name="connsiteX3" fmla="*/ 54721 w 2771812"/>
                <a:gd name="connsiteY3" fmla="*/ 0 h 257442"/>
                <a:gd name="connsiteX0" fmla="*/ 2771812 w 2771812"/>
                <a:gd name="connsiteY0" fmla="*/ 0 h 257442"/>
                <a:gd name="connsiteX1" fmla="*/ 2717091 w 2771812"/>
                <a:gd name="connsiteY1" fmla="*/ 257442 h 257442"/>
                <a:gd name="connsiteX2" fmla="*/ 0 w 2771812"/>
                <a:gd name="connsiteY2" fmla="*/ 257442 h 257442"/>
                <a:gd name="connsiteX3" fmla="*/ 54720 w 2771812"/>
                <a:gd name="connsiteY3" fmla="*/ 0 h 257442"/>
                <a:gd name="connsiteX0" fmla="*/ 2949744 w 2949744"/>
                <a:gd name="connsiteY0" fmla="*/ 0 h 257442"/>
                <a:gd name="connsiteX1" fmla="*/ 2717091 w 2949744"/>
                <a:gd name="connsiteY1" fmla="*/ 257442 h 257442"/>
                <a:gd name="connsiteX2" fmla="*/ 0 w 2949744"/>
                <a:gd name="connsiteY2" fmla="*/ 257442 h 257442"/>
                <a:gd name="connsiteX3" fmla="*/ 54720 w 2949744"/>
                <a:gd name="connsiteY3" fmla="*/ 0 h 257442"/>
                <a:gd name="connsiteX0" fmla="*/ 2949744 w 2949744"/>
                <a:gd name="connsiteY0" fmla="*/ 0 h 257442"/>
                <a:gd name="connsiteX1" fmla="*/ 2895023 w 2949744"/>
                <a:gd name="connsiteY1" fmla="*/ 257442 h 257442"/>
                <a:gd name="connsiteX2" fmla="*/ 0 w 2949744"/>
                <a:gd name="connsiteY2" fmla="*/ 257442 h 257442"/>
                <a:gd name="connsiteX3" fmla="*/ 54720 w 2949744"/>
                <a:gd name="connsiteY3" fmla="*/ 0 h 257442"/>
                <a:gd name="connsiteX0" fmla="*/ 2949745 w 2949745"/>
                <a:gd name="connsiteY0" fmla="*/ 0 h 257442"/>
                <a:gd name="connsiteX1" fmla="*/ 2895024 w 2949745"/>
                <a:gd name="connsiteY1" fmla="*/ 257442 h 257442"/>
                <a:gd name="connsiteX2" fmla="*/ 0 w 2949745"/>
                <a:gd name="connsiteY2" fmla="*/ 257442 h 257442"/>
                <a:gd name="connsiteX3" fmla="*/ 54721 w 2949745"/>
                <a:gd name="connsiteY3" fmla="*/ 0 h 257442"/>
                <a:gd name="connsiteX0" fmla="*/ 2949745 w 2949745"/>
                <a:gd name="connsiteY0" fmla="*/ 0 h 257442"/>
                <a:gd name="connsiteX1" fmla="*/ 2895024 w 2949745"/>
                <a:gd name="connsiteY1" fmla="*/ 257442 h 257442"/>
                <a:gd name="connsiteX2" fmla="*/ 0 w 2949745"/>
                <a:gd name="connsiteY2" fmla="*/ 257442 h 257442"/>
                <a:gd name="connsiteX3" fmla="*/ 54722 w 2949745"/>
                <a:gd name="connsiteY3" fmla="*/ 0 h 257442"/>
                <a:gd name="connsiteX0" fmla="*/ 3110047 w 3110047"/>
                <a:gd name="connsiteY0" fmla="*/ 0 h 257442"/>
                <a:gd name="connsiteX1" fmla="*/ 2895024 w 3110047"/>
                <a:gd name="connsiteY1" fmla="*/ 257442 h 257442"/>
                <a:gd name="connsiteX2" fmla="*/ 0 w 3110047"/>
                <a:gd name="connsiteY2" fmla="*/ 257442 h 257442"/>
                <a:gd name="connsiteX3" fmla="*/ 54722 w 3110047"/>
                <a:gd name="connsiteY3" fmla="*/ 0 h 257442"/>
                <a:gd name="connsiteX0" fmla="*/ 3110047 w 3110047"/>
                <a:gd name="connsiteY0" fmla="*/ 0 h 257442"/>
                <a:gd name="connsiteX1" fmla="*/ 3055326 w 3110047"/>
                <a:gd name="connsiteY1" fmla="*/ 257442 h 257442"/>
                <a:gd name="connsiteX2" fmla="*/ 0 w 3110047"/>
                <a:gd name="connsiteY2" fmla="*/ 257442 h 257442"/>
                <a:gd name="connsiteX3" fmla="*/ 54722 w 3110047"/>
                <a:gd name="connsiteY3" fmla="*/ 0 h 257442"/>
                <a:gd name="connsiteX0" fmla="*/ 3110046 w 3110046"/>
                <a:gd name="connsiteY0" fmla="*/ 0 h 257442"/>
                <a:gd name="connsiteX1" fmla="*/ 3055325 w 3110046"/>
                <a:gd name="connsiteY1" fmla="*/ 257442 h 257442"/>
                <a:gd name="connsiteX2" fmla="*/ 0 w 3110046"/>
                <a:gd name="connsiteY2" fmla="*/ 257442 h 257442"/>
                <a:gd name="connsiteX3" fmla="*/ 54721 w 3110046"/>
                <a:gd name="connsiteY3" fmla="*/ 0 h 257442"/>
                <a:gd name="connsiteX0" fmla="*/ 3110046 w 3110046"/>
                <a:gd name="connsiteY0" fmla="*/ 0 h 257442"/>
                <a:gd name="connsiteX1" fmla="*/ 3055325 w 3110046"/>
                <a:gd name="connsiteY1" fmla="*/ 257442 h 257442"/>
                <a:gd name="connsiteX2" fmla="*/ 0 w 3110046"/>
                <a:gd name="connsiteY2" fmla="*/ 257442 h 257442"/>
                <a:gd name="connsiteX3" fmla="*/ 54720 w 3110046"/>
                <a:gd name="connsiteY3" fmla="*/ 0 h 257442"/>
                <a:gd name="connsiteX0" fmla="*/ 3278360 w 3278360"/>
                <a:gd name="connsiteY0" fmla="*/ 0 h 257442"/>
                <a:gd name="connsiteX1" fmla="*/ 3055325 w 3278360"/>
                <a:gd name="connsiteY1" fmla="*/ 257442 h 257442"/>
                <a:gd name="connsiteX2" fmla="*/ 0 w 3278360"/>
                <a:gd name="connsiteY2" fmla="*/ 257442 h 257442"/>
                <a:gd name="connsiteX3" fmla="*/ 54720 w 3278360"/>
                <a:gd name="connsiteY3" fmla="*/ 0 h 257442"/>
                <a:gd name="connsiteX0" fmla="*/ 3278360 w 3278360"/>
                <a:gd name="connsiteY0" fmla="*/ 0 h 257442"/>
                <a:gd name="connsiteX1" fmla="*/ 3223639 w 3278360"/>
                <a:gd name="connsiteY1" fmla="*/ 257442 h 257442"/>
                <a:gd name="connsiteX2" fmla="*/ 0 w 3278360"/>
                <a:gd name="connsiteY2" fmla="*/ 257442 h 257442"/>
                <a:gd name="connsiteX3" fmla="*/ 54720 w 3278360"/>
                <a:gd name="connsiteY3" fmla="*/ 0 h 257442"/>
                <a:gd name="connsiteX0" fmla="*/ 3278361 w 3278361"/>
                <a:gd name="connsiteY0" fmla="*/ 0 h 257442"/>
                <a:gd name="connsiteX1" fmla="*/ 3223640 w 3278361"/>
                <a:gd name="connsiteY1" fmla="*/ 257442 h 257442"/>
                <a:gd name="connsiteX2" fmla="*/ 0 w 3278361"/>
                <a:gd name="connsiteY2" fmla="*/ 257442 h 257442"/>
                <a:gd name="connsiteX3" fmla="*/ 54721 w 3278361"/>
                <a:gd name="connsiteY3" fmla="*/ 0 h 257442"/>
                <a:gd name="connsiteX0" fmla="*/ 3278361 w 3278361"/>
                <a:gd name="connsiteY0" fmla="*/ 0 h 257442"/>
                <a:gd name="connsiteX1" fmla="*/ 3223640 w 3278361"/>
                <a:gd name="connsiteY1" fmla="*/ 257442 h 257442"/>
                <a:gd name="connsiteX2" fmla="*/ 0 w 3278361"/>
                <a:gd name="connsiteY2" fmla="*/ 257442 h 257442"/>
                <a:gd name="connsiteX3" fmla="*/ 54722 w 3278361"/>
                <a:gd name="connsiteY3" fmla="*/ 0 h 257442"/>
                <a:gd name="connsiteX0" fmla="*/ 2460831 w 3223640"/>
                <a:gd name="connsiteY0" fmla="*/ 0 h 257442"/>
                <a:gd name="connsiteX1" fmla="*/ 3223640 w 3223640"/>
                <a:gd name="connsiteY1" fmla="*/ 257442 h 257442"/>
                <a:gd name="connsiteX2" fmla="*/ 0 w 3223640"/>
                <a:gd name="connsiteY2" fmla="*/ 257442 h 257442"/>
                <a:gd name="connsiteX3" fmla="*/ 54722 w 3223640"/>
                <a:gd name="connsiteY3" fmla="*/ 0 h 257442"/>
                <a:gd name="connsiteX0" fmla="*/ 2460831 w 2460831"/>
                <a:gd name="connsiteY0" fmla="*/ 0 h 257442"/>
                <a:gd name="connsiteX1" fmla="*/ 2406110 w 2460831"/>
                <a:gd name="connsiteY1" fmla="*/ 257442 h 257442"/>
                <a:gd name="connsiteX2" fmla="*/ 0 w 2460831"/>
                <a:gd name="connsiteY2" fmla="*/ 257442 h 257442"/>
                <a:gd name="connsiteX3" fmla="*/ 54722 w 2460831"/>
                <a:gd name="connsiteY3" fmla="*/ 0 h 257442"/>
                <a:gd name="connsiteX0" fmla="*/ 2460829 w 2460829"/>
                <a:gd name="connsiteY0" fmla="*/ 0 h 257442"/>
                <a:gd name="connsiteX1" fmla="*/ 2406108 w 2460829"/>
                <a:gd name="connsiteY1" fmla="*/ 257442 h 257442"/>
                <a:gd name="connsiteX2" fmla="*/ 0 w 2460829"/>
                <a:gd name="connsiteY2" fmla="*/ 257442 h 257442"/>
                <a:gd name="connsiteX3" fmla="*/ 54720 w 2460829"/>
                <a:gd name="connsiteY3" fmla="*/ 0 h 257442"/>
                <a:gd name="connsiteX0" fmla="*/ 2460829 w 2460829"/>
                <a:gd name="connsiteY0" fmla="*/ 0 h 257442"/>
                <a:gd name="connsiteX1" fmla="*/ 2406108 w 2460829"/>
                <a:gd name="connsiteY1" fmla="*/ 257442 h 257442"/>
                <a:gd name="connsiteX2" fmla="*/ 0 w 2460829"/>
                <a:gd name="connsiteY2" fmla="*/ 257442 h 257442"/>
                <a:gd name="connsiteX3" fmla="*/ 54721 w 2460829"/>
                <a:gd name="connsiteY3" fmla="*/ 0 h 257442"/>
                <a:gd name="connsiteX0" fmla="*/ 2621130 w 2621130"/>
                <a:gd name="connsiteY0" fmla="*/ 0 h 257442"/>
                <a:gd name="connsiteX1" fmla="*/ 2406108 w 2621130"/>
                <a:gd name="connsiteY1" fmla="*/ 257442 h 257442"/>
                <a:gd name="connsiteX2" fmla="*/ 0 w 2621130"/>
                <a:gd name="connsiteY2" fmla="*/ 257442 h 257442"/>
                <a:gd name="connsiteX3" fmla="*/ 54721 w 2621130"/>
                <a:gd name="connsiteY3" fmla="*/ 0 h 257442"/>
                <a:gd name="connsiteX0" fmla="*/ 2621130 w 2621130"/>
                <a:gd name="connsiteY0" fmla="*/ 0 h 257442"/>
                <a:gd name="connsiteX1" fmla="*/ 2566408 w 2621130"/>
                <a:gd name="connsiteY1" fmla="*/ 257442 h 257442"/>
                <a:gd name="connsiteX2" fmla="*/ 0 w 2621130"/>
                <a:gd name="connsiteY2" fmla="*/ 257442 h 257442"/>
                <a:gd name="connsiteX3" fmla="*/ 54721 w 2621130"/>
                <a:gd name="connsiteY3" fmla="*/ 0 h 257442"/>
                <a:gd name="connsiteX0" fmla="*/ 2621131 w 2621131"/>
                <a:gd name="connsiteY0" fmla="*/ 0 h 257442"/>
                <a:gd name="connsiteX1" fmla="*/ 2566409 w 2621131"/>
                <a:gd name="connsiteY1" fmla="*/ 257442 h 257442"/>
                <a:gd name="connsiteX2" fmla="*/ 0 w 2621131"/>
                <a:gd name="connsiteY2" fmla="*/ 257442 h 257442"/>
                <a:gd name="connsiteX3" fmla="*/ 54722 w 2621131"/>
                <a:gd name="connsiteY3" fmla="*/ 0 h 257442"/>
                <a:gd name="connsiteX0" fmla="*/ 2621131 w 2621131"/>
                <a:gd name="connsiteY0" fmla="*/ 0 h 257442"/>
                <a:gd name="connsiteX1" fmla="*/ 2566409 w 2621131"/>
                <a:gd name="connsiteY1" fmla="*/ 257442 h 257442"/>
                <a:gd name="connsiteX2" fmla="*/ 0 w 2621131"/>
                <a:gd name="connsiteY2" fmla="*/ 257442 h 257442"/>
                <a:gd name="connsiteX3" fmla="*/ 54722 w 2621131"/>
                <a:gd name="connsiteY3" fmla="*/ 0 h 257442"/>
                <a:gd name="connsiteX0" fmla="*/ 2789446 w 2789446"/>
                <a:gd name="connsiteY0" fmla="*/ 0 h 257442"/>
                <a:gd name="connsiteX1" fmla="*/ 2566409 w 2789446"/>
                <a:gd name="connsiteY1" fmla="*/ 257442 h 257442"/>
                <a:gd name="connsiteX2" fmla="*/ 0 w 2789446"/>
                <a:gd name="connsiteY2" fmla="*/ 257442 h 257442"/>
                <a:gd name="connsiteX3" fmla="*/ 54722 w 2789446"/>
                <a:gd name="connsiteY3" fmla="*/ 0 h 257442"/>
                <a:gd name="connsiteX0" fmla="*/ 2789446 w 2789446"/>
                <a:gd name="connsiteY0" fmla="*/ 0 h 257442"/>
                <a:gd name="connsiteX1" fmla="*/ 2734724 w 2789446"/>
                <a:gd name="connsiteY1" fmla="*/ 257442 h 257442"/>
                <a:gd name="connsiteX2" fmla="*/ 0 w 2789446"/>
                <a:gd name="connsiteY2" fmla="*/ 257442 h 257442"/>
                <a:gd name="connsiteX3" fmla="*/ 54722 w 2789446"/>
                <a:gd name="connsiteY3" fmla="*/ 0 h 257442"/>
                <a:gd name="connsiteX0" fmla="*/ 2789446 w 2789446"/>
                <a:gd name="connsiteY0" fmla="*/ 0 h 257442"/>
                <a:gd name="connsiteX1" fmla="*/ 2734724 w 2789446"/>
                <a:gd name="connsiteY1" fmla="*/ 257442 h 257442"/>
                <a:gd name="connsiteX2" fmla="*/ 0 w 2789446"/>
                <a:gd name="connsiteY2" fmla="*/ 257442 h 257442"/>
                <a:gd name="connsiteX3" fmla="*/ 54722 w 2789446"/>
                <a:gd name="connsiteY3" fmla="*/ 0 h 257442"/>
                <a:gd name="connsiteX0" fmla="*/ 2789446 w 2789446"/>
                <a:gd name="connsiteY0" fmla="*/ 0 h 257442"/>
                <a:gd name="connsiteX1" fmla="*/ 2734724 w 2789446"/>
                <a:gd name="connsiteY1" fmla="*/ 257442 h 257442"/>
                <a:gd name="connsiteX2" fmla="*/ 0 w 2789446"/>
                <a:gd name="connsiteY2" fmla="*/ 257442 h 257442"/>
                <a:gd name="connsiteX3" fmla="*/ 54721 w 2789446"/>
                <a:gd name="connsiteY3" fmla="*/ 0 h 257442"/>
                <a:gd name="connsiteX0" fmla="*/ 3058750 w 3058750"/>
                <a:gd name="connsiteY0" fmla="*/ 0 h 257442"/>
                <a:gd name="connsiteX1" fmla="*/ 2734724 w 3058750"/>
                <a:gd name="connsiteY1" fmla="*/ 257442 h 257442"/>
                <a:gd name="connsiteX2" fmla="*/ 0 w 3058750"/>
                <a:gd name="connsiteY2" fmla="*/ 257442 h 257442"/>
                <a:gd name="connsiteX3" fmla="*/ 54721 w 3058750"/>
                <a:gd name="connsiteY3" fmla="*/ 0 h 257442"/>
                <a:gd name="connsiteX0" fmla="*/ 3058750 w 3058750"/>
                <a:gd name="connsiteY0" fmla="*/ 0 h 257442"/>
                <a:gd name="connsiteX1" fmla="*/ 3004029 w 3058750"/>
                <a:gd name="connsiteY1" fmla="*/ 257442 h 257442"/>
                <a:gd name="connsiteX2" fmla="*/ 0 w 3058750"/>
                <a:gd name="connsiteY2" fmla="*/ 257442 h 257442"/>
                <a:gd name="connsiteX3" fmla="*/ 54721 w 3058750"/>
                <a:gd name="connsiteY3" fmla="*/ 0 h 257442"/>
                <a:gd name="connsiteX0" fmla="*/ 3058750 w 3058750"/>
                <a:gd name="connsiteY0" fmla="*/ 0 h 257442"/>
                <a:gd name="connsiteX1" fmla="*/ 3004029 w 3058750"/>
                <a:gd name="connsiteY1" fmla="*/ 257442 h 257442"/>
                <a:gd name="connsiteX2" fmla="*/ 0 w 3058750"/>
                <a:gd name="connsiteY2" fmla="*/ 257442 h 257442"/>
                <a:gd name="connsiteX3" fmla="*/ 54721 w 3058750"/>
                <a:gd name="connsiteY3" fmla="*/ 0 h 257442"/>
                <a:gd name="connsiteX0" fmla="*/ 3058750 w 3058750"/>
                <a:gd name="connsiteY0" fmla="*/ 0 h 257442"/>
                <a:gd name="connsiteX1" fmla="*/ 3004029 w 3058750"/>
                <a:gd name="connsiteY1" fmla="*/ 257442 h 257442"/>
                <a:gd name="connsiteX2" fmla="*/ 0 w 3058750"/>
                <a:gd name="connsiteY2" fmla="*/ 257442 h 257442"/>
                <a:gd name="connsiteX3" fmla="*/ 54721 w 3058750"/>
                <a:gd name="connsiteY3" fmla="*/ 0 h 257442"/>
                <a:gd name="connsiteX0" fmla="*/ 3328054 w 3328054"/>
                <a:gd name="connsiteY0" fmla="*/ 0 h 257442"/>
                <a:gd name="connsiteX1" fmla="*/ 3004029 w 3328054"/>
                <a:gd name="connsiteY1" fmla="*/ 257442 h 257442"/>
                <a:gd name="connsiteX2" fmla="*/ 0 w 3328054"/>
                <a:gd name="connsiteY2" fmla="*/ 257442 h 257442"/>
                <a:gd name="connsiteX3" fmla="*/ 54721 w 3328054"/>
                <a:gd name="connsiteY3" fmla="*/ 0 h 257442"/>
                <a:gd name="connsiteX0" fmla="*/ 3328054 w 3328054"/>
                <a:gd name="connsiteY0" fmla="*/ 0 h 257442"/>
                <a:gd name="connsiteX1" fmla="*/ 3273333 w 3328054"/>
                <a:gd name="connsiteY1" fmla="*/ 257442 h 257442"/>
                <a:gd name="connsiteX2" fmla="*/ 0 w 3328054"/>
                <a:gd name="connsiteY2" fmla="*/ 257442 h 257442"/>
                <a:gd name="connsiteX3" fmla="*/ 54721 w 3328054"/>
                <a:gd name="connsiteY3" fmla="*/ 0 h 257442"/>
                <a:gd name="connsiteX0" fmla="*/ 3328054 w 3328054"/>
                <a:gd name="connsiteY0" fmla="*/ 0 h 257442"/>
                <a:gd name="connsiteX1" fmla="*/ 3273333 w 3328054"/>
                <a:gd name="connsiteY1" fmla="*/ 257442 h 257442"/>
                <a:gd name="connsiteX2" fmla="*/ 0 w 3328054"/>
                <a:gd name="connsiteY2" fmla="*/ 257442 h 257442"/>
                <a:gd name="connsiteX3" fmla="*/ 54721 w 3328054"/>
                <a:gd name="connsiteY3" fmla="*/ 0 h 257442"/>
                <a:gd name="connsiteX0" fmla="*/ 3328054 w 3328054"/>
                <a:gd name="connsiteY0" fmla="*/ 0 h 257442"/>
                <a:gd name="connsiteX1" fmla="*/ 3273333 w 3328054"/>
                <a:gd name="connsiteY1" fmla="*/ 257442 h 257442"/>
                <a:gd name="connsiteX2" fmla="*/ 0 w 3328054"/>
                <a:gd name="connsiteY2" fmla="*/ 257442 h 257442"/>
                <a:gd name="connsiteX3" fmla="*/ 54721 w 3328054"/>
                <a:gd name="connsiteY3" fmla="*/ 0 h 257442"/>
                <a:gd name="connsiteX0" fmla="*/ 3488354 w 3488354"/>
                <a:gd name="connsiteY0" fmla="*/ 0 h 257442"/>
                <a:gd name="connsiteX1" fmla="*/ 3273333 w 3488354"/>
                <a:gd name="connsiteY1" fmla="*/ 257442 h 257442"/>
                <a:gd name="connsiteX2" fmla="*/ 0 w 3488354"/>
                <a:gd name="connsiteY2" fmla="*/ 257442 h 257442"/>
                <a:gd name="connsiteX3" fmla="*/ 54721 w 3488354"/>
                <a:gd name="connsiteY3" fmla="*/ 0 h 257442"/>
                <a:gd name="connsiteX0" fmla="*/ 3488354 w 3488354"/>
                <a:gd name="connsiteY0" fmla="*/ 0 h 257442"/>
                <a:gd name="connsiteX1" fmla="*/ 3433633 w 3488354"/>
                <a:gd name="connsiteY1" fmla="*/ 257442 h 257442"/>
                <a:gd name="connsiteX2" fmla="*/ 0 w 3488354"/>
                <a:gd name="connsiteY2" fmla="*/ 257442 h 257442"/>
                <a:gd name="connsiteX3" fmla="*/ 54721 w 3488354"/>
                <a:gd name="connsiteY3" fmla="*/ 0 h 257442"/>
                <a:gd name="connsiteX0" fmla="*/ 3488354 w 3488354"/>
                <a:gd name="connsiteY0" fmla="*/ 0 h 257442"/>
                <a:gd name="connsiteX1" fmla="*/ 3433633 w 3488354"/>
                <a:gd name="connsiteY1" fmla="*/ 257442 h 257442"/>
                <a:gd name="connsiteX2" fmla="*/ 0 w 3488354"/>
                <a:gd name="connsiteY2" fmla="*/ 257442 h 257442"/>
                <a:gd name="connsiteX3" fmla="*/ 54721 w 3488354"/>
                <a:gd name="connsiteY3" fmla="*/ 0 h 257442"/>
                <a:gd name="connsiteX0" fmla="*/ 3488354 w 3488354"/>
                <a:gd name="connsiteY0" fmla="*/ 0 h 257442"/>
                <a:gd name="connsiteX1" fmla="*/ 3433633 w 3488354"/>
                <a:gd name="connsiteY1" fmla="*/ 257442 h 257442"/>
                <a:gd name="connsiteX2" fmla="*/ 0 w 3488354"/>
                <a:gd name="connsiteY2" fmla="*/ 257442 h 257442"/>
                <a:gd name="connsiteX3" fmla="*/ 54721 w 3488354"/>
                <a:gd name="connsiteY3" fmla="*/ 0 h 257442"/>
                <a:gd name="connsiteX0" fmla="*/ 2435182 w 3433633"/>
                <a:gd name="connsiteY0" fmla="*/ 0 h 257442"/>
                <a:gd name="connsiteX1" fmla="*/ 3433633 w 3433633"/>
                <a:gd name="connsiteY1" fmla="*/ 257442 h 257442"/>
                <a:gd name="connsiteX2" fmla="*/ 0 w 3433633"/>
                <a:gd name="connsiteY2" fmla="*/ 257442 h 257442"/>
                <a:gd name="connsiteX3" fmla="*/ 54721 w 3433633"/>
                <a:gd name="connsiteY3" fmla="*/ 0 h 257442"/>
                <a:gd name="connsiteX0" fmla="*/ 2435182 w 2435182"/>
                <a:gd name="connsiteY0" fmla="*/ 0 h 257442"/>
                <a:gd name="connsiteX1" fmla="*/ 2380462 w 2435182"/>
                <a:gd name="connsiteY1" fmla="*/ 257442 h 257442"/>
                <a:gd name="connsiteX2" fmla="*/ 0 w 2435182"/>
                <a:gd name="connsiteY2" fmla="*/ 257442 h 257442"/>
                <a:gd name="connsiteX3" fmla="*/ 54721 w 2435182"/>
                <a:gd name="connsiteY3" fmla="*/ 0 h 257442"/>
                <a:gd name="connsiteX0" fmla="*/ 2435181 w 2435181"/>
                <a:gd name="connsiteY0" fmla="*/ 0 h 257442"/>
                <a:gd name="connsiteX1" fmla="*/ 2380461 w 2435181"/>
                <a:gd name="connsiteY1" fmla="*/ 257442 h 257442"/>
                <a:gd name="connsiteX2" fmla="*/ 0 w 2435181"/>
                <a:gd name="connsiteY2" fmla="*/ 257442 h 257442"/>
                <a:gd name="connsiteX3" fmla="*/ 54720 w 2435181"/>
                <a:gd name="connsiteY3" fmla="*/ 0 h 257442"/>
                <a:gd name="connsiteX0" fmla="*/ 2435181 w 2435181"/>
                <a:gd name="connsiteY0" fmla="*/ 0 h 257442"/>
                <a:gd name="connsiteX1" fmla="*/ 2380461 w 2435181"/>
                <a:gd name="connsiteY1" fmla="*/ 257442 h 257442"/>
                <a:gd name="connsiteX2" fmla="*/ 0 w 2435181"/>
                <a:gd name="connsiteY2" fmla="*/ 257442 h 257442"/>
                <a:gd name="connsiteX3" fmla="*/ 54721 w 2435181"/>
                <a:gd name="connsiteY3" fmla="*/ 0 h 257442"/>
                <a:gd name="connsiteX0" fmla="*/ 2603497 w 2603497"/>
                <a:gd name="connsiteY0" fmla="*/ 0 h 257442"/>
                <a:gd name="connsiteX1" fmla="*/ 2380461 w 2603497"/>
                <a:gd name="connsiteY1" fmla="*/ 257442 h 257442"/>
                <a:gd name="connsiteX2" fmla="*/ 0 w 2603497"/>
                <a:gd name="connsiteY2" fmla="*/ 257442 h 257442"/>
                <a:gd name="connsiteX3" fmla="*/ 54721 w 2603497"/>
                <a:gd name="connsiteY3" fmla="*/ 0 h 257442"/>
                <a:gd name="connsiteX0" fmla="*/ 2603497 w 2603497"/>
                <a:gd name="connsiteY0" fmla="*/ 0 h 257442"/>
                <a:gd name="connsiteX1" fmla="*/ 2548776 w 2603497"/>
                <a:gd name="connsiteY1" fmla="*/ 257442 h 257442"/>
                <a:gd name="connsiteX2" fmla="*/ 0 w 2603497"/>
                <a:gd name="connsiteY2" fmla="*/ 257442 h 257442"/>
                <a:gd name="connsiteX3" fmla="*/ 54721 w 2603497"/>
                <a:gd name="connsiteY3" fmla="*/ 0 h 257442"/>
                <a:gd name="connsiteX0" fmla="*/ 2603497 w 2603497"/>
                <a:gd name="connsiteY0" fmla="*/ 0 h 257442"/>
                <a:gd name="connsiteX1" fmla="*/ 2548776 w 2603497"/>
                <a:gd name="connsiteY1" fmla="*/ 257442 h 257442"/>
                <a:gd name="connsiteX2" fmla="*/ 0 w 2603497"/>
                <a:gd name="connsiteY2" fmla="*/ 257442 h 257442"/>
                <a:gd name="connsiteX3" fmla="*/ 54721 w 2603497"/>
                <a:gd name="connsiteY3" fmla="*/ 0 h 257442"/>
                <a:gd name="connsiteX0" fmla="*/ 2603497 w 2603497"/>
                <a:gd name="connsiteY0" fmla="*/ 0 h 257442"/>
                <a:gd name="connsiteX1" fmla="*/ 2548776 w 2603497"/>
                <a:gd name="connsiteY1" fmla="*/ 257442 h 257442"/>
                <a:gd name="connsiteX2" fmla="*/ 0 w 2603497"/>
                <a:gd name="connsiteY2" fmla="*/ 257442 h 257442"/>
                <a:gd name="connsiteX3" fmla="*/ 54721 w 2603497"/>
                <a:gd name="connsiteY3" fmla="*/ 0 h 257442"/>
                <a:gd name="connsiteX0" fmla="*/ 2771812 w 2771812"/>
                <a:gd name="connsiteY0" fmla="*/ 0 h 257442"/>
                <a:gd name="connsiteX1" fmla="*/ 2548776 w 2771812"/>
                <a:gd name="connsiteY1" fmla="*/ 257442 h 257442"/>
                <a:gd name="connsiteX2" fmla="*/ 0 w 2771812"/>
                <a:gd name="connsiteY2" fmla="*/ 257442 h 257442"/>
                <a:gd name="connsiteX3" fmla="*/ 54721 w 2771812"/>
                <a:gd name="connsiteY3" fmla="*/ 0 h 257442"/>
                <a:gd name="connsiteX0" fmla="*/ 2771812 w 2771812"/>
                <a:gd name="connsiteY0" fmla="*/ 0 h 257442"/>
                <a:gd name="connsiteX1" fmla="*/ 2717090 w 2771812"/>
                <a:gd name="connsiteY1" fmla="*/ 257442 h 257442"/>
                <a:gd name="connsiteX2" fmla="*/ 0 w 2771812"/>
                <a:gd name="connsiteY2" fmla="*/ 257442 h 257442"/>
                <a:gd name="connsiteX3" fmla="*/ 54721 w 2771812"/>
                <a:gd name="connsiteY3" fmla="*/ 0 h 257442"/>
                <a:gd name="connsiteX0" fmla="*/ 2771813 w 2771813"/>
                <a:gd name="connsiteY0" fmla="*/ 0 h 257442"/>
                <a:gd name="connsiteX1" fmla="*/ 2717091 w 2771813"/>
                <a:gd name="connsiteY1" fmla="*/ 257442 h 257442"/>
                <a:gd name="connsiteX2" fmla="*/ 0 w 2771813"/>
                <a:gd name="connsiteY2" fmla="*/ 257442 h 257442"/>
                <a:gd name="connsiteX3" fmla="*/ 54722 w 2771813"/>
                <a:gd name="connsiteY3" fmla="*/ 0 h 257442"/>
                <a:gd name="connsiteX0" fmla="*/ 2771813 w 2771813"/>
                <a:gd name="connsiteY0" fmla="*/ 0 h 257442"/>
                <a:gd name="connsiteX1" fmla="*/ 2717091 w 2771813"/>
                <a:gd name="connsiteY1" fmla="*/ 257442 h 257442"/>
                <a:gd name="connsiteX2" fmla="*/ 0 w 2771813"/>
                <a:gd name="connsiteY2" fmla="*/ 257442 h 257442"/>
                <a:gd name="connsiteX3" fmla="*/ 54722 w 2771813"/>
                <a:gd name="connsiteY3" fmla="*/ 0 h 257442"/>
                <a:gd name="connsiteX0" fmla="*/ 2949746 w 2949746"/>
                <a:gd name="connsiteY0" fmla="*/ 0 h 257442"/>
                <a:gd name="connsiteX1" fmla="*/ 2717091 w 2949746"/>
                <a:gd name="connsiteY1" fmla="*/ 257442 h 257442"/>
                <a:gd name="connsiteX2" fmla="*/ 0 w 2949746"/>
                <a:gd name="connsiteY2" fmla="*/ 257442 h 257442"/>
                <a:gd name="connsiteX3" fmla="*/ 54722 w 2949746"/>
                <a:gd name="connsiteY3" fmla="*/ 0 h 257442"/>
                <a:gd name="connsiteX0" fmla="*/ 2949746 w 2949746"/>
                <a:gd name="connsiteY0" fmla="*/ 0 h 257442"/>
                <a:gd name="connsiteX1" fmla="*/ 2895024 w 2949746"/>
                <a:gd name="connsiteY1" fmla="*/ 257442 h 257442"/>
                <a:gd name="connsiteX2" fmla="*/ 0 w 2949746"/>
                <a:gd name="connsiteY2" fmla="*/ 257442 h 257442"/>
                <a:gd name="connsiteX3" fmla="*/ 54722 w 2949746"/>
                <a:gd name="connsiteY3" fmla="*/ 0 h 257442"/>
                <a:gd name="connsiteX0" fmla="*/ 2949746 w 2949746"/>
                <a:gd name="connsiteY0" fmla="*/ 0 h 257442"/>
                <a:gd name="connsiteX1" fmla="*/ 2895024 w 2949746"/>
                <a:gd name="connsiteY1" fmla="*/ 257442 h 257442"/>
                <a:gd name="connsiteX2" fmla="*/ 0 w 2949746"/>
                <a:gd name="connsiteY2" fmla="*/ 257442 h 257442"/>
                <a:gd name="connsiteX3" fmla="*/ 54722 w 2949746"/>
                <a:gd name="connsiteY3" fmla="*/ 0 h 257442"/>
                <a:gd name="connsiteX0" fmla="*/ 2949746 w 2949746"/>
                <a:gd name="connsiteY0" fmla="*/ 0 h 257442"/>
                <a:gd name="connsiteX1" fmla="*/ 2895024 w 2949746"/>
                <a:gd name="connsiteY1" fmla="*/ 257442 h 257442"/>
                <a:gd name="connsiteX2" fmla="*/ 0 w 2949746"/>
                <a:gd name="connsiteY2" fmla="*/ 257442 h 257442"/>
                <a:gd name="connsiteX3" fmla="*/ 54721 w 2949746"/>
                <a:gd name="connsiteY3" fmla="*/ 0 h 257442"/>
                <a:gd name="connsiteX0" fmla="*/ 3110046 w 3110046"/>
                <a:gd name="connsiteY0" fmla="*/ 0 h 257442"/>
                <a:gd name="connsiteX1" fmla="*/ 2895024 w 3110046"/>
                <a:gd name="connsiteY1" fmla="*/ 257442 h 257442"/>
                <a:gd name="connsiteX2" fmla="*/ 0 w 3110046"/>
                <a:gd name="connsiteY2" fmla="*/ 257442 h 257442"/>
                <a:gd name="connsiteX3" fmla="*/ 54721 w 3110046"/>
                <a:gd name="connsiteY3" fmla="*/ 0 h 257442"/>
                <a:gd name="connsiteX0" fmla="*/ 3110046 w 3110046"/>
                <a:gd name="connsiteY0" fmla="*/ 0 h 257442"/>
                <a:gd name="connsiteX1" fmla="*/ 3055325 w 3110046"/>
                <a:gd name="connsiteY1" fmla="*/ 257442 h 257442"/>
                <a:gd name="connsiteX2" fmla="*/ 0 w 3110046"/>
                <a:gd name="connsiteY2" fmla="*/ 257442 h 257442"/>
                <a:gd name="connsiteX3" fmla="*/ 54721 w 3110046"/>
                <a:gd name="connsiteY3" fmla="*/ 0 h 257442"/>
                <a:gd name="connsiteX0" fmla="*/ 3110046 w 3110046"/>
                <a:gd name="connsiteY0" fmla="*/ 0 h 257442"/>
                <a:gd name="connsiteX1" fmla="*/ 3055325 w 3110046"/>
                <a:gd name="connsiteY1" fmla="*/ 257442 h 257442"/>
                <a:gd name="connsiteX2" fmla="*/ 0 w 3110046"/>
                <a:gd name="connsiteY2" fmla="*/ 257442 h 257442"/>
                <a:gd name="connsiteX3" fmla="*/ 54721 w 3110046"/>
                <a:gd name="connsiteY3" fmla="*/ 0 h 257442"/>
                <a:gd name="connsiteX0" fmla="*/ 3110046 w 3110046"/>
                <a:gd name="connsiteY0" fmla="*/ 0 h 257442"/>
                <a:gd name="connsiteX1" fmla="*/ 3055325 w 3110046"/>
                <a:gd name="connsiteY1" fmla="*/ 257442 h 257442"/>
                <a:gd name="connsiteX2" fmla="*/ 0 w 3110046"/>
                <a:gd name="connsiteY2" fmla="*/ 257442 h 257442"/>
                <a:gd name="connsiteX3" fmla="*/ 54721 w 3110046"/>
                <a:gd name="connsiteY3" fmla="*/ 0 h 257442"/>
                <a:gd name="connsiteX0" fmla="*/ 3278361 w 3278361"/>
                <a:gd name="connsiteY0" fmla="*/ 0 h 257442"/>
                <a:gd name="connsiteX1" fmla="*/ 3055325 w 3278361"/>
                <a:gd name="connsiteY1" fmla="*/ 257442 h 257442"/>
                <a:gd name="connsiteX2" fmla="*/ 0 w 3278361"/>
                <a:gd name="connsiteY2" fmla="*/ 257442 h 257442"/>
                <a:gd name="connsiteX3" fmla="*/ 54721 w 3278361"/>
                <a:gd name="connsiteY3" fmla="*/ 0 h 257442"/>
                <a:gd name="connsiteX0" fmla="*/ 3278361 w 3278361"/>
                <a:gd name="connsiteY0" fmla="*/ 0 h 257442"/>
                <a:gd name="connsiteX1" fmla="*/ 3223640 w 3278361"/>
                <a:gd name="connsiteY1" fmla="*/ 257442 h 257442"/>
                <a:gd name="connsiteX2" fmla="*/ 0 w 3278361"/>
                <a:gd name="connsiteY2" fmla="*/ 257442 h 257442"/>
                <a:gd name="connsiteX3" fmla="*/ 54721 w 3278361"/>
                <a:gd name="connsiteY3" fmla="*/ 0 h 257442"/>
                <a:gd name="connsiteX0" fmla="*/ 3278361 w 3278361"/>
                <a:gd name="connsiteY0" fmla="*/ 0 h 257442"/>
                <a:gd name="connsiteX1" fmla="*/ 3223640 w 3278361"/>
                <a:gd name="connsiteY1" fmla="*/ 257442 h 257442"/>
                <a:gd name="connsiteX2" fmla="*/ 0 w 3278361"/>
                <a:gd name="connsiteY2" fmla="*/ 257442 h 257442"/>
                <a:gd name="connsiteX3" fmla="*/ 54721 w 3278361"/>
                <a:gd name="connsiteY3" fmla="*/ 0 h 257442"/>
                <a:gd name="connsiteX0" fmla="*/ 3278361 w 3278361"/>
                <a:gd name="connsiteY0" fmla="*/ 0 h 257442"/>
                <a:gd name="connsiteX1" fmla="*/ 3223640 w 3278361"/>
                <a:gd name="connsiteY1" fmla="*/ 257442 h 257442"/>
                <a:gd name="connsiteX2" fmla="*/ 0 w 3278361"/>
                <a:gd name="connsiteY2" fmla="*/ 257442 h 257442"/>
                <a:gd name="connsiteX3" fmla="*/ 54721 w 3278361"/>
                <a:gd name="connsiteY3" fmla="*/ 0 h 257442"/>
                <a:gd name="connsiteX0" fmla="*/ 950801 w 3223640"/>
                <a:gd name="connsiteY0" fmla="*/ 0 h 257442"/>
                <a:gd name="connsiteX1" fmla="*/ 3223640 w 3223640"/>
                <a:gd name="connsiteY1" fmla="*/ 257442 h 257442"/>
                <a:gd name="connsiteX2" fmla="*/ 0 w 3223640"/>
                <a:gd name="connsiteY2" fmla="*/ 257442 h 257442"/>
                <a:gd name="connsiteX3" fmla="*/ 54721 w 3223640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1111100 w 1111100"/>
                <a:gd name="connsiteY0" fmla="*/ 0 h 257442"/>
                <a:gd name="connsiteX1" fmla="*/ 896079 w 1111100"/>
                <a:gd name="connsiteY1" fmla="*/ 257442 h 257442"/>
                <a:gd name="connsiteX2" fmla="*/ 0 w 1111100"/>
                <a:gd name="connsiteY2" fmla="*/ 257442 h 257442"/>
                <a:gd name="connsiteX3" fmla="*/ 54720 w 1111100"/>
                <a:gd name="connsiteY3" fmla="*/ 0 h 257442"/>
                <a:gd name="connsiteX0" fmla="*/ 1111100 w 1111100"/>
                <a:gd name="connsiteY0" fmla="*/ 0 h 257442"/>
                <a:gd name="connsiteX1" fmla="*/ 1056379 w 1111100"/>
                <a:gd name="connsiteY1" fmla="*/ 257442 h 257442"/>
                <a:gd name="connsiteX2" fmla="*/ 0 w 1111100"/>
                <a:gd name="connsiteY2" fmla="*/ 257442 h 257442"/>
                <a:gd name="connsiteX3" fmla="*/ 54720 w 1111100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2 w 1111101"/>
                <a:gd name="connsiteY3" fmla="*/ 0 h 257442"/>
                <a:gd name="connsiteX0" fmla="*/ 1271403 w 1271403"/>
                <a:gd name="connsiteY0" fmla="*/ 0 h 257442"/>
                <a:gd name="connsiteX1" fmla="*/ 1056380 w 1271403"/>
                <a:gd name="connsiteY1" fmla="*/ 257442 h 257442"/>
                <a:gd name="connsiteX2" fmla="*/ 0 w 1271403"/>
                <a:gd name="connsiteY2" fmla="*/ 257442 h 257442"/>
                <a:gd name="connsiteX3" fmla="*/ 54722 w 1271403"/>
                <a:gd name="connsiteY3" fmla="*/ 0 h 257442"/>
                <a:gd name="connsiteX0" fmla="*/ 1271403 w 1271403"/>
                <a:gd name="connsiteY0" fmla="*/ 0 h 257442"/>
                <a:gd name="connsiteX1" fmla="*/ 1216682 w 1271403"/>
                <a:gd name="connsiteY1" fmla="*/ 257442 h 257442"/>
                <a:gd name="connsiteX2" fmla="*/ 0 w 1271403"/>
                <a:gd name="connsiteY2" fmla="*/ 257442 h 257442"/>
                <a:gd name="connsiteX3" fmla="*/ 54722 w 1271403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0 w 1271402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1402" h="257442">
                  <a:moveTo>
                    <a:pt x="1271402" y="0"/>
                  </a:moveTo>
                  <a:lnTo>
                    <a:pt x="1216681" y="257442"/>
                  </a:lnTo>
                  <a:lnTo>
                    <a:pt x="0" y="257442"/>
                  </a:lnTo>
                  <a:lnTo>
                    <a:pt x="54720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btfpRunningAgenda2LevelTextRight403778">
              <a:extLst>
                <a:ext uri="{FF2B5EF4-FFF2-40B4-BE49-F238E27FC236}">
                  <a16:creationId xmlns:a16="http://schemas.microsoft.com/office/drawing/2014/main" id="{78EAA811-5ECD-4881-8EAE-B68CFB33DB59}"/>
                </a:ext>
              </a:extLst>
            </p:cNvPr>
            <p:cNvSpPr txBox="1"/>
            <p:nvPr/>
          </p:nvSpPr>
          <p:spPr bwMode="gray">
            <a:xfrm>
              <a:off x="1987754" y="876300"/>
              <a:ext cx="1216681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PS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7411916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btfpColumnIndicatorGroup2">
            <a:extLst>
              <a:ext uri="{FF2B5EF4-FFF2-40B4-BE49-F238E27FC236}">
                <a16:creationId xmlns:a16="http://schemas.microsoft.com/office/drawing/2014/main" id="{4804EDF2-A342-463D-9C3D-C2443A249BCE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3" name="btfpColumnGapBlocker643271">
              <a:extLst>
                <a:ext uri="{FF2B5EF4-FFF2-40B4-BE49-F238E27FC236}">
                  <a16:creationId xmlns:a16="http://schemas.microsoft.com/office/drawing/2014/main" id="{D73CFEE3-8508-44F8-BCB1-654A0BB9E8A8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1" name="btfpColumnGapBlocker321507">
              <a:extLst>
                <a:ext uri="{FF2B5EF4-FFF2-40B4-BE49-F238E27FC236}">
                  <a16:creationId xmlns:a16="http://schemas.microsoft.com/office/drawing/2014/main" id="{61DEC34E-0711-412C-9C54-E3019D286300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9" name="btfpColumnIndicator914942">
              <a:extLst>
                <a:ext uri="{FF2B5EF4-FFF2-40B4-BE49-F238E27FC236}">
                  <a16:creationId xmlns:a16="http://schemas.microsoft.com/office/drawing/2014/main" id="{7E37021E-1917-48EE-8818-52ED9414662B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btfpColumnIndicator925267">
              <a:extLst>
                <a:ext uri="{FF2B5EF4-FFF2-40B4-BE49-F238E27FC236}">
                  <a16:creationId xmlns:a16="http://schemas.microsoft.com/office/drawing/2014/main" id="{82976DD2-5F83-42EB-9107-BCCBE8C70C2C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btfpColumnIndicatorGroup1">
            <a:extLst>
              <a:ext uri="{FF2B5EF4-FFF2-40B4-BE49-F238E27FC236}">
                <a16:creationId xmlns:a16="http://schemas.microsoft.com/office/drawing/2014/main" id="{5C50F110-DD68-40BA-ABB6-6BF5E11C99C5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2" name="btfpColumnGapBlocker868709">
              <a:extLst>
                <a:ext uri="{FF2B5EF4-FFF2-40B4-BE49-F238E27FC236}">
                  <a16:creationId xmlns:a16="http://schemas.microsoft.com/office/drawing/2014/main" id="{F79CACC5-2064-408B-A0AE-072A71047662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0" name="btfpColumnGapBlocker995998">
              <a:extLst>
                <a:ext uri="{FF2B5EF4-FFF2-40B4-BE49-F238E27FC236}">
                  <a16:creationId xmlns:a16="http://schemas.microsoft.com/office/drawing/2014/main" id="{A3FF63FC-CDE0-4CED-8681-A8254DEABB0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8" name="btfpColumnIndicator619581">
              <a:extLst>
                <a:ext uri="{FF2B5EF4-FFF2-40B4-BE49-F238E27FC236}">
                  <a16:creationId xmlns:a16="http://schemas.microsoft.com/office/drawing/2014/main" id="{E5861889-18AF-4373-B337-87CC22AFE1D8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btfpColumnIndicator433022">
              <a:extLst>
                <a:ext uri="{FF2B5EF4-FFF2-40B4-BE49-F238E27FC236}">
                  <a16:creationId xmlns:a16="http://schemas.microsoft.com/office/drawing/2014/main" id="{9F655FA0-C5BE-409C-9FB0-269BFDBB83B8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56E85C2-682B-4AC2-931B-30D8F0D4F1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/>
              <a:t>Customer Advocacy:</a:t>
            </a:r>
            <a:r>
              <a:rPr lang="en-GB"/>
              <a:t> X’s promoters praise x, y and z</a:t>
            </a:r>
          </a:p>
        </p:txBody>
      </p:sp>
      <p:grpSp>
        <p:nvGrpSpPr>
          <p:cNvPr id="38" name="btfpColumnHeaderBox681619">
            <a:extLst>
              <a:ext uri="{FF2B5EF4-FFF2-40B4-BE49-F238E27FC236}">
                <a16:creationId xmlns:a16="http://schemas.microsoft.com/office/drawing/2014/main" id="{E6611885-00FB-46C1-BE52-6E0E3F21EC0F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354248" y="1270000"/>
            <a:ext cx="7507552" cy="318997"/>
            <a:chOff x="8378296" y="1270000"/>
            <a:chExt cx="3483504" cy="318997"/>
          </a:xfrm>
        </p:grpSpPr>
        <p:sp>
          <p:nvSpPr>
            <p:cNvPr id="36" name="btfpColumnHeaderBoxText681619">
              <a:extLst>
                <a:ext uri="{FF2B5EF4-FFF2-40B4-BE49-F238E27FC236}">
                  <a16:creationId xmlns:a16="http://schemas.microsoft.com/office/drawing/2014/main" id="{075761DB-1E5C-4346-B9FA-46C43165580F}"/>
                </a:ext>
              </a:extLst>
            </p:cNvPr>
            <p:cNvSpPr txBox="1"/>
            <p:nvPr/>
          </p:nvSpPr>
          <p:spPr bwMode="gray">
            <a:xfrm>
              <a:off x="8378296" y="1270000"/>
              <a:ext cx="3483504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PS Commentary</a:t>
              </a:r>
            </a:p>
          </p:txBody>
        </p:sp>
        <p:cxnSp>
          <p:nvCxnSpPr>
            <p:cNvPr id="37" name="btfpColumnHeaderBoxLine681619">
              <a:extLst>
                <a:ext uri="{FF2B5EF4-FFF2-40B4-BE49-F238E27FC236}">
                  <a16:creationId xmlns:a16="http://schemas.microsoft.com/office/drawing/2014/main" id="{4AF49EE0-A1CE-4BB5-B25B-915122AEF9BC}"/>
                </a:ext>
              </a:extLst>
            </p:cNvPr>
            <p:cNvCxnSpPr/>
            <p:nvPr/>
          </p:nvCxnSpPr>
          <p:spPr bwMode="gray">
            <a:xfrm>
              <a:off x="8378296" y="1588997"/>
              <a:ext cx="3483504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btfpColumnHeaderBox324794">
            <a:extLst>
              <a:ext uri="{FF2B5EF4-FFF2-40B4-BE49-F238E27FC236}">
                <a16:creationId xmlns:a16="http://schemas.microsoft.com/office/drawing/2014/main" id="{07262C17-CECB-4824-AC67-BDA29655D5E2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330200" y="1270000"/>
            <a:ext cx="3483504" cy="318997"/>
            <a:chOff x="330200" y="1270000"/>
            <a:chExt cx="3483504" cy="318997"/>
          </a:xfrm>
        </p:grpSpPr>
        <p:sp>
          <p:nvSpPr>
            <p:cNvPr id="42" name="btfpColumnHeaderBoxText324794">
              <a:extLst>
                <a:ext uri="{FF2B5EF4-FFF2-40B4-BE49-F238E27FC236}">
                  <a16:creationId xmlns:a16="http://schemas.microsoft.com/office/drawing/2014/main" id="{B97E2BFF-665C-411D-B03A-3C2CA40D63C3}"/>
                </a:ext>
              </a:extLst>
            </p:cNvPr>
            <p:cNvSpPr txBox="1"/>
            <p:nvPr/>
          </p:nvSpPr>
          <p:spPr bwMode="gray">
            <a:xfrm>
              <a:off x="330200" y="1270000"/>
              <a:ext cx="3483504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[Brand] NPS</a:t>
              </a:r>
            </a:p>
          </p:txBody>
        </p:sp>
        <p:cxnSp>
          <p:nvCxnSpPr>
            <p:cNvPr id="43" name="btfpColumnHeaderBoxLine324794">
              <a:extLst>
                <a:ext uri="{FF2B5EF4-FFF2-40B4-BE49-F238E27FC236}">
                  <a16:creationId xmlns:a16="http://schemas.microsoft.com/office/drawing/2014/main" id="{A9455569-86AE-4A5D-8469-280275C97561}"/>
                </a:ext>
              </a:extLst>
            </p:cNvPr>
            <p:cNvCxnSpPr/>
            <p:nvPr/>
          </p:nvCxnSpPr>
          <p:spPr bwMode="gray">
            <a:xfrm>
              <a:off x="330200" y="1588997"/>
              <a:ext cx="3483504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0" name="Rectangle 59">
            <a:extLst>
              <a:ext uri="{FF2B5EF4-FFF2-40B4-BE49-F238E27FC236}">
                <a16:creationId xmlns:a16="http://schemas.microsoft.com/office/drawing/2014/main" id="{12A49D90-FB59-4007-A6A4-406E366E15E8}"/>
              </a:ext>
            </a:extLst>
          </p:cNvPr>
          <p:cNvSpPr/>
          <p:nvPr/>
        </p:nvSpPr>
        <p:spPr bwMode="gray">
          <a:xfrm>
            <a:off x="339726" y="1654042"/>
            <a:ext cx="3462331" cy="54965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 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ow </a:t>
            </a: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kely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re you to </a:t>
            </a: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commend &lt;provider&gt; 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a colleague? </a:t>
            </a:r>
          </a:p>
        </p:txBody>
      </p:sp>
      <p:sp>
        <p:nvSpPr>
          <p:cNvPr id="61" name="btfpMGChart209271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ovC2SzSB9c8Os+ebp2X3ul3gVMNwoM6g/cuNn4RSRd8806Ufmbl1nJrIP4PiD9jfPGggT7TTWVQAEKv7ov0Trh2B9cdJdWT37uxAPai19pok/aXGDdPgU4kXXu2tJ9d66J8jT91wJ94LIqf4iQVaHhapMuSeDI0/wvuSjgu36uCQ6Ci1DbziZp4YBjktaGRkWK1IIDBtDNUsc4nw7EdjvOZ1MOku5l9TzF8IZv3YePdIYi4qHMcDJHAS7mHtdQlZ8gfnMSlqqaJBoATLEVz7/yacxSOgnhBAGIemqTPw3a59/x54LQbNFHzkOxWBBkmPN5BL2gCnyoICsjxIsuhdmYcmeAGARcQ+mm148jOwbizU95FMopfz6GLPifqySuEj3t4hZTazIbi5Gs9YUz6WcVxfQS4oUAbQy3R6Bq5xmp7Q3kyu6Z6U6GHXKGuyi4Qt0hyJuIH1YSucWE4+KsPd8tmcltR9WWWqD7Ra7t7VyNONHN1O1qCrtWYgd+tVh7P1p2fTO7EHV0CZLdLvfFL8TyGcibKjUxi/0Ds6hMjNJK0Ek6OlKgmAPXL5IZZP9Nbz/HNlVmJkbcRCQ7Oqp0KD+stx6oLH2VBTfXYvRp0BDpbhmfQWc5S27s2PwoW1VRvBCKQsS2I0JDfxijvUBiZojuFCnaWWCKzgP4Dp2bgUYfgITrfMYIkFugo70p9TBjlFlGrTBmyre0RkIKwr5fh0DEYUPS90/U6+zRtTTzT2ZQlOXvjme0l389xSxbgG3QF2y+AD9+L9ewUw1KD8pOUPogovJoMDBatlNye8un5+mvba8LWJsPr0g8ofxRbRBMZuYtu4tSnafHxLRB0pHbBwlvkj9yXiwhDD+3LGfLxVxptzhHs6B9Xe680FDfY0OUT17ZJWKZlg09KbAuO4vG40pmN0PDVBy3sBNOTYwAW3yFrHTHVVLUnR1TL6ePlP8RSgMYsV0Vxgq4cAesA33/dHZHxTbuhaQ3k3kQh6l/ws4uFH2wSFlajqHGfizv+9mvX4168zNqI7dokxujbL6Yykw+nXqX8VAKlPyJC78VmZfUbRICknd0hhB8QHGwX+ABU7UHsWW163wDbfwK1k9bxYuvjapjEnAr3/f9TsJxW87HPtvLLELFyoxBgnlv9j/zQa92v+77CvhXCUHH4RFVXF+MkQb+aYk1+NNsaKiROqsxJ3nv3XEEwIaT2RZwiNSbZXYN/+UDjPUAzlR6FxyrSfede4kLrBRX6/QDOm3idzbJW9upZLFLkIltnDD8FzVEfb36OUWoKjodDoSKLTKimSbboFMb0RYZe44h5tB80Sup6S4uDJjrFISKRWG0UwT4XkMJYPbKO7oLjVsHSUo2JtznrdBIonkWgeUHC7W6eCWIclVgHCK6FFdVHnxxjduQGGqGtlt+DfOlfGC6FmNpiR32ewqlH9L/cYk+neB4G76PD0gp4cfJw1t+6uXn8kNf+axJqExQGFjeCbXlml+kYBrc+kHHJDuS69aqs1elxMxrRof4jUAGLobS03ksCN1nh/CacUU1yFu4VOP0Ldb2CP8Bg7cclE64SE0SOPb+URgtL5iQQJsMoqh1HB3wYI95UnHT2p3t97thmyyoOfyXf2dr2sBmS3j/xhLBmmW9lih9nymJN+nvtXn5ppB230rM7wpdfqq5fbYHZVbAX43pBREFO/BsZtMr2LjbXNakVghgPBijhRLjRCizgTiyAEssHZ50ZOEw7/rSGrWLQfweKWrADgAu5xmwTaWTbTOH9lQsLAjOR2iGE118ytyF8jHHIa9NuBoUbNW3Jzxm1CZphhPDBt77vxVItH3+ctjkwHcLJIgwz1Gd9voosm4rUq/v/lzFnMRZydPUgGMmgLiO5cupInedFmHxuXkWSWGoCGZxgXs+nMD+jO5B/vdRuqvnUuppVmfGGZw/CzyKxXe/KVQMnKTWDJgXeQSTSeovgo+uBFh/jyHEVg5H1paI9n8QuKoRJqhrZLTjrSptoMtlP9dWO8tHqu1Oj4SgCcZKKdbYD1PzmvnlbzaczTb6b8KI7GeV5Z9x2CkcpkoCrbGgtyVVOE5PmGDBhHBwSwUWTIsiLgDhHRUjSiW9H+4CvnkxuVL0TqmexKBcKssbl1mlAIyeIpR69ANYSXWbxo7pyGR40zUugZJsape5lwHd0CA9uW7kcvl1e8Bn2g1BSj2gz0Ii4FAMDQeJ6m6oFLMfPojSAGTymU1xUvBmoK+8ANn1Z6wsefb0H5pHR283b2X90jL36gQnDsClK8JQU9WLZR3f4hovN6d7v0lem4PHaiNi6i8nb+KLMHkAzxH06oVTIFO6mej1jm/4PcTfc7dMLoQAs9lP7jxlehTnL6wOJefF79nfZxh890GhljeZdFJu29sOGUBxZhyZmcFWJzEU1ZD09Xa4VxOW4zvWhORFj7EQPxIV63I54//ZCVJdz5iQfMYGpSXV/P6pJbhM94ZdWb0xnBfxMAeevqGSTnPC3ddBpKql37hm1zCiQ5vC6qa5c0CQNkniiCqudRvGXfLqD9ISskGk3HGwgQnyfb//pA7VgKOwB5OYf8O7a+uwz5qReCSQpP4Lj3X+331x5y16wE3y3Vf/HB5H82oXLRb8mAediPPPkLFRAutxBwuavMPNpmMLSvvDjje3k38zJ1pJvAhz4oQcG66GwbrZxEikVNsv/TJ7u2vRePYhAHOvU2MsxK/1kg9nqkIUUTfRpA71o7zeVmJIddN8/9B8TXTCwisyRN6V6id0lT5uyFiZRqo80fAvfoSNSONB7UZFPlWjTNOz4BnCITkqjEhd+zztCs8/X7pdFgUF3uxpjxR5XzAhNd7pVgAXmev9X5zBcG5ec96tQhrt3TuvyyuxCw6+U4fbTQoGGYke1ugSc/+MxCxGZLl97UdCr4JwA2DnJh2l2g5W34iEi7uod+vPaqfvznjSaO2HR19suBhqwrLd8TbUtPzj1TxUYUjawWYfmUOHsd6dqJrwoDWcDX6Rx0uKdwTk/jdtxgEnw7KP3oRU9OPeyce61sslsEoyEpO+4bgDjDCFoSzbSdwLbWYttUDm6xuxVWcxiZu/GO73shil76AR89JqfNSVKgxkxBIMMK4TpW3oyopeO8M+D8fD4Z2bzEyRtQ7W9A/sZihEd/WipsA5XC5WqPvCZiEXJGZV/ajWu27P5sU4JjmLgBRQ1mmG1Kv3Cgj8Vhn1eNRbUaFbAlABYM4jJxZJBqIKa6Xg0SfG/q8ZWWh4Agj9rHXUrorUPJuLfbRZpGXDuUYdrmcbQY2SFrUTi5uEKn3T/ST+NEkOiBbdxXHEJ9tNH0pok4CHphCnO1lp7BrHfyWLctheYQZqIHedHMk5Ae/l6SrDBsXsMCtv3r0aZY33zH70mZ9nrHgV3H7zVFy15pK2IiRKhBdlpsaIZ57sLU6EMTt0vXpT1K9GpfJbRr2oxZvnm9zfrcP0vbNCO9TOc0ZNvhIE1XSKSWjaIuIQFuB4XhQVGcrKEZJcA2Mr8gFCmxWG5dSOsm8CurRS/BaL1hJvC++xtJvHlk7VBLaRgthHfxepNuXcy3WMxrTMySGmuLE6VF/xoTziNWkUjY/WKqP0XiP48wjBaawBpUAZpv0jUNNeAL+MgjwkyO4CffeMVwgKdidWO6ZV3VwdSP21dt/LeaCw8upVg5h0AByoa34CCQyPu6AlRtsIWwNqQwv2Fdh+6y5Ac92qvdxViSSa2CAcCansy9E9zS5rWYHz8nM5waS+OzigxRUegG0dadxJSdC36F08PL19wdqCLVTKPzfuRjkcnxnHjJbeZpN0g5WncByAW46G+8rokRqsDoaDzYlhjxRlp0UIP+gtfWfF/3Mn+Gv8yGXO8ggY0VZoo8YDwlA7KjCzQqAXspXAw/w72wVDZBKesdGfHVURli72C99xHgInalF61FsDGcGZKgmoVijusZgXMEunb8kF+PCmfIK4QAhvU6aPa29WfAxtyQ9/X4onUSVw8va5VgSZSzwZ4mU9n/sL6aSDjuBZtrYwuiLZnkodPLvPXgoOiL1Y5EuNbzEHzAsNVhzDbDTAPCHgMrodC/kiHyb/5xeySekE3Vx9rUDlF9q9l0r0sbw5QyI1oR9IxE1TukFgUBydoxuxjRH4Q3ImaL7EwcCzoqHvnvbOrPtqwt/nwk5pObO4WwqpG2wwmp5Zls9x8nza7D4zUt+tvSq+PGCDefuPKA/IMtqs0gWpA+S82FK0qzzuCNbiHPtGZSiFDZUDMW8jVoSM3am8GKSeW4QPhY5pXmJBVd31wXVTz6nBulomW/ZEZGbVg3UVxNyqCa7azsUmOmLweLq+IMDeFQnLIzOy2+fJuGTeqx2dMdkJ1WRDrjh62sxWtBglNLEuOrotRCon3HaIaASb6p/8jer2x8EAWlQ8PmZrzePCEy/nsaSGo9U4YZjdy4o2+eiqFR9MSFEYjzGYCnT6lqWZGTEmrW2LRMFHXe0SOOIPwbQF2qwXBVgnEUzPjWp/hph3I5SljgAlnlW1XE7S5JzY+U6Cg70tkAAQL4VHFudSObGJ7MmWvQgouLeEhX9LCRznyQHU90vb7UtfZm2UuoSFeYyXKXZ/xTC6yDSs9apzsvjUvBO4bnBVTneVSi0cemyR+DMR7yBmKENgBf1HTwQFMKmnPi57Vob1z6ilGA7P0FzsCgFLM1WUofji9YhwvT/jpyXWDaPy0MQXnp39FP2x8FywzZCRRWlpAgXGy+mKDHjWjxzsxmMv/8MpX4t5YV5QncKeRmVyh4YILnUWi12z06DLBN6QNCMy/CqbUBYOPwkbFFnjYnKxJF/7CRDU6j04dqVbkH5taaQynaYOO0lHxXpgwnvbkVzFehRH8UYB4z/kZwLsWhBqmGMgrSy1ec6Qmv2hPxM+PCf8xK+t+TmlhENyETdN/UVMTqO2/wL+CKmaRuIllYPI2K8adHMAlbOo6aH3lC42hKhKdaVyZNv7guE6pWy/HzSU+R3lPDYF2mZNLRA6tx0Auf0P+tFqrFMn2hIOsewgeCCjgBeUUomidpiz+U06IH8N9ZNjHogTV5MjMSEECLAzh3cp1QvFNF+Ph6/NOZZq8syNFZf2JjZJITrD3LbyWPUkhKQ0vkCVJlAYFB7aEShxJ7OlY5eE7/IInSxv7aMNcliIgDxh/VG5oixr3cENnV9p/MGvKnjoPrHgrqTHLqpMWsuCD54Ic4pVP686lzYDNpAHfHo2ecBOgOtE5wbu753z+ug1xCUqcQqTNr8OFIYVdLJwhfV3JOF69RQ7UZ1jcvRSoqdM2AqI35NhSxNzX377UiGOngj/Aj+f3ZuRrwiR97Gh7apgjzlLlyHz4CNoGjxEBo5cZOyGgrKlzWNxOiMeAhGdZckrE1BVJJcA/Mz1Kmfe8kJ2uZOYxjoXWnwgkW44PLyHAU939GgJDLk57xLlFS/zKjqEeSI8f4YoPTpCFTVYjsUlWFwWm1wAolRbSdf8yEMBrotpcylo4Dv3rwfo9PO79QaT4w+96oPTQoEtxaq+L5DLj8tyOT8Ei2l1pEtk1wGsYELnNQMzdhJnOptTVGoA5AeoBPs+6AxsIWGy0mcC1CXtafCYV1RyT/DUR0q5ZVLDKGhrLemNtsL5EOeVBDa1XCagUM8m73gEId1adsHl7FOdSMd3EpSFjlSjmKpNNvR1u2F/4lahL5q+Emggd1d3ZMdFliBbnX76amaKs4KBCF55Fb186kE/CS9oHpKnXHilCJgHzMZrZWK2KMgK+hNZy6OCWLVE1vlcdUIXpBar72qfyxLH4SOWM3TJ7GoWET5rZzkSRFjtl45qoYtmiBqnvpL7yoZ2lv0Aov6x9zycFg/RIhcXD8ueQl9/ukNVOavwqkJV/GaiG3yXdZqyMUOJQpy9t0gDWMvmEExZC15/pt8UDkMk1GU1sX3/fOZd6oZfmv2rQl4m59Wh3uAszn3lJgmfSz2IwD9oAKRyoTHKLjgPRrs2zhU+RH3U4qofAzE0CCJ/UJh49y2cUFnYdrkOWsXNPwjCATaTCJ2mcDlvBJiFwqOBDJRV20UxjabiBS7bukX6eXx7WZpH6nsR36zU5cFJS9YSVK44iwICTTmXYoVVf1F2idRRw68VIVXo1wUuJYeGmyktTidk02DZ8DoVYcTd2CQBmgW4i4mwveXDatUXJbGQBklsRd5RYkLaAYoRWaoVFL/zvDeKA9l06Usva8jKkirG1N5QSHf8N1+GSDlpE9LS9/uZWBQuycUcRaf+DL6yL/EGGAs+AjozDbcBrNh3XTdN2BJAwqzcdURH5Gb2AfKtdXONTqN8s8LjsKBQV2kEkLRTJh14fLbbpwZLvC4PRGdjWcW83dPGCvBIehlQQ5xH/Dyppek3cICvxhhHSHobLws2wbmDq3Cm5JBrhWlFQ9UBr8PRf6HxM4Q+TY319ftgY51Tlpw10RxqQ/vCzXKvcmfgfpwQ+WyW4FiVeKKIzEuT5GKq/SH3Eiq7FYVv57O3vE9vVqX/b1k6AMQ5GQ3cIIXqmIVjl8GGQvtMVwMFem48+BJPBWyp6T+0bwCoI1tjhQp+CQZvHT8t2b8/ohm4KO1CUkuAzec1vqdsAbKlYA61mik+wj16L3tJfGf/gME95bp+pqfDqlux/DNtiv2wM4poHvsogp2La+VzEF6FvC6bTNhPpBxEHXvBaDojL7XysaePmmlkous55ub7/pFlL7aNt3Ut9LUsIbWNE7WqOlLe99pL856SnGn8haxKlxFPe/grJXIXEWS3EfQpE/OY2q53ZIQYb3fdzNLNB335PIzu6f9zwBu27wH+Sn7XneBR86enOI04cXoGYYRRGmdnRUqpXvpqiINdyjuhLLVFNqDcRwMm4nQVnLKUTO9rfOVyO5wU8Ca9z9BrDljMw2f+coBT81TJGz7j80OWttX5+xowvkbj4NBcvkfmiT9uC2IGqQhaZ4H0S5F10ZEGDira9ezHy+QfbrDZIzJoFLJdC+KqDdgeN0EHIXVVUKqV/xaYV4Dt16xKDv0cTHz8zmjCN+qcd680rceH6TUT9ZqPy6w+nP5lGwwovLRH8hzrCJ0Ae1L3ApAqDxQL8PGsmFE+fFkMT3qQpYu+B6l4br6fDmhsjTZxlL1igMp6loGHQXejAe99yQ/kaQOYtm0HOYphEfOKKsVTGn6tJcDJLANcb4uPEDX2g0YBVs9hYqjdlaqUAFJJKqX4FkQpCuDf7RQSjoeVlsSF5VcUXMV+ujBBTARrzrqDDx6zdRSEFtPz2jXOVsC/08FKyiIo3FyHCqZ9nL2b41w90+9S7yUSrIJbAYabvBc0kEfoKEQ3zm3YX2HBZ33B2+PrQN+DzsWMKP7Hkg7Z33SzZ6cfx1qIY7LrCQ1s9nzbqFgIgt+jgkDW1rEVLviatNthrXhUz6EhxMcTUsTVNdK3ukbsyKMjBwABddrfd461xBkLb3Vuhv/i2XZLSiIeikjpUOVc6fUduwBoM6ZXopUJTLOFRWWwF0xVXeUzXfE9+WQ7Fk1ytGJ7FVV9dZeexWsgEjcYU74Fdl4bVOf6+KV1hrXAJW3H3EwTaW5TfIG//x4Su97WZG4ixjYCk4qRYpZhhL4sAux388DHeUXbSI5bQcs7LozKz/03iOC3eukzVNcYIoWEWnwwvkAkN2l23LJk+2fPbpqjYOj8CZ56CXW8o9n2V70Nhlt2URa/rxrJGKccoZwlRI6TXBgACCu8ymHsHi5Imm3IXNR/yQ+LCPsFik2VL/GBBmJAtHm8JSnExPg3ZiMGHSGE/1LY1krMc89SC1xiY1BS/Ipl5lAEYyJNTnzZcaCZmbvDIKxts7DB9jfz4UUZeCPdMohb7wzBG3FXAC53xEQtmQ9NK8Segtgr3Y6z4q1LfAsQ7FYUEFpNAhvvOgFns9V4ABbXA8Gn4WCIstR1auchdCjvphNiFwv41MRSGAbZ39pYtEwKxHLKSQsoOsPrJFjjwlY3G8qdPPXCuorhScZ3/+vHYfQ0OVtkkhhZZMmmYzPgaxe7TCUasZ1xp2mLnefzf5EfjBoZdMmy0h7tyDByOL5/TWN1jETCaXRU4uQD4fJ+6TPAcLbzSQLKwp3PqzcxaivX7/nboDYsRRNuRudP7YLtfBhP3a7TzoSWkjeKpwRJaoTcI89UW1JpYvMdf5beo7/vvkje4qUFJGR8X0p4ihzeI6etBq7UNzAhqxNuO0OUa0+/SM8RnykTYr2iW/aPo+6hvnELyguzP7gn4hhXP8LZtBMCq6FD9rcuA48pRahP4s5PPkxpfXCQFdQdbukUmjr9Xnx9akiOaqde/1doJJSu6ukD5KqlxKhDaAbVHzsBE/i+TjBzb4KZB6dzdPDMFvFUTUblk/cLeSDXGOtbNiw7v7ysqFvn0MCX2Ik6eHmQVlpz0X94E0BIarx8oAgcU0tI8wUMrS5Ig6r4+aVjOE4PitfU1OLcq1fLXLFHgbJytkaVr4sPy4BAwCLb/e2zhWkZkYC8ENSZlPbz2YCRgGTLLo041AH72rdxeKWj+xINxNgVK8VDW8I+lMnUq2xN9RtAtpK0/dRyUOnV0P9UpB6QmUQJM4rk2cRL/o6EPvWGgRUDwgnsqPTSadqLcvJ8oeRwt/avwbYuLMLE0nUqnVBxmZaVjFU+MYLQfMS0jaZUEwgMCKH3siq1KkPC6BsueQJL2taeE5V41SPfk/8qDzfyrNZmRk+mK2DLDvr6H3hbFNgJX9e2oJiADPY2ZdqTcQwzf3xdJz1ZaQQU6D1dwenmEGCMkBrrYhq7+CdD/doH2R+eRbkXn7auAV0EEPezp6pD9GNyP0QneQ7SE7Ia5m4I//ghoU4KdkX9za+6Jx98fxGo2vPOx0JMQ+idzh7+w1ZbifuWz5foza4xK2belym3W/DujD4Qe7fBxWGhwX3sMYEq3/la0MrT96htFZA2ALfNdwcU4pOPUGZD+NNCAB9N15NoMNObBs4SGPlHp7fOdnYMFuZxzgi8OtzZN2y9EoyglS4GBLFUFgnO6aOsMweoRgEz/2Ti7W/uHQmwQgKKQIRfS4vaf8C5lqcHb2Ql64dwp4/UrZlB3ehoBeRAegCfEwMYan9JtS9c+APkVr8GJoEj2zT4Eiqtzwiqt6D123HBw+6T/tyUurIVwLAk1nhlumlbELQQ8qrBSiw2jTdRPN9iEHiqfCTwm30vm5/ii8nDh5Zddr8amfSdN4sya7j5l/msfkRxxfgG04g6ff5UEkdzpbXcQR1GmbiY49XmnoBh0+RzNsGlH70R33zbFUEb5TBmz4d7ap43rb9pU5GIE9Vxlkb5yDXtSP+d1KH/pxbuw/H6vmMikgPMeM7XgrOHhkJFjHTxH2/eJfDZX7UjE7TIqV1SisI8EqtcD555u9DPfCX/mSd7kzPGUd0tJ1Qe72uF4S8NQCl+nfs7VNCOcLNEiH6e+whRrTHnID7kqg2WXJD02Il6G0hEzYoPnj6Tnsl1SjCPpurm92H4z6pGNPMuCPJf9zf5nrW0830F3BcBmxBJPUFKckuD/cP1RO1r1w1GOaBWJRwwyoihPugXfBQQMFTtx0wjPijRE6GAoFJoIJEBecdhfomYdER1FL4hi2/F1uF5Fd5At7SQZszdUzXU8vbe2vxkiWRdHP826IJiMSVcAF0dHCKzX+o9G9d5VPJvT+e2y9h4oGOC3Y54NY3Zy0Y/1kXIyUx7tkKhJ70ieanV6iAyUUalNcdm5oN775ViKWl5ttfDP3YEPun90K54PDkQwxVG+2XjkQH7EVcUAHTfmncL4ugZrFM+pEzzVks+MmrN8JDN2TDEQsonx2Puc0zSPOxTgL3qbezcZspL3StArQOMujsqLPD4qG635y9WYCghaMTKRaD4TuCraG4bnuXxSSgpbRo8/z100tgGgxVl4YSwXYHlFPFJ+Cy4AljsfKj/Cixcz4QJhIbBwXarkhuEXlxdkWL0Kbv4xLms/QhE2vjgpxk/MFo66bavYeiSqzTMGR+Ag4UFQ+QM9NMP2z4vlBS7RbI8Jg+kt8UP9cG+FFvGeLxgIW2hyueRUBfbRJ0fYnO61P06r4my7aiYgj6jo1gefhz1t8ASPoAGuTLQV0BwL51qutFjrc4ObTSGd/KGIGYRowQFUrnAEyEldGBvS6rS9rMzulwx/qpA8yEDxhB60XvOvozStWTYkRU/ffsKQV8Dk6srtplVz2QQjbr27yJgrNTfk8WybBi2tYpLoSeVRE0c1pKnN89sFvIw+ZOta40MT0J0SGjuEobZq+ClEVaa805T537/5e64j/O6xGG8WsTslZjPTsJekNWZQkmpP+xRYe3GSMMzTeMBW/LUKh6W2mq8rLLUQAM2/gtpHEjjTDNuPBc+OA4ABKK3ko9/n4JV2hqFmbPzwrA/j9oVHbJ76pzzkFCFX/e5lc8oJ19iBjSXxf1kizpttS/PfhTivT6u7clE901sKGRY8aPcUpGxg8ma7VbTFuU7jyDyL/gTqM9KIH13/ODHSh4iOvfKHp1PDU9J6VGbAfQzxgGrogkPr03/f3V3yp0lL+g9N4OPEkeeBU5f6J7pTH/IrWd1ukqsy1VyrwUgBulaKQXRYt80nNOJ8sdbFExX+qPb/A2vhYMtsOwaJDY4SJTg1hyOzgNy+l1L8RS9vtB9nzqkWlJfiOMupmisFyZueZrzOxuAj4dWSmAVdihg7NRBU+V1hnG+lqnj/HQJpUolTScz4lAtwQ5RckDnhb3cRAcfjKSp1/bc42DWbs1dturqIwDcqrJZKybEMaNkYDl7+Vk9lfbRO1lwBkJ/wjP8YJt922GPPBiDbB6BaepI1pBumKmBqkVv65xdoewsiCuOaCUeEtQ6da+nsO7X34E/pmJDvP5YKd5GBo78Uvw4jddBND2gPvrQjiK9t6TuyAHT7fUu4Yhg7H9AvXsNOVzZPFHYji2TocLFUHQ4O2H2E7jm40pG2iWF0DWgwpReZBvh3HWimQSHysCZ7UZXphoB5GKLfvgwh6cSJFSJASAQ4IJzmPu/Re9UdP0UJh9MffAkuJIykvvI9Cz2Vxcoe0vV+XrTy5RcPdPt++srUGe1goI4JMto43DEG9iImeVnSRqhn48H622gY9Xa7lOSK5XNtFVgRzodQZL8lSM7DWy0FPZiV1Zar/wIJAjhVGC97YwscJ2w+3QXJVKLAKtNisRDWecRJ5CVgJB7eYodYaKZsYXQvHBIlOg59CllrQRKLfN23zdZUF+1udm0CFBwjLOPRqBml/ZRaLsZfczy+KrVXx8m1BCTtPhWaYbI9Mzqm72pSe3egud+YLp060qsJsHaIQNXg0U6wTsQdnHrn1RQeiLMugNxjQY7c1W9QNnVuIJpwxe8QTNnLXmwUdydmWJeW9I+LCvUmYVdubXBksmGQW7esY6Z+KXk8e9IzmWBZCHOFvSnt4CNOHhWXgwE5jpG19grlEYlfV9UCoFMxhTxzrunEZCCEI75tzKIvxoI1hVi7I6TDTRPUdwKJMAMNOt78X574+OuB/hWwHWHh7JVxMnTMZbMwZmmoDNmjIcxelYxiFgo1UcGaKdnumwSxSPOFWJfhz6/JTORlvr8vhqdy0yxZYld8bW/KbQqmDzW63vA/0/346TBkgRdkAF4SZY94mcbZ4V9bc7y0v8YH3kyNg2azqjsjHZ5Ygk3Bl4WIQlRcDFUWWN65tWw3nBUT6rNC4/kFO5pg6itMRMjtuPMiiyGw5ii5nYutlK1CuHT1B3rXtEuo+60gGxrhn77WO6GVOIChQtEVrYPoc/PPCuxutoM+TFJXj2wQe9CACifdYho4HCy4fFtLbNOdWKK5+eFXfzESHZaa8LKKr5t6KIerPwPyNjGkzFgNGAa0CfplY2a5iSN2Ltx54iqj12rQ1idzVf1XPdOFM1w3yXZl54lDGuQ5PQz2+7vrMLTqZdRoifiE6GKjX1wuNnSDefsIdu8gWtBLQgxhpFKSyOf/suBoUFPurtncI9RAZCre4UFDBs5JBb6ceCl2wFuR8u4xWKUJqO618YIYXpixbGJFqDyJbTIvtWsddmAaDG1vKmPVLjzb/eG71yAeRlr0PEY8vT2aaWxuIqfJF6HgLWr7m1Nad3IJSgQoKl7VUcBWE2cByXwqysD0N8AnqZZfVU+kqaz86egRq+TaHza7bqyNwWmFuu7qWCW0jPGJ3E1LeMCw7MeYwZaJHTlygj9BBJ03iBKbxC9Syg9XCGfjSoBeSZbo1DSG0/kJEwfMkMNY8eDd2H3BFBRvBJDuZBoS0y7UtyZTNpu9eaMYPrz/BGYGNDVgmsd++t5Er3O14nX5h9UM5xSUxPcd8T6MX2xt08GPq0s1Tc6unCCuQ2c/uowvxnttkvs1Oj1FoZw1AihCOwlpHYLqu9N5oT77GSzpqZIs12ydyCZZIOqoedVeojulQv0aUHtiILjTCPygHrLZQ5zGJDhs3HCVyJkTBC/UdO40nanEqVppB9brNJH+ruwj3UePRI8ImB+flOVvixeS4C81qSNamANsBk64rhsXq26HkWRugouywKy2wRNn+dZMZT+nfjuOicE+IgXrOYM2IhJVEuVbSwwzMDFxenHmC2pYM5ohZuuK5ayfd4sqnfPIutNrMdEdh004e8h+PBiOPqjtK3yTPvA571LkP9M7uP+oNRibEs6EA44x3XN4rdklIJWyHl4pNCht/iNvFiiruSWHmbb6+0KagZteyCp5Gv2BrsnTg/WQlD+2PEgOCar8ldhlQPqO/Z6jt0nN6mKzMIlOSk9YaTy5qbDAhfwy+Q3TOYxg6Mz2NIksVBIZQ4qAwsGERwVM88G+DESsoB8+SZHWgZ20BNrSSLEEAprGdNKKgqb0wTrMqWMx2JVdytErqUZKcDyv6kDggER5x3e572Q1FCC3LV3QoHrssDYAENjo7Vpdw8vlIKU2vOg/2P1azrtkYWc7jm+1pNqpI6fAv3O5TpLPWoGbQKU7iRCAX4/+VQGrp3VLwvB7Bs8Q2IIkZWv/D4GzmAaS4PnPW5qn4SNPxpjHFzywfm+qjJnIURTmPB9ewVLN8ZT0Mg2iCUpau6FMPbDWJvqdb+W06uVAL1lhfPDeD2t98qUeZM20lGQ4zct+TMREUGg3co1jfNScB3nr6RFRmyQM0M4SnH1NE/6RRRMGTbrZ5NBBGyd1cyiISj89bp1abAotXXvyXom3H5JX0mI3w6SMgLo5jkysXB2ZhHWSLW9WkvU48vev/VGNNd4gSry+1B3KFVw+qhsM72ITjb5RueoEPllmBq+Sj6KYZ27IZBsuyI5JHEeRI/sIiSqpsNs+meJWoKTXBE3it+e62J3GdsT7NCFS7sVzZ4ZlQHFrYHwS+JuczXvRpcemxZnLytrqBKN/xFaNKHSyM/ZBuBjOyximbX7G4PyNd3zBP/hpWQWau53N83nvLthYalOuk8aoxz7Db4/Zg8sftGV2NH+0/iInvH0YO8eg912HKRh8bQVyqB3MRkRa1SKCjC0Mgf5LpWB9oYRuMD0ro6pqDiO/cRqvvkki4qpgzzliyjD+bpXle0P8MKuZgbOGBtKS2xcH5xzPMZfDTL1s7Sxj24ZGtNEm2TuXmhHRpjiyrqhu6tEDGUOXb8mrGfXj2y9bh8nAFknPaXl6Jofw4qYMFpqOjLmbyQ1FvV+QCaY36eVJUl0Ovt6mfrl+6Aml4RLILQiuzVqsUOTY6KnFhIo9Dbfb0LfZHqoBieT5ALMcv9LbPpp0SpmuW2GvFR0HH9c4n2ZB35d1hVpg48RWADfg9L8ZM3oQY0vXS/p5WEctkIRuHsJz791D3Ovgj7eA8jAhrte3lzOL6VOQVi1EufTdcYjao60/QYBMro3aCDZQZDrov8s+zC/Yt7Dp94pCj3wp7p8gn6pV1r8D5azdvju+q6bqyba78HVmNptbyrd2Ctq1xGLIO0ijldM533PoUjXvLzgUQF1kMPXkuiYsyCcjBtzBlns9S1yoSdiByeFUnK8rWTf3Isuy/0e+GDkgrKmRDFERCz2d2rktFY+jSLwhjLCDiUEFGrhWKEEC3Xaw5u0rbHZHTha/ff/xMlFXvwDY/tPZtLgmJHIG8N2qZCf2RjbFjyDmFXozsXKj8JfsQ8V3ZbaADZgJooEOSSdgsgk83NRyuLrPkVDMTQXosQsorjnP9gLicsB67nzVBiImCoitBN/nKEVJCHg3fHRyNGNYyXtB+H7hKxhKEbP8lfj44dkZ2VckRQJYnUGfDkfjvwI4Z0gg/pI8QW8rm5DhXsaYHpA+z2nLxEIKsrE5NvTWDJcbiYI4rk09fOy+9kUE7m9U5BCzsxJQVvAr6JjiSiHO8Wv1tLqE/KnGhREp7qxRxOtJ1zJJhJnHMkhXI5cX0YWhSAnGOVXsL1lNCuTTR5OMeYJ+vNHLVqVOE5myKHjynNfsaUomIsFcwEZIXavHJqWpDeFwQO5ge35hPzVArMy7SuVU18ZsWRrN2uWSVyklmI6sM05Y5itQPqhCFNy7m5v46RdjzrRxRd6cw7E64zXkkFni8hsYtLFuDMaqMyWG1hhmAZ1VEviH3lh6wJD86FZ/vr6dcD9oZ6M9LTAh1USs6j4WEk4mHV59lCPehgH8rMFP9uxb9OxlR/7F6bboqQsRfMogzsyWV/J1a9LEeskutNKRp5VsenILyF9U/46QPYn053Z6L7ZdWoOor5wZ+yt86gaywMjnodG2WqeHNURluzy6vxtCd9Tj04R+72RaMnLwgZX/LA/16W1EBltT/t1ON1R128jy+qYnunM/R65oh3U/ZctDNSChTDjwvxzRVj0JBv33MwlKeA59J0gwaHHDS/lDgGtUqI9t7eJnE1wIJ8L84hj6i+J3lTd/zVqg+r1S/jenvmmezBRFYiw+YxRNCa/z2ObarZtnHuJo9NgfJVyy63LVk5nSmhT2yWx9TYPvOGO0RK7lNaZNxKG9L+YVBIY+g1oCaLUS/1MHp5vYk9G2FWYui+Wu/UKmBygmqljFqKfOgxDGeHnu3P975KIHgda0ohPm6ItdA2oHZuRm90RZihJpsqnvGaZJPISi9wz3kKE4qDZt0VgSCtrUoPeWKi7IMHkJ6+X83NzuG2cc+gsA/5pKRf2BIkfqznCWLWmE4KSFgla4ENiY4Iz4+jy0vzDjbD8qAKAJ8Wx9OjIEnVoFTAXlOVAgYELpb89VKSa/hw4/MtdpMs6T6U5I0pK1AGM8bOmHqqO1cs2R9Im08be7TczLz8yFZLTN8i55jsRZMneG438VxZcOjHGZKW21QnRkBIuwdzl4tVckIsLZ1a4gbFlUG3c39GZymXf96Wj3MZmaShuv+sPpZAOtuh0vGT+LTFW2kn47q1mHA/mC5Lm4CQK7G0xKwHM+1QHwqDQJ8H0B8FN10xD78G/oS/PlMxX3HwbI94HdcIBljM8bKba1k9uSB8LVcRzI4jRNlcaCVi1SGQbH1jougsVsuG/YAf+qgZVTmHHooZRYu1hy6zc9D//rL/laoyexM9U0f1MIqNiPjPQLmu4TnEQgak/z0/5NB6AxHDw/y5X8u3CtCd7CwDz3r0MKPT6gS73bNKxmfytiI6srxAliUVbcTMmG8riwtVmkpZ3LcVbJbQ7TR0VmvKjzqyEx71A8DOUBaeuwgI+cqHIrAhXP99+5BtxzVeeH9zl2H0H1F5xwyHnzhpOXwg8kthTMJAnmUsFl+qgqPmyhOK7p8qOayrcRsVTX89GyR1CV7p4ZrQ/1IJEfogu7u60fGQky2W+K+++bBES+oxfUV6hKzd9GBkO8kcYQYPMF2c2+EaCO3QP87j1Y89yuObMWdf+a21IGFEJqQG2p9PB+m+07r+Wu20VZ7tdhCHzX4srD00ASVY8X1BGRhZ9kSUYhyRVTJ6kAWX4aLNYeVmdNgs6YlIb7+VsJ9S9Ybzf5yfjn7d3r0iqzUDi7kBlNL2521CbljtAmWqKcbLx2bKlUc0iuGcjiDXBg3SYplIW1rRv39hD7pRmdALrwYKIVvHTy3GCafDrvoPAm7xvFqEkPCaxeoaD2g3PxwDjkh1bl0eBr+v8dcFraIo8Q4lh8hdgykOTkxmE9xHHM/lsxV9+Y/5IlKx1BrlTgQulH8VyQLV4W6tknt9iFxGLMmWZ3dGu9OTEelJ/ARD2Xv+wYYgU2PpIXjeuSFqyiOAWzjSUWm9gHjtUf5sHoBXCGBy6i5NI7biET+a2YpTJ4YboAqGnyl+bfpWwizdv5kI++aq84RrcfTn7TKD5UW6lONQyMz57l6ofMXjHfpqwvkQmwmXhmbgzJpoccLV5yHkNFi2VlwVVvU8H7vrFZMF0DxUxY4mNUfSguo3OpYUNGvjrEDEdnVYerXsblTgk4a2bfeCnsEZTa/KawQ9L+1VSRFJ5ah1uhldXuYHirbZGoTje3u49p/gCSn8j33JcbDGwaLP7j2ZKoQQvyusBzdYRetoOZEwiueE2nn8Ncp8chq9d5ZSP2O8uX+cVe2rR7fUomUZLZ0cvBgohp78FdRaLmZfO5jqvA9UBCtHxhQAz8VmUQ5k16E54hXs5tZVxcXZTq40M4XYA5vzArQYvsKrsA5SuoV0PeEQFvc4QRLJIk7npbAbWZXU2IrKCeQx8glWM4cu9ne6vgay8+MKqCaOruxlWYoJnK5UAjlEzsAxphTAkr+tayvEYA/XuNUjwcfoEBWPcbB5p1wzELoLab3yhpcbMBc1O8zlug3ZCWFKq1tx/QcV6brtYTWSFHBnJwIliRUzMmpw5ToVNnMi13ZNFmPI5cFiWC2o0wZTqCBpfArCLCjGIPeNBUo6UODl9anWw/hwQVJ3T+xAY+JmW+E6RxGVn92SPrcUaMklP6kQj2Ux2o2RTPEDf/a7aAiQ0Ij5mQ7/wYOewAfcGr4r8EYSY9dEAAtccxT4FHdWRptO9nAjXTtH1PGaQ5nLl2s3XHcKsbiydUC/9Eb3sNOcWy77tbviTzluuzVqFvDUmrwMMcUKusfqhc6c24byH8iB8UXtPFUzaJbgt1Hf3+8T8tKse1gYe0yTHGCzLCxsJNouc0zrmEZF/biLCDV5Hao6w7A0EjFyqmoSr973LWqCM+IpnRHqpvQYXqWo1aQI0zpMC8SOD7lUOW6sWARwzuBrj0ItBjHkmOtAy21X5EXjW0LSHBygASKYBCJ1r5uPIxLTBfTi8Tj/E/5FGGIJNKwhtj91YzRO5L1i+Q5X8T/Vj/wJXrl99I0o9oj9/9BcqREXTIK5eMCn/3BFVIvvMGWsmUb23w1Ct8UaAjGJ0f9toIU1rTBM6GykPezMejKi29Gk1L842ExKTVsCZvJmOgj8MFWzlzR/f6X3HC3Pv5MTHfb5j6mGDXeuudlqoRgDFvP0+4dG3QaK3dQUh1OlhfW6cRmkmXlKbwUdnl2LqV9YcnCqD6zDoxCcUvUCuWet9lq5BWIijmEzvzsKuIezVhXzpIPyQVkNlyLKcfHQAatM+ItytMxYsB81AytRV6hroJk9FKgY0DMWo02P06v5+HqoLDRBVDw1lDPhWQQ0Gp/XRspPuWmm1g3YLvmWlqq1Y0vTT5gqribiMISKJWA0eDYNnisyC/yz1XsIRCNCEmoZcphf10NuiwUQanlBaeuE8XIyuZUedAOnabNzFsoBAKZf3kK2fg3rVQSw6FZQ0aglY+6bB2MA5qgeIm/8rcCDRkzz8afgT+De4Bpa6vSmAs7dIGsvdcUHnrvFcWy5UDWInzHxFbIfhPtE+kAKi0mZLmIjc4IKVS4ttM/Uq3w5PfelLeO8LP30N3Y6bMLGoHk5k0Aqr8hINIH58b8dxq9WGRhzTWHP85IkpxMI54z7BD2OPTN2KvKO729o5gfU/nYR/1g5hndTh47g7Re2HQHTTk2zbez1OB6ds6NSPYvAWSxTu085O0waczTc7ZdRl5u/DD9h7a+pSBulYd02jnFNGXNQJwT/Af5fOsQuCUmJWsSzWGumtMqoGGi35cw5s7EU5FUPU6gEaLLJwboixXHVPHm5Foazqyh10Jdyq8Zre6TD8gJ3Uyu5uUeQz6xVZ0t7nfrjljI2Sap16Ym8mtL4De5grB68hVG/1GPUmUuHv7KOaVU5kaIEmd3sUYS5Pwd4znuWrJHf79MeLCfEmxsjo6xqipm0ALTNJuTR0VducYWaQ321uI9pUvO75/q6xS9V5mhHru90aRirr76zi/S9X16iVhqOl7b4rMvAL34GzXIoqDYpqM0qsSK2WhvupBJVy9JL3rIe6s8PsNU/gBQa3HiwubtStCFbh1ZFhdRGpeXlKaEXrTKndHU94nzdFExLWrrPvk2mfy3rjWMf3saHwZ8YnH2C8pqWaev7RWwru9MGStFQV0vPLHI+YYu+V48F0cYcST4ZjdcLnsrNx9SNL66ul9pp4MBH09indntEf9Xcx62idwX2dpSTYcgyf2LPyOpJm/xR4KFZ1YNV37DzKUqXEuDyeswEBQUGFlDhXYdATmEHd74XkZ2qnO7rPGgvaUN/P1XGJ6o41EXd1hNBplbYOz3SF5PATdD8wi7Z4ClzfprBDwEbsm1hksn/JgLRyE22PL/dkT9XMOzlASRpdDRL9Lgc5fPrJuZtTdIX/Z4IkRloi/SPYdinqzgkLTDg9uOcCQzXPE4xnbOk8SaAkrC4KGv7Gj34/ZeVwvq/9nOlLS+slhZUqt1gyzqwKuKazdsinwvS7lwu6OEJvCLnVcwThIybzfJrRReWqC7wqJmDYyzSTDJyN3O91d12IDWLnuw9PICc8I8LySCibVBaoDeIOJZ4kvqHCtlwsud5inj0z4BE+HcyepPHGxPTBrUJpRXbeWbN/sc3TPt+RBR7YFgJ3Uz0gHBWIjBLr/DKXdxryG4XawXTewqiqq0iDT7HzF7xk01Ah2fA4gB9JLKgV7T08I0hHWmWncnBntzZnZAeqWhAPCeB+XlzPZCW+gyb+KU+SGt4Lc+aYgZqsAWlzcWTjML2FembQIDzN+2JFgI8qk7Wj2nncQedSBpb1l9kKu/6OyWt+X52L/Hy0JUcJJUCTj7mpFny8bKFNtRBCJOfSyimABL8Kdmtn6++i/XdoxkzcEGTyncG6Dn7qBztJXfINMiX1IPiRR0/SzwX/66MvYFW0aWsWk/cMOeUPEt3zosrXGvBAdUARU5/IZfYw1h2cCdgh5uwO74mf1jUatWKjysmkyimGLfP0FWpDHRGX/KbkuBHpT8t+N0IwxxZe1UGohxxEqh4Gz9OwViLKyfkflI9HckoBd/zDlEftmBPo2bSpIz9oHZGl7zHIxNuLxwdAYpe6ehwbDuvpVeoi/MM+rHygsds5XAbg0gxCGLN2kFahNIv+ocjcjGbFpWagYm8CVm+TKQ0bwH2ynGR+vAhNrZeT6414IsZ0fJnYaoMu1Jc5nbq0RDZnJ8acNoRrGUYCoLxcVDbbXU6wLbHtMcnsH8P1PDIIPIqakBAOKAf2t+0ub8ujfOpZ6+t9Nz7SvD0QgO3ghajnHrrrNgxzrZmpFUkxpjCJctE2O5JvR4/S/8UvoinEusxwE36b2y3csuc9ABlDDfQ8GXETIdgh5Rj1KLMLuErFVdXmjMnN8h9COfDo4Wh/QcjG7+Gc+m2KsaskThix0GiXP2bULRJ5eApnzhMUhVmXzo4WwehZ7RxUMitOtqvFXzDp4lQd1DRb1lkjCZSYtXn788kboIX31BPHrbv81UwQC35QS+msN1dhGLePEZqEG9trdKssy7Tjj5k+n0NGW+6lR3HDMSTf8zIzVM2ASLSKp/USuVuPdTmSLKTAuGgcUwaOkxanoFzEHu/Asiqa6ak23C/D13I+BLWKFBcoi6GEHfXEWI62RUIhkTJP7eqobj3U22Qxp5tNBDlc3rdZpARKcHxbakDE3H58n4daiMH8ovJuMzysSnqT5Z62mV9nRRbc41GL0EaCe1cLHYGg+QNyr7fiuqc2ddqKxETGf5wFkg6Cgw22d6Hp2Paa6/6KXW3A7S3PzLqqVkOi/WbzQgirhPiBtd6JSXCTXF7qjJe2nHkJpiOtzN57tDBZpiFNT8yZNmOJItaqTfIbLsR889bI8UX85m7r2+VPU19GWb8rECvB5f+OgX6htxCri5t6OC7pyfTNiS33EqHYZjxO3kCNlf8HGIwQv/pPoBxMUzucwMU8UqllENvU9vywmfyvgb0mNbxQjFeBwIHC5q5ympOh1BCKDOc0T35OsUEQMIeDGt1Kn/7JufX6i5pKHUdf+a3kpK1QjJPyBtlZOpRFTGYrn9wxJNvuEZ94HQp4bBEO26FM+sE3gmxPHhQd3mj4A5vagZEEQc5vou8kYXVIkRWdZwPdt3lLcCx2xYefsv18nwIjjofv/0uo5Zqrf+PkdJEf8LDsFmf0rp0eNMv/JziIU9sJltDQr2+e8vXTU1Eog4kvhMovv1ZNORZQwRM2owYdUUSasnsgcdu1JArZVDosAs6J1nBS5ds4LjsFNzzxDAb+fSpuIOR4EyNLCZPQL8qjDkiX4o291q6f1QxfUvnAF5+gwbElHD+O3Y4XUxxafq5bDTL6ViKbpJb2lxk1Gs1zDfbAkNk0uRJToEDxQDog1p/xTe8bTTPTgGc7h77IFjl9jbXwPojtyklaI0OP0qHw5MnasPHIadaA0x4/1Ya9gAih4JwnDAenGdfpl+yKQKZXwXXZBVu4R5fQcp6D0WojMmi8GQ+2M9lE18wjT1NESPgUG/tSL1IeIgldYeyRgjDurrqLnomygOm+PNdhL/KJ851xyges3+btFmA05rQOmvAPhCs8TpzTEuIknlXzjFRUqUxCwXdiNcUpoWIMme6Krv/ot3DRWdAua53gLFSWiY3Rt1q0Qg5lgUhebPaN8O9iLdGARnoTAAnYYq0u8fFBkLKcitUArM+Hb5hwyrIJQbJo8RDz0zhS9PbVnau2j/Q26bFrvUKIAZuk5WW5bFTvOotTwObzqzxKif6xfraPA0T+LodDaeCPQFOADmZZ+JUVx6pMA3bW1aHpIXOXuUnLeg0zLrGXzwtzB176Siu52Y/3UXGZBQYivk+wFvQ9JxBba3AeBPIh2nhf0vddKwY0s/QQPN8h/too2S8GbzXTQHpzDUsgaMx+NpoFMwvfLB+k+/tjuZmR+JP21GLTpzfGoc06EyySBsS1iUWvpfgXmoWDd3IGEy+NAYYHK7cZshD/3GTqnkhHaF67BtGjnFIlrKZqlpx7IB/QiPwQOQrXm7E0K0JN7RdJkXSP26Dbm510KhciA/qHOCPUrpVUF27gOs3DfYT6fFXDX5B+PAeWPf7vpu15mUZMYR2MRG6Kj9X6BjPC0x5O2ibdOu4el2PzP+JsYvH34KjhaB8tMX6p/XfBlIFL9Q69N8Z3JOnhpHE807kalh/NmyOZ2KXHvxFh5TayfZQX5fkOTwnwmdE9AGj7BchVQOoSNH3UJ5JKLYbymca7lDM2ToKPXQjojppswHc9QzhjzdbtQuK4du1gN72lYXdBBvOzQThQ1p4aOhEuvuPayZLMYTpw834ex+jzjFebe7jE+fwKZVX6T8c13ezO6cI3Ey1ETtNFl5wRmDxQ7lwdKzShqnqTgtyoE2FgGfi7zHeo0gZIYK8+w8sb8aCkTIvc6KdeHltmsR1VSMHYMiHzeOpz8hPVnhNg4C2+OXJYVB/vn4GGKP/cUg2pYpcj/rmvsE2DHIPO4LA1gViIh4rlr5XZF1jFtF2v8nBTYu2jSycV/am3377HLNMiuT/k2g0384p29hPu3nFIkave1CqSwAd9MIy7Qt85KBcwCy+yE/2kqRvrInmkyMZRv2/8tpzLW6LYpeOEfgrW48NrfkGCgexct7A2FNFkXsVUG+OxHeQ+Kbl4nXKuobgoZmShaPF2gCa0sqRfH24Amey3umQLaQ+U8VIMD4Gf+B2igF/tueTp+x0WBSwNe6v64JNRA3Z5bPfJLssMjUmXR4CntcjMkuAR7bkznjQlTvonK3qw1oY8KaTujc+XD5ogLS0fT5O8nX5WL00jXOM59zIVHnCcp8kWj6nYi1j2AIz8mJQXQL/yJmcSJbfW25O7jqCQ8EIBOB8p39HIpqLScsTsWJQRk9grZXOBCkVkeo8t0N4s9LJR4PwEDCjvfTYXgbGY2x3eYRoRlIg5irLcX2XBqAgiiY28kCJtwYaICgNL7K+1uqd01Et9a85ZL5meRnuNtr8fdbR/7QjCyDSL6v2Cs2Gh7RhvpKOs8IAa/QAwzn3gxbtxnpuOPHGcK07ixUrXRB4cKamfcT/i4BlfwqjKnNF+Tn3vS0T+INgSpl2hotfDvFxqBbdbSfc1UrCMryB7BoH8nlmwkpcCc1z2T4aG7Pbwl5HJI+f3U7cs1FLD2fqpMEfNvB5/xQl9qTPzThqS9Il7C9kNc/FbnI14l0wSNMC1coRvd7YxVE5TU3ANfk8Wwp2OCOaq2VccTB3zXMcwihm/FKUdlwBN0PQHvTLFZvzawXtweR8jEMdJlD6OYN3V4KuJ1i9toOUJzMx96NvvUP1+py8PRHFjx92s5U4h51u+9+TvfcEWxSdjwD7eos+EIsN6fk2ZEsbP6+mwdIau0NxwF3G57RWOrCutp5/8YWe7gRhcn38VoWwsEWWh/ImMXviO72TQ6cVJOvp5PgDoMLzQYOwsJ484vFFKIx+AHABWoXPqe8nFOtB/2JA9Q3nEXMgFc53SG02yDPQpj2kWybAB17o1HlloZ13KdCBvryoCBL73ZLUPCoqnEgCZD77qCinwISwe1G/WKTyGFiA/ESz7h1ahSqmFzPOwjbxTAWLtcfkuvuoynz2W8Yng5YgPdHV0XwqBTJCZ9GPV4P7bKqeIts2bTY0GyBfYeoVofUkA7UVMH4plRtxEhRNYGlOmBtTDq+K8Dhbn6RnAxiXdbuR4TIAn0+epQ5pzr4B6BEnQ64skrklgEIMn8JGbobYoqF+Et6vALZPXc17hLhEuaO/pFcV/thS95pfGkScsRtbzOfwmackhfvbEtaQIpzrrjeR+xdzuPxBxCoc/CWByNyktOZfjlfhp9YSuXhJqcZ+T1VbMxa1wJHsGMUzbYAw6uxigmCFlP6o20Box1K5jrpGemDPf8zdqfHiSVFHYyY4nIpXla9GOQmX5XY2ZQftsChhSPum0J+RT3Gg0UvTG0l0NtYA+ybaU+LAETCY7wW0q5II3awIvbP1SE3cieHHO1WOC38rhX2zQaqduU3eKNd1rOG3g6nT7JvuTsI01VCjJXxrUkcFA3BNtgcnW+8HDv1L06Dfq725IYoF42cXe7Cc28ljLAhvKhHMuJydAOZhT03gy48iNlr31mgqqbhQOpwFxITQ0N3f/kUl3ivVmdTNcdLyeetWN93bJTta77mepVvk26WMjdkxwBqrQA6Ix+ijdOWayZPA3WiteoecwHqoJWP26l0CWoLRQKzheEL0giDemvHxel/W6bUsY8E/XngKsNYBMMhykwQpIH9k1hWf/r3w2oy0xdIh2uO3r2jv+JVxAuyfnYo996Byjdtq5Rp3w2DBIoW0wBdknuyn7Twuem2lGGN+KeBc1Op5qBUVmrOWQW0FyqZtywyxkyWYeZQwCijyQ482HxZ1J3ru9cTOMPLk1JrriEz0m4C5siBUKiS7RW7pPs2mN5pmi27zrNKuG1Fq9M295jUFfSwlIuKpK7HY8wRZJcR7RmBlgH3mPWpBfkVCIOPNKUbnELBqhukOBMs1w7ZmZjrOVBDqYq41m6xcjSoSMMIaJrncDzM134iYfDSvxeUbCOzhoCmUsSW6NuhVnwKS7QstiOwurXfGkwF8TTVbpXHqJb4ICeRwwTETMbuQwy053g8q7NNN2wmlCL83fcsxDYKbeM1wzs0v3X3vyuZehwGbVVvf6S4eXjLd9VFAFH55jGCTsrDEP+tZAqnRkgmbt++v14W/DQa/qew+5urUw5qeyOb/nPUW4XJ44jeLFF4MRySdEF2c+U7rLEU9Y/grmnkoo9atCV+lnWDot3DbtqMZ1+iNgO5nLnZF/+/WZv5shJclfrf2N+d5gnsU85AGdZy9WKdSpuv9Lcw1ztfCMqUxj0dOZTXvyeAdZpuSP/jRn3WKokVb8APMV4l5STT/Xw/2P8UQlPHtgwUajYPqPlKd3l5pGwgxzqwnyUP1LbbAB0AGN+cQL0p3Usy3wSX+dqFFjXkNjSL/DPFC/M3+JOlUNDlu1vX+E7cfRZ/eyd5F8x6TTmJO4FKYIy+qJ9CpTOi8dWD8dp5XVjPIQx180bQho34y9YZ39XvdA29Y8c8i/KVNBD/VBkPcwA53/HPsf1eCsfObPWadzkcIbzriUCfTC0eTQg4ETkeGLNUfmgzQ7/YxL0F+ypTBAgk0XnkFrj9xo+M65vNCYGR7IVE9xmrx9c2gVNw60GWi7Xz4LHutLFPgoP3YXzcI5kX3aVtYficifE30JJEMXXpm4FG1Aw3VYi+a63D8hmqNBu2WNp5RJo9arrxwSnu91dOwyUZ18+DG4XDbwC+6ejxUcIcgus3JwbOft4bPna/wHXPez/wczd3TSAgjlUPJeJwSGP4SjWX2nil3KfnEeDqYSUcvjaQKCaOVoFXUiV8OGhMesdnK53task7RZQiij1QU0M7EssU6KMMkx/98dKEmF3p4cgZOTt30mxGkRUyZ2XqvuhtNB8DjZ0i+b9bNmNN7hTXGvzbN95Y3yCw7Sw8UwbAB1Ib19lymCkiF3otod9UcfJYQP3LjlYvU5dvoqa6H+YVTOs+2eWpJf6qMD/2kMadphczpz9Vu98Iwd9Tdu22WSaHvC0D4fUy3d9fwEJDRLvxbUZTPc5OYjLzn4MMzuYMArRO3k1Mz/ze84kvUDmV6x08mx9+W7f6jJwrOAxkV9zgsvQ/lJ0JLo4YiGyM70oDME0PBt2vopPCbUz+kxtEdJEF0v5ay+TrP0oPWwtXF1OIhtgZeJnI+mbNewVHX5KUbA2+i72nOmDCGC7bR+KNzmbsak1Tx9lhJIj9YGeiEmGa3hBfRdLNCnW+03uJpLhNFEq0lz5/Onb5x418VTuwiZkV9Uvwm40ax6xHD4UMGwZkyVrel52sQ+PCrl/VqnmxwMXAoVPUV48KSckIzdOYG7fv9Zbu3SJBDYhJrsXd4ik20RpB+L4RNA5Swy3eBnq9dxIlsTEzv9g2G6WsauQk3j7qAoxTk+UVGvgehVIQz4JfVnQft0ZWjQ3M7kEjmVoxu9/ylHEyq8UFPblIiG4iKLG4bpjdMtFTJ9CyZ24W7rnQCbPAiKDTXVJkb7ODQCutzHqYMs/bKafRmQZpAT5e7rXIbVTAlZ65qJ+iFvfh+NXfN4TKnRF0Fzaor7umGPr0hj9fs7XymrRMkMtp4pBtMvdZ0xXAJim2/CsEtEE7NEoQ/HukG4zQ6zacO9l6lYUH83JT3i4wocW0zicX0TU12xmZ9hYTnMHLR1S01D8PBz54jb6phNYYvWO1pVlzOhorMZHWI2lUTesjjbT+bQbe8x/QjbohGJ8bJ5KiG+9alfqUzw31E95sSrO2evO8SRTLR6YLIK4ntvl7cUHS2N57hlon/IDtoaSxm1O0wTyXX2V0W//vfDxlJWyoqYN+dIruOGtn7PhyMEUZcEtY2pDnKbHb1e00FoK9Do2OR+BrXrnCkEh/XvB2sVFIrDT+O6UYwpmVQRaCY/+Mn4GCUsKhaSvZ/nVulRR1Ap1ttJnbyckhGfRpz3/IjS4ZvwUZ8zfGKLkDhoyjcGQT+t6BsjK24Lyfo5s3oH3HvjwInE9ZyXTORo0MYpTTj4hNF281jnG7HkeaUcwpv6mUgZg/BOGE+2se6OKuMNRBw9y60Dna6BnN8mG9mpMQBuSrj68nDxQaPs4i8hPejmXJHAjkzyKikK4AC94P5U4UAVEiIQF+4nJ2ioVBehFyC2X0fEOocJJTg2N1iu+ltIVXbF1RAxyCU3CRWlDf9xvYxNSH+/hWD1QS1x4ocxV9OWm5HNYx5PZuOQMQoVgF90oM4hrhM6hb7tZNhZe6+AbGqvtXwPzx/P1EvM39p2L6nMoHImkNMy9oq2Qssma3lvz13ohrS9d1xhT0aqPVbAlwqBd4GAIfYM4jdtbdFieD5WEVfFVF0IADs2SLwEML+Rj8Dt+XvjgeGkjPZxmwQGFCwkBsnJHsL3+k8srboFKhdiHPhdNLn1KB4lri6AsAkTwPxcixrS813jXWrEcr6nvcKWZ53iJ7AKLa1dzR+2+rqSMhc+Il5ADV8Gw4U4d6LsRxh/9Ca318lUlA8AcXPp84y8KMevJCFNwWZpyh/rlU1fovT9mvVKt3c6Tgo2mmxQ6h+l3YGESvwIaeYsp2It79F1ZErfaVkCF+SiPLch8yo5ohPzTkO83ONVOyuAsnatJ08jr4M+AbElVzqeSkXj6mG91IpDqhPIemT2GsP4VAGcm6MJHJLk2iHMe5DAWjAqL2b5wEi8LN+6+o1X/OXCBQmhcIWahCZqZ+3wKfgwS1k56qP2xas8/L9N3QaOKUa16rR0TDjb2v2BXf0Tr0bEAIhdVZug2ai/OiRa8cUUPVh23wr/IJuHHH+3Jk/mDy1qcxhAa1WyNZOyQ54VOm13KoTwkcOwVWOXYtfIcFmnrp+UsZfa+X7PDr6D4MiYcqQL96wMXhRLVPWQalhW79XHaVqcTVaxtcmD5374aYWrLdY4OEJpJ3g9EenanR5W2nj06RsfYaWjxG6bhCX62aF7gC3gU63zRkCWFzHKpIWIJldWKQI4hkooqP8wAhr40By/4iZMBg2xLMM8Cqh4t1sGO4Y9C2ZeN2Lr0uBeG97dd1g8H2NZed9ArfSiCANNtlMVTKvEG1aG+6VXL73GD+PaM+qlUPPYv935oYcR49mbeDKo0mYE1Hj5eNJ3UxeKi56GAxWfN6W97S6e0lzZUQFIGOck0uJj0qZMf4XKhmT47I3f08VgxZR19M6KbAlE5EIGOmdE0qMBwN54vGtxjaoUqQqWeeapq+zdO1mWm6YQJfFR8+cxzTaUMb5TnsI0LQfG+Wfj+O/6wv2CwPctmqaj08fFVXXbkfiFHLWXEvBQEuv96pGf6Ypg30oR7hBvGRAjeIXB5JIsok5+DLe1bYZM4qQxqY6B7TMLxSim/EGQVHQA+3FoiF60xSV442KtMDmRoty7Duv88yGlwbxonI5NhFlMaN0KG9hURBEKC0YBTZTV7I4obL9pwkjS2uIMwly/ycDhExh+3jUNjo+kf0balEkugC1lyIIHU7jpZA4FPYzyRaRDz0hjGBfqkPQEZlsUJrl+1Ks6hI7Ps+HpZqAmkD1w+3E+GXgZdgAo79ccl+VMQnrx9ByvkapGbZ7MDmLLagRtt1JCtkJJPIwjcpxlyf8+iMsKnEGgdEhEJfHjRL8WI85H12N619ZGPUiz7GI+EDr1a2qj0DwSeVauxJvKvPAHDkUyOZNfxvuTG/L+N4j9i0ulgrqJreMIBeIgTyJT2+VEXHCIizWx0k3xPqWjpW49vu/7q+fI5vMCChjUl1wzgspMS+CJCjonciC9NfYGwJUtgl30s02JUT2bWyJ0AmY96mlevIdyvTZGMUH1uuzYrhKJEMFXxrzaobhc9bjS38T94dOk8tFpm1RFVVhOF9ErHnP8h7NA0sR105EHqwxz6oS9+a62CTeYVA6cUmEu4u+Ebx9WnEQ3NHWes6XIb4t96/VuzlSvTlaePJLopk/cxxqq+ZrywPIy+9Lwv98VThpJW5KoSGTme1Rx1O/73f9wm+WbtBcgU89eY27Q61G6BapoVkK9Y12auuANG78WyVNP8Ph6nPcN18fhlyysYRCZXovqJC/YD21lhIuqnTUWc+f+vijDnCXC3CJhwEZDbGdJuWDAJxGoKvnfor+OoUAuh4eY6IbjFHiVqP9g04oLWiSFNEf/CgzI7GZ6FhTJh02Aq9eTpo1cDHbIaeM17GmmS8iyNyXfoVYh4e5qE6kTCCIBNLMz7jDqPJW/wowb4YHTivmi9Kkl1oOuo3tYp9yeIGV2OlabHLJjjFVbi6kbd5g2YtcPchBYdt9xsGl93YS2lX+Iu/yifh1ouAGT7B56TpyOUqAjwu6TbFeZBZXoCHRocQ+oIHk0kL3jmrsBqDURPLIrfrnhwWB4CqW2D3o5uGsyT7PC92pswck5ImdYCKDyb2U6vhkPAVk0b3e7scIi1xSbWYznrXft4Cmss+7cl1ZQ7kOrK1ZbG2O/0NbigSx5G6RwnrQAyFhZnmBQ0q6JOGw4nYqRL6IWdMiCqi08O0IG59r6x7BfaiJTTzn1LlYbZDBcl6z51EwAsGwUlsmTrWPcL/1/q6YAdhnPmDr4J6rzbRNKAdHhBQSYSl7gJ3nu2QSNjjheVQ8Tm6T2YlL6ZdWlPBVYyfJIqJRNbVjHiuObjVThqf7S1G0XryvUCDX05Ak9SoQviMEFBC+fqxLlz412UxZp3py/Dulesm3aJJhWCjlnfiFspaM22Mfv+xlgq4LG4MbzjZDOK7G/tRRe2mJctPeKa3HtT8J1n6V8OuOCUgq5RjeSrJk21s37fNOqNyTd3CF2DkKg26EEJmm8M64o/vQZTCh8FpVyxx1FQUWEhqTuryiG/27svgZArq1j8NG7tPxMlj+v113VyqIEvq+KDS/PzDU6cVVky0o6SPnSbsj0s4/JoXtrynu8iapSh1TGBWd1iE5VVQPvzYSW7Y/hwcU/nTPxTymxlP76y53n2YO7w/nsaMtK3Cae0VOR5+eARfUaQn2dn3dpmE4Kud6sT91ZsZ8ISsMYorUoAmPODEzkwUANqlG8OxDgSW1C5HMGgWdMThlG64Tgq4xl3FTm9rLySpk6FIaN/shlxzETbwCSL33cka4ICBv9JLtgO5jYwt7EOBAIC1Yj1TIqDQNZ9tZeRKT1MuoAenDSbxsNcod8btZDxwrTbaJdY3gq/nPSsogEAbGGcsutwdIuZkFhkA65b+5SKqXJCv4AQgWXISqIr81c7aFPwle2O2apJ6TPezrFTe9rS+BQL+l7iDfR/whjluX88yqajV+L5Ks8SbxH88DsswBcqcd+3CFOjj7bcgjyk/2MsSQFDQm0HBn8TlltZrwOOv1ndDaem9fEWfyOdi+QpvnNnCgUqNcvquA+mtuLGPh1UyM0vQdN5Gh6WcuIGLDBmYmDmzoypfuyjXhVK8+5QK27Qi9R7vMRmR3lQADnVYv337EAdT09XAQ2sbIx6zHIrjowkxzUJ6mFKi3oiwozspyUiH7WW2Cz5ettob6ReUqHqyBxIePtLD2SKdCC06Sd+Dr3c9MS0gRklqNd1e61hTZdUeOcW6LNRcfFy3DPqqZ/5LoycluSIpBZ+rgpHn7FcnhgRd/+U2sj1tttc/Mu/IXWRjMHd08nvMj502PYNAXoO/1pCrWRQNuP1gfKUeRfmV0lp5vupUSuVLwykbNTSFcZDVCPfZHUuxJE52gzAElLiSvfYAFPKaKtTInw8fnZjmNQDPVBJOW1SDXZjZEhvkIe2V/QyY238Weqz6hxXGsv6j3eaO8q2eewCLJKO1KESPfMdfzad2BrB4CBiPNKFd2xyUmyEOj4sEwoYCNiILAEYxOWGUDIA2czlvzoRythwRnQ1Yen8svo9w7YeRpTx25GB/OTfmyQjxBez5e8diK2BqsU16sOZo5Gfnyn6hJzWJBm+TgNYRDBXP629qiCq43Lk95EX37jtu5Gnz8QLoLeMyTEEFw/mIgtPt0WPhHfexPDiYxDG/JwthMRW0gy6pV+kzOjtKDwXS2leJgqMM75ovEVN7EGCCd6Svmnvb8bSvLUXfm+bF/0/PAMj1mXkI0wltCwbO1B2qroMScOmNaLxeePCn4O1SOkY3PLqIcROP0XNR9j2c3vliXl60BxmD92dJkCj/636b1rZblvitxkLyr4GyPWRL7vyQNEaTqteY8Q/MuggSxUtjjz0gGx8M3IE9qFjWOsEx9qBXjmf1mBD1o+oMrGtNJUcWJxvttwGqpL4ngM51NCLKl3irD2wr/0Q+yF9a7Cbk3A+pj2V3wvR+qsHOPsTX+2/dtZJn1kH226WYR9W08xvnp17Bx6wgm8bD58LY3WSx3Ef72wDzkjBWRdls9rlB5o7GdG610dIA5RZTjD+uSgjhUWzJ0lYytadusCbJhBAhq9DTGMiLaBHhgnvm7RMzhQt6FVLk3FamUsCHjpn1oztk75ERLj5S0AVthjD5mhCZs8IapmQCFQlYqE5wV0S8SF14qM1Pvn7JrpCJymXOUp4FZNqc2DALPRl6mjN4+rBTNJptL1EUe5GJw97OhM2dRrGLzS4FQsp87LGu0kDiNS34Z+Ao/5iOPKnyWQvbzQjDoPtLEdbrAmIz8ItpPoC/58XGMIi21rnx2ot32n5NGTkN2Co2zYGKacMhy4PKm4MoDtUuX0sgLaiVI8RFTs7ZkFcFC7G82xP3iChjFYI0J0Ir0U7kulDmrt7aDqYAjY8RIQUsYJRkOnzMKxrm/m986olYF+NhW+LB2JWnVQ9cVoW+Sa7aqOchXdCVt5iLGhOm7Q74yuBha2CyBp3effszVGfsm0yBOh+hDedFaZtEBnxlKK6vkO8kpElx0S4P1C+Y1/6quwZ1wnScjK4nBAInRTNyUYVw2rpwbq0IMC8gqUkd0SODdAPdRLXFUnMad2OsxSKevsEyyQodWm+w7TvHGpzuWKlkkWL4Y+c9R+Ctz3Q3buJHnPTvZWO5kz5jhuLFdEzovCMMLO55j+/kytNr8vYpdClOUUrlxIcBHFmmwLWVLWCIgK9d9pBGuMYdrFaPU/J8d6t4aUcTYXqh9PGGzrVGixcgGqWTwvWitRJ+JEcBO/zp7dAwqDHKb4dEPfk3lJUkgAXC15SR3eiA4pASJg7rsRMIWK8p3u3qaIQGRPaJgJnUfUEVYekBGPKaEfC0QrVHf0yPkj0JlZVMS1R94tStNAuWb0I64iQrIy8rneoZCablJMndNew0Q2KsIh7YZUzfLRqfgUOQYg78oSH32BBMNoqmxaxwBajpxF8qJI7FBhII8vpIXP3jXEBz4Yd01sx6p2F4Ml6H0K8iI+WDrp/6N/yJMP9vJJbOTtRz5wmzWZjyNaMwXb0WWurt6pJ8SN4e9LZqq4qeBCpr9fTVHjIZcEZMN5LPj0IHlqGdPpueY3fIghfg7Zhw8qN0kHW4J05On8p/oHN86gMZou7uGZBbpVXmbUd3vZpTJh+K4nBR8L+ghHSHsTjsdahq7DeR8QEys5zLuGwabXni4oD12T02/91ZAtQ2lNeLUrMGpx1EOwGoFGjdmoR8m3DdHdVCn3nwxQhmkZOicwXXKOuRX52N78QP2vz40nis9W+Bx5sELvtHlOW7aUkGFjExNvnBCGgFTxwqz16Vr77aHa7FOol+PbbH3mQ/9hCTynF3/PkMa9QUgYiVrwfIAvqkIH7vC+wL101TT8H97H1Ct5VGCsL7Fw1qv3KjmgCAZdFyzZILnSfQNNdTOGaLrZooGB7JtDO7Hzu+cgQppN2n/OnGVbBaA6mdhfbWucKCng7gLQhKlfM8LnQDO7LeD9/2FwSLNkpGzIc8aVr+JGwS3IbZnQzYlmvvyrf4sVD6XtNdVUcRRPsLSJpzBM/KzsypD/a5mpOjSWoYmEVxKsLVOCWbFGqy507AgQF04/WWm8tIZjgFR6qheXUQ8X44n21stEC8abNId+GkuSto/D0oBccmsnh2LQvTgVnuKxATvrT7bSgjHnJSdr5t1kngw5srQkWEQmCRqQTMvkl2tuynCTxH91+bmvrbDLMX4jRe/kNDaXg9sDzjMeYeTV3Y1VsTelYaQmxVcvSZ/0iP89DC3Cq7JAUHwrxs4tZL1LgJPSAeVj0B7Jw6wSPcwCL/ZDQApdVR0DuL7taKkTx1+f6mjOBwzRbeZLCiWXcs3yhY9Pdnzqa3B4Sje1Yzdfzdk7e8ZCPoQDLzj9P5COu9QP0o+XvvJrIb3Xnf7xfuYI6Nz312duSabJOMQVZxbISHxD3UJuTS0jzEba4Ba9DlvBmOA0HeJbxj0b90q7dJOL0YX5i9aQSejqjHFmbxe6AVM13XqgULSEDf145+Ybo/JYQSD9riOYZcTX1+x92/f05ewqmxeWUIR5my2XMV8SAC6BlpAiYzOTT5X9joXntF6jQWf79CXWcs4GsK1kVgxaGzBJKAE+0xn/pmF+c/iYo+omfkgvMaQRVXQwLexOCbnQmvtpmpQcf7btW5vYIcBGHfurEWC3L3PhgR+oKjdG3Q5QTyIZ5tC838WB3Wt9YxB646+3KJrYV8Q8HRcPIlvwNAUjb+Cp7DtvxAwYKBvrM8DTov7CIVCGVKtbnazV+z8koIZRdhb+xfskeJWBEU3oOWOolsMHkQaj+w/yBg7e4/XQWvdAi9pVb2d/kVs50Fli4ZSGtu2+sJUM79KBE8GqMtxRxX1pqIJSSLvemEzLir3UnoxQNoZZ4vvuxOz2YSBNQqZQ3azNKpbBzSOzoGAXl/YHJS78/PuT4OR6E+ZsIVjwJmha45gFJtjoILROvSLV2hobd61ZwfUW/4EGdwVXdQ08Ow/3e6HKM8hDDyJKBDH/wyZnw9/NZq3J16uaGILYggm2cNKc/55aITo4+VPrCkGia/6H0XWB3EOmhCr/TIOdQ+834VwB9Gg3Q2JNSzMdsDfBtiNbjzdsj9Atln4q2YCCfnF8HwEsZaZ0fsZhJPcSPvIAC5EPiWtkKOksJrfpHoWQgq0MQgtKLf1Zh0CF8pwldiuqQd8gKAl8aiAWsFTofNklNR8B8f7E+vNmiYoMXUCFG5V0aRqjDbREwsTtahE0u5J6Ml7NkcMzJXvdVfMx4fM9b2V1ieupXMR2+0dAGv1OqbCBlCAAf4ZXByncadM7OTmP7409umFnlPgx7NdK0J5hVYtFoXoz8ERmOM4od5NU8xiN+HVdF/RCTghhzVVZNt7k7JyYHmz4vMYstTvzauSAy3+sE3jdmupqR7SvBSNeTR3M/ivxK4tOk0lcOMEQ4sDQY87CPS/dJFnSDQ4UZFivyx+6FezLz3k2jv3+me2sRZ17/FwMd4JwEWjZdLgnppcvyzRLx1JKKgp9guQanK+9NuFTG/WtSkM5dWQVIYnJkgF0rxxklfHINjOuj/cZlqC4FLIIpYc6ztMuWCjqTjE3v74ynUPuBC+j3sXg2WRpKGCNhWX6VY/lkrLofSxsRh5UKxnDUEQXcQz7jLdzGq6K0GE27kxDoqNW8b7MxYS6BYgk9Edfit0CqhF7KT4CA6LtDDpnqNAU5I2RW9ZU5mr9QAHmCA9XMgV0pZBpR6n6YNadboRV904fquQUAvoHSYs1MxmrQv30CJ++3w/5JlcsG7bBjPP1U91QSnEtNRTQmD1+dzxWtTPAJcyQoiLkxE91uW1652JWDAFnZaTf4TrQsv34SGzf4mcG2vrarU5/Lv4UFSu932/PM2suzCH/CsR1jTs7ABhLx7m5yeB574Rp4HXnLQXOQjZ0Fo97EWj/u2ewh+9hVeJcnTSVCFB0cldd13flUrGiPUaCcjZ1moq7X4KvAmjhO0qp2jPYphOwucKAyNoVKOdj3mUEUN5yx3P+DjSMkYNiQ7TZFvKdvp9AMLoNqGyP69Fix5/yoOuRcTAUw/v35BMSyVoqQJNOxNpvwTc240rILhKxDUGpANlmpzzxlygOyn+mcbKOtCbRNk9BZj59ZXZS6XOfOBgwgW30dx0KCtjIt2x4XjmabxhR8HO1d7W7hV5guRqLhy7GmOEm3nRdrT41PqcpUUEiz7nXnOq5U1jQ8sZ518iMHFw+O3pROp4AbxvdLTo9oI+ed4O+iJrlc3PP2MI4mxu7LjGLj+bIQoZK12Nt+MjzMtkONgpT4tA66x/c8lVxKaXasjkJVZ+1Lg9U8UAf4iWJTn8MOngRyQASQvZKzhVIWDALPtK4WJC40jwSLH18RocvErayL9SScpq71Ra2XtaGt79sP8lE2hY5ZLHG36NVPOX+YCB/YgHI8ZgRl3sf3TTIElOa5C+oaw9c=" title="Mekko Graphics Chart">
            <a:extLst>
              <a:ext uri="{FF2B5EF4-FFF2-40B4-BE49-F238E27FC236}">
                <a16:creationId xmlns:a16="http://schemas.microsoft.com/office/drawing/2014/main" id="{E9143B7C-3829-4020-BB23-3295746B337C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 bwMode="gray">
          <a:xfrm>
            <a:off x="351374" y="2287665"/>
            <a:ext cx="3462330" cy="4040822"/>
          </a:xfrm>
          <a:prstGeom prst="rect">
            <a:avLst/>
          </a:prstGeom>
          <a:blipFill>
            <a:blip r:embed="rId22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2" name="btfpNotesBox117243">
            <a:extLst>
              <a:ext uri="{FF2B5EF4-FFF2-40B4-BE49-F238E27FC236}">
                <a16:creationId xmlns:a16="http://schemas.microsoft.com/office/drawing/2014/main" id="{F9DCF893-1AC0-42F8-86A6-9D593F3EC19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</a:t>
            </a:r>
          </a:p>
        </p:txBody>
      </p:sp>
      <p:grpSp>
        <p:nvGrpSpPr>
          <p:cNvPr id="73" name="btfpRunningAgenda2Level526277">
            <a:extLst>
              <a:ext uri="{FF2B5EF4-FFF2-40B4-BE49-F238E27FC236}">
                <a16:creationId xmlns:a16="http://schemas.microsoft.com/office/drawing/2014/main" id="{E13AC190-AAB7-4224-98E9-B62B2387C65D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-1" y="944429"/>
            <a:ext cx="4656975" cy="257442"/>
            <a:chOff x="-1" y="876300"/>
            <a:chExt cx="4656975" cy="257442"/>
          </a:xfrm>
        </p:grpSpPr>
        <p:sp>
          <p:nvSpPr>
            <p:cNvPr id="74" name="btfpRunningAgenda2LevelBarLeft526277">
              <a:extLst>
                <a:ext uri="{FF2B5EF4-FFF2-40B4-BE49-F238E27FC236}">
                  <a16:creationId xmlns:a16="http://schemas.microsoft.com/office/drawing/2014/main" id="{91C55766-F0E8-45CD-B5D7-4E70DF26F66A}"/>
                </a:ext>
              </a:extLst>
            </p:cNvPr>
            <p:cNvSpPr/>
            <p:nvPr/>
          </p:nvSpPr>
          <p:spPr bwMode="gray">
            <a:xfrm>
              <a:off x="-1" y="876300"/>
              <a:ext cx="2122597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19116 w 1119116"/>
                <a:gd name="connsiteY0" fmla="*/ 0 h 257442"/>
                <a:gd name="connsiteX1" fmla="*/ 896080 w 1119116"/>
                <a:gd name="connsiteY1" fmla="*/ 257442 h 257442"/>
                <a:gd name="connsiteX2" fmla="*/ 0 w 1119116"/>
                <a:gd name="connsiteY2" fmla="*/ 257442 h 257442"/>
                <a:gd name="connsiteX3" fmla="*/ 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279416 w 1279416"/>
                <a:gd name="connsiteY0" fmla="*/ 0 h 257442"/>
                <a:gd name="connsiteX1" fmla="*/ 10643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457350 w 1457350"/>
                <a:gd name="connsiteY0" fmla="*/ 0 h 257442"/>
                <a:gd name="connsiteX1" fmla="*/ 1224695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793981 w 1793981"/>
                <a:gd name="connsiteY0" fmla="*/ 0 h 257442"/>
                <a:gd name="connsiteX1" fmla="*/ 1570944 w 1793981"/>
                <a:gd name="connsiteY1" fmla="*/ 257442 h 257442"/>
                <a:gd name="connsiteX2" fmla="*/ 0 w 1793981"/>
                <a:gd name="connsiteY2" fmla="*/ 257442 h 257442"/>
                <a:gd name="connsiteX3" fmla="*/ 0 w 1793981"/>
                <a:gd name="connsiteY3" fmla="*/ 0 h 257442"/>
                <a:gd name="connsiteX0" fmla="*/ 1793981 w 1793981"/>
                <a:gd name="connsiteY0" fmla="*/ 0 h 257442"/>
                <a:gd name="connsiteX1" fmla="*/ 1739260 w 1793981"/>
                <a:gd name="connsiteY1" fmla="*/ 257442 h 257442"/>
                <a:gd name="connsiteX2" fmla="*/ 0 w 1793981"/>
                <a:gd name="connsiteY2" fmla="*/ 257442 h 257442"/>
                <a:gd name="connsiteX3" fmla="*/ 0 w 1793981"/>
                <a:gd name="connsiteY3" fmla="*/ 0 h 257442"/>
                <a:gd name="connsiteX0" fmla="*/ 1793981 w 1793981"/>
                <a:gd name="connsiteY0" fmla="*/ 0 h 257442"/>
                <a:gd name="connsiteX1" fmla="*/ 1739260 w 1793981"/>
                <a:gd name="connsiteY1" fmla="*/ 257442 h 257442"/>
                <a:gd name="connsiteX2" fmla="*/ 0 w 1793981"/>
                <a:gd name="connsiteY2" fmla="*/ 257442 h 257442"/>
                <a:gd name="connsiteX3" fmla="*/ 0 w 1793981"/>
                <a:gd name="connsiteY3" fmla="*/ 0 h 257442"/>
                <a:gd name="connsiteX0" fmla="*/ 1793981 w 1793981"/>
                <a:gd name="connsiteY0" fmla="*/ 0 h 257442"/>
                <a:gd name="connsiteX1" fmla="*/ 1739260 w 1793981"/>
                <a:gd name="connsiteY1" fmla="*/ 257442 h 257442"/>
                <a:gd name="connsiteX2" fmla="*/ 0 w 1793981"/>
                <a:gd name="connsiteY2" fmla="*/ 257442 h 257442"/>
                <a:gd name="connsiteX3" fmla="*/ 0 w 1793981"/>
                <a:gd name="connsiteY3" fmla="*/ 0 h 257442"/>
                <a:gd name="connsiteX0" fmla="*/ 1962295 w 1962295"/>
                <a:gd name="connsiteY0" fmla="*/ 0 h 257442"/>
                <a:gd name="connsiteX1" fmla="*/ 1739260 w 1962295"/>
                <a:gd name="connsiteY1" fmla="*/ 257442 h 257442"/>
                <a:gd name="connsiteX2" fmla="*/ 0 w 1962295"/>
                <a:gd name="connsiteY2" fmla="*/ 257442 h 257442"/>
                <a:gd name="connsiteX3" fmla="*/ 0 w 1962295"/>
                <a:gd name="connsiteY3" fmla="*/ 0 h 257442"/>
                <a:gd name="connsiteX0" fmla="*/ 1962295 w 1962295"/>
                <a:gd name="connsiteY0" fmla="*/ 0 h 257442"/>
                <a:gd name="connsiteX1" fmla="*/ 1907574 w 1962295"/>
                <a:gd name="connsiteY1" fmla="*/ 257442 h 257442"/>
                <a:gd name="connsiteX2" fmla="*/ 0 w 1962295"/>
                <a:gd name="connsiteY2" fmla="*/ 257442 h 257442"/>
                <a:gd name="connsiteX3" fmla="*/ 0 w 1962295"/>
                <a:gd name="connsiteY3" fmla="*/ 0 h 257442"/>
                <a:gd name="connsiteX0" fmla="*/ 1962295 w 1962295"/>
                <a:gd name="connsiteY0" fmla="*/ 0 h 257442"/>
                <a:gd name="connsiteX1" fmla="*/ 1907574 w 1962295"/>
                <a:gd name="connsiteY1" fmla="*/ 257442 h 257442"/>
                <a:gd name="connsiteX2" fmla="*/ 0 w 1962295"/>
                <a:gd name="connsiteY2" fmla="*/ 257442 h 257442"/>
                <a:gd name="connsiteX3" fmla="*/ 0 w 1962295"/>
                <a:gd name="connsiteY3" fmla="*/ 0 h 257442"/>
                <a:gd name="connsiteX0" fmla="*/ 1962295 w 1962295"/>
                <a:gd name="connsiteY0" fmla="*/ 0 h 257442"/>
                <a:gd name="connsiteX1" fmla="*/ 1907574 w 1962295"/>
                <a:gd name="connsiteY1" fmla="*/ 257442 h 257442"/>
                <a:gd name="connsiteX2" fmla="*/ 0 w 1962295"/>
                <a:gd name="connsiteY2" fmla="*/ 257442 h 257442"/>
                <a:gd name="connsiteX3" fmla="*/ 0 w 1962295"/>
                <a:gd name="connsiteY3" fmla="*/ 0 h 257442"/>
                <a:gd name="connsiteX0" fmla="*/ 2122596 w 2122596"/>
                <a:gd name="connsiteY0" fmla="*/ 0 h 257442"/>
                <a:gd name="connsiteX1" fmla="*/ 1907574 w 2122596"/>
                <a:gd name="connsiteY1" fmla="*/ 257442 h 257442"/>
                <a:gd name="connsiteX2" fmla="*/ 0 w 2122596"/>
                <a:gd name="connsiteY2" fmla="*/ 257442 h 257442"/>
                <a:gd name="connsiteX3" fmla="*/ 0 w 2122596"/>
                <a:gd name="connsiteY3" fmla="*/ 0 h 257442"/>
                <a:gd name="connsiteX0" fmla="*/ 2122596 w 2122596"/>
                <a:gd name="connsiteY0" fmla="*/ 0 h 257442"/>
                <a:gd name="connsiteX1" fmla="*/ 2067874 w 2122596"/>
                <a:gd name="connsiteY1" fmla="*/ 257442 h 257442"/>
                <a:gd name="connsiteX2" fmla="*/ 0 w 2122596"/>
                <a:gd name="connsiteY2" fmla="*/ 257442 h 257442"/>
                <a:gd name="connsiteX3" fmla="*/ 0 w 2122596"/>
                <a:gd name="connsiteY3" fmla="*/ 0 h 257442"/>
                <a:gd name="connsiteX0" fmla="*/ 2122597 w 2122597"/>
                <a:gd name="connsiteY0" fmla="*/ 0 h 257442"/>
                <a:gd name="connsiteX1" fmla="*/ 2067875 w 2122597"/>
                <a:gd name="connsiteY1" fmla="*/ 257442 h 257442"/>
                <a:gd name="connsiteX2" fmla="*/ 0 w 2122597"/>
                <a:gd name="connsiteY2" fmla="*/ 257442 h 257442"/>
                <a:gd name="connsiteX3" fmla="*/ 1 w 2122597"/>
                <a:gd name="connsiteY3" fmla="*/ 0 h 257442"/>
                <a:gd name="connsiteX0" fmla="*/ 2122597 w 2122597"/>
                <a:gd name="connsiteY0" fmla="*/ 0 h 257442"/>
                <a:gd name="connsiteX1" fmla="*/ 2067875 w 2122597"/>
                <a:gd name="connsiteY1" fmla="*/ 257442 h 257442"/>
                <a:gd name="connsiteX2" fmla="*/ 0 w 2122597"/>
                <a:gd name="connsiteY2" fmla="*/ 257442 h 257442"/>
                <a:gd name="connsiteX3" fmla="*/ 1 w 2122597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2597" h="257442">
                  <a:moveTo>
                    <a:pt x="2122597" y="0"/>
                  </a:moveTo>
                  <a:lnTo>
                    <a:pt x="2067875" y="257442"/>
                  </a:lnTo>
                  <a:lnTo>
                    <a:pt x="0" y="257442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btfpRunningAgenda2LevelTextLeft526277">
              <a:extLst>
                <a:ext uri="{FF2B5EF4-FFF2-40B4-BE49-F238E27FC236}">
                  <a16:creationId xmlns:a16="http://schemas.microsoft.com/office/drawing/2014/main" id="{6E0DE3C9-B262-4C89-B2B6-71014AA2D576}"/>
                </a:ext>
              </a:extLst>
            </p:cNvPr>
            <p:cNvSpPr txBox="1"/>
            <p:nvPr/>
          </p:nvSpPr>
          <p:spPr bwMode="gray">
            <a:xfrm>
              <a:off x="0" y="876300"/>
              <a:ext cx="2067875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dvocacy</a:t>
              </a:r>
            </a:p>
          </p:txBody>
        </p:sp>
        <p:sp>
          <p:nvSpPr>
            <p:cNvPr id="76" name="btfpRunningAgenda2LevelBarRight526277">
              <a:extLst>
                <a:ext uri="{FF2B5EF4-FFF2-40B4-BE49-F238E27FC236}">
                  <a16:creationId xmlns:a16="http://schemas.microsoft.com/office/drawing/2014/main" id="{09F53611-76B7-4181-804F-5A808139CB78}"/>
                </a:ext>
              </a:extLst>
            </p:cNvPr>
            <p:cNvSpPr/>
            <p:nvPr/>
          </p:nvSpPr>
          <p:spPr bwMode="gray">
            <a:xfrm>
              <a:off x="1987754" y="876300"/>
              <a:ext cx="2669220" cy="257442"/>
            </a:xfrm>
            <a:custGeom>
              <a:avLst/>
              <a:gdLst>
                <a:gd name="connsiteX0" fmla="*/ 95080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50801 w 2313135"/>
                <a:gd name="connsiteY0" fmla="*/ 0 h 257442"/>
                <a:gd name="connsiteX1" fmla="*/ 89608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1 w 950800"/>
                <a:gd name="connsiteY3" fmla="*/ 0 h 257442"/>
                <a:gd name="connsiteX0" fmla="*/ 1111100 w 1111100"/>
                <a:gd name="connsiteY0" fmla="*/ 0 h 257442"/>
                <a:gd name="connsiteX1" fmla="*/ 896079 w 1111100"/>
                <a:gd name="connsiteY1" fmla="*/ 257442 h 257442"/>
                <a:gd name="connsiteX2" fmla="*/ 0 w 1111100"/>
                <a:gd name="connsiteY2" fmla="*/ 257442 h 257442"/>
                <a:gd name="connsiteX3" fmla="*/ 54721 w 1111100"/>
                <a:gd name="connsiteY3" fmla="*/ 0 h 257442"/>
                <a:gd name="connsiteX0" fmla="*/ 1111100 w 1111100"/>
                <a:gd name="connsiteY0" fmla="*/ 0 h 257442"/>
                <a:gd name="connsiteX1" fmla="*/ 1056379 w 1111100"/>
                <a:gd name="connsiteY1" fmla="*/ 257442 h 257442"/>
                <a:gd name="connsiteX2" fmla="*/ 0 w 1111100"/>
                <a:gd name="connsiteY2" fmla="*/ 257442 h 257442"/>
                <a:gd name="connsiteX3" fmla="*/ 54721 w 1111100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2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2 w 1111101"/>
                <a:gd name="connsiteY3" fmla="*/ 0 h 257442"/>
                <a:gd name="connsiteX0" fmla="*/ 1271403 w 1271403"/>
                <a:gd name="connsiteY0" fmla="*/ 0 h 257442"/>
                <a:gd name="connsiteX1" fmla="*/ 1056380 w 1271403"/>
                <a:gd name="connsiteY1" fmla="*/ 257442 h 257442"/>
                <a:gd name="connsiteX2" fmla="*/ 0 w 1271403"/>
                <a:gd name="connsiteY2" fmla="*/ 257442 h 257442"/>
                <a:gd name="connsiteX3" fmla="*/ 54722 w 1271403"/>
                <a:gd name="connsiteY3" fmla="*/ 0 h 257442"/>
                <a:gd name="connsiteX0" fmla="*/ 1271403 w 1271403"/>
                <a:gd name="connsiteY0" fmla="*/ 0 h 257442"/>
                <a:gd name="connsiteX1" fmla="*/ 1216682 w 1271403"/>
                <a:gd name="connsiteY1" fmla="*/ 257442 h 257442"/>
                <a:gd name="connsiteX2" fmla="*/ 0 w 1271403"/>
                <a:gd name="connsiteY2" fmla="*/ 257442 h 257442"/>
                <a:gd name="connsiteX3" fmla="*/ 54722 w 1271403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0 w 1271402"/>
                <a:gd name="connsiteY3" fmla="*/ 0 h 257442"/>
                <a:gd name="connsiteX0" fmla="*/ 950800 w 1216681"/>
                <a:gd name="connsiteY0" fmla="*/ 0 h 257442"/>
                <a:gd name="connsiteX1" fmla="*/ 1216681 w 1216681"/>
                <a:gd name="connsiteY1" fmla="*/ 257442 h 257442"/>
                <a:gd name="connsiteX2" fmla="*/ 0 w 1216681"/>
                <a:gd name="connsiteY2" fmla="*/ 257442 h 257442"/>
                <a:gd name="connsiteX3" fmla="*/ 54720 w 1216681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54721 w 950800"/>
                <a:gd name="connsiteY3" fmla="*/ 0 h 257442"/>
                <a:gd name="connsiteX0" fmla="*/ 1128734 w 1128734"/>
                <a:gd name="connsiteY0" fmla="*/ 0 h 257442"/>
                <a:gd name="connsiteX1" fmla="*/ 896080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314682 w 1314682"/>
                <a:gd name="connsiteY0" fmla="*/ 0 h 257442"/>
                <a:gd name="connsiteX1" fmla="*/ 1074013 w 1314682"/>
                <a:gd name="connsiteY1" fmla="*/ 257442 h 257442"/>
                <a:gd name="connsiteX2" fmla="*/ 0 w 1314682"/>
                <a:gd name="connsiteY2" fmla="*/ 257442 h 257442"/>
                <a:gd name="connsiteX3" fmla="*/ 54721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54721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54721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54721 w 1314682"/>
                <a:gd name="connsiteY3" fmla="*/ 0 h 257442"/>
                <a:gd name="connsiteX0" fmla="*/ 1500631 w 1500631"/>
                <a:gd name="connsiteY0" fmla="*/ 0 h 257442"/>
                <a:gd name="connsiteX1" fmla="*/ 1259961 w 1500631"/>
                <a:gd name="connsiteY1" fmla="*/ 257442 h 257442"/>
                <a:gd name="connsiteX2" fmla="*/ 0 w 1500631"/>
                <a:gd name="connsiteY2" fmla="*/ 257442 h 257442"/>
                <a:gd name="connsiteX3" fmla="*/ 54721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54721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54721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54721 w 1500631"/>
                <a:gd name="connsiteY3" fmla="*/ 0 h 257442"/>
                <a:gd name="connsiteX0" fmla="*/ 1660931 w 1660931"/>
                <a:gd name="connsiteY0" fmla="*/ 0 h 257442"/>
                <a:gd name="connsiteX1" fmla="*/ 1445910 w 1660931"/>
                <a:gd name="connsiteY1" fmla="*/ 257442 h 257442"/>
                <a:gd name="connsiteX2" fmla="*/ 0 w 1660931"/>
                <a:gd name="connsiteY2" fmla="*/ 257442 h 257442"/>
                <a:gd name="connsiteX3" fmla="*/ 54721 w 1660931"/>
                <a:gd name="connsiteY3" fmla="*/ 0 h 257442"/>
                <a:gd name="connsiteX0" fmla="*/ 1660931 w 1660931"/>
                <a:gd name="connsiteY0" fmla="*/ 0 h 257442"/>
                <a:gd name="connsiteX1" fmla="*/ 1606210 w 1660931"/>
                <a:gd name="connsiteY1" fmla="*/ 257442 h 257442"/>
                <a:gd name="connsiteX2" fmla="*/ 0 w 1660931"/>
                <a:gd name="connsiteY2" fmla="*/ 257442 h 257442"/>
                <a:gd name="connsiteX3" fmla="*/ 54721 w 1660931"/>
                <a:gd name="connsiteY3" fmla="*/ 0 h 257442"/>
                <a:gd name="connsiteX0" fmla="*/ 1660931 w 1660931"/>
                <a:gd name="connsiteY0" fmla="*/ 0 h 257442"/>
                <a:gd name="connsiteX1" fmla="*/ 1606210 w 1660931"/>
                <a:gd name="connsiteY1" fmla="*/ 257442 h 257442"/>
                <a:gd name="connsiteX2" fmla="*/ 0 w 1660931"/>
                <a:gd name="connsiteY2" fmla="*/ 257442 h 257442"/>
                <a:gd name="connsiteX3" fmla="*/ 54721 w 1660931"/>
                <a:gd name="connsiteY3" fmla="*/ 0 h 257442"/>
                <a:gd name="connsiteX0" fmla="*/ 1660931 w 1660931"/>
                <a:gd name="connsiteY0" fmla="*/ 0 h 257442"/>
                <a:gd name="connsiteX1" fmla="*/ 1606210 w 1660931"/>
                <a:gd name="connsiteY1" fmla="*/ 257442 h 257442"/>
                <a:gd name="connsiteX2" fmla="*/ 0 w 1660931"/>
                <a:gd name="connsiteY2" fmla="*/ 257442 h 257442"/>
                <a:gd name="connsiteX3" fmla="*/ 54721 w 1660931"/>
                <a:gd name="connsiteY3" fmla="*/ 0 h 257442"/>
                <a:gd name="connsiteX0" fmla="*/ 1829247 w 1829247"/>
                <a:gd name="connsiteY0" fmla="*/ 0 h 257442"/>
                <a:gd name="connsiteX1" fmla="*/ 1606210 w 1829247"/>
                <a:gd name="connsiteY1" fmla="*/ 257442 h 257442"/>
                <a:gd name="connsiteX2" fmla="*/ 0 w 1829247"/>
                <a:gd name="connsiteY2" fmla="*/ 257442 h 257442"/>
                <a:gd name="connsiteX3" fmla="*/ 54721 w 1829247"/>
                <a:gd name="connsiteY3" fmla="*/ 0 h 257442"/>
                <a:gd name="connsiteX0" fmla="*/ 1829247 w 1829247"/>
                <a:gd name="connsiteY0" fmla="*/ 0 h 257442"/>
                <a:gd name="connsiteX1" fmla="*/ 1774526 w 1829247"/>
                <a:gd name="connsiteY1" fmla="*/ 257442 h 257442"/>
                <a:gd name="connsiteX2" fmla="*/ 0 w 1829247"/>
                <a:gd name="connsiteY2" fmla="*/ 257442 h 257442"/>
                <a:gd name="connsiteX3" fmla="*/ 54721 w 1829247"/>
                <a:gd name="connsiteY3" fmla="*/ 0 h 257442"/>
                <a:gd name="connsiteX0" fmla="*/ 1829247 w 1829247"/>
                <a:gd name="connsiteY0" fmla="*/ 0 h 257442"/>
                <a:gd name="connsiteX1" fmla="*/ 1774526 w 1829247"/>
                <a:gd name="connsiteY1" fmla="*/ 257442 h 257442"/>
                <a:gd name="connsiteX2" fmla="*/ 0 w 1829247"/>
                <a:gd name="connsiteY2" fmla="*/ 257442 h 257442"/>
                <a:gd name="connsiteX3" fmla="*/ 54721 w 1829247"/>
                <a:gd name="connsiteY3" fmla="*/ 0 h 257442"/>
                <a:gd name="connsiteX0" fmla="*/ 1829247 w 1829247"/>
                <a:gd name="connsiteY0" fmla="*/ 0 h 257442"/>
                <a:gd name="connsiteX1" fmla="*/ 1774526 w 1829247"/>
                <a:gd name="connsiteY1" fmla="*/ 257442 h 257442"/>
                <a:gd name="connsiteX2" fmla="*/ 0 w 1829247"/>
                <a:gd name="connsiteY2" fmla="*/ 257442 h 257442"/>
                <a:gd name="connsiteX3" fmla="*/ 54721 w 1829247"/>
                <a:gd name="connsiteY3" fmla="*/ 0 h 257442"/>
                <a:gd name="connsiteX0" fmla="*/ 2149847 w 2149847"/>
                <a:gd name="connsiteY0" fmla="*/ 0 h 257442"/>
                <a:gd name="connsiteX1" fmla="*/ 1774526 w 2149847"/>
                <a:gd name="connsiteY1" fmla="*/ 257442 h 257442"/>
                <a:gd name="connsiteX2" fmla="*/ 0 w 2149847"/>
                <a:gd name="connsiteY2" fmla="*/ 257442 h 257442"/>
                <a:gd name="connsiteX3" fmla="*/ 54721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54721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54721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54721 w 2149847"/>
                <a:gd name="connsiteY3" fmla="*/ 0 h 257442"/>
                <a:gd name="connsiteX0" fmla="*/ 1981532 w 2095126"/>
                <a:gd name="connsiteY0" fmla="*/ 0 h 257442"/>
                <a:gd name="connsiteX1" fmla="*/ 2095126 w 2095126"/>
                <a:gd name="connsiteY1" fmla="*/ 257442 h 257442"/>
                <a:gd name="connsiteX2" fmla="*/ 0 w 2095126"/>
                <a:gd name="connsiteY2" fmla="*/ 257442 h 257442"/>
                <a:gd name="connsiteX3" fmla="*/ 54721 w 2095126"/>
                <a:gd name="connsiteY3" fmla="*/ 0 h 257442"/>
                <a:gd name="connsiteX0" fmla="*/ 1981532 w 1981532"/>
                <a:gd name="connsiteY0" fmla="*/ 0 h 257442"/>
                <a:gd name="connsiteX1" fmla="*/ 1926811 w 1981532"/>
                <a:gd name="connsiteY1" fmla="*/ 257442 h 257442"/>
                <a:gd name="connsiteX2" fmla="*/ 0 w 1981532"/>
                <a:gd name="connsiteY2" fmla="*/ 257442 h 257442"/>
                <a:gd name="connsiteX3" fmla="*/ 54721 w 1981532"/>
                <a:gd name="connsiteY3" fmla="*/ 0 h 257442"/>
                <a:gd name="connsiteX0" fmla="*/ 1981532 w 1981532"/>
                <a:gd name="connsiteY0" fmla="*/ 0 h 257442"/>
                <a:gd name="connsiteX1" fmla="*/ 1926811 w 1981532"/>
                <a:gd name="connsiteY1" fmla="*/ 257442 h 257442"/>
                <a:gd name="connsiteX2" fmla="*/ 0 w 1981532"/>
                <a:gd name="connsiteY2" fmla="*/ 257442 h 257442"/>
                <a:gd name="connsiteX3" fmla="*/ 54721 w 1981532"/>
                <a:gd name="connsiteY3" fmla="*/ 0 h 257442"/>
                <a:gd name="connsiteX0" fmla="*/ 1981532 w 1981532"/>
                <a:gd name="connsiteY0" fmla="*/ 0 h 257442"/>
                <a:gd name="connsiteX1" fmla="*/ 1926811 w 1981532"/>
                <a:gd name="connsiteY1" fmla="*/ 257442 h 257442"/>
                <a:gd name="connsiteX2" fmla="*/ 0 w 1981532"/>
                <a:gd name="connsiteY2" fmla="*/ 257442 h 257442"/>
                <a:gd name="connsiteX3" fmla="*/ 54721 w 1981532"/>
                <a:gd name="connsiteY3" fmla="*/ 0 h 257442"/>
                <a:gd name="connsiteX0" fmla="*/ 1829247 w 1926811"/>
                <a:gd name="connsiteY0" fmla="*/ 0 h 257442"/>
                <a:gd name="connsiteX1" fmla="*/ 1926811 w 1926811"/>
                <a:gd name="connsiteY1" fmla="*/ 257442 h 257442"/>
                <a:gd name="connsiteX2" fmla="*/ 0 w 1926811"/>
                <a:gd name="connsiteY2" fmla="*/ 257442 h 257442"/>
                <a:gd name="connsiteX3" fmla="*/ 54721 w 1926811"/>
                <a:gd name="connsiteY3" fmla="*/ 0 h 257442"/>
                <a:gd name="connsiteX0" fmla="*/ 1829247 w 1829247"/>
                <a:gd name="connsiteY0" fmla="*/ 0 h 257442"/>
                <a:gd name="connsiteX1" fmla="*/ 1774527 w 1829247"/>
                <a:gd name="connsiteY1" fmla="*/ 257442 h 257442"/>
                <a:gd name="connsiteX2" fmla="*/ 0 w 1829247"/>
                <a:gd name="connsiteY2" fmla="*/ 257442 h 257442"/>
                <a:gd name="connsiteX3" fmla="*/ 54721 w 1829247"/>
                <a:gd name="connsiteY3" fmla="*/ 0 h 257442"/>
                <a:gd name="connsiteX0" fmla="*/ 1829246 w 1829246"/>
                <a:gd name="connsiteY0" fmla="*/ 0 h 257442"/>
                <a:gd name="connsiteX1" fmla="*/ 1774526 w 1829246"/>
                <a:gd name="connsiteY1" fmla="*/ 257442 h 257442"/>
                <a:gd name="connsiteX2" fmla="*/ 0 w 1829246"/>
                <a:gd name="connsiteY2" fmla="*/ 257442 h 257442"/>
                <a:gd name="connsiteX3" fmla="*/ 54720 w 1829246"/>
                <a:gd name="connsiteY3" fmla="*/ 0 h 257442"/>
                <a:gd name="connsiteX0" fmla="*/ 1829246 w 1829246"/>
                <a:gd name="connsiteY0" fmla="*/ 0 h 257442"/>
                <a:gd name="connsiteX1" fmla="*/ 1774526 w 1829246"/>
                <a:gd name="connsiteY1" fmla="*/ 257442 h 257442"/>
                <a:gd name="connsiteX2" fmla="*/ 0 w 1829246"/>
                <a:gd name="connsiteY2" fmla="*/ 257442 h 257442"/>
                <a:gd name="connsiteX3" fmla="*/ 54720 w 1829246"/>
                <a:gd name="connsiteY3" fmla="*/ 0 h 257442"/>
                <a:gd name="connsiteX0" fmla="*/ 2138433 w 2138433"/>
                <a:gd name="connsiteY0" fmla="*/ 0 h 257442"/>
                <a:gd name="connsiteX1" fmla="*/ 1774526 w 2138433"/>
                <a:gd name="connsiteY1" fmla="*/ 257442 h 257442"/>
                <a:gd name="connsiteX2" fmla="*/ 0 w 2138433"/>
                <a:gd name="connsiteY2" fmla="*/ 257442 h 257442"/>
                <a:gd name="connsiteX3" fmla="*/ 54720 w 2138433"/>
                <a:gd name="connsiteY3" fmla="*/ 0 h 257442"/>
                <a:gd name="connsiteX0" fmla="*/ 2138433 w 2138433"/>
                <a:gd name="connsiteY0" fmla="*/ 0 h 257442"/>
                <a:gd name="connsiteX1" fmla="*/ 2083712 w 2138433"/>
                <a:gd name="connsiteY1" fmla="*/ 257442 h 257442"/>
                <a:gd name="connsiteX2" fmla="*/ 0 w 2138433"/>
                <a:gd name="connsiteY2" fmla="*/ 257442 h 257442"/>
                <a:gd name="connsiteX3" fmla="*/ 54720 w 2138433"/>
                <a:gd name="connsiteY3" fmla="*/ 0 h 257442"/>
                <a:gd name="connsiteX0" fmla="*/ 2138434 w 2138434"/>
                <a:gd name="connsiteY0" fmla="*/ 0 h 257442"/>
                <a:gd name="connsiteX1" fmla="*/ 2083713 w 2138434"/>
                <a:gd name="connsiteY1" fmla="*/ 257442 h 257442"/>
                <a:gd name="connsiteX2" fmla="*/ 0 w 2138434"/>
                <a:gd name="connsiteY2" fmla="*/ 257442 h 257442"/>
                <a:gd name="connsiteX3" fmla="*/ 54721 w 2138434"/>
                <a:gd name="connsiteY3" fmla="*/ 0 h 257442"/>
                <a:gd name="connsiteX0" fmla="*/ 2138434 w 2138434"/>
                <a:gd name="connsiteY0" fmla="*/ 0 h 257442"/>
                <a:gd name="connsiteX1" fmla="*/ 2083713 w 2138434"/>
                <a:gd name="connsiteY1" fmla="*/ 257442 h 257442"/>
                <a:gd name="connsiteX2" fmla="*/ 0 w 2138434"/>
                <a:gd name="connsiteY2" fmla="*/ 257442 h 257442"/>
                <a:gd name="connsiteX3" fmla="*/ 54721 w 2138434"/>
                <a:gd name="connsiteY3" fmla="*/ 0 h 257442"/>
                <a:gd name="connsiteX0" fmla="*/ 2306749 w 2306749"/>
                <a:gd name="connsiteY0" fmla="*/ 0 h 257442"/>
                <a:gd name="connsiteX1" fmla="*/ 2083713 w 2306749"/>
                <a:gd name="connsiteY1" fmla="*/ 257442 h 257442"/>
                <a:gd name="connsiteX2" fmla="*/ 0 w 2306749"/>
                <a:gd name="connsiteY2" fmla="*/ 257442 h 257442"/>
                <a:gd name="connsiteX3" fmla="*/ 54721 w 2306749"/>
                <a:gd name="connsiteY3" fmla="*/ 0 h 257442"/>
                <a:gd name="connsiteX0" fmla="*/ 2306749 w 2306749"/>
                <a:gd name="connsiteY0" fmla="*/ 0 h 257442"/>
                <a:gd name="connsiteX1" fmla="*/ 2252028 w 2306749"/>
                <a:gd name="connsiteY1" fmla="*/ 257442 h 257442"/>
                <a:gd name="connsiteX2" fmla="*/ 0 w 2306749"/>
                <a:gd name="connsiteY2" fmla="*/ 257442 h 257442"/>
                <a:gd name="connsiteX3" fmla="*/ 54721 w 2306749"/>
                <a:gd name="connsiteY3" fmla="*/ 0 h 257442"/>
                <a:gd name="connsiteX0" fmla="*/ 2306749 w 2306749"/>
                <a:gd name="connsiteY0" fmla="*/ 0 h 257442"/>
                <a:gd name="connsiteX1" fmla="*/ 2252028 w 2306749"/>
                <a:gd name="connsiteY1" fmla="*/ 257442 h 257442"/>
                <a:gd name="connsiteX2" fmla="*/ 0 w 2306749"/>
                <a:gd name="connsiteY2" fmla="*/ 257442 h 257442"/>
                <a:gd name="connsiteX3" fmla="*/ 54721 w 2306749"/>
                <a:gd name="connsiteY3" fmla="*/ 0 h 257442"/>
                <a:gd name="connsiteX0" fmla="*/ 2306749 w 2306749"/>
                <a:gd name="connsiteY0" fmla="*/ 0 h 257442"/>
                <a:gd name="connsiteX1" fmla="*/ 2252028 w 2306749"/>
                <a:gd name="connsiteY1" fmla="*/ 257442 h 257442"/>
                <a:gd name="connsiteX2" fmla="*/ 0 w 2306749"/>
                <a:gd name="connsiteY2" fmla="*/ 257442 h 257442"/>
                <a:gd name="connsiteX3" fmla="*/ 54721 w 2306749"/>
                <a:gd name="connsiteY3" fmla="*/ 0 h 257442"/>
                <a:gd name="connsiteX0" fmla="*/ 950801 w 2252028"/>
                <a:gd name="connsiteY0" fmla="*/ 0 h 257442"/>
                <a:gd name="connsiteX1" fmla="*/ 2252028 w 2252028"/>
                <a:gd name="connsiteY1" fmla="*/ 257442 h 257442"/>
                <a:gd name="connsiteX2" fmla="*/ 0 w 2252028"/>
                <a:gd name="connsiteY2" fmla="*/ 257442 h 257442"/>
                <a:gd name="connsiteX3" fmla="*/ 54721 w 2252028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1111100 w 1111100"/>
                <a:gd name="connsiteY0" fmla="*/ 0 h 257442"/>
                <a:gd name="connsiteX1" fmla="*/ 896079 w 1111100"/>
                <a:gd name="connsiteY1" fmla="*/ 257442 h 257442"/>
                <a:gd name="connsiteX2" fmla="*/ 0 w 1111100"/>
                <a:gd name="connsiteY2" fmla="*/ 257442 h 257442"/>
                <a:gd name="connsiteX3" fmla="*/ 54720 w 1111100"/>
                <a:gd name="connsiteY3" fmla="*/ 0 h 257442"/>
                <a:gd name="connsiteX0" fmla="*/ 1111100 w 1111100"/>
                <a:gd name="connsiteY0" fmla="*/ 0 h 257442"/>
                <a:gd name="connsiteX1" fmla="*/ 1056379 w 1111100"/>
                <a:gd name="connsiteY1" fmla="*/ 257442 h 257442"/>
                <a:gd name="connsiteX2" fmla="*/ 0 w 1111100"/>
                <a:gd name="connsiteY2" fmla="*/ 257442 h 257442"/>
                <a:gd name="connsiteX3" fmla="*/ 54720 w 1111100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2 w 1111101"/>
                <a:gd name="connsiteY3" fmla="*/ 0 h 257442"/>
                <a:gd name="connsiteX0" fmla="*/ 1271403 w 1271403"/>
                <a:gd name="connsiteY0" fmla="*/ 0 h 257442"/>
                <a:gd name="connsiteX1" fmla="*/ 1056380 w 1271403"/>
                <a:gd name="connsiteY1" fmla="*/ 257442 h 257442"/>
                <a:gd name="connsiteX2" fmla="*/ 0 w 1271403"/>
                <a:gd name="connsiteY2" fmla="*/ 257442 h 257442"/>
                <a:gd name="connsiteX3" fmla="*/ 54722 w 1271403"/>
                <a:gd name="connsiteY3" fmla="*/ 0 h 257442"/>
                <a:gd name="connsiteX0" fmla="*/ 1271403 w 1271403"/>
                <a:gd name="connsiteY0" fmla="*/ 0 h 257442"/>
                <a:gd name="connsiteX1" fmla="*/ 1216682 w 1271403"/>
                <a:gd name="connsiteY1" fmla="*/ 257442 h 257442"/>
                <a:gd name="connsiteX2" fmla="*/ 0 w 1271403"/>
                <a:gd name="connsiteY2" fmla="*/ 257442 h 257442"/>
                <a:gd name="connsiteX3" fmla="*/ 54722 w 1271403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0 w 1271402"/>
                <a:gd name="connsiteY3" fmla="*/ 0 h 257442"/>
                <a:gd name="connsiteX0" fmla="*/ 1481394 w 1481394"/>
                <a:gd name="connsiteY0" fmla="*/ 0 h 257442"/>
                <a:gd name="connsiteX1" fmla="*/ 1216681 w 1481394"/>
                <a:gd name="connsiteY1" fmla="*/ 257442 h 257442"/>
                <a:gd name="connsiteX2" fmla="*/ 0 w 1481394"/>
                <a:gd name="connsiteY2" fmla="*/ 257442 h 257442"/>
                <a:gd name="connsiteX3" fmla="*/ 54720 w 1481394"/>
                <a:gd name="connsiteY3" fmla="*/ 0 h 257442"/>
                <a:gd name="connsiteX0" fmla="*/ 1481394 w 1481394"/>
                <a:gd name="connsiteY0" fmla="*/ 0 h 257442"/>
                <a:gd name="connsiteX1" fmla="*/ 1426673 w 1481394"/>
                <a:gd name="connsiteY1" fmla="*/ 257442 h 257442"/>
                <a:gd name="connsiteX2" fmla="*/ 0 w 1481394"/>
                <a:gd name="connsiteY2" fmla="*/ 257442 h 257442"/>
                <a:gd name="connsiteX3" fmla="*/ 54720 w 1481394"/>
                <a:gd name="connsiteY3" fmla="*/ 0 h 257442"/>
                <a:gd name="connsiteX0" fmla="*/ 1481395 w 1481395"/>
                <a:gd name="connsiteY0" fmla="*/ 0 h 257442"/>
                <a:gd name="connsiteX1" fmla="*/ 1426674 w 1481395"/>
                <a:gd name="connsiteY1" fmla="*/ 257442 h 257442"/>
                <a:gd name="connsiteX2" fmla="*/ 0 w 1481395"/>
                <a:gd name="connsiteY2" fmla="*/ 257442 h 257442"/>
                <a:gd name="connsiteX3" fmla="*/ 54721 w 1481395"/>
                <a:gd name="connsiteY3" fmla="*/ 0 h 257442"/>
                <a:gd name="connsiteX0" fmla="*/ 1481395 w 1481395"/>
                <a:gd name="connsiteY0" fmla="*/ 0 h 257442"/>
                <a:gd name="connsiteX1" fmla="*/ 1426674 w 1481395"/>
                <a:gd name="connsiteY1" fmla="*/ 257442 h 257442"/>
                <a:gd name="connsiteX2" fmla="*/ 0 w 1481395"/>
                <a:gd name="connsiteY2" fmla="*/ 257442 h 257442"/>
                <a:gd name="connsiteX3" fmla="*/ 54722 w 1481395"/>
                <a:gd name="connsiteY3" fmla="*/ 0 h 257442"/>
                <a:gd name="connsiteX0" fmla="*/ 1750700 w 1750700"/>
                <a:gd name="connsiteY0" fmla="*/ 0 h 257442"/>
                <a:gd name="connsiteX1" fmla="*/ 1426674 w 1750700"/>
                <a:gd name="connsiteY1" fmla="*/ 257442 h 257442"/>
                <a:gd name="connsiteX2" fmla="*/ 0 w 1750700"/>
                <a:gd name="connsiteY2" fmla="*/ 257442 h 257442"/>
                <a:gd name="connsiteX3" fmla="*/ 54722 w 1750700"/>
                <a:gd name="connsiteY3" fmla="*/ 0 h 257442"/>
                <a:gd name="connsiteX0" fmla="*/ 1750700 w 1750700"/>
                <a:gd name="connsiteY0" fmla="*/ 0 h 257442"/>
                <a:gd name="connsiteX1" fmla="*/ 1695978 w 1750700"/>
                <a:gd name="connsiteY1" fmla="*/ 257442 h 257442"/>
                <a:gd name="connsiteX2" fmla="*/ 0 w 1750700"/>
                <a:gd name="connsiteY2" fmla="*/ 257442 h 257442"/>
                <a:gd name="connsiteX3" fmla="*/ 54722 w 1750700"/>
                <a:gd name="connsiteY3" fmla="*/ 0 h 257442"/>
                <a:gd name="connsiteX0" fmla="*/ 1750700 w 1750700"/>
                <a:gd name="connsiteY0" fmla="*/ 0 h 257442"/>
                <a:gd name="connsiteX1" fmla="*/ 1695978 w 1750700"/>
                <a:gd name="connsiteY1" fmla="*/ 257442 h 257442"/>
                <a:gd name="connsiteX2" fmla="*/ 0 w 1750700"/>
                <a:gd name="connsiteY2" fmla="*/ 257442 h 257442"/>
                <a:gd name="connsiteX3" fmla="*/ 54722 w 1750700"/>
                <a:gd name="connsiteY3" fmla="*/ 0 h 257442"/>
                <a:gd name="connsiteX0" fmla="*/ 1750700 w 1750700"/>
                <a:gd name="connsiteY0" fmla="*/ 0 h 257442"/>
                <a:gd name="connsiteX1" fmla="*/ 1695978 w 1750700"/>
                <a:gd name="connsiteY1" fmla="*/ 257442 h 257442"/>
                <a:gd name="connsiteX2" fmla="*/ 0 w 1750700"/>
                <a:gd name="connsiteY2" fmla="*/ 257442 h 257442"/>
                <a:gd name="connsiteX3" fmla="*/ 54721 w 1750700"/>
                <a:gd name="connsiteY3" fmla="*/ 0 h 257442"/>
                <a:gd name="connsiteX0" fmla="*/ 1919015 w 1919015"/>
                <a:gd name="connsiteY0" fmla="*/ 0 h 257442"/>
                <a:gd name="connsiteX1" fmla="*/ 1695978 w 1919015"/>
                <a:gd name="connsiteY1" fmla="*/ 257442 h 257442"/>
                <a:gd name="connsiteX2" fmla="*/ 0 w 1919015"/>
                <a:gd name="connsiteY2" fmla="*/ 257442 h 257442"/>
                <a:gd name="connsiteX3" fmla="*/ 54721 w 1919015"/>
                <a:gd name="connsiteY3" fmla="*/ 0 h 257442"/>
                <a:gd name="connsiteX0" fmla="*/ 1919015 w 1919015"/>
                <a:gd name="connsiteY0" fmla="*/ 0 h 257442"/>
                <a:gd name="connsiteX1" fmla="*/ 1864294 w 1919015"/>
                <a:gd name="connsiteY1" fmla="*/ 257442 h 257442"/>
                <a:gd name="connsiteX2" fmla="*/ 0 w 1919015"/>
                <a:gd name="connsiteY2" fmla="*/ 257442 h 257442"/>
                <a:gd name="connsiteX3" fmla="*/ 54721 w 1919015"/>
                <a:gd name="connsiteY3" fmla="*/ 0 h 257442"/>
                <a:gd name="connsiteX0" fmla="*/ 1919015 w 1919015"/>
                <a:gd name="connsiteY0" fmla="*/ 0 h 257442"/>
                <a:gd name="connsiteX1" fmla="*/ 1864294 w 1919015"/>
                <a:gd name="connsiteY1" fmla="*/ 257442 h 257442"/>
                <a:gd name="connsiteX2" fmla="*/ 0 w 1919015"/>
                <a:gd name="connsiteY2" fmla="*/ 257442 h 257442"/>
                <a:gd name="connsiteX3" fmla="*/ 54721 w 1919015"/>
                <a:gd name="connsiteY3" fmla="*/ 0 h 257442"/>
                <a:gd name="connsiteX0" fmla="*/ 1919015 w 1919015"/>
                <a:gd name="connsiteY0" fmla="*/ 0 h 257442"/>
                <a:gd name="connsiteX1" fmla="*/ 1864294 w 1919015"/>
                <a:gd name="connsiteY1" fmla="*/ 257442 h 257442"/>
                <a:gd name="connsiteX2" fmla="*/ 0 w 1919015"/>
                <a:gd name="connsiteY2" fmla="*/ 257442 h 257442"/>
                <a:gd name="connsiteX3" fmla="*/ 54721 w 1919015"/>
                <a:gd name="connsiteY3" fmla="*/ 0 h 257442"/>
                <a:gd name="connsiteX0" fmla="*/ 2180304 w 2180304"/>
                <a:gd name="connsiteY0" fmla="*/ 0 h 257442"/>
                <a:gd name="connsiteX1" fmla="*/ 1864294 w 2180304"/>
                <a:gd name="connsiteY1" fmla="*/ 257442 h 257442"/>
                <a:gd name="connsiteX2" fmla="*/ 0 w 2180304"/>
                <a:gd name="connsiteY2" fmla="*/ 257442 h 257442"/>
                <a:gd name="connsiteX3" fmla="*/ 54721 w 2180304"/>
                <a:gd name="connsiteY3" fmla="*/ 0 h 257442"/>
                <a:gd name="connsiteX0" fmla="*/ 2180304 w 2180304"/>
                <a:gd name="connsiteY0" fmla="*/ 0 h 257442"/>
                <a:gd name="connsiteX1" fmla="*/ 2125582 w 2180304"/>
                <a:gd name="connsiteY1" fmla="*/ 257442 h 257442"/>
                <a:gd name="connsiteX2" fmla="*/ 0 w 2180304"/>
                <a:gd name="connsiteY2" fmla="*/ 257442 h 257442"/>
                <a:gd name="connsiteX3" fmla="*/ 54721 w 2180304"/>
                <a:gd name="connsiteY3" fmla="*/ 0 h 257442"/>
                <a:gd name="connsiteX0" fmla="*/ 2180305 w 2180305"/>
                <a:gd name="connsiteY0" fmla="*/ 0 h 257442"/>
                <a:gd name="connsiteX1" fmla="*/ 2125583 w 2180305"/>
                <a:gd name="connsiteY1" fmla="*/ 257442 h 257442"/>
                <a:gd name="connsiteX2" fmla="*/ 0 w 2180305"/>
                <a:gd name="connsiteY2" fmla="*/ 257442 h 257442"/>
                <a:gd name="connsiteX3" fmla="*/ 54722 w 2180305"/>
                <a:gd name="connsiteY3" fmla="*/ 0 h 257442"/>
                <a:gd name="connsiteX0" fmla="*/ 2180305 w 2180305"/>
                <a:gd name="connsiteY0" fmla="*/ 0 h 257442"/>
                <a:gd name="connsiteX1" fmla="*/ 2125583 w 2180305"/>
                <a:gd name="connsiteY1" fmla="*/ 257442 h 257442"/>
                <a:gd name="connsiteX2" fmla="*/ 0 w 2180305"/>
                <a:gd name="connsiteY2" fmla="*/ 257442 h 257442"/>
                <a:gd name="connsiteX3" fmla="*/ 54722 w 2180305"/>
                <a:gd name="connsiteY3" fmla="*/ 0 h 257442"/>
                <a:gd name="connsiteX0" fmla="*/ 2340605 w 2340605"/>
                <a:gd name="connsiteY0" fmla="*/ 0 h 257442"/>
                <a:gd name="connsiteX1" fmla="*/ 2125583 w 2340605"/>
                <a:gd name="connsiteY1" fmla="*/ 257442 h 257442"/>
                <a:gd name="connsiteX2" fmla="*/ 0 w 2340605"/>
                <a:gd name="connsiteY2" fmla="*/ 257442 h 257442"/>
                <a:gd name="connsiteX3" fmla="*/ 54722 w 2340605"/>
                <a:gd name="connsiteY3" fmla="*/ 0 h 257442"/>
                <a:gd name="connsiteX0" fmla="*/ 2340605 w 2340605"/>
                <a:gd name="connsiteY0" fmla="*/ 0 h 257442"/>
                <a:gd name="connsiteX1" fmla="*/ 2285884 w 2340605"/>
                <a:gd name="connsiteY1" fmla="*/ 257442 h 257442"/>
                <a:gd name="connsiteX2" fmla="*/ 0 w 2340605"/>
                <a:gd name="connsiteY2" fmla="*/ 257442 h 257442"/>
                <a:gd name="connsiteX3" fmla="*/ 54722 w 2340605"/>
                <a:gd name="connsiteY3" fmla="*/ 0 h 257442"/>
                <a:gd name="connsiteX0" fmla="*/ 2340604 w 2340604"/>
                <a:gd name="connsiteY0" fmla="*/ 0 h 257442"/>
                <a:gd name="connsiteX1" fmla="*/ 2285883 w 2340604"/>
                <a:gd name="connsiteY1" fmla="*/ 257442 h 257442"/>
                <a:gd name="connsiteX2" fmla="*/ 0 w 2340604"/>
                <a:gd name="connsiteY2" fmla="*/ 257442 h 257442"/>
                <a:gd name="connsiteX3" fmla="*/ 54721 w 2340604"/>
                <a:gd name="connsiteY3" fmla="*/ 0 h 257442"/>
                <a:gd name="connsiteX0" fmla="*/ 2340604 w 2340604"/>
                <a:gd name="connsiteY0" fmla="*/ 0 h 257442"/>
                <a:gd name="connsiteX1" fmla="*/ 2285883 w 2340604"/>
                <a:gd name="connsiteY1" fmla="*/ 257442 h 257442"/>
                <a:gd name="connsiteX2" fmla="*/ 0 w 2340604"/>
                <a:gd name="connsiteY2" fmla="*/ 257442 h 257442"/>
                <a:gd name="connsiteX3" fmla="*/ 54720 w 2340604"/>
                <a:gd name="connsiteY3" fmla="*/ 0 h 257442"/>
                <a:gd name="connsiteX0" fmla="*/ 2508919 w 2508919"/>
                <a:gd name="connsiteY0" fmla="*/ 0 h 257442"/>
                <a:gd name="connsiteX1" fmla="*/ 2285883 w 2508919"/>
                <a:gd name="connsiteY1" fmla="*/ 257442 h 257442"/>
                <a:gd name="connsiteX2" fmla="*/ 0 w 2508919"/>
                <a:gd name="connsiteY2" fmla="*/ 257442 h 257442"/>
                <a:gd name="connsiteX3" fmla="*/ 54720 w 2508919"/>
                <a:gd name="connsiteY3" fmla="*/ 0 h 257442"/>
                <a:gd name="connsiteX0" fmla="*/ 2508919 w 2508919"/>
                <a:gd name="connsiteY0" fmla="*/ 0 h 257442"/>
                <a:gd name="connsiteX1" fmla="*/ 2454198 w 2508919"/>
                <a:gd name="connsiteY1" fmla="*/ 257442 h 257442"/>
                <a:gd name="connsiteX2" fmla="*/ 0 w 2508919"/>
                <a:gd name="connsiteY2" fmla="*/ 257442 h 257442"/>
                <a:gd name="connsiteX3" fmla="*/ 54720 w 2508919"/>
                <a:gd name="connsiteY3" fmla="*/ 0 h 257442"/>
                <a:gd name="connsiteX0" fmla="*/ 2508920 w 2508920"/>
                <a:gd name="connsiteY0" fmla="*/ 0 h 257442"/>
                <a:gd name="connsiteX1" fmla="*/ 2454199 w 2508920"/>
                <a:gd name="connsiteY1" fmla="*/ 257442 h 257442"/>
                <a:gd name="connsiteX2" fmla="*/ 0 w 2508920"/>
                <a:gd name="connsiteY2" fmla="*/ 257442 h 257442"/>
                <a:gd name="connsiteX3" fmla="*/ 54721 w 2508920"/>
                <a:gd name="connsiteY3" fmla="*/ 0 h 257442"/>
                <a:gd name="connsiteX0" fmla="*/ 2508920 w 2508920"/>
                <a:gd name="connsiteY0" fmla="*/ 0 h 257442"/>
                <a:gd name="connsiteX1" fmla="*/ 2454199 w 2508920"/>
                <a:gd name="connsiteY1" fmla="*/ 257442 h 257442"/>
                <a:gd name="connsiteX2" fmla="*/ 0 w 2508920"/>
                <a:gd name="connsiteY2" fmla="*/ 257442 h 257442"/>
                <a:gd name="connsiteX3" fmla="*/ 54721 w 2508920"/>
                <a:gd name="connsiteY3" fmla="*/ 0 h 257442"/>
                <a:gd name="connsiteX0" fmla="*/ 2669220 w 2669220"/>
                <a:gd name="connsiteY0" fmla="*/ 0 h 257442"/>
                <a:gd name="connsiteX1" fmla="*/ 2454199 w 2669220"/>
                <a:gd name="connsiteY1" fmla="*/ 257442 h 257442"/>
                <a:gd name="connsiteX2" fmla="*/ 0 w 2669220"/>
                <a:gd name="connsiteY2" fmla="*/ 257442 h 257442"/>
                <a:gd name="connsiteX3" fmla="*/ 54721 w 2669220"/>
                <a:gd name="connsiteY3" fmla="*/ 0 h 257442"/>
                <a:gd name="connsiteX0" fmla="*/ 2669220 w 2669220"/>
                <a:gd name="connsiteY0" fmla="*/ 0 h 257442"/>
                <a:gd name="connsiteX1" fmla="*/ 2614499 w 2669220"/>
                <a:gd name="connsiteY1" fmla="*/ 257442 h 257442"/>
                <a:gd name="connsiteX2" fmla="*/ 0 w 2669220"/>
                <a:gd name="connsiteY2" fmla="*/ 257442 h 257442"/>
                <a:gd name="connsiteX3" fmla="*/ 54721 w 2669220"/>
                <a:gd name="connsiteY3" fmla="*/ 0 h 257442"/>
                <a:gd name="connsiteX0" fmla="*/ 2669220 w 2669220"/>
                <a:gd name="connsiteY0" fmla="*/ 0 h 257442"/>
                <a:gd name="connsiteX1" fmla="*/ 2614499 w 2669220"/>
                <a:gd name="connsiteY1" fmla="*/ 257442 h 257442"/>
                <a:gd name="connsiteX2" fmla="*/ 0 w 2669220"/>
                <a:gd name="connsiteY2" fmla="*/ 257442 h 257442"/>
                <a:gd name="connsiteX3" fmla="*/ 54721 w 2669220"/>
                <a:gd name="connsiteY3" fmla="*/ 0 h 257442"/>
                <a:gd name="connsiteX0" fmla="*/ 2669220 w 2669220"/>
                <a:gd name="connsiteY0" fmla="*/ 0 h 257442"/>
                <a:gd name="connsiteX1" fmla="*/ 2614499 w 2669220"/>
                <a:gd name="connsiteY1" fmla="*/ 257442 h 257442"/>
                <a:gd name="connsiteX2" fmla="*/ 0 w 2669220"/>
                <a:gd name="connsiteY2" fmla="*/ 257442 h 257442"/>
                <a:gd name="connsiteX3" fmla="*/ 54721 w 2669220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69220" h="257442">
                  <a:moveTo>
                    <a:pt x="2669220" y="0"/>
                  </a:moveTo>
                  <a:lnTo>
                    <a:pt x="2614499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" name="btfpRunningAgenda2LevelTextRight526277">
              <a:extLst>
                <a:ext uri="{FF2B5EF4-FFF2-40B4-BE49-F238E27FC236}">
                  <a16:creationId xmlns:a16="http://schemas.microsoft.com/office/drawing/2014/main" id="{D504AF37-9C5E-4753-80D3-ADF44577370D}"/>
                </a:ext>
              </a:extLst>
            </p:cNvPr>
            <p:cNvSpPr txBox="1"/>
            <p:nvPr/>
          </p:nvSpPr>
          <p:spPr bwMode="gray">
            <a:xfrm>
              <a:off x="1987754" y="876300"/>
              <a:ext cx="2614499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PS - drivers</a:t>
              </a:r>
            </a:p>
          </p:txBody>
        </p:sp>
      </p:grpSp>
      <p:sp>
        <p:nvSpPr>
          <p:cNvPr id="78" name="Rectangle 77">
            <a:extLst>
              <a:ext uri="{FF2B5EF4-FFF2-40B4-BE49-F238E27FC236}">
                <a16:creationId xmlns:a16="http://schemas.microsoft.com/office/drawing/2014/main" id="{440E5A9A-D96D-40BC-A5BA-B9318D8D3C13}"/>
              </a:ext>
            </a:extLst>
          </p:cNvPr>
          <p:cNvSpPr/>
          <p:nvPr/>
        </p:nvSpPr>
        <p:spPr bwMode="gray">
          <a:xfrm>
            <a:off x="4349485" y="1654042"/>
            <a:ext cx="7502789" cy="54965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 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at are the </a:t>
            </a: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mary reasons 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ou gave </a:t>
            </a: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 score of &lt;score&gt;? </a:t>
            </a:r>
          </a:p>
        </p:txBody>
      </p:sp>
      <p:grpSp>
        <p:nvGrpSpPr>
          <p:cNvPr id="39" name="btfpRowHeaderBox106823">
            <a:extLst>
              <a:ext uri="{FF2B5EF4-FFF2-40B4-BE49-F238E27FC236}">
                <a16:creationId xmlns:a16="http://schemas.microsoft.com/office/drawing/2014/main" id="{A6EB6F38-7769-457C-A60C-BD25E3A341F0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4437379" y="2251230"/>
            <a:ext cx="1258572" cy="1817283"/>
            <a:chOff x="2870200" y="1270000"/>
            <a:chExt cx="2540000" cy="972979"/>
          </a:xfrm>
        </p:grpSpPr>
        <p:sp>
          <p:nvSpPr>
            <p:cNvPr id="34" name="btfpRowHeaderBoxText106823">
              <a:extLst>
                <a:ext uri="{FF2B5EF4-FFF2-40B4-BE49-F238E27FC236}">
                  <a16:creationId xmlns:a16="http://schemas.microsoft.com/office/drawing/2014/main" id="{83CD3191-77A5-4564-8316-0EBE22550193}"/>
                </a:ext>
              </a:extLst>
            </p:cNvPr>
            <p:cNvSpPr txBox="1"/>
            <p:nvPr/>
          </p:nvSpPr>
          <p:spPr bwMode="gray">
            <a:xfrm>
              <a:off x="2870200" y="1270000"/>
              <a:ext cx="2540000" cy="972979"/>
            </a:xfrm>
            <a:prstGeom prst="rect">
              <a:avLst/>
            </a:prstGeom>
            <a:noFill/>
          </p:spPr>
          <p:txBody>
            <a:bodyPr vert="horz" wrap="square" lIns="36036" tIns="36036" rIns="180181" bIns="36036" rtlCol="0" anchor="t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rgbClr val="50786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omoters</a:t>
              </a:r>
            </a:p>
          </p:txBody>
        </p:sp>
        <p:cxnSp>
          <p:nvCxnSpPr>
            <p:cNvPr id="35" name="btfpRowHeaderBoxLine106823">
              <a:extLst>
                <a:ext uri="{FF2B5EF4-FFF2-40B4-BE49-F238E27FC236}">
                  <a16:creationId xmlns:a16="http://schemas.microsoft.com/office/drawing/2014/main" id="{BD3E6164-DEF9-46A3-94BC-8FC1F3D0203B}"/>
                </a:ext>
              </a:extLst>
            </p:cNvPr>
            <p:cNvCxnSpPr/>
            <p:nvPr/>
          </p:nvCxnSpPr>
          <p:spPr bwMode="gray">
            <a:xfrm>
              <a:off x="5410200" y="1270000"/>
              <a:ext cx="0" cy="972979"/>
            </a:xfrm>
            <a:prstGeom prst="line">
              <a:avLst/>
            </a:prstGeom>
            <a:ln w="152400" cap="flat">
              <a:solidFill>
                <a:srgbClr val="507867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1" name="btfpRowHeaderBox106823">
            <a:extLst>
              <a:ext uri="{FF2B5EF4-FFF2-40B4-BE49-F238E27FC236}">
                <a16:creationId xmlns:a16="http://schemas.microsoft.com/office/drawing/2014/main" id="{EC10DBF8-F120-4B22-8FA2-8E60A1AE1F7A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4437379" y="5440960"/>
            <a:ext cx="1258572" cy="686917"/>
            <a:chOff x="2870200" y="1270000"/>
            <a:chExt cx="2540000" cy="972979"/>
          </a:xfrm>
          <a:noFill/>
        </p:grpSpPr>
        <p:sp>
          <p:nvSpPr>
            <p:cNvPr id="80" name="btfpRowHeaderBoxText106823">
              <a:extLst>
                <a:ext uri="{FF2B5EF4-FFF2-40B4-BE49-F238E27FC236}">
                  <a16:creationId xmlns:a16="http://schemas.microsoft.com/office/drawing/2014/main" id="{AB0F47C1-FDFD-4EB2-8791-B30AC3334118}"/>
                </a:ext>
              </a:extLst>
            </p:cNvPr>
            <p:cNvSpPr txBox="1"/>
            <p:nvPr/>
          </p:nvSpPr>
          <p:spPr bwMode="gray">
            <a:xfrm>
              <a:off x="2870200" y="1270000"/>
              <a:ext cx="2540000" cy="972979"/>
            </a:xfrm>
            <a:prstGeom prst="rect">
              <a:avLst/>
            </a:prstGeom>
            <a:grpFill/>
          </p:spPr>
          <p:txBody>
            <a:bodyPr vert="horz" wrap="square" lIns="36036" tIns="36036" rIns="180181" bIns="36036" rtlCol="0" anchor="t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rgbClr val="CC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tractors</a:t>
              </a:r>
            </a:p>
          </p:txBody>
        </p:sp>
        <p:cxnSp>
          <p:nvCxnSpPr>
            <p:cNvPr id="81" name="btfpRowHeaderBoxLine106823">
              <a:extLst>
                <a:ext uri="{FF2B5EF4-FFF2-40B4-BE49-F238E27FC236}">
                  <a16:creationId xmlns:a16="http://schemas.microsoft.com/office/drawing/2014/main" id="{CC25EEB6-10C5-4A14-8B39-FF1F8942365F}"/>
                </a:ext>
              </a:extLst>
            </p:cNvPr>
            <p:cNvCxnSpPr/>
            <p:nvPr/>
          </p:nvCxnSpPr>
          <p:spPr bwMode="gray">
            <a:xfrm>
              <a:off x="5410200" y="1270000"/>
              <a:ext cx="0" cy="972979"/>
            </a:xfrm>
            <a:prstGeom prst="line">
              <a:avLst/>
            </a:prstGeom>
            <a:grpFill/>
            <a:ln w="152400" cap="flat">
              <a:solidFill>
                <a:srgbClr val="CC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0" name="btfpQuoteBox673678">
            <a:extLst>
              <a:ext uri="{FF2B5EF4-FFF2-40B4-BE49-F238E27FC236}">
                <a16:creationId xmlns:a16="http://schemas.microsoft.com/office/drawing/2014/main" id="{C158D07D-604D-4DF3-ABD9-DC54555AF5B6}"/>
              </a:ext>
            </a:extLst>
          </p:cNvPr>
          <p:cNvSpPr txBox="1"/>
          <p:nvPr>
            <p:custDataLst>
              <p:tags r:id="rId9"/>
            </p:custDataLst>
          </p:nvPr>
        </p:nvSpPr>
        <p:spPr bwMode="gray">
          <a:xfrm>
            <a:off x="5831728" y="2282019"/>
            <a:ext cx="5994399" cy="257442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marR="0" lvl="0" indent="-90729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Very </a:t>
            </a:r>
            <a:r>
              <a:rPr kumimoji="0" lang="en-GB" sz="12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rong products</a:t>
            </a:r>
            <a:r>
              <a:rPr kumimoji="0" lang="en-GB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en-GB" sz="12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pertise</a:t>
            </a:r>
            <a:r>
              <a:rPr kumimoji="0" lang="en-GB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data usage.”</a:t>
            </a:r>
          </a:p>
        </p:txBody>
      </p:sp>
      <p:sp>
        <p:nvSpPr>
          <p:cNvPr id="82" name="btfpQuoteBox673678">
            <a:extLst>
              <a:ext uri="{FF2B5EF4-FFF2-40B4-BE49-F238E27FC236}">
                <a16:creationId xmlns:a16="http://schemas.microsoft.com/office/drawing/2014/main" id="{AE4B7ED8-4521-42D0-88F8-0A357F4485FF}"/>
              </a:ext>
            </a:extLst>
          </p:cNvPr>
          <p:cNvSpPr txBox="1"/>
          <p:nvPr>
            <p:custDataLst>
              <p:tags r:id="rId10"/>
            </p:custDataLst>
          </p:nvPr>
        </p:nvSpPr>
        <p:spPr bwMode="gray">
          <a:xfrm>
            <a:off x="5831728" y="2622548"/>
            <a:ext cx="5994399" cy="257442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marR="0" lvl="0" indent="-90729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Meets our </a:t>
            </a:r>
            <a:r>
              <a:rPr kumimoji="0" lang="en-GB" sz="12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siness needs</a:t>
            </a:r>
            <a:r>
              <a:rPr kumimoji="0" lang="en-GB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”</a:t>
            </a:r>
          </a:p>
        </p:txBody>
      </p:sp>
      <p:sp>
        <p:nvSpPr>
          <p:cNvPr id="83" name="btfpQuoteBox673678">
            <a:extLst>
              <a:ext uri="{FF2B5EF4-FFF2-40B4-BE49-F238E27FC236}">
                <a16:creationId xmlns:a16="http://schemas.microsoft.com/office/drawing/2014/main" id="{0A270697-8D1B-4F8C-920D-5D3845278E35}"/>
              </a:ext>
            </a:extLst>
          </p:cNvPr>
          <p:cNvSpPr txBox="1"/>
          <p:nvPr>
            <p:custDataLst>
              <p:tags r:id="rId11"/>
            </p:custDataLst>
          </p:nvPr>
        </p:nvSpPr>
        <p:spPr bwMode="gray">
          <a:xfrm>
            <a:off x="5831728" y="2963077"/>
            <a:ext cx="5994399" cy="626774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marR="0" lvl="0" indent="-90729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</a:t>
            </a:r>
            <a:r>
              <a:rPr kumimoji="0" lang="en-GB" sz="12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mazing customer service</a:t>
            </a:r>
            <a:r>
              <a:rPr kumimoji="0" lang="en-GB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Campaign insights and projections throughout the entire process.  Able to sign an MSA with them to remove all minimum campaign spend thresholds.”</a:t>
            </a:r>
          </a:p>
        </p:txBody>
      </p:sp>
      <p:sp>
        <p:nvSpPr>
          <p:cNvPr id="84" name="btfpQuoteBox673678">
            <a:extLst>
              <a:ext uri="{FF2B5EF4-FFF2-40B4-BE49-F238E27FC236}">
                <a16:creationId xmlns:a16="http://schemas.microsoft.com/office/drawing/2014/main" id="{1027FE4A-2FE3-4C4C-9127-C08CC313FB7A}"/>
              </a:ext>
            </a:extLst>
          </p:cNvPr>
          <p:cNvSpPr txBox="1"/>
          <p:nvPr>
            <p:custDataLst>
              <p:tags r:id="rId12"/>
            </p:custDataLst>
          </p:nvPr>
        </p:nvSpPr>
        <p:spPr bwMode="gray">
          <a:xfrm>
            <a:off x="5831727" y="3672938"/>
            <a:ext cx="5994399" cy="257442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marR="0" lvl="0" indent="-90729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</a:t>
            </a:r>
            <a:r>
              <a:rPr kumimoji="0" lang="en-GB" sz="12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asy to work with</a:t>
            </a:r>
            <a:r>
              <a:rPr kumimoji="0" lang="en-GB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They manage expectations well. </a:t>
            </a:r>
            <a:r>
              <a:rPr kumimoji="0" lang="en-GB" sz="12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ir pricing</a:t>
            </a:r>
            <a:r>
              <a:rPr kumimoji="0" lang="en-GB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”</a:t>
            </a:r>
          </a:p>
        </p:txBody>
      </p:sp>
      <p:sp>
        <p:nvSpPr>
          <p:cNvPr id="85" name="btfpQuoteBox673678">
            <a:extLst>
              <a:ext uri="{FF2B5EF4-FFF2-40B4-BE49-F238E27FC236}">
                <a16:creationId xmlns:a16="http://schemas.microsoft.com/office/drawing/2014/main" id="{4B94E751-A2F4-45A2-9974-700F758AD530}"/>
              </a:ext>
            </a:extLst>
          </p:cNvPr>
          <p:cNvSpPr txBox="1"/>
          <p:nvPr>
            <p:custDataLst>
              <p:tags r:id="rId13"/>
            </p:custDataLst>
          </p:nvPr>
        </p:nvSpPr>
        <p:spPr bwMode="gray">
          <a:xfrm>
            <a:off x="5831728" y="4125983"/>
            <a:ext cx="5994399" cy="257442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marR="0" lvl="0" indent="-90729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High impact formats and </a:t>
            </a:r>
            <a:r>
              <a:rPr kumimoji="0" lang="en-GB" sz="12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ults are good</a:t>
            </a:r>
            <a:r>
              <a:rPr kumimoji="0" lang="en-GB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”</a:t>
            </a:r>
          </a:p>
        </p:txBody>
      </p:sp>
      <p:sp>
        <p:nvSpPr>
          <p:cNvPr id="86" name="btfpQuoteBox673678">
            <a:extLst>
              <a:ext uri="{FF2B5EF4-FFF2-40B4-BE49-F238E27FC236}">
                <a16:creationId xmlns:a16="http://schemas.microsoft.com/office/drawing/2014/main" id="{2DC70EA5-4253-4633-BE04-C3FF4ED03DB2}"/>
              </a:ext>
            </a:extLst>
          </p:cNvPr>
          <p:cNvSpPr txBox="1"/>
          <p:nvPr>
            <p:custDataLst>
              <p:tags r:id="rId14"/>
            </p:custDataLst>
          </p:nvPr>
        </p:nvSpPr>
        <p:spPr bwMode="gray">
          <a:xfrm>
            <a:off x="5831728" y="4499259"/>
            <a:ext cx="5994399" cy="257442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marR="0" lvl="0" indent="-90729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Happy with the </a:t>
            </a:r>
            <a:r>
              <a:rPr kumimoji="0" lang="en-GB" sz="12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I</a:t>
            </a:r>
            <a:r>
              <a:rPr kumimoji="0" lang="en-GB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”</a:t>
            </a:r>
          </a:p>
        </p:txBody>
      </p:sp>
      <p:sp>
        <p:nvSpPr>
          <p:cNvPr id="87" name="btfpQuoteBox673678">
            <a:extLst>
              <a:ext uri="{FF2B5EF4-FFF2-40B4-BE49-F238E27FC236}">
                <a16:creationId xmlns:a16="http://schemas.microsoft.com/office/drawing/2014/main" id="{0B12C274-E16B-41A5-AA84-9A41C3B5AEBA}"/>
              </a:ext>
            </a:extLst>
          </p:cNvPr>
          <p:cNvSpPr txBox="1"/>
          <p:nvPr>
            <p:custDataLst>
              <p:tags r:id="rId15"/>
            </p:custDataLst>
          </p:nvPr>
        </p:nvSpPr>
        <p:spPr bwMode="gray">
          <a:xfrm>
            <a:off x="5831728" y="4872536"/>
            <a:ext cx="5994399" cy="442108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marR="0" lvl="0" indent="-90729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Strong </a:t>
            </a:r>
            <a:r>
              <a:rPr kumimoji="0" lang="en-GB" sz="12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ulti-channel capabilities. </a:t>
            </a:r>
            <a:r>
              <a:rPr kumimoji="0" lang="en-GB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ood </a:t>
            </a:r>
            <a:r>
              <a:rPr kumimoji="0" lang="en-GB" sz="12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sights available</a:t>
            </a:r>
            <a:r>
              <a:rPr kumimoji="0" lang="en-GB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including audience analysis.”</a:t>
            </a:r>
          </a:p>
        </p:txBody>
      </p:sp>
      <p:grpSp>
        <p:nvGrpSpPr>
          <p:cNvPr id="88" name="btfpStatusSticker893700">
            <a:extLst>
              <a:ext uri="{FF2B5EF4-FFF2-40B4-BE49-F238E27FC236}">
                <a16:creationId xmlns:a16="http://schemas.microsoft.com/office/drawing/2014/main" id="{B46442E5-5B99-46C1-9E8F-30EA2ED59750}"/>
              </a:ext>
            </a:extLst>
          </p:cNvPr>
          <p:cNvGrpSpPr/>
          <p:nvPr>
            <p:custDataLst>
              <p:tags r:id="rId16"/>
            </p:custDataLst>
          </p:nvPr>
        </p:nvGrpSpPr>
        <p:grpSpPr>
          <a:xfrm>
            <a:off x="10100356" y="955344"/>
            <a:ext cx="1761444" cy="235611"/>
            <a:chOff x="-2280176" y="876300"/>
            <a:chExt cx="1761444" cy="235611"/>
          </a:xfrm>
        </p:grpSpPr>
        <p:sp>
          <p:nvSpPr>
            <p:cNvPr id="89" name="btfpStatusStickerText893700">
              <a:extLst>
                <a:ext uri="{FF2B5EF4-FFF2-40B4-BE49-F238E27FC236}">
                  <a16:creationId xmlns:a16="http://schemas.microsoft.com/office/drawing/2014/main" id="{6713EB92-4226-461E-B6F0-2067128C4DDC}"/>
                </a:ext>
              </a:extLst>
            </p:cNvPr>
            <p:cNvSpPr txBox="1"/>
            <p:nvPr/>
          </p:nvSpPr>
          <p:spPr bwMode="gray">
            <a:xfrm>
              <a:off x="-2280176" y="876300"/>
              <a:ext cx="17614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LIMINARY</a:t>
              </a:r>
            </a:p>
          </p:txBody>
        </p:sp>
        <p:cxnSp>
          <p:nvCxnSpPr>
            <p:cNvPr id="90" name="btfpStatusStickerLine893700">
              <a:extLst>
                <a:ext uri="{FF2B5EF4-FFF2-40B4-BE49-F238E27FC236}">
                  <a16:creationId xmlns:a16="http://schemas.microsoft.com/office/drawing/2014/main" id="{02CB44FC-6315-4170-8855-4EE7BBDA7C46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80176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btfpStatusSticker983886">
            <a:extLst>
              <a:ext uri="{FF2B5EF4-FFF2-40B4-BE49-F238E27FC236}">
                <a16:creationId xmlns:a16="http://schemas.microsoft.com/office/drawing/2014/main" id="{1A5BD207-0873-452E-AD01-437CBF175DA4}"/>
              </a:ext>
            </a:extLst>
          </p:cNvPr>
          <p:cNvGrpSpPr/>
          <p:nvPr>
            <p:custDataLst>
              <p:tags r:id="rId17"/>
            </p:custDataLst>
          </p:nvPr>
        </p:nvGrpSpPr>
        <p:grpSpPr>
          <a:xfrm>
            <a:off x="8994561" y="955344"/>
            <a:ext cx="978794" cy="235611"/>
            <a:chOff x="-2315058" y="876300"/>
            <a:chExt cx="978794" cy="235611"/>
          </a:xfrm>
        </p:grpSpPr>
        <p:sp>
          <p:nvSpPr>
            <p:cNvPr id="3" name="btfpStatusStickerText983886">
              <a:extLst>
                <a:ext uri="{FF2B5EF4-FFF2-40B4-BE49-F238E27FC236}">
                  <a16:creationId xmlns:a16="http://schemas.microsoft.com/office/drawing/2014/main" id="{030F2AE2-407A-4CF4-9CC6-A76FC84EFFF1}"/>
                </a:ext>
              </a:extLst>
            </p:cNvPr>
            <p:cNvSpPr txBox="1"/>
            <p:nvPr/>
          </p:nvSpPr>
          <p:spPr bwMode="gray">
            <a:xfrm>
              <a:off x="-2315058" y="876300"/>
              <a:ext cx="97879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X only</a:t>
              </a:r>
            </a:p>
          </p:txBody>
        </p:sp>
        <p:cxnSp>
          <p:nvCxnSpPr>
            <p:cNvPr id="4" name="btfpStatusStickerLine983886">
              <a:extLst>
                <a:ext uri="{FF2B5EF4-FFF2-40B4-BE49-F238E27FC236}">
                  <a16:creationId xmlns:a16="http://schemas.microsoft.com/office/drawing/2014/main" id="{B0C52A88-8B87-4C3A-92BE-5AC9E008FCD8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315058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0" name="btfpRowHeaderBox106823">
            <a:extLst>
              <a:ext uri="{FF2B5EF4-FFF2-40B4-BE49-F238E27FC236}">
                <a16:creationId xmlns:a16="http://schemas.microsoft.com/office/drawing/2014/main" id="{061C3C9F-B735-403C-83AE-53660D2EF70F}"/>
              </a:ext>
            </a:extLst>
          </p:cNvPr>
          <p:cNvGrpSpPr/>
          <p:nvPr>
            <p:custDataLst>
              <p:tags r:id="rId18"/>
            </p:custDataLst>
          </p:nvPr>
        </p:nvGrpSpPr>
        <p:grpSpPr>
          <a:xfrm>
            <a:off x="4437379" y="4163234"/>
            <a:ext cx="1258572" cy="1183005"/>
            <a:chOff x="2870200" y="1270000"/>
            <a:chExt cx="2540000" cy="972979"/>
          </a:xfrm>
        </p:grpSpPr>
        <p:sp>
          <p:nvSpPr>
            <p:cNvPr id="51" name="btfpRowHeaderBoxText106823">
              <a:extLst>
                <a:ext uri="{FF2B5EF4-FFF2-40B4-BE49-F238E27FC236}">
                  <a16:creationId xmlns:a16="http://schemas.microsoft.com/office/drawing/2014/main" id="{CDA6F652-4D94-4ACB-8372-EA73916B1294}"/>
                </a:ext>
              </a:extLst>
            </p:cNvPr>
            <p:cNvSpPr txBox="1"/>
            <p:nvPr/>
          </p:nvSpPr>
          <p:spPr bwMode="gray">
            <a:xfrm>
              <a:off x="2870200" y="1270000"/>
              <a:ext cx="2540000" cy="972979"/>
            </a:xfrm>
            <a:prstGeom prst="rect">
              <a:avLst/>
            </a:prstGeom>
            <a:noFill/>
          </p:spPr>
          <p:txBody>
            <a:bodyPr vert="horz" wrap="square" lIns="36036" tIns="36036" rIns="180181" bIns="36036" rtlCol="0" anchor="t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rgbClr val="85858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eutrals</a:t>
              </a:r>
            </a:p>
          </p:txBody>
        </p:sp>
        <p:cxnSp>
          <p:nvCxnSpPr>
            <p:cNvPr id="52" name="btfpRowHeaderBoxLine106823">
              <a:extLst>
                <a:ext uri="{FF2B5EF4-FFF2-40B4-BE49-F238E27FC236}">
                  <a16:creationId xmlns:a16="http://schemas.microsoft.com/office/drawing/2014/main" id="{2D948C8E-6B9A-4229-A3DB-307D36A0FC02}"/>
                </a:ext>
              </a:extLst>
            </p:cNvPr>
            <p:cNvCxnSpPr/>
            <p:nvPr/>
          </p:nvCxnSpPr>
          <p:spPr bwMode="gray">
            <a:xfrm>
              <a:off x="5410200" y="1270000"/>
              <a:ext cx="0" cy="972979"/>
            </a:xfrm>
            <a:prstGeom prst="line">
              <a:avLst/>
            </a:prstGeom>
            <a:ln w="152400" cap="flat">
              <a:solidFill>
                <a:srgbClr val="858585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3" name="btfpQuoteBox673678">
            <a:extLst>
              <a:ext uri="{FF2B5EF4-FFF2-40B4-BE49-F238E27FC236}">
                <a16:creationId xmlns:a16="http://schemas.microsoft.com/office/drawing/2014/main" id="{BFC0250B-670E-407A-AB7D-6C31C9F88324}"/>
              </a:ext>
            </a:extLst>
          </p:cNvPr>
          <p:cNvSpPr txBox="1"/>
          <p:nvPr>
            <p:custDataLst>
              <p:tags r:id="rId19"/>
            </p:custDataLst>
          </p:nvPr>
        </p:nvSpPr>
        <p:spPr bwMode="gray">
          <a:xfrm>
            <a:off x="5831728" y="5616345"/>
            <a:ext cx="5994399" cy="257442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marR="0" lvl="0" indent="-90729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Good service but </a:t>
            </a:r>
            <a:r>
              <a:rPr kumimoji="0" lang="en-GB" sz="12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 so transparent</a:t>
            </a:r>
            <a:r>
              <a:rPr kumimoji="0" lang="en-GB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”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484E17CA-05EB-4063-B43F-C2478718E855}"/>
              </a:ext>
            </a:extLst>
          </p:cNvPr>
          <p:cNvSpPr/>
          <p:nvPr/>
        </p:nvSpPr>
        <p:spPr bwMode="gray">
          <a:xfrm>
            <a:off x="4318574" y="2154915"/>
            <a:ext cx="7507552" cy="4040821"/>
          </a:xfrm>
          <a:prstGeom prst="rect">
            <a:avLst/>
          </a:prstGeom>
          <a:solidFill>
            <a:schemeClr val="bg1">
              <a:alpha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ank – not updated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419247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" name="btfpColumnIndicatorGroup2">
            <a:extLst>
              <a:ext uri="{FF2B5EF4-FFF2-40B4-BE49-F238E27FC236}">
                <a16:creationId xmlns:a16="http://schemas.microsoft.com/office/drawing/2014/main" id="{4F990007-64DB-4CF4-9ABB-AD0FB12AEB8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39" name="btfpColumnGapBlocker763390">
              <a:extLst>
                <a:ext uri="{FF2B5EF4-FFF2-40B4-BE49-F238E27FC236}">
                  <a16:creationId xmlns:a16="http://schemas.microsoft.com/office/drawing/2014/main" id="{254C0824-6216-4ED1-AD8C-561B21A07630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7" name="btfpColumnGapBlocker331611">
              <a:extLst>
                <a:ext uri="{FF2B5EF4-FFF2-40B4-BE49-F238E27FC236}">
                  <a16:creationId xmlns:a16="http://schemas.microsoft.com/office/drawing/2014/main" id="{3EE491D9-DB27-4D63-8217-8A0E15A0184E}"/>
                </a:ext>
              </a:extLst>
            </p:cNvPr>
            <p:cNvSpPr/>
            <p:nvPr/>
          </p:nvSpPr>
          <p:spPr bwMode="gray">
            <a:xfrm>
              <a:off x="5825728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4" name="btfpColumnIndicator357877">
              <a:extLst>
                <a:ext uri="{FF2B5EF4-FFF2-40B4-BE49-F238E27FC236}">
                  <a16:creationId xmlns:a16="http://schemas.microsoft.com/office/drawing/2014/main" id="{5256C3D4-F085-4556-8F0B-FE0E4C2803BC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btfpColumnIndicator178771">
              <a:extLst>
                <a:ext uri="{FF2B5EF4-FFF2-40B4-BE49-F238E27FC236}">
                  <a16:creationId xmlns:a16="http://schemas.microsoft.com/office/drawing/2014/main" id="{AF36725C-4FE4-4A7B-A3AB-E12B2F56C9FE}"/>
                </a:ext>
              </a:extLst>
            </p:cNvPr>
            <p:cNvCxnSpPr/>
            <p:nvPr/>
          </p:nvCxnSpPr>
          <p:spPr bwMode="gray">
            <a:xfrm flipV="1">
              <a:off x="636627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btfpColumnGapBlocker815780">
              <a:extLst>
                <a:ext uri="{FF2B5EF4-FFF2-40B4-BE49-F238E27FC236}">
                  <a16:creationId xmlns:a16="http://schemas.microsoft.com/office/drawing/2014/main" id="{517506AD-2520-489B-9A62-E97357B117B9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1" name="btfpColumnIndicator710352">
              <a:extLst>
                <a:ext uri="{FF2B5EF4-FFF2-40B4-BE49-F238E27FC236}">
                  <a16:creationId xmlns:a16="http://schemas.microsoft.com/office/drawing/2014/main" id="{93F05127-D884-4A34-9B92-75E41FD5AFE3}"/>
                </a:ext>
              </a:extLst>
            </p:cNvPr>
            <p:cNvCxnSpPr/>
            <p:nvPr/>
          </p:nvCxnSpPr>
          <p:spPr bwMode="gray">
            <a:xfrm flipV="1">
              <a:off x="582572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btfpColumnIndicator695608">
              <a:extLst>
                <a:ext uri="{FF2B5EF4-FFF2-40B4-BE49-F238E27FC236}">
                  <a16:creationId xmlns:a16="http://schemas.microsoft.com/office/drawing/2014/main" id="{C1267CD7-2104-47D4-836F-EFA0653E12BC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btfpColumnIndicatorGroup1">
            <a:extLst>
              <a:ext uri="{FF2B5EF4-FFF2-40B4-BE49-F238E27FC236}">
                <a16:creationId xmlns:a16="http://schemas.microsoft.com/office/drawing/2014/main" id="{E1718520-67D5-4471-848E-D5E1DF2AFC55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38" name="btfpColumnGapBlocker172461">
              <a:extLst>
                <a:ext uri="{FF2B5EF4-FFF2-40B4-BE49-F238E27FC236}">
                  <a16:creationId xmlns:a16="http://schemas.microsoft.com/office/drawing/2014/main" id="{61C3DE3F-5D1E-4DE7-B269-9DA1A2CE7E87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6" name="btfpColumnGapBlocker879007">
              <a:extLst>
                <a:ext uri="{FF2B5EF4-FFF2-40B4-BE49-F238E27FC236}">
                  <a16:creationId xmlns:a16="http://schemas.microsoft.com/office/drawing/2014/main" id="{EE9BBCBE-1FAF-41F7-9C39-88FFF04482BB}"/>
                </a:ext>
              </a:extLst>
            </p:cNvPr>
            <p:cNvSpPr/>
            <p:nvPr/>
          </p:nvSpPr>
          <p:spPr bwMode="gray">
            <a:xfrm>
              <a:off x="5825728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3" name="btfpColumnIndicator359405">
              <a:extLst>
                <a:ext uri="{FF2B5EF4-FFF2-40B4-BE49-F238E27FC236}">
                  <a16:creationId xmlns:a16="http://schemas.microsoft.com/office/drawing/2014/main" id="{DB2585F9-7BC6-45EB-BD00-1C566B83C818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btfpColumnIndicator671264">
              <a:extLst>
                <a:ext uri="{FF2B5EF4-FFF2-40B4-BE49-F238E27FC236}">
                  <a16:creationId xmlns:a16="http://schemas.microsoft.com/office/drawing/2014/main" id="{9C944EC1-22DF-4A28-8715-58E72870D5EB}"/>
                </a:ext>
              </a:extLst>
            </p:cNvPr>
            <p:cNvCxnSpPr/>
            <p:nvPr/>
          </p:nvCxnSpPr>
          <p:spPr bwMode="gray">
            <a:xfrm flipV="1">
              <a:off x="636627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btfpColumnGapBlocker813726">
              <a:extLst>
                <a:ext uri="{FF2B5EF4-FFF2-40B4-BE49-F238E27FC236}">
                  <a16:creationId xmlns:a16="http://schemas.microsoft.com/office/drawing/2014/main" id="{1E32A806-2B7E-4484-8007-43B6091FC91E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2" name="btfpColumnIndicator538262">
              <a:extLst>
                <a:ext uri="{FF2B5EF4-FFF2-40B4-BE49-F238E27FC236}">
                  <a16:creationId xmlns:a16="http://schemas.microsoft.com/office/drawing/2014/main" id="{C50A192A-D332-41D0-8A82-DE58846A2DAB}"/>
                </a:ext>
              </a:extLst>
            </p:cNvPr>
            <p:cNvCxnSpPr/>
            <p:nvPr/>
          </p:nvCxnSpPr>
          <p:spPr bwMode="gray">
            <a:xfrm flipV="1">
              <a:off x="582572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634317">
              <a:extLst>
                <a:ext uri="{FF2B5EF4-FFF2-40B4-BE49-F238E27FC236}">
                  <a16:creationId xmlns:a16="http://schemas.microsoft.com/office/drawing/2014/main" id="{4FAFC195-851D-4BC2-ABA0-DD9DD43C4E6C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67737E7-826F-40C7-AA0A-65738D5C16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1465" y="-10"/>
            <a:ext cx="11522075" cy="876687"/>
          </a:xfrm>
        </p:spPr>
        <p:txBody>
          <a:bodyPr/>
          <a:lstStyle/>
          <a:p>
            <a:r>
              <a:rPr lang="en-GB" b="1"/>
              <a:t>Customer Advocacy:</a:t>
            </a:r>
            <a:r>
              <a:rPr lang="en-GB"/>
              <a:t> </a:t>
            </a:r>
            <a:r>
              <a:rPr lang="en-US"/>
              <a:t>X performs best among [segment]; lags among Z driven by criticism of X</a:t>
            </a:r>
          </a:p>
        </p:txBody>
      </p:sp>
      <p:grpSp>
        <p:nvGrpSpPr>
          <p:cNvPr id="40" name="btfpStatusSticker631408">
            <a:extLst>
              <a:ext uri="{FF2B5EF4-FFF2-40B4-BE49-F238E27FC236}">
                <a16:creationId xmlns:a16="http://schemas.microsoft.com/office/drawing/2014/main" id="{33AA8676-89AF-48E7-BC25-6FC7903977DF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100355" y="955344"/>
            <a:ext cx="1761445" cy="235611"/>
            <a:chOff x="-2280177" y="876300"/>
            <a:chExt cx="1761445" cy="235611"/>
          </a:xfrm>
        </p:grpSpPr>
        <p:sp>
          <p:nvSpPr>
            <p:cNvPr id="41" name="btfpStatusStickerText631408">
              <a:extLst>
                <a:ext uri="{FF2B5EF4-FFF2-40B4-BE49-F238E27FC236}">
                  <a16:creationId xmlns:a16="http://schemas.microsoft.com/office/drawing/2014/main" id="{721DFEA5-85E3-461F-97D1-F7E5D4DE622F}"/>
                </a:ext>
              </a:extLst>
            </p:cNvPr>
            <p:cNvSpPr txBox="1"/>
            <p:nvPr/>
          </p:nvSpPr>
          <p:spPr bwMode="gray">
            <a:xfrm>
              <a:off x="-2280177" y="876300"/>
              <a:ext cx="1761445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preliminary</a:t>
              </a:r>
            </a:p>
          </p:txBody>
        </p:sp>
        <p:cxnSp>
          <p:nvCxnSpPr>
            <p:cNvPr id="43" name="btfpStatusStickerLine631408">
              <a:extLst>
                <a:ext uri="{FF2B5EF4-FFF2-40B4-BE49-F238E27FC236}">
                  <a16:creationId xmlns:a16="http://schemas.microsoft.com/office/drawing/2014/main" id="{7F84D3F8-8333-4C5E-8E2A-33AD448FF189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80177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btfpStatusSticker538999">
            <a:extLst>
              <a:ext uri="{FF2B5EF4-FFF2-40B4-BE49-F238E27FC236}">
                <a16:creationId xmlns:a16="http://schemas.microsoft.com/office/drawing/2014/main" id="{8C384621-D957-4734-A105-9FB15314A75C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8214219" y="955344"/>
            <a:ext cx="1759136" cy="235611"/>
            <a:chOff x="-2269853" y="876300"/>
            <a:chExt cx="1759136" cy="235611"/>
          </a:xfrm>
        </p:grpSpPr>
        <p:sp>
          <p:nvSpPr>
            <p:cNvPr id="45" name="btfpStatusStickerText538999">
              <a:extLst>
                <a:ext uri="{FF2B5EF4-FFF2-40B4-BE49-F238E27FC236}">
                  <a16:creationId xmlns:a16="http://schemas.microsoft.com/office/drawing/2014/main" id="{2BDE3BDC-898A-4D57-B086-F9C616C469EE}"/>
                </a:ext>
              </a:extLst>
            </p:cNvPr>
            <p:cNvSpPr txBox="1"/>
            <p:nvPr/>
          </p:nvSpPr>
          <p:spPr bwMode="gray">
            <a:xfrm>
              <a:off x="-2269853" y="876300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directional</a:t>
              </a:r>
            </a:p>
          </p:txBody>
        </p:sp>
        <p:cxnSp>
          <p:nvCxnSpPr>
            <p:cNvPr id="46" name="btfpStatusStickerLine538999">
              <a:extLst>
                <a:ext uri="{FF2B5EF4-FFF2-40B4-BE49-F238E27FC236}">
                  <a16:creationId xmlns:a16="http://schemas.microsoft.com/office/drawing/2014/main" id="{E5B66F1C-D672-4D6A-A852-C72C6D23B1A7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69853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9" name="Rectangle 58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oT+yzE9Co9VsN2xMy+ZaPS3qNseE/H3PW26czkPGEvAh8F/u9ioE3+I1Pu0j5l16vR4M06XX6gwDiZ+nFlcy1DRIm8c1Qntlg0wSonRFRP4lZogZB6frGqwsIQGjh+Y4B9pXgVccn9D0dsIEVmonDwWB3QKuXGFJ1Gx3fOjklAN12Y98ph7duPkA8JzjJomEx5khz3sdqWcKwdQHkuQJPcrpKIy1uWcJ96slx9XedES9dgjj0bwaOmUPqeMB+icF9FFy98wAEi0UNQXd5URQAM7RQ/2BmYnHcJTqBBIi07X7BSsgkDL8ObDRXsoxmrmpFj8rFOqCs5EwS3JJSx33B5gyYLVge2sHsrv8CTT5K2vjcdARnqNUZ6cyaApeS6CW/yPPHy5gNk/Ue2iS5t7QWV8tUbahLZedrkVn9VwRvvbb2X5BoeDVNvov4Gcs7EB07GJ/+DLUCEGbzHYHPXkHRKOHMRm/eyhtXM6AWAl5zZTWNUTSsb8xtsFDQlPBxXxcUjsgqdOV3ag/sWTPSTb7QEg162l9apiMHtD9NM83YUK6f+3eKSS5mvKEP+iQ6vEoz4HbNjAxZMw3vb1itvWhQTBxZNrmUyb2CB6/WI+PlbK6QYAE8ll3QpNymqv/0SZNgyHf+tfOA0B8meDhn1X88S4m2rd+MdE3aOALKTJxFsPxCJ0qSToAYgRefx7rVdYbm5+AfS6+4UhwUPZ/lAdH3View9zXGV0MhocEli+NxC/HobI/tbyCkOV613X8hgHP40iP91Vbc+PVDEZztPjgebJfTuuN7GziaHCMvKz+/nLTP8wNQx5htYH+RxDUyu6Sjj3Zhf+44LGuFf0oo3/y1M8ZDr7GKqKKvi+SIgokv5j8DD0UwzkMLYkHtU51VIXpB56aJ1zTrucvHNlwVTjDrdnwEyDLLqQgAhgg8bk2imI3PR+cbx+blHIgpJbPFplWGhpMBqEKqq2p6NWDuqLx17Et3+9Wiaesemy1eSX/iwIvOAPFkRBOemsOc4HH2SZsARsbttPEpjoIRjYU9m9j7iYT831GAV6PcYf7XFfMaUjHM4w6lsfEW71ndpv5v4jHn3TisrhYleC+WT6BEcFM+5ika3v9Mk0Ka4m0yaSrOIZTq11Pdw/Kym205sNsZ+oeynXUaWKbzk3mJtQ2s1PxKqdkMRLE75GFrgm42HDpLiWNvdzStIA+zI0J9D942QPxv8ruEA8olQj1E7f+PbMb/xBBhbLAvjh6w6eT/c5vwtLzxVzsxnHu48Ta2a11U/W4ZNSB9Atih/tbvH+M7aZGWIZQnG7tYxRtcpBevhAUFXqU1C5pdnq76BYrWjNrqt7kXUQMUNLhaFPoj0UgMckxPdRT2fuE8BwPt/BYdtHBwCf0vlVioAcua59sPwG85U0pl1u4OQxCkvTvnq+8YrEpWCYPIHBHWL1lwMZDe0h5onnf0hvuIe9S62pvANzIEwQwHNoP+8fPTrBiXDynx1rpR+jo9GJ2v4k5H6e2njfTWcxAwV7NmpAe2uvt0Ht8FxZzea3dBagyFCPyq8YGEa7ZMjj0M0wwnVjaiaqxx7OY7YjGvSXvKcncocXEPPAhHxfTj3udmtuPuaU4CnYx6vJ+IgKH/AbMgQZbNTBgyoE8XzJYTrDbdPNRkMjFUOhZ0fPnpx63kM8/B16zqaBE1yJ7OsmONloJY/dKzb1rlGprbGuYDOhmfuiRWTNOcI80rIg6Z6JWsS5NiSoz9GU7KiNAu1ozG0qe/BkqjOZAVBDZcPHyy8VNvuS2JGBnIT/tCvILvGa+CYlc3bIktPK/4p+oGKXIm0RGBK19zjIAgW3RqHL9RUI+pbuih/NZbNaggm6N7YSvN7ZBVQro26ayZgZm2Tl76am1TlKYcj3dYR+wUh1plMP6eoAXvSvIaaYs22Xf+XdfxZbJlw9fuLJ53aUw8deo9R72HkkyNwoQFCcsg0Joxdwas4nzhSHSJ1U3X0Z8ucZLOwoq3yFjqtr5EANqhhW1ekY2k4TT9cmYY74DjZbgWqgevh8TQbG45RUNyjYv237tsDcr5k0t8jTEXD6u+DZViZPceZyNGgUHoMDiVPuTtk7XtsH/c+VXlbD/0LzRzKlfsR7FSFk1g/GGx/lgKqUC4WZWR/9kjdkSkCIqA5gsyRvK+XcLULJ4OWvRnvWL8jEfVusPNQiIhPedZMJ2i6qMw2jPnurzbYJUhh8rCol4Rhu+2ncukkk3PIwZmRie6hwEVfyXzDQdoytxIjFi6m5IiyADJfMpY2MqJ+HD2ymBaQ3GLJlrCerLj0JRmpnmAXe1lnZDLguzq5aRBezQefG0mYmPd2wuWA5YRwg/svU+MhUacO4xZRKAB5xt2qxFB4ybkeJWl/Lu0dUB9yisM+YoD1InbpfVlQU4z3WBeBz2Xm7pKFLM7pjOPAJVZKiSMjaQStc77QEhgp2v3YYer+NAaRhORzMBuo2L4+ixOnfIyAa0yH58qFPwVjZ0FblKYuPsT2LlOTFjTJLlJCV6EOon/kgD3u/ApcCNd3M12cupVl+yUMHvfamCgF+7ONsV7b8uYMzgaMUPuQbHe5sXBSNnXnx+w0uuh4UD6abIrBxcLZkGkIIcPTMoQMaiMLNFZtza+D+jj04ohRoyuZHC6wwFbsDPqOL071CLlfD8qayLZFk1RpnB2hmW7zhGnSGdJmcGZROkf56DgzaH1n76VJ2FKqg3tXG4i0aV3+CZNnDQ9TTA0LNlP8VC7iGvKTLsKNdeBmWDgcl9t5dBhQLUov005SYdawAf97vn93RIu9ctmQTx56LLXOnaiVGaQBI+aJUE79gf+Vxyf/l6eQjck2rrtafSPWaVeMR3fqwWrn20jCklYBIjpRkoBGG11wVjuIbxRvYNw7zuFa42uEedjOu2jxLURw1QeNMHKYpqlg9L/2YalFqxUYw8HBV0f7HAUgul6oEYbQ1A2OcrHdbQYKXlt6ec0EXMrM0zTePkDN9v65Q3ezkhpfvDkOgY5qACPHlwdxlcNGtj9wt5sb+8htvNrQJVDjg7W78KGkdPLJ5QYWnynxaKHOqUwTZUfSy8cqL/Kb6lF5QU01g/+KcJNFAl+aiTtOpLxt1sooJZR52d+XjYHfDY3klM+zguLBs/5nR3dKJQUZiARx13uJPMiwvuZ5LOGYVleJekPCtdr8jqCzPd0UGvyxFpbPPyOFKTLnH3XaZjtKQN9VkB0Iwe6M9meCPx++4mT0aG/Ss6pltqZJldyL9P0CQZUreNbA+CEVZVV22kr6Vu1cP0gtdwYplnkzwLXHXDQttVA8Yc7modvQpxCeLQkWboI38qo1G2Xz/xqUvLk/eySQd75xiz2mFbF2aUzPmNiL3NxiBLTMz1PQV8K1Xjaf4DiWHykMTsdvPEd2vje/33w53CcJ7qo60qPmohlRe5JXUfU9zs88zfNUvoaRTOsNhmRFfMZ/uY3n3A0g7a+pF2pgG8zNP/AaQHhyNZYXU4aWROZqO0/pz8XAC4BnXnHLwQ3KcEevXB8mbsjbx6DIk1fnlRLdM+BDWo5r9Z539mtd778XruJrrW4t4v6cQD5JZnwUEioDvrMLInipX4Fudcm+cM61jU218WX818vpOW3+1YpRDgF2riO9hY2QUnwK3puPZf+PB/O+jtUnvQVo8Q4wju+pRPbBV6SVLc5zZY6v2lTCZ2CWN0BNjhHJg934QB7prJUqDugTgXQVPg1sVHQZt9g/Y5ta3FBQJctb1FukImWzNT50ezXdymZrmjYwYqEe+jXFYQEFkoJHC2ZWzrnDej8XGT7qAzcWl/v28f7FKh6pMuXON41KJ8yNcld29Uej2nUsKtSCwIMEv/3oynkxqjMnLPFJ7n1VaK2UouJcmM/qMFsDo5j+1LihJagIuxUqBWDlskydDg7rv7FspnUbCtoXj5LFOdl3FQcrfCBFTAnqjkC65ajDX3P5Ek5SPbMkMkFdV8YEhXcv0qD+em+ZxSdqlEiVczukUjpVo332r3BKO//GWa5Sw0LYxpWbb0rZU/y0HyWKu7hEkvMo1+C9NgELOv+Dw2khpvObAu9LCGEWfyemzc4EBa17TVNdaW8w0BfR3coix3y0mzr+cUbXuUpITGIpPbntxsAN+huBArGX4ZKQF/Eag7ZwQ8UCZReOFqnqTO1yU2jonGITtKvM9MQNewlxsYXFSoW1dD4yaDcBotMYS8OtZoQvU4pKOgw8B7q+t62u0E66ZzpkcYS3tOhfPCJenXp6DHFtHLgaWbM6INVGbMejIuiQz2qHACWSGjEO7gF46hV3gkvADhnKmtUDnhU23zhRUgvOuo0QLwBNDDUjpEix1c9INB0iXicuKl0bgWbnJbZJfyA2ZDkGardmFkaVk7BHnR/pq+b3RDdjWiodQXvWh6kkq/6JhBrTI+KZQyZTtAjZ3bPbD0QAOJYYhv7+tLLRgIggUunYm/TpPlyyHuk8eJLfpGOaS8E13gfuWjFI/wY1ni/QALEMpbxrs3Te0m/j2PqZ6HVUgVGXvveBbw5PH4ulDCud4m2r4jtHZbPoPKoCNDxsjCx+iP8qw31hPbAG0yo0eD9k+RXrxKSK+Nv4CMSWOBrd4t8BSHclE4IPwipRfxi33ODz9kJFIulkhfDOzS5tHky76/Ex8oj+wx78EbCC69rHRDg9BgAAu3IBB4gY9SrZ0f9JBKi/TWKIunWFf98KghBDt79/Fp7ztQrrbXjZVg80BFFUey0gCGb8ZO0MPGo4eRHNiXX86oC0p+yU55/dXJBt1sSk+33xJsAukiFXpGRIMqH5Mv6WeKhwwwimAKZB+bvic+oCJDzofEMesUed4Hh/rST+n736pYnKRp50gY+kL0onS3TTr0sMWLqE4ERTyyd5wgok/xxVYEvSp/6zhD/9KTgQie4usKGHSRDkQ/jhTto7a2IkAwxIVLGu1mUTJjWRbA628D5fRW1VyTaZQ+tOVPKDcNeF/Cj9/1ytUWKOm1z5LJMJ6EQ04hGM4egZEz9/ydJ9UEJi+3WwUKLTjXjVbsaKciju+4Db8TCeaO71b64kwJ4iXquFIzEvXMmseMq1G++Mm06z2JXQgqqnB2Q8DF9JvKKNbjuPZiQT7Sk3MGYT/LjnHdyGjkdstbX31qXHPrKW9pOFIBrp03wqR+erI8Ed+kc1xkUOGEl4oWMAqwSe54yUGpA/MTFR+Dgy9UM78xWO3ZhxJh5lTZdqBCBfvdBV2KXOV3hrB720+p0Yl7Q7mgls3Kkb7x+7qp/pecs2iZTMsMehimNjmOwF/BpoIG3+LRps2I1L0UiHnZC5N7xObQybIfk4mQUweWIVXpgbr5wg8IODGUXP5BV+fxE6QmztPecLca2tAbOpUcUm2rwIc4hnVAnayN3Dtg2pvQhoGIY9uTDI256sT6aMCi8T+6T3joavxodWeab/9Nq92426h1LpHdak4H/O/GigVicHjvHvgAlINrQZkKN9Cl/oZJEMMiBlJqsBqW2gAT08PySfB4fR+WrgRN1x+gaSz21p/W+b5GZAtrTcAVE69oNEP2wB0Xe7fC9M7Fe/Se6qQnCN0ri1q4MIPGBbK1jor4kWN/IM4sP7kY5vieJ5e9PaErU/vbdICL6rRYteYznaOlVga6g/+1lDujCTznc3QxUV4Q6l4AnxqltEOdHwUGRSLwA3oxpYkopmJzwbJcKUmcszm5xwaTOZUlkHqW55R1htzJXC4FzDCZpFbcLAn03eUFyikCeOAuaqrBZx2viJIvXH4YcBnkzZGW9/MuoJOx3Ypi/Bb86srx44URdq1yje9QpNe5mlfSH9q2V2FcXmuHr7+22PLouA9YO5nCei8qR0b0XAxyC74msBakmE9Rsh0Nkmuhp5p+1hJJmqyAzkvx7Ms1DzoXpUd2m49HkdaZ5CncE5F9t/8tObEQYGQHczefj44SNCzYF37yq0OQqzYwO7ugyR5UnHVUDN4et28k6LOSoAn1W6omYxEGjhmhOONErb3EIBi51kYnNwbRPZtNkyzoMeh4lBHU0E3bG4L6VSRpSY5oHku+xBVjfGhNdbaMxymEl8sw9cGH2NvOYjjjfgMqFQFpjv7ZQEm9cfVvWlxH2nWFbrcq/zw0gjHYabPkxkTYF5cLniO5mSov6gfUBIFUzFbRcoCyhoNtXIdBbjTJqOniG2zJXNZpKVV2H2nU5SdYek7eyKxt2NqMs1wbcAM1zlg0TU8Z+4RzaORQxNT/bdaArZAb68BCxw+TXeamj8cWeLdIzaHaG8ZUHqLnSuh2ybLuqxRvGp8mFv5HiLV9kzv7ETa2F0FR8cVCLw80bTPl8wrDZiffIMvHZdg7D29QAO+sbbRGxPC2z9WraBG2V9deoQN13UjDcZrro3mYXlR8m5eaybDU5w4PR22cUHfxZv8KA2SJlkUYU+Xw4mZkr+J7tS+PjrYhl45IltO6cIoElZdmBjxN5TJprealyysIu1n/I8caClxkdcYb02uGIvoilbPv8yBQJ4uOXC3GdWQeeso/nlgMuGoZ8YH9FdY3V2hM6LA19ixTxPJD7csk9Ve6t7KXZx8t1YRxOazieU1TRQQypXi5F9f513zKz+yt4Qq41KYzndy6l5Yj3Qvq61G36wSLrHAgEN0f9tmg6ajxp3eb2+2O/HAihO7nL1J1kXtgZkgY/C8d3GO+vw66p5Nzuw/E/nXaL8aaEM8AQihsf339Qw7ys0+OUek5edfspvio/qxgvxqKzEoaWkMwDuTV5jNN64RiYhgyFwntK7/i3xl/MAqCJ9KezeIfnS7bC1fm7W4wXmSxQ6HknDAWufthQz511UKuG3LeIlG4ETeNwKQZ1prFWqtCs2oEnZaU9i0Zz04gTa/hgUY8PC6+AOylMRyovVPgaTiOh1Jc0fIozeolBvhDoHAB/W8aMXAkfqXGi5c8xqwAcJDnm9MULW8GDK+5gXG0zSwgoU77aDodKZlVpLQRMV5LkbItvjKIEURB/ISvxc31D8+2GHEybFyB2ZgiHYd1TpknTXXWM2GhpXlHmKsrDCgr3nSVT80dDhnnHQo2iuRyuVz90UeCSfTe7IpGJbJantRpGc32pNlL/opS2SbWVtiIfR9cDOiOvxIoqvkgjc7AGzUo2RIitBPkpvvMLczM+qOuZWVpxBQZl05Y4ZxV+d11gnDMmlydhuVRBUntItPHV0CDC2HMRqB4vg9Z7ljtMEbsga2HDkRrFEGMCs0BDtb8Jz4XWZ09BbkXzMr7rtePo5KNtufaQsNgjhSpDrbMGaenx+5MXohdo2NQvU3KvrGnBZqlQTgb2En0R5H7GQdVASTvHJfx0evN2FClZ4PGgg1fzOyX3R06q6HfrrgBT/4DxqSOG9+U94eFsQg4XqrZD/wac8VQDyIb3gAtXk5xx72YgBSqeQ1ec/NZtF2rty9utC6ZY+dJ0zZlKHgHtiLYRC4NNi4ZXxrSapSKQ4MtrFhyzzDwf43eTLsojWVbzOzNNRX1b2jjhw1XLEmiVtqXGVqPZRCVisQzz6A/WpSsKA0fMDmLaQWeQKd5YuO4JocZsaJw0LBzLGo1YKzrLvXkbPf+um1pG6JKXtfpfCq2Rs4AZ395PigABsgjcm9PuxjpsMJ84nvqPuLCBg1esxi87Y6KG5/M5Jdo+9eMqQlelzYdf1Rrha+edPEoZgASvbfguT/lIRr93bbJBy10RRyZ3iddx9bfMXL3AjXKQRt0qQss7iObRrU5cxCLQTSoDVM4Vf5BbEQDsnFvYOkcOsOGmIgY4SLdKXNZrgK2HFHiicLN4MbZW4Ub/MH1BZimCTEczupiC4hJnUm9ASijJW2QeVxdW4NuA9Uch10oVNNzawRbVA6O9JRiGYu5sAd8L9nMDbo6vrCu+uY40F+EfV3KbSAdONZUqdlPJVhu4PsBM3ij+tlx55x1LISNrWA2SndUAgECLtJQIdyYy+MWSJ4u366kNCNeHoUHDY/4d1Y6dlDaJkv2Dhkan/yltGNabk0bxPO8OfYCUVgq4Dlz9GdT0hV8OWMaJrSy4UwgxYJJ0ENpXr3ps3WEqzhTCKmuOo0oqag1zlz8/y1+Ph6LdaMrrzciRvVqI6aNhUpsVoQa52LdDj2f8Mqh05Xn7B888Xf2DgWxF6Avej16FiG+yxDV3wCwo4tsl6a6EUC4yV4xG46W4bg2LlCvlssTwDN2KZ/vVis/8I7C9ga7JNZRY7BQe3Rt9uPDidq/uMdIRrY10T765vqqsk8CZDAgOq4X+pobEowjNorvFWGxnksqEW5ipJGksTfyTPuLKPl1rAo3q3VX/cdiUYPyG1cUzXaZr8fO290vSNGUICVmp/mbHCwpIiWLtCqgRXE0cM2UZf6WKkrwlM+A26AJCWNeIjvPR8PbHqWBRI3LDF5asho+IBzBpfc/p/+D8jtbDUVgUuoMoU/eP7ostQzGTvX/NCX61WjhHRGC9HlQD3b01G7QRNe9vvkQEhd7pqYpa8rV5gS16htAibILbmF2hhjDrcH3oZF+uLfSss0839/y8HhYVeRyaiSRFI3ff+vaIXHYkhQBEoK4eDysri4JUAr53v+skmr3ZEk81X4NWR1mplCWMXA71RQW1JKCAru5YuWK9NpvTG4hkbN/ZHnAdz5j0VSNyoYp8WjBpPmBBeYmnIIdUlBQBJKq7BiNoSA6xhXgkaG1ZJZsUcsOBxs+mfNkxQxeNj+DJBZE561EWiJutrs7FE3i0Y0YbHIl8/A0IzVpN9GCOWNyXw36WvfmDlfRlnhkVO3MUGWsCp3VN93QshHENUaRPBq3tSN2FmQqHTvjMZK1hvhhLCN9gYaEcqwEJU8ElOf88cgzB6ZA2Qf5MTUGq6t9ciclZ7hycJLMI6MpwHjSU9OWivzaDEFaPLjfn3Z5PgaPgiBTCHJ35uQIMGYxYHbvTXl7l7J7O7pL0REwTqLUTY/KkkAaANq8/tjHcqUr94pZIsS2yprhvG4UJrJafVMqO8QmKXuqLAyUzReyiMAjUMx+zlnvB6WtbIByeauGGR0gORXblxKU8b8zZuthyrKy23+9aN3hBEqQpxNxQYdqWdaxk1129xejCaxVljHaTqcJ95HIfm3DuPyen8RscbPTVd7EkI0vGdcsMtz82+K7ffT5dBwQVQgVpdpk+km7qbXp9jNpkjnOEP8XNfj3oQOhNd/PZ4LaBP7n76JJrCigILfxY6WTRoBjLNKdUGmn1aqc9SiZuOld9BQdrrn3ilpNWRgVmemjKtgeCEzas4lbU1w5VA2kKJs+1wGkXiljPumgz6ZUTI9GCnWcgwmXkS1rkr0qAKKrSljcntazxzB3PGjRJ7oorZG6WQDDDKRQXAUDZGp4Ae2LoxsGYBIVwJagfRzom9eHFCw4+J28aLtiFco25qVcllLQCqvmO2l0AW9TuZW/bfB6XfcGRB8zxLEIM6tOqXIDNgg7Ip6obkHgV8qQz4oiZsBeGBSKcFvd8fF4qLn8KAL3zjzxvbEyvuxkERcoQwacZjrbsE2zl9OQs8ZSXekA/rp5GMvxBSr02m8cymXX7jej5LL1lsQsQaCr2zqep6OOhCosyDpQkbiLRFF/snLgoshRiopLqVx4t9Hfzxg8Fc0U3Ih/GAekYMwg6belnES9/xj7shINXpdsur4TjYjt6su7070OzuB9aLNyOMEsVR7o8/Kx4z0XgjHsJwOCqQV5/zGISkW7wZghHWA8sl+aIPVKYCABYWyxuHJFpQiQlhSezH3GJ6hOEqwR5SVXOJeOsfJD+oUT2Y1cbYk4+Kpwfk9O1GQJvxnr5sM1a/aiivo0L1W1qVGsRTsv229Q2XRruP+kth2wIoTvjcmBAMCYn/MKwB3qkuQ90hrW3X+K1FoRln4y4/T/lC8pQCMZm3C+Mn7om6Td2UK78KM7qRD7yKzyx67FMRtA4QzX2s4n/wQ3khAmtrejS0YEhoFhZSbb1Q6oCSaH55FSrog3K2bFNIRAAAIs6Eh1PcGWOQpoW1rxc84s8JYN7LDghnQzL7Iay9hOQKLAZbm5T0q+fXosONbTaYkMsqXwHe3Mv5yGcZ0UPM0yG8SCxNQq9MeK2ctFp3Hu1s4qvv4WxBxLW4xP0sNCQ2JvOhKUK8Wy1jq4onJQCgMQhenFPPqmnuSsDTJYRWrBPmoJSFD43pGsrAjPdMaUmd12kiZsPmBVgYQqG2M4We0qQ26hebvVtydSbo19Qmnsc/3Iugo7LTSyi4twJylVdHpmBdX3HEQnyUEWUDLCX00nzchwHvu2NQz5EE1HDbyMUpq9IwMxk1yRskUOx18xpk3NeGJi1eO22egimDs/Wm28v2y/w9VBtiFL4XXl7YXT02HophWfywAg2jiSsg1038n3m9cRXyiHycwdXT4m9r/O2PeDhTFR2rnoxdW8sPYa0c+FkRsMlQzzF/OiJmJDX/ZYzhwykWoWJp2r3w3FULRhGSCL2mKUnd1+8oS+LAk8JdQBCjOOuwE0Hu4JsD30cahM3ilrFOGXkvemffkLcRa+nCxpBsJs55xVYRt6P6Jwx3mNYyyztul/VDWPoqVHpwgZzvINWDb3V0AIkcis8ajGCRx13KdAb/uNfFe94m+19+ubNB4MHaQ7BDHTFmDxSZD7CQuVUfvEZzuiU3A67P342aOS/lgX3cE8+1t2ZYKVHpTr/QUDyuqSApD/qtvlVEJhadzdzcFN2URd+U8UNhW3Pl06S98032cLfEe/t5CB2v5TTcK9vSAu9Y57jD1QwWB63TCzUA2lW2X4IYwR3STvHQYcfOnl5lKuk6DhFOluFc91EReLJyQy95hM2XkbgosoqLafBEMobob0yRSa7a8mmv+/bzdMUHuXuKWyy2XBwkG6/oONpvNtUlVYjFN2A0OyeeGzQ2vE51+tGr0mggx8+Zq1JhvJ7tDtsi8yZj7yW2p6xS2uNvbihTVtoFdi/gPSKyOhqKjrHB7ulBqUW/1rIUn6nrGX7UYWr3XfeJvXMG49EYYg01Xug2LTOZOgtv/jq2L5Kpy48WcD2GzwyaYy61XWHHXsQff7fv44euKolUOCI7g9eJqaoJMAmXqO2LcvIu23/owQpu3RAc9tadJss9Qt2QGiIny9/7PudbnlyDJTNrhgoyLK43rMLiCCF35KDOUxkHSE3AWra1ZsnFxlInl8RwYIBKbgU6ASwSri5vraB2m+NcuYr+wNH5R+wtBCdNWiPJyFxjp8O/suhkJLNOwIfSIBwK4SK9VyCEwurGAHjYjYvsxnI6J9vbSf/jHWkU1Ru87oZ2jCXGYNEXprChL5LTrMFjrHbp8OJrGeWdltJ5h2w64Euh3qfyKgZHQK/1p5iJb6tZbKFqgkYlfVCI6AJbd6kV7XJhnByV7KvpwuWkhRf0cG7uM6nA/+xEp9ZIm0Y5PROoQjWBOGYeg2uSzhsx4por7a7kd6Lb+1aHrUrXxcxKBlWiKO3RxyFACy1iQ9JgkzH8QLbHMhWphMe/Qe1DZFqKkKXzm8KZKGh9zxWn0k9vrrXTztISWUUh0MDGq50Uk5LNf2XSm8jL2fJIxxJIZvCfh8hsO0NYfaxKvwpKLmDGYBHJ7qEaVw5i7U3ifJSfol1Z2atNVfpgW+Ef08MtaDeSE+NACF1tVgImemz89EqXnFaq89a+YZdOwxVjq3FPDvL/Y/jTTbREkqMU94YFoZ9CrxUxo6ap2Lq75vc70T7xh3dbtKvZq6BB8X2UMsEz8GTpv3lB3zYB/DxmlDSLMNT6H3wwY09ol84B2wOjqqSL7TcU57Ifv4G5kWKjHshMUKAwvARYSmOJbKjTXUocOW+SPz3i+Qo6iI8FHQYPiYrrwW4uoGBsCzqLET0+PW8vHV+L4E60FTTbdqjcfsz6VxXLhA+Tv/MDSBj+RcCh11YgsB1L1XU9T5x1SD2J0LCthkS2oi6sMRf5ux/xK3LyMQorSn/tl/rEUkfUdVt45N+O1nnKbTBhxBgC1SqItp3zOuPm3wffwD0hAsrtzMJkCx3s9t0whMfvaEFUBRQ5DpfSABiIGHocaH8vqTgPhO2jigHOIFfkfnP3BvZQbbEQblPrt0FEyiqjoPfox8rzqok2rKAH0EgscTFXLVijSPvzIK6pMnUQo8ymJ5IsL6vnu4BZKN5HRsV2E1Pf1QuP2YTiGhyrha8g0r2GWra54Ehzwn/7I7L8lH3TuOMWQZtOcb5BELkxaenpftQaqTw4V9m+jBOgpWqh081Gy1aeQhMhFulA9Gitp6VGjnnVJwTqyZW+IpKeQ3fCMZJBgaoe2HQ8smiAFpC6cpVx6pNIz3tfORcTF19xWi6p1sj+wklsaBvOJAHi3ctur+tvsRiWIQskw4a/gWsbqwCTo9TVpDR3Wi85efYVOQiFf3GorpgvtNj4uEpQ6qHEvksLD7hAeSJ+fVPjCkAcNc/cS42p/uUXsoCiE1kmgANwvE+EfaToiU4W8bbCDCJczMaOYtZ4/DVpWwyq9UeYov4PR+lo5lXHNNNLqfuiRAJiyb5jFalI8cJDC31jALfgidZbuLCM5+CDGlD7O4+mNg8CHLQ5q7Q3IBN9zvMKpIE8MLIEqdo4bYO9bYEbo7/nyUn8CH107+2BKHdnomDaXqMCH6nyocUXv/4lNC3kRNVntUnwleVviwcOPxDymGjt+rOwvioCAua3+rTa3ALiXXWJka0pS44BycnMEDUa4qSf13Zh2k+VXKPpoX1yawv6tnoywM1wnmwCe4hY74bJ1x2Xyx3FAvn8/dUubmwU3anh/3UdB9rpOHdIDbMxznMYqo7a0Rcx96NIi1iMMp0oFyaSPkon5OqljMRVNxyES+WRL0+awzR7z1tvV0QhGP49I+aLWgDRBSz6FW8ifC+1CrLhQiIC8nlrFoeOqHXRXM1EFzfRKvzFcTMyp6OG7wY08Q0QZWc2oOd+98gL443ibTx4g1VpknfTITbqQypNNYu4keOh/Rr1chegBEKDTqqFi2XtgcclN/q6hGdv1MdXMvZpfdSp+snt3zDza00O742ijZD5O/gBFc2/sdAipua47VixZUR2GAEcIQ8GfU9MUdP/L5AlqKxZ/lklqOizGhT5xjo9AnKwo+pEFfKQvh/vBfg3fxG8Caz2Apx1yl/MT8KpoGBTlp7cI81XcKIZ1xDXv4iX4EOiUmtZSvnHUmQ2hYXN7B3X9KiSCKSBOutSG6/SdCbGP0GOKNwq/5xzt74IGUEb80VDZblNrcMUN0kcKqHns8sldhzBhJ14cc+wmKLP/DvUK3Os4EkHtRZ8Nf0qoqExb1D8ybjSknHnXD7vF5hhwW0QW4SIjgaSZQLLuxX5aGakf4E5DKsV8F99PMHx45ogyxLfyZowF+Th08zsXr79fMtRH4SZuO79ZNukhqyEhgZ36o5tHI9eKn/rYhfz1uGi5a9EnG08IjhFLztLntPuKz5p3FGNvAxr6F02DMMlQzVFvfGjUEo88T+/ZFfzWF/jcyOZpp4zntHYu0lLhAAiwXqjvbjQbBM8TCSgshNsOUSg79zflfGaBJpKjgeJXxHMGY4LukVCo3bEJn3xOYYaAZws97me2Y87EY3BOQ3AjW335Zdj5ISNCfN3N7XwODiIsFvqFmWEB9isQ9eZ0PUdIa3skCeS7bABKl2dnC9GVYL6AjxfoKY78dPGAJEw98uk+D3BQlrDm7vN8et02I54Dnoef4UgGe650+8Q+WuN84R04Gdnjef1dc7XeI40jP017g2tMjn3JOYjW0Aiho16OV3tEc9iTfIR+/Ni7VdgjNSetIP3q6hMDJ3+WYs4LlOH21JCCJUxeP++IlmZTCzAAZH3lTrMMjwH/VZiE+zZuEfFYsfluMz9OyW/D9KTcMi0sXShk6kDWa/MN7hau3mZBw800uk0BIUwkuvucU/3r5gO9efv6RL7jngMqCgUMjmrtRODeufzZjyDueVpVjYrIm0AInPakvBELdML3nwfURpKKlg+oacy9GU+mCF0ZQyPiP5ehPBmAVZfq40wm2MZvTk7lql+cL0oQHXnYv+1/KTj3mQL0+q19qoVEoS39l8T4sFMJy3VGOltBFYq38lAsT8XBEC2MlohJXj/A0kovsixbxrXM+ve1dOCnitOc32uUKPSO6nDawQdsUJz0UNjcJu6krwDxj7GgvFuNJ6vAw9ZrOFWgiuH3FpCICv3he3QHlgiqTFy2ZKmZuqxrjVad3ez7Y5fmmqfAV8+IxCLn/d1DQqhiJKi7eh611Szti3e444HACE82GAOW6vPIO2i409urpX0UwHCTk4nXCvvknVpCNp9oY+U+d3oINJUrfZavDNrKvi9MjQCoiFe1LqK1db2OW/1malmwSzceU9utUjtoXXIuOdNRkcnhWnKhZHz8JqBxntHZjEBjF8xLbs8m1WTHeH9TYheHyh5rDxndDQ/MIEmSAeNlMY2xRn1fTyLkqBeFBhu3WoMX/pSIdw1qwXljI6KTGTEpef6LLkXDyHKxw0Oz8EYT5Ofyo0eijLIB0/mmvXBtTSBme04cjOs5Z2xnN48+cdsRJnPMbFstftnKEtcq1y++1F4DE4Yi6cRRY0SeUyNPYbrVyDurgVokIare3vNAn2BDn9QZB8fjs2tYeIJon2TCTwac0JjUnnNVPuShs502k1NYGd4LC6opiQluFLyGD4JZ7uwNE11ne/tpXL++uM5FJC7JQvEsIoOWaYu+r2yRltFNJE0yoxz9ABuhkWqG8kJx3uK44gtfSE0uEe8jRe1Q1eCiZv2bhSw5z71eEfk1Uo8ERfzbfeJFlQKFOmtyZWMGTBT4shVFTN/A+zOG1z/x/kdGsCOJ/GGSKnYHsvFYA+puopSbguabsYDFmY6RgStTn3YYxhLaZquTnqkvUyk8YO0Vriqbz+CbV3WgrvRfNAsTvASvy2ZR3NyXy36pKB14ngOIjp/S/oYW4b4zoVTtuSlzPUmwKwPEyV31KT7t3xsq4ZHHFcYZ89SDEsKn9liLXZt5LzNbv1OIvvK0OhyleIFF2IvNdlVTcyADFeI/Hxty0r4IdC8ItCgW4KfIUvGRbPRhB0tXVr6ZwbIl2bvJeb4aziWRBH17xQGFr11CX6bvfM6QY3ZMh/M6MALY74RswpiBFFy8bQ92JRM612P9i2Q/6n9P/JhHU5abh75bZT4K1eaB1RbXOBDlr9PodS9QUk8ohW5D6+z7X01PSA0enJX+4Zuzh0XD7JY/nBX02qjW0imXDTIa1A5lkLTymg6pHIUBrVZOlhCBgpvHUjNiqhEWlyjwtBWebFbyMBiCBr9sRYPcTrF8wD8D/lzk8U3m63Uejrh8aVTRDOYCJEqyknQQRjtSqEU6jaQKyIhz73ayItLXUgIzB6Zp7GUq1C5jVhSGlKLJmePfSEtDPEo3G51NKMdJfcq0Yhj3V7YYHLm+qbFGPiXX/USbra8B9FV8Tr8lNsq9RhOC7u9I5gOi1plGyE5/mJpgDw9kDGU61MlQVeAWri7cgng//pHxQX1livtqUni4EYUoA2wUMeDDwWxZUiFp3JXfgqDWAC9gvsh4EQQninImU71UeYBkQOVU7obXm8Z74PU82dmEdDd7/Az56tp2o7XcCHVsqV4j9CIY25GqRxQkcyLtvGRvcJo3fVThhrL1SBIJUiBnJDi8PtXFLXXUwwAI4xicV4k6X+JIoChL1x+BtuDmJPuDanVqX1bXqJ+i7w4NlVwkw5IBYQiWfcMUcxNrOxifEjYYNJOu/Ec8VH62kB0mfUSqBpDVe9XQ+kiTYFxGKIPa9zpdfIvGJRPOeCpps7e2Ib/iFKMe58tdwk/akXbqMx1BCl7cGzqSkAd42JULY9M2+IktLM3bTEBXGx1Ltu83F3qJXh1G/OqGnBFR+QHXbA3TsPpEEhvJAVfPdXsZc+Hf2Ra6x2KloTO8h2QrZEtvxNQ+MsLjnMRh71hLBr6Ff+LdNz0ldyXisxEfenYt82mDBzk9BbJr7OVoaubkcEWahuh9tflS/aYWUP7ttSFRIddAuiAEiZ/FAGiPELh4gDQXeVGNh2DIi0Z8K6szFEVXXHepFWqowRvzL83ZoAKFyDhYVDzt3YBdjwIt9KwouCGdowsmri0/zCUG2wP6klmEyBVEbpHdlcqA3dZR13RWBuhk3s1t6hcsuKFCi7P0fR2d8RPVW1TupUGxV9zPrPuusChhmo8WnzMm9PIxn5VtUOZk37CA4LV1pMtelNq3ruin1NSHycRBN3EWgm/BoXJC1MQAAMvHprXFhG43CLhuyNR4oQrj8RjoRqnAZiAusjeWFnJDa3w6JIkskT6E66HsT7jW6qYtx8ehiBLqEr1WIvgmiHdGW28mwnzG/sgYlAa5wgCod/w2fzNLRQ+xlUwlTAaWz3M7MnySenMh8l6T8pTKrQiVIrXXdq5ti8ZrSXTRIFDoQCG156Tor95ho6QZNw0e9JUJYrAa875JlsLqvOavATddpYHzhIkIbBjfksCor8nUFkS+3PYWnSw5e1CNduNgoT5LyFAhDh6n1yGBVPbZuUIAqBFjUKrWzTPel9Wsu7OA4fxEYZFymVV792J91llszazM31L8ZnY85II/tuODR4Iyw29i1ecHNxHtEwzW4slpTVEsr7N0ybeK+z7Ba2XtuLmPBu+WxSwEdCpRsb/WYP6OBZvnxjRooPKUXR9HNWQuw9nO+pv0V/E7J1i6R1feinUgMnuMn+ADUtfdatMCht8IklYhWJQhB1K1Ik5JTmAJvc4uXw7gc8/7JnG5UPz6IEofQI7omnkWNRrCXtxHGvpcUFuBpWM9czOfC6s+9RtVUpMC6xvwW38Y7lVlaJFWZFtFpN3X4ChE+I0DLRT11a5wr1SSTgQtygOBbeoqUQBLTtsyt9sF5guFUwnUBVPEv4+30UpkEin0kgcJ2kbhphGehrO2B8LNUhU4r67ymCqDWM+rfeXmZjFPmyO6XWFSJK+lo0BbzVqN4sAN/vrAAdlS44xBtqMiB6knLffb0yHRkuKZF6AAV2kswhoWT2KfnFYK873fwjiHegAUFDJ9SL+AnClO1YqtCIpIE7+C99uwrvcDUHDFM6Q9m270rWuEojly7jDRUaz1lotQvhL81PHLDqp2o6XvXe3Va5GbxKJiTSbMTrY8oE5TwjHXHmFIH97aKa5Q6SXajIRwWqkbd7XYy3TeXVHDQctkNXTT3xI4TAyT2GQcoa8QcnORf3h0QmIx5ZymqA9Qn4yLp0+/DW0oYT3YtJOoWMHIrswBKaL+kIpkTEaUlWVxvQM6mJtiCpcjL0m0NYeT5Zd6NBra6qMXAHDBI6bUDEmyp/u6dWmvA9RbwDE7sYLoDAprpbuEmxlOVOZohmI5VxIm5UB5E3NV6H/XpE86//BaJhk9TmYjkoNMe4/72wkSkBrSij2DS2RVPugY/iFj6IjCKvkXUp8noaj7Yohu/cO3UdZ7IG6XdgRABgoKI+Cwcf5COARA8deuXs9oV9pyzSy7lCbOmyB91HiZi/J3bz0wz3a2FYhn4jju5EM7WJpT09pwZLDx8so6En8D15AP+i2Z4vO1RSqme+4dQwDt/a8X/CReFZ6QLJz9f8y7gF3b6LlHv0amDQq1Qk29EWrRPmyBTjnE7FcZgLL/HPbUvbQWu2ctLlORRBYu7CzuHR5GqGzKCi+7tz4UEZ+qbLvuKOrr8dSgROacXDhTDXkc5H7fBXCCAiwNnLhdwT9FCVesqTVFUQ3IJPzWvg2djbRF61OwsTtNX50Get3V/BxckCAo5/Bat/j+PhpttxZLkadkD35vcoGkwe/Az2tVm5fLmRyBtg88b5VuogxNgEfxzsaNFvCXtZVx6LBJlEOKd5K8t9V2ie2X7CidcERNd7jdIe+YMm/9OWyeq+oEVr7Bt/9rcfwi/M3sffWuPHsdY1VR6f65wwYEonmyy8MGCT1N0JbPxOr0cuMMU4dBTGab7fvJjTtQUaZvYd6jzp9QvU0grQLmA01SnN3O/sczZXAX1gg+J+G6bsreJcb9dzNJ6vnt441rZb9r4L3fz1IVbkJXeGzzwqwMBcTKX1n8bp30v46/9pBu+rSc1sIJbegsSiGLQhgof7Qvuwoa17q01eFKshzDm5smwxBITnCvtB2cGP7oXfNisSSR+gJRYxHmYbBhCGcEzvAjOBbVkC3e3NLoyb9j5PoMTNfRl+2eTSMqiO9F5J+f0zoVJAozt1OeC2zp3Twqk5WxP7aXGRBzkgpfgWd5hDlxaondI64+Aihobx7yvLM+FdSWF5xxoTYu5S/Pw2VKTH+3MjHSFF3fHmjMJbk9ISVJ0kOyCuhFa4ocrXBoYk+evGxIz9V/9f0iF11UTjFrIrRJPW4jslC73cIsEIy4HpvAT+gEq+RNFzYeYjczj0eC8vvlN5PI8f9N+xZMkzTzzawulPQNUNa5mDDu6jiWZn6v0LCdLI1NZlkR77honHF1Skm/qhpxIvrLLCDR3fNTH7jznD91U5XSZT/OCuPLrFvy7HHKBMQIabQM0KG0rDQbCBL44Smv+uAq59Dc+2ybl/aOH+Z2MVkyQvPA2P74VqVjZ0Gt8jV1GMU78R0aGx23UmyTiChjXrPWgiyKhW6c8l4+VcT6A/wxqiGq1PHOAEgTaZcYr7+iU/CuVktmdHUSdRx/G0sNt4brKKhduFb9kAUUVExrE7iupCFMnymUFiFcCNZKDJYRqalsoo8URoQGfvZbtID/0A/DWdEjMx+IrtuTfGE3yLnXRvXq7xtGjoBy6bzfj0QLy7LfmzeGcCEzasBxnsEuF15XwU/zKEEgxyNrbx4Z1Rm4fFPPIY6Im5D/eVjDXM9bl/t+irJuuoVWNLEbvT/daJSVUDWJN/Ch6nVMqnJjqXRgXmdUQi4vNdwhQr2B4RPZKnFCVXGn+2uzpI5aZX+3SOwgJAO8k6Z736M/BvKcRB83aPmMjqk2MSLvQCLEaC5eVLp1c0VLzQIvM+fFUfS2VAG2DHl7KxHbfs56r78qaogecNVjx1iVEmbdQEp7UWfPQmH7luTTxmDjvSB+j6w3AgeXaNkCxniZq99xUG9Pc74EahUHZsAsq5Nqx/HwnrRgQV1soilMIfgPbs/579mV/wyQov/mgDPXjA+f3pzBJNrB9RbUENeW/ewmNH6x9HlMtn7ebZ1kyqw9BA94sMBkLCxRqqfnpzzZ+4XL6mdGTuPoATRcsbGPEsHa2rFOzL7IkQvvl+pX2J79xfZk88eWkLy69CwQHvqgOCrHueB3A+Wodw790IJyBmzhylPcFxOPLwC+qQlWwZTP4keh5x0CrlUhYzrBH7bR0T47A5XXSpxoGvWV9UCdKZWcJDp1NGI4pE9GgtA44Y25rYD/UoT3woq5YI0ujuz/2lxXndznCEb5Ne2JZ0o/6K4hZCPZD+9eH0fBN1dREL7klcaEFVMnLePv0ZdCxtEaHtkqMllXetE3TMunDRlUDLksSo46vHck3jmSmG12eduBDeptyUqs9jvWYmrquPfW5l6PdD87iKio83tvWm/kMCZ0/laMgt08LXMKIdoWpt0tjqZ6oEyPXn9B3Usk1yD+PpQzC9TNWmGZJp+TvJBfUe+fT0QU+1m61wJpAndGY5MWJOsO52F2qWJJITXtyjvhgsQJHeSmMhT1azqUipseXo0Bx9RqhYukL0S904JmHkpo+gQAxywk8KPYzjwAg6O42NkgKHFtxaawYozGoiyrictczlJ7tqTLIropL+QMZZe2zD6uMiBjeunjJOq4Cfp+miPugdgXJ6GXyQ2LGW6OUhOMMSahrkC9stBq6ZhKoGW39ovPl4TTb/Gp3LMK+iu2A3SzCWLUTBmVSKgf9FZueb01LBxGshsNPxiw7P9Gf6dg2yPpmqVKUmoHVA5Vc1WUQ21v43/Y9RKiUJk2qDLWGSmGv5HAU9i+033labZYIytkytnYSGx1pbrthiiluOYJ3CD+RUiC6wQ4Hf0fB+lnABiPtOu/9KTZQwQSHYO9oAoV2vhRV0NGQBBe2KE2Bc8ohzTXQklKQBHDJlMVA1JbeMFU761QIPqpMkWQ77i5w0mMQR0b/C0ee6obdmt0ZoA+Lds6JpmxsUU8eCNy7VL/t2pq8qCfKJYyHh8tiEcWnACbtlVtBvudY3qj3r1tcQrPv/RzzvxnY0dOufoYkpoc59stHLoly5FUmkIjJqx8WEpe3yTjT5ZgKCGWVZ4bJySVBLdT7Sm66xPAx3sPFukOCo/HXsJ4pTdqnJ8jWugFp/SA1fNIzJ1s5QnIcexmG9JrkEth97wKQCapOhmHOvFFFHLHw53fchQeyC7AEanXEt2kv9SzzaaWhR7CqfYZk5TgHAwc0mMEyR6PpyzGmG0wsA5YO6H6pAt2aRAO0UvMPddraDYIXYlfOimedUrQ8N/nO8Qwr6td6vrOkonht6qpsaaxeHZlD+saYgFdMlPo7iOPxg1Z5Rixy4hp1CimmtMsOHiArbX62LQB8vQCeaLBnVYy4XsI0Q/+da6732h05jmsXzPFaVPTtL4/Qi63Lrs+20vE0URPmz2+9DO2ygU9u6nuLhVa40Ww8oMk4q5aEKlx6wiDeJ9Q8EJxUeeKQD+WLnNrfcri9+0+twZ9Qa/q4z08KLh45gaxrsfPf5mTCYjByrrsCptGrSuZcrvaLph36yJ1PLjzguP5OicnQ2/OAkKjBOTPjCEvnmV81nqsrVJ0AURWQBNxzuC8EhSTTlLffj6+R1UT1TYz9IZJgyFHjHVN5+6lfr7DpEPakr2IX/cnGZSneTwmxC8D8kfaSip3JDM8T5CmYX2ihp4uTxsWvLUzF+bxqGw/OHtujoQsh0ra9x5BjHD6beox4k5S7wT4TiwMubvf1VlJBKm6Nvdylbx+xEjNDqOp0dd34ls4FImkZUn4fh3e8p5NN8KrjoV38okyBimauQt/3p7VapS42r7I4Y41Fn/otU4OFRvkr+dAuFwmpqdKToCUDo/jAypBgNHrw7px/vefotZ8lUtJOMP4iJ4m75yYtj0IZlbPhSoW8RE9y2yN+thE/NQpTJEWUZKxUH8cDy+c3T62alwAAPzaXZBnnOzz0tTCYT9St0i+tzrLcuLJKgb7TRpYcd+cU6teWlDictM7ArVxqeojnHhzfWULZJfjC8CiGZZEo5L1DugTDAUipFyylcv00h4TvymCzUHVeQidmzjq8XGZlek/RfoFEgHkFtlHBWh16Imdi+zY/XSln9QSFN+W0m+zknjNRRz1oH0+uZnoPXe9jhRBoBK3NuSv/aPZsEGLO24HgiAQTKXa22yOcCWNYsDMF12RF5WPc9PEv4NVI26rY/xXJaIkXP4iwByfUy9n4z/AVgXMh7DQYfndT4/EUL9+9Eb+VvynnJoD+2G4ec8G/xq/LTjYMEUDpuurpo0T7XDD+NLw/FprsYiqdp+OTlMrH190AKTr1aZG/419qdCIu1J2bA4Oduzjc9drl8Y7ItNNRVenjmpu0euAmdr+ZidNJTO9hEP3aYsRsCpkfgza7j023FoourQiyQrPP4LgECxnwCVO/LZzhUWZ+7bIf6ex8xqkXwnULPAusWFnQBqM/4xJJe80RcUrHZc933qCKU0sJO4ONlSI3Q6I2tc51YdBWCg9yZwazrq9r3Ncr3+tzTr7iOMM6hdoseUpHRRtWKh2Sd9n0M0fgeQ28TF002RZf1CPBKaNhd9VOceV7VAYpB/USyYZjpowz186c0qPojgUWXuvBPvYw2A3wXzzvzKBEoryfMJNXAWXRyrWHX3CpOajA4TQEpQq02urTooiHDrGqDvFTYGkQmUlXGWi8/jmcbsGweEaxiAJjZu1X+qfwJQYGXYHY9fJYiJEegeaXO7hHkfesjYFzoMJke6nn7Oqv2OkhoXkyJioVI88KW97ADWsF0RsVQp9QNyMrkGEDH3femEzGqcJyvNTd9XM9KT5qqu/omMDeIBiDt2pxSMljIxQ3HJQLDt0/86jj5/l1UAvZfbI6TXw+BGhtKlrNL8xi7PTUO/7vQ2/kTHv4iwIbQTIDVBXrN3fRBMihrSB4NzrsQcdCopgqAzvprzLelrbdtnFyrRX+/iXAvSPgXQxS2xrkipw6zbMp/mTrkZXzBAQeBhxE6WQpSbH9jbWQhfKSwBIwFsDq2GL4cayxxY6y2+zKEDX2fDl8FGACFIXRVOOkNZSTtH6P1S680Pi6AxGPc/3ZFVbe+CBdA/+t3nKj54cRg/zhNQfD7vExiA4jtZmtJTYB0oRzypqbvMILBEc1hxk/NQWz5EAXzc9Ut4zpzG5/8CIQ6cDm1o2x3rcI9ZeQQWBXWjyEH6dM1XvWx9SHE/b/3ajEks3+HrzARWain3duHQJxl0tu4p7eOjsvqVpQRIKuyHbpmcPdH1YX8TCRQwCu+EaTlRWFF2qGGfoCWqKS5HqbPoNHHeY8vUADxGms5HFxpDwG+BMaev8JdwZ4Lr11kHAysw/tL602tjRTRryqVKekmhYlM47cKV9xwudfGo79iWkkhssbzz7BrsSuMVy8xGPs+emDxztZotVETRl0mwzmSCcZtojFWrCL8oRTpoS0hwcB5ajDitYdQd+oOWOgMYmTK5qv8xw0yLprsCR65BDy8fz/JRGq4Qb84r328IgA+ZdJeG/yllht17/86v1bokddYCDyuwpyookyTLdkKbQB++EE2UQj/ZVLiPjCuU72hUikHQoY9CkMjGCjIUWQTeWoqUSAig730das0/72UB57VDGE2WkpwKR7RcI/+cOKbdgSBcuU9YQEWe0NsmwHn2LkJH6MoH/UdyB0UxB6G8vDluCjdlIJJD9O0zVdZHK8gpeF1coZqVr0G/sksYPETuVxND68Js9PcapKzNEY07WxfubxWXSSXMrtrS60rdWetKSMPGy2AFL7LDyARFSuqePcJXDbWTnKbOztQfz7L8cJcuzQRp1XfO1nXEFCpzCo/62aFCD7GupQ7lpXq8/WS8EQHkOSY+d+aDiH9xJjL4jhQcTSJi7YMxiJiOwLv+cEurUOUYwS0ZsmtB1/Jx9mN42HW2Ur/fY9v1yYasB3j+wNv25x3aM34GhZEjKgl/Xj09us77FcmdMXS/oY7cFp31kf/+HkdVRS1pM+wRfmTQWuOvG2ml7r2HN3gkHwxBB8R/lSPIKti6CJyKpIxM8HC8PHxNczNzb86R8e3VPEpmRG7ZNsekN4JOlydvxolL1CBYxcAaU1zTRBk54bX/2qnI1FhjCwgcuiMwXwHU0kSqBGgR7J7XWSewuYTQ+ASqgjblCnolArv7M4aa8XqTzqoNBJoyGEvu8qFXMq2buUE3YSfw2E0cYtdftz1Ov921DTg37UEhF4ruUy1m3IWKDcqrfulNo77AO2tefsD6lb1Vlu4cO6xZDK+TSjuyQ/2RyrHxz97cdBzZZ8S9/m/zbKn/nugl6eRQ0mJdNo39rlcu81TjaYMxNkU6K1RUfxfeYzuW69y3Ad9W1fh92JRAN45K6Um6BBnb5uvL0vF+0RJf/3/pkOVEn+zO+U193ArTdThx0ZiSGdTCg5xXWSU6JyFOyGcOK8G+qkkXdWXK+Zi26DhWBu6Uv/asdKC/2P4a5AT+fV3rOH31+MvCOUFDuJ0AYdIE5QpwcaoIwLs9yDsdBE9h52Ca1JovxKHr21QqjRAziNkYw4deCzAILL5YhxJo1NaLOhuM9ZRKSVJwgviYGJHyUyFhLF2oTDyYsCie9HgPPHcicwSo0kRz/MhrQLAX9LiIz0nwTizb1hc5eUAiHptouSXT4rdf46t8GCy/Xf0sXdXTibllfcIhXy8WFxniR7Tqk6dV2MkJbUCiqFa1FFrkDKJ5nz1erSBEs6ZuFhcTMM2MG0wanpbgoxMx/OSV3GYElSBAYuOr0INyXlWRYKB8SG4bLjsp+qon1wRVQ+IKYfx4fEe9lKIlDpIVsgkuNY3XaIaQqwKz720M7P/OS3IzCAp8vrOSwNGXrLI2YuG0jBjWSathgtLvY13d5KDZBYl0LLl5P2kfsZ47SDOVUEuZqgT0/R6cPgCVOn5Ac+CcaCHRTYJH/QKW20c96R4w/IdgfZ45L0f7j8sY0rCpneS6YNRRk9nm/Q6JOm/5BbvAGH0omP9l9B63+cXi88lCA9nz4HudIcfV4BHxq1LWZgVetA6y7aCIT6RBhjkVIUKQZVqG+u905oFVLXQ7g8P1TeKc+F8504Rmn5zmvFdLUAUD4lz/pYGH2NMmEYMaA510hLx/EThSzYFRUGahliwz74DAxQc9XeJmitdKQK9i+lc2yzC32c45nvY0bGLTVS95I7OjPlyzqj+f0y6FfeHMPUrUiF1NkTTjSeppU4DyWWGIphyTfa5rE5op9YdhyO1/2vLKyq+9S/12XWKf6eoHEe8ru6b4o4Prlh63o/cbVWEiA+IdalEBTgSCcCmT08e9U9Zq1B6Bhs74X4VervMWIJVmM98XUW52mrZHZMlIFX1awqQH+NZxcBxTijdUsJhIVeS6sv3E4/oyhNmvKJULp6VUxOxhP1FU1G8LfS2AimHxC7DvPiuHobaDLJkigFT4f4B41qGqM1JgHpgkF9cVg66Ir8AjLMFECQmFF0qZnOSxoKP6+KNlDw5UhbJveeSZeQkMCHeyA6faW2usEZcoptGODdwM3NrAnuyRbdDezTXiTdGFkSvb+BSOUk+3Z/sF94ZTh1CVuZq5RlF6fJKmk/dJY87AVtCWGnV2N65BqeT4x2+NaPpshMYu0aaIqgkB5S1dcHxbFmt5ghCUlcnLmNill9XJsKtdMEuulPaA0vOLa93reXGBzp6DGAnaOzcuaaQwklq17nZYu80n6+IcDZH/u9D0f4l3kMp57AWQGjeNsICGykg3PooMYKYVKYCYcI3aHNzqamGP8rMtBOQyQJ6Cf2ZXRLog3Zz7vTdQUJbt08/bmQxKB4l+sDxMoRJXeoBmNJrmQI6p1+sjHJ9L9QxYRpBNXNvXg2IcKch/ivPqxt6XWYmO6YyHGhk1LAdYujcOK0OuIWziHZWm6d8DPyEal6J92iLf46/vgQ7L0N2RXxmVg2YiWUlrnVOyEF1Afhoic1ojd7LS6EPL9e0yf1/44/4pfk9O3kexiTG1SrEG99yaw2Nc1kCP2SHYgVz0NobhPWwL6mHgTRbybE3rT+QOmzGfWWwVB5Kcq6tH6cCuxgjdUUa+rWpkAIE6udbe4TpFvv1GO/C/wJVb5Prg7xQA4Z3pnuhzFocE+PJyDbsuIFfMWgI2PH1PZ8Tjq1BC3tSPDSTx+9emwvYNjLyoEERGA+hGPrCCgo7YIqrHaT4c+FPFQ+BNjg+pQE4jbeoMDNM7DrMjXYou0BTfFAd63841dC3XUTuX6WlC2EvC5T9Jab1W0MpRIvdNlfL9vqoLxZ/mb/9UGz3E/I429Pgul1XumB/8YVXu2ROVqqx1L/8qBheiBm71B86Rc467kW6pRdfqIvRPALVX64AWEgZDjYx2yLjevgxos+gYSmlEfnnLN3MmPcSjgFpcADQwAxRvgUlTHEZ8CoGcPifiXdosK/Dmb/7+35gcoTkDByKV3ubScECDL3xze2CHFbhbRYVdJwrChVYDsE2znnqYuFHnKKkbdVCzXlKIVVpENZ0xGnub9iq+0vqgCdwohc0iej33RYsUv1IL7lqpbUMa20CDlAoziJk689kU25PfSIHdaODLglIZXSVTsWDxnBVTjbi4k0ZOiDBN7K7M1Pdh4Ekx43K+OhGkZPICb+IA1C5Q/ludUZXMBEyV5onM9BiWsipf9IGDo1D2P+CCOl43XIsVj4zJjVfvYorFs8YuZh0Y6leGqsLyCPUAO2yVYi41DWChkjnFWP6mywnnY0IfSHRYWpVs6DdELFLbMyQWvt907EaiZRD7AuZVUCVIRb/oei3jKMORKFnpuHTkyiEZPDqDiT2buMQPzTQlIn1daUopJ+G80mjPQDenh9RtTWsSpqXJmo9ip6zQWNf/UhVLSZHSgWgg1AyjNWyTEJg+3hrg18b4pOK7TEtFTnrcs5vCLF+IfI6/0gU7YI7+OIqUiWkAI5KUvo/LSrxAN+i9np5nquoh8NS9lbg/horosiyZY0zo8aLVFYNEWqqUg/9sZ437NtOZjjnfhWdfX4P8CMxZyU9e+D/c8bGwuuog1paHuhlVkYZ/ORloW3XNZWWzAr2F4pNhkullVDZZNOE7VOWJ0gpJ8hmKCO1PjG5EpqmYuhSAzZ2q1E4x07ksmZ12iMb5Hreiba+TMzTldbcqFXTFWmmO15E5l9bSJhpueVkl36g6vxWEDjzWVvPuiieXjzRy7wvF9Gd6z3MZvKD4VhfQE1vvpuEJB6jVL7qXviPirWDlo+NY5U9YwwhbgVWDgrrh/27e9lOSvLY2jV2etVs5HSNm6CNxV9B/zx7M/f5mC6zXjNW5M8sFcbgFv1tO6kKsaILMAGU2yubbpv8hykcjHueOrvQK6rWym/5hSyALaEPlviq2JR6lFhvGz4xyPuylLbh0s8ulvevOgGMrecbtycb2FxWMYIOpO04woAwK7k0XrMnZDS60U8u3j06cbYJ9f66EDgwlzIb8KQy0r1N0ijJOQDcCze/Lo90H5Q86EXgNuM2ZGTzmzYITvvqHD+5lq3o5ft/0dBHUEUqbpBSbIYg7RsjwD6JI04wuE1wDGrOSDWEq7eLOrGlU0wY/HoUYsAvM8AEqTBwUvwAsdvFDCCFzBc+0dwRB9fyIns1wcDq9Ml+W3TN5OLAOJlJuIDEy4DSPtJsm1oD+ORafxzj+xTgRtf5g+eutapw7GxEEZKVHJ0lIeMpVYBt+cSFkBp851G69nbDXZmBJpjwRnU5jI0L5ZUxehdBIdt/5OM35JnLlwKkdS7C8jyXQsxDSQOgKVLMFdf2YAIbY/1wCM3k69aSTNkdBlhkxnZAufifxW8oHnoILQt1IFsC2mPEuId7EKW+X5tT59hCrG20s/8RuCvsMeY/0PHJm5u9qhAvI+qPuR7iXr3n/eKZR5B1O5S0TEVBKl5NfhN4TE5xFRYdcHX+ZZDtN2kZtmIeeq48KsEPIbyvKSKv97nfj/v4/YUwt4MN7N2dRWnd3GQITB3vpvsnEjbDb8aU615UyrOP89cblYI0NChSZIo/tagV88Kb4LQm6nXzzsQLH9MurKt6yVcELiTLKHPxsO7cLnPyeRupMeb6+YmTyP3d83e2CBI2E2T9IkB9PrEUaUXE5cpDuArahTiSdalDmAzulS+3IACBUikfu2UQGuv82at7rzSB1ZwmR0x623AXY2ViR6/rLdofNXWcvKVivoEEh/kE0fPt+HzNd7sAalE2EFC4xk6KxPKKLm3jDoNGeJMmPDGlemK1LxXLk7c+LZkosf68js53O3mQIppzcacsQ3sRw/6oaTRzIoRt7YQTGmL4mjBimlbEYJQwazB2kf/LlxQOz+85/zBkRMPCAAxt6HNPFFSwi15mUHowSh0+ypPZYcXGgEK+scUKvgemLqPk1wZBMbtxf/JcdcGfJuf42tM6hIXf9ZICuJWHP42c5fjF/rrKGAWbenQ0eLdTXEz6oxaSPAJaZ0NCDTdOKv+AGytR2pM/AhjkqbiW8DIyl3bCyc0Xk+OTJRu+v+FjunlpgpZ7r7YrUldgzX7omYrthnqm5M8aUKWKAL/YfUhMQgGgzE0ogmGWkpIYfaoz3OwnqhWd+1fOmKzdxUOhiYwDXD8TtL8AV4IcbNohweg5uFe4/MZ7NAoG1AtbikignahefGpgmZv8xSSI+GTcLJdBpVQl7t9J5icu2hVJQEN8G6gbY1HTPIGp9jxUXzQ1ze1e1Idm9RxdSKgwQ4Xh8D6jTrNSLmmhrd7H1N0TvrDPrb36e24eo+rMcuesDV0VScSvqfp5ceo1UrQg3JbGF5FCXkub5PUqF8a3J6IIHBeZW0hwGuYws+iZ/iML8Rp9PARk95G9DYDnQNsBaX4NJic6RPxZ/jxPAodn9txPzULdAlsAI/gvX2TNE8hYyHecyAw0/KQrn9StPHyhKgfPDPb1plz4cQMibV9gliRsxC7mSdhDeVybP+AZF9hhXPiHsywzga34kqybXqG/9lS0axg35VPJK1utoWOn7DfvAXOqLaYCYC6KnmwM2l73ZN3ZJ6hmniv6AN0n0gS5iTog3gbkM5xwlemzfkReZ7pz6BkeO3R9XGtVsHnA30re+AeYmUaz/Xx3JvSy3Wf4Ak4rv1QVdODOORGKolP3HDNWiWGcDmLcA0nLUXOCXC9a2GGdBw6fP9WhtlAC9nhriLNoZWl30e/WKWv/rWmgj9XuZWaHkdXnqhayxD2HQQ2X+0yVOyGT5LDGCScYnavmHAu691sBfrdli2pb56a5XJpU8ZuNT+4+9rVdWTz6IV8i5Tmmrht5oNpUEdbn7qiTXqFoBuqI50M98gIBUkpi+R5j5uVWQgv5HE1xqLHofXs9s4FqwQ1aTBWilKKowWxTKoqK2WKRfzyE9v/44WAgQf/zeNgI2QrfL79EhwTOjjzeAkNWpoiSCYhPTeZjMwGqrQfhrscj0qx/u3w9yJMKJQjhDwpTWZKAekOc6IDIiraJ4q9L72X82AKP9Du8X6COErBcAfrXW0PiYvb87ht4WJbXdg+HFCZI/tZX6lg7NTJFVpA1pKjbKL0jdc7163UXMwLPFdndmOBeQ0yluK0B52SReyjzawKQKXkhS20wHbdu2RXrtyXd7MWE7vjjLa8QC3+W4bEMsB1kJ/fuJ7oELDFONPbGS2J8Czg+6PwBl/9lVOkQKEcvPzSh+8pk5O+xTmCXWqe8k7mhC8tfbvob9iPW5uvPjDmxcZe3TzM/DAp9hdj3vcniOt4jo7y1lkGz4eUREpTa2E8fDyrW2EQBt5HFbLB29C15Y2HPFQnQYBrtktynj1mmdFX4u/4lWC8vduq3tyTDVEcyKdBHb19VtJQe9uPQTNMbdgPC+ORFzHy6tct99X7XKXy3owKLOuONoMLEYqEprmiDrunVSr6TMylrq4Th/7QHIFEGlJLEu4ZK0iFvQi6oSUhACVByKt1RNvUodzvd56ZHFmiu50PQtYMi5FJv2iDclWN8LRi4kooUJbV8l7OD48z0KY2TexdCLyPyfFoI2DJXwlXumanZkSUurYU+N3c4fH86CbMOZ3QEPnjoA+R4ndnu19zzrBt+7L3NCJYqtSSB1Z6kiCnqInnmoExaGD0GMr2Vy/3pzhff0JfP5eoyzGUoQTer/qd3YRiV5cdaQUcuIulXq+jh29PIqY9v7WpsA6vdS6Z6k0dlqu/yXUQiB+aY0b24MnXpE2JKQ2wH7m8PhXXWheIE3+Yaug+4J/n7FMcIm50vP6SgMFCw86wnmdz5C4PC8PBoUxiJzOsIzgNwoyKPdJhCu/o4piRWqXrYpwK6fssf1s51RqrPXaEfbx4fmYRTSRG354s7Wvjr0ZTFxx6X5q7K2/goQoAqklltlP584VlC8cyuwLbSLHkJ6mCPualKWBifpg/GVMSrLUQpsFOzo7/soqPchWerj5QBErnxiQwHGwB31HfiLLCt1YkcqTyi5Uq2DtIoze6ssaqDn8CUMNkYLF7PHuawdc2FwusfmjE+aTsSy7I8fBEwPWz61f+LO0Nv7zSbkS0UOb2SQevwSfH/slFFP9bd0UY/UrTG+7N78mIBAwYaFzzjaHoXMhhGJjN1zLZVb7kO0BVeMWv/pQF1ahWAGgz+sKiRY9ajfcbTCXvr/t3w/gmLvUL92kWd7yR5gG3FA3GNFb9YKP8vEAfD/H9n+D0MzDBONEMvDkHgvwTCp4HlPZ/iBABMcBhB6aCcUOgr6jO9iX4POcebIpP2LtsG7e4qOX4VExZnk12HLF4xC1ceAr941A1LehdSdeZhvHeFuyVXtte9rIi9YPmgTFNcGJDwqT8tbJ4q0hr8mKkZsncFywaCHCmn8LfDnBMZl33Iw7BaLPoj5WpbhMqnGB5Esos3+qrKUllCZltanI4KSWdwJwR2QLgK6qzg8dXOntIxftnt/WltXkKi6lZe3QEE7N1bQa8w2WEW9gtmaIRZyEPnvy/8fY/lOcD1Md0EI+4fJw3C0wLo3JHdlRNHIZiJS6NuY1Ln3BJbT79+bPOZvdpcevjX8E8fh7+C850OP3MvgZ4ohD0rl/L3nfTSf5bXpwX0lInZVg3xhuvhWWpDGNvDBpXIgaFcIUCmbFW0/uAavjQk4vzUCDGKBOYUj9cxy7l4s6MD6DOo4/zqNCMtR2/0DghnQItA/HvfL4Rn/c9LPU3Z698HZH72CwAa9x33R9kD4ylY8/XLkdr1bNeyH17+sg3pScIMcfBEaFC1gOAYIaQBe760rB+UFaF3csqkT6Uzi+q9pH5zcU8LVfJvvE+A2tkJg/Bs4qRH/8JpYOpdd1oXrwEMWZY2DRKxGSuUIeAyt27t/6U33+6fAxJCrjbNyhnuhb7xypMfz5NjJQAtKqtrJ70DXRvJB4QLRH5FAaW0XV1X4skpXy05KFaRirL7ogLbUZzKBChjP/B6hVS+XTd/KsHvJOGvX82UJgPkAuoUjxlwpltqRykpibJe8wt/VDDW8nmEOi5fRzGSryb3O/oK+ZovCsUK5PzobV1DGJioUhc3IJsprzD3x9eTiAtwvgTOHz1hvxMbfpKZ8av8xDtcBBHwe40iE2MmoZZidU2SXNbWzalpUN7D4tIcHkoEzdZis17rpbn2UFufvNZu3e4Q3FccgmSzsMfgaxRFPAc2cYh0Q29bnx4+kFmhpROAp0dhGbEfJxr7QaOlZ2790ClyyHS6MJzbvwfxGg3gb9ETvY9rtHRLNXCPf++HX+HDfxnGS/pf2BmUZoHo12uxze3YF8tlIqOBHQ8ck/ByEPfeq4p5Z0x/UY2Qxun/Vh9Z7D+vjpg+ImCCCqqmN6yk7cSJzzeLy3662Nu9JaV9BxxvKOa4EX2EVesl8BRpRZugTwxaQ+w2ibFCj5WJg9ljHYJ8JEL+FypxLibth9xsaz+JAWEe2JwqDuIvSxqmdEvdRvfXQ4fzHbaT9EihJwALOqZPf19bjSnsuI4o6S3QFK47RvtR9sa/TkH58cOVwMLwNoszmhs1RYpliMMGTbEy8AHu+I6aZbJSVAztGOM/gr91wD5WtSAM8N5xSrGKDBXRzfL6b/ChrmTv4xTPOCie9JznYXqLaoe0Eu0np5QIEXiJGyXHby83Ov1mNgmRXmepmtfkJvLs2gjk9DfjxmfQH8oHZYnFCnpDXRTY20ut+tf72ZoGnwSmxn82uh23LT4vtXg2TQQEM1Nb8obQeuNV0norSWwdVF0ojFo6DhpSOOAFD8a6zkdujXe5OluG1yNo8ntcfzg0w9C6b3fTuXXMMgRj6E+e4VDy1jWQ3MxjR1zuqGL+oubyw0pBprQByw3vEgeryOvm+iZLPzJKhJs+I5FafRgAC6ldPshrMcc4Ts6XGKC9Tp17qcFCy73s1DJvw9JLNgysnV961uJxZdF2UyE/FSoJ/ke8I9P5F8kEt9RfAELpmMcvlfk/2ub4Dvui5n/yH4GsbffGZJOlC0mWx9RoBM43Vn4rGmvIhgPhbMJioyX8Dr74QPLugUBXti5aJWYaO4ZRKm9l9ixh66oyzniHHX2cDB2gSEzklFe+ngj26EoXFD3WNgczOCCsLVdYNAhVw/8YYXgLfSYysY9Mk9nfVZ2MSjbDGrYAvKrvuSTTr08PdfPRFJhdyl9F8JmVg8/CFH6T3PTSQlw74JyZSJRwScYA4CgfeTuM/Nh9pW+imdU71osyIQav/25F5UMiDHSmwNaLTs8+DBAyj6c4dWCvRiPybNhgDCBzh0HWr1wh84q277wtAe7Srp3QWG6jPoSXjAg222pSS6u67Rp7FKX8vlWcPbW1gibaQeC0U0e0SCm1fg7wwxm4+YLsl4tWiiIKXgIOOPKCxKnR+RY07dNukV3WuiS3hHbCfj2+xIUuoHCsS5mhAyOTIboeVeoqhmRLmANqKg0mYHpGUJB5KTlSl32fKzMBs8DgWY9rRhSswA1sQ2hCvcCl8IAHUJdgot4oLUVrOfS0GdhmnY311HB5bfI+O57d39EJIraBDJ27qKdncdN0SXqsR1Gxvbjoyw5nNirQRVoMLGPcfdR2wJ0TYrGbKSD+OTR9SYgJf0ka+YpESUYbmsK4UJerrLowG2qXK902t7A0r2QibDbv5Hx6ucvYd0yswrzT65/ob1TehHR7aCyKt0K7MiZWdL62NfSgOiJMXRyjxvmSDEJmLj5Tf0Z7skTldVycO5F0C7yJrcMvA/wA20JfOTq1yvKkQb1MB3ltQIKQtcodSTjNQBv13Q2SPV4V32hiJ5R2MMP2eEKDzV2KTYwurc+KAJKHwlIBzTB+rx8OCjuX0h0K5EcrhkArsgYo3e6uyZp1eepIUPdTEY5H/q81FNhzwsASQlWcgpKsiJ9gxmehRItkb8eZtMQ3O9FY/+cNacoq4mAFC8kJHiSJo41XV65FVuktOJIX9+oR79Iah7W3R5xBJRST71Loxcbmw8wEcSEDSc26lwkka+fBDQi4HMhmTGlc9ogdC5KSM7iQElgimKqvBrZIGBImGnz/U5a7bmpHu2IEyEWSblBEtoV1uKJ1f+XaEr8ZSuiItfyiLjpMTy+GL7Ek6yVWLx4iAOB2KNuzz4NVoiQBMvnW1MuPK4A2naAHOwFmtzhzYDruFcPn8UZgpwvWXOuwC6CtISm0RsBOViZXP0zXLXoIlLQyduwIYGXoRCPixF4PhHJz+F36y+Aoi5CzmeZ3PUisyjn+bF9xsi5McHLwNYjPwk5aMqMzCGN1HoZ/Smu0eQTpvOP+nTaGtSNZymcUt/gxOrE3YXyy4jnuPnlhdm+3D7o1+4Jel2ybp2zDYp5C86PVMtwBcWCSlIYF6GaxovZHtDiTEc79k3bXeZwGhbc8nbrL6st9TqJVl9hnX+GivGJ26BB+YYbNDWxJbGzCJOukoKVnHksSB03MidNQbjtThn3/BcbdPKeGzsGPd8BhVmLn2Hi7OF8Te4r4FtJq1a8iQw85QAjmRum6Gjy4tNggmEHjaecHuSQPO7QmKqmMVRuistwGYKmKzx7mmPw2TPYrR6CTzs82Aq95XCkrA2VSt3as8mF/F3/2lHwtutnw9FbiQSUC9o6AbrQqs/os9iDlM4Egw7OkdjrFORuG7oN2FPPPb+LaAni5tMfMNbh4DmQKA2nyNHctNIJR/Ekuc/o6+bGwKM3p7gRUmK8S0l93MrGcZDXYzSAGEdgfWqudeUA4Za2HkGyrhhNr6KxaaiW94Lf9syjY8vmqGyTOd+zE0Ed5WR5npOMN+DOeOJs6nR5uGLkIzhG4yaY2zwnHwgVcah7QmPn9O1Um3x+jw7svfA0fpomSRRMxHIK5CCpqkptLCzUz+qTiXdukM6XvR0t6/UHPJmhPvkQ2cx+cMx0XrvAh3jFWWx1WogoYoANqm3cQoUiH7c6HyhWIgEZ/22ms82Kza85aFizGzF+0F6IairO7UZg89bNss7fgl4r2Zl9W1d+Td7CP3k/6UFO19vYbOVT/BNDSUJrVYocSwB2HdWdJPEvmv2fUVt6Bkyxm9b5D5xWkzkW0KhtwvG7JZk3KvTRnGvDDMcNjk8wWzyhquyla/dcTYOgXaVBjP8zVxR4hTLXTHjDdS/OeT2eg82JWJDUrjIPtnbECacqaGY18V2fG3mUWMR66yCxDBfSSteTKHvXhOByqY9InrMOp2Qjm2o9MmdM5U/iArL1EKIUjT7XcCPZRldv6NUwQwvgvIHu/adgmiXUs1AMVGN/M4oOLE/UM+tAxYdmZ2py3WnnbSbxtvQkgokcgiAXKHQSlZPmNouXdgBT+1+PH5syswEaY7YrSh+JR8hS6ohU6DBvEtHH1cT2vWLLK+ls/aToGiufCEvUFvhRfgwBdu+d9aPkxykiSzRykdiKBsMHfOeZojbJZvgusPgydL+1jsORQnW6ZnMIuQAUvwANL7467lGgr6azGrAMpwvasnS/489J75In6tCt0hOSEq7ZYwzLxCXpYx+Jd5Y8hbH7RYRXrfvvIXEy1I9TGM9yeF3frCDEFmGXmDspnZObQwHQoPidWrUOm9sjyja8Meo1vT9DNacLZK0zShDTlix6X/V4p31B/TKHFQqYHHdpHBk9nUeuISZNbvBOZJAG3W9vIO6N214F4180F7qW0qwE+DDwJtjoMzvTmmWDoei6+GLKTqoWtcggPRsTlYz86g48JWB8kX1NdAKYXWNAjXkiov+BZDBumCuChAoDo4IWAfDzCxSNGjUWpVOjAd4Z312eRXhQPEXRCy1Ah0hcD+X7NEy5oXWXfjQMZrB0csNyyvG+Y4Y9gy08UW2VEwaMQlafcI6PDjXLN6XyYl6kEvFN+2SBdpxiu/8iANWXq7lpCyavKW3wj5hBRdBeFqyiBxL1wFj6IbWOBhucQX4NU/NodAnTcCvhodxp8NsmchPXfLAc7Tj//0X8vrQDqgl7aZzHgdWj/ocDK5ZfLXPR1TvgoTJ7F/6/D7iQ0C83gkkzJEZ7VLmhDLO0XMk2mOniCXSUPVbq5aAI1LB7rhpw6PawZqI8nMFXKiOFW8pC/vnrdRIFYKbfLLR3aETdxWVVsN6nbKsCaD0657dr2tdsOnI2FHmW6mP0/lT0ZOXDhpZT0jN9USEzjw5JcFxjk0q1rr7T245kEhrWYN0R6dPFwiJRRcp9U08U2Z6eQ9c+B2U0JnAdG9yOhmdmEcpB6WbkxKI8ez0r7+mk08Zm9gjPvb1H76564/HsTvRyEjWy55/tYsFtgOIUSs4BD8lOVBrEwHyoD7GFivHxHKwib3u7ww2WPBtgwSxe4DF6p00Y65wbmUkaS6lDh6V8uluPHt92qA9mAeZA5r9jmfxav2AojdqwurpIZnWf/gZWL4I1cQUeI2tPGFSpDdoyZvc0k2oVwjAWP1DNo54GPux0eTIiWzmZ2HdfWCnzMca1VYR84kUueajhfi9X8YJkEG3FHvOu2KSCNlIJaBYpMOKldmlYcvIt88Ijv257o8EJyAOEuJJe8EcGdR9yqWPl+odm0HDoTyhRRHPfZ0EfxdJsQgwhuMetObA6EOeZfnAZ8FB6ydmWvWj6bnS6aj/J8JrKaKafokajHiYpkywCGiK4epHImrOnnJU6Dzdxu/SXiXbH0EP2omc1fJ03sigaw5OAjgkwAj3OZN/jdClp49OFLLc/j6nVK2WsVRxbmV1CP63AqI3lkqbzCnWgxJ7brMyOUt/2FIvF0Zxcj67QYusINI4lT3LOmNyxWv5QnN7Ka221BZxLO14mBhQPShlMtt2BF8Rj3LkXRR1X0D52rEhEWbVXm46RN3zlAa4aTT2k1NzJO9e+8H9n7X4J8gq2V8E+mgGIMpV1V7PpMT/XUj8MVdqoh7bL5RsbaWHT4wTvEL3DLdaL7D2kb83kxTyUYDzpnywK33kEVaaYhE3LTQewtXdZe6uCTZ8XEtTSuWDEpZPzDAlWesAPTsm0f3J9tKIKCroaao72DUQ/RQMqL3hY7jXD6bQMa/krUGPuJ0yU5n87/dk34afq9zuivZ8gaQKepCbiuR9IFrO8IojvaPrBGXNYyd99IO3twmQEwdTMIuN4QW6lkD+EMvvESMOArJhJFUI9i1lljLo64NsmTde03LuMlbwTDzGuYQcOTCgo8KVn2w3tH89FBpA8pEGpY/3vjjjP1cjMntUyrkUYgzs80V3R0PKd6K3lmMkeHxMw1jCzIBby7xWDyZnxSsynbowl1QTC3xxAepGbU5Qa9YH5LbLPIR/oTkQ7n8+J8Z/1Sxin31fZD2JkAX0loibbChhH+/D2i4yus0AOWRnDhCvpC6D8Wpy+/U19WeVaju7Mv+BjqoAAUzyQMOWiSZPLZXPjoI/vZqdaSeaMrMDa/BXwiQBxWuyV2mPMFfyqLm2LFvxxEliWnlA5xGyVtWhzl/iAmJYTq4RGlWW3TuEN2wO5Ggmd+pJr0kyvwnlbV9KtcgrBdkHlJY6Z8qMpf9d0SQEi/mpqx1YevS4j4sKQRx1OiYWe8OiIsEA9oXKcfVQlqRPtq+DPO67GOU4FaChxBMrMEKJrZNAtsY9fiyGPjIq6DXK4ABYM1oSWNS0JhLZyDjb4nB5F0DS0CecJ9LhkGyvmNx6zV8xoGQfnTsYnduKoHSvHcvQLw3baljkaQL1lJvlSwC7HYTCiQhgk7VPdde8Lq63nKusd38LksRUbeCMOw75CBPZ4tFDvgRQQ6bBMOvjoTlIdv7HIG6eAtzRPTHx/YfXu9DNwlA3qLNSscPtKvyV9kHVf0/xHmuqeDq/1jknomT5KofcrmPJE2U0bwremjAm1Ju10gEbXEYwTzXwCPZT6xm9mWHKPy0f+L4j4sWaSGh6htHLHCUq4t519hVoklvAz6gX4OaJp1wTkelKpY28vZ5SMQlrhochHTgtpnzArr48VLSEHGRg2jvG+OxGxLKq8nKX5wGADppvtwt7UauejgCVaOG0UF0vq26p2foTrQBAI6V5waUX1JzUwrlu8MigjNrfZzjYDQ+diZ3pVbVw7DsB9Ms4zbWjK/UxmYG0JaGY2Np0N/YMM66mHV4aKMYmkbsj4ugJ5lOns/l5PZeiZ43/gkBOKegKXFLBUrjLFzBJRd7qj0wUqssDz6/EctiJX/bkVmZ/XlcODseWU8Y1FuXsdL+3TzSleCzsXo/FsUGEJJLIhQzToP/rEEoodaCgpsVCJXw6ZD990sNSbQPu324n02oYiVT4O+BOoJrlJ0yBPsyCmxX18N8Qy6+J9lFf/vdlY15W3O1EgZ1Bvk5KO/OnjQ/JY1FS9ad65ki5j6pktyQxUIB5lRRkdcn61tbrePQhZNYp0A5EmEBv65LvvEZLV8Gu7RlzHTZXAAUsXQQl3irn4F1OCtlt3wPnM39FyutjZgVHDxBPVFhAurHMcjsbb068RqQOqA60TKzGUVzqMu+ZuDmFNZlhna8HEwfwfy84V2Skbj1s4XxVkn+nw1NhgjXeMH/J1XwQT3HlejP932BhmojrFqQ4sIkjqebkSKDMiReJ4NSZswFh9PurzPF+6bdiSDQY+3ReijSXCTk6hG9N1VT6zjeldoLC6egDfmnNARlXSo3Ko82a/UxroeyK2umWssg+jub6gU98etBmgMyoWMdK0JsfjkvVE5gqIliT5cllOsBwMLFLwDLGe7/nQ94AmurbVC+uPymjBM8WvTl/HdGWjGdXiyLNagrspLPvvbAPLlgzu9m2XIStAD/F+SolGJae/CSqBq4sa57bFyadcXoiG8KcEr6z45JAw2OqCfVaCGUKL/L6f8lJLGM4B+56LMmUnvp/hhdHeaHnbt3gsql41trS5qETvFJr8CvGbRX3D/bJNc4DEq2hdPf7HXZhuOCe0n7ibjMpRUjB69+7lJmfRceqEoO0+OiT4etQyy0qaFZ7fA4t5aUbhMUQoVlxb6HmwVILBYfWorIo9MdHOXwwXh4g+NspLtv5IXe25aLEbtJyQiIZU8GZV88gWIcDyDleMNKCFFvEnPI1zhMHWENhF7qHRC3d6ScYxabGp28IHij2wsFIJ/n/+fzHwJ7jdLGRKgWn4Q0RDMTCPSncR47r5HOgo29ohkLT4ipOtSFDoQ9EnuUnIViToo/cJMQPBKmGtjEOBhmaGg1paUTCKrn71HYK82rdaLKQsnkXLVgb+PeoAes3QdHmW2Y/QWp5pTKwWBiTYo6WgWGE4T+w1sRay2AgDt5ymIBnabaqBv9IizS0IOZpFGY4QLUIlrfiSMQ05uYQ+kTAcL8He5kYHz50VoYUb3hFvL8ITroPFWWxN2qxbwjTPGczXNNv+q2Xqib4edkMfN9Jhe1MLIelCAbgH3vAhE58/z4QMSFBQ2ERLEKRCvMAYpyFVtz8ZyZ8xR3nxv4F7U/MC2YybUFORQMa0ulmIPiW2xnfXos3mUZwRfdSlg1bEOWMwDVBGEyLnGSO85fPQGsnAB4NXjp8dbh7F9QFsMdzSClfJkCKEp2SZk+qXjyIxirrDdsAigu0MRBTUT49XHcfJ20FvNevcxjqD3W6nLPWx/DjK0FaM+DnIWjndDfqA7urWB0jxFS3aBUCw2eW6hmunTkFbNHuuQpqzdYXga/FiTTuTt8DIxnpxPRAbKnQjh+nNCSMWKHXMk6dGX8meUY+MQmot54Nmcm3bEVcjLIkV4mPsez7zB66FuSj9wdT6H5DUWJSECJsBn9ixszSXKYbTOd9Ux8u4EUB3hgR8426Wtvw489UUe/IaB0Jgus5nI5PlL12d8I5VV1/eTJrJc3s7KfnqU/B9KPLzMjZiVWvaK8QFtmULdxL911wBgRMkbV2SmFoocwfX1UFshTT5yapbRydN4kEEqXlrYjqFsaHDlqxtCYxjWqy7OwBXz++pYcBK5yXWxdiyoScuy3CP5h6t8MMw9pTUHQ/wvlTEARnF20aJUv9d99HQpyYa861ULZD8wuxLWCwtTzs8lPf4PoNZZZc+ZUQn8Ji4+g88id9OP7gddM3Goe3xNBJi1DlKoX+i0nSAAtB7dNEz21cWWgYvjX5JuB+vWTkl7r3TPcyUBbDyVcJk8iNtqhwVMCaCrXizT3sVQZZMY73FHwepSIEt8hTjDai3YPI5MuRXJt4wYjfKjON8wYw2DJTKCndjM9+b2e0DYCLheqwhG0+cfpQryh/MltarVtpUC8V6WvtDhapj6ftVfEf+nbZY07hq2rdVfwrE8qPb83J/HwFGXEQvbHxoIeFN8TesE2jGewS73vbcl3QKvpH0x5Lb66vUCoZoRq7bkFzh1a2tQwgRmtA8yflEB0ECaickjX6fAFtop9Phc9GhFbZfLftRXsiL8c1sVoHFRDa3u+mZFKkiWcWc5o8PZoxgY3dA2nngsyteDBHWsKirU10npRkfIQcetrVXx0vvV1jq2AoZmqXBVnXn1ZzyGh1sr3vz9+3O5vU2LoJNg7XMNWfzCk1pj4EcX4c/zKAsK9HnWnkt8WgzVu1ADuzrIaunTYsJEiWzERPqIB2Uz4h9Sr45IxE85ec6TD51QUgdlPaBAsf7zNFLDmdEZLNR0gPqu6/roCENpEoHfEsnKB5LkZN0MCO9Rt+ouHkxCVbGgR8xRRA9Rp/3lQLYSSJwhmfc99DZB+jFBuJGCYHekYyhtXTJ1MZNdaCeEFcCWrq4ey3jgUfT9ypazWi/XxdNVqm/YQUdez1USeyEzwrG0wQGyEeCPvnVOLANpR+AS61Km8Ncscwx1Hw8NM103zx9PZ0drIAfKFAgUX4Dqe9ZK78rbdstfbs0JeB/+JFCSAbMMs3zUOJYUzz24ZErtDmCA1K5GH+rYMF+if2TEoq+bVAaSmLyuy+7DN5dnXbQQpdaDX/aHpy6ar0kc4OPAKTnbUMl63X6a8UKoZDIzFiMHIPQqUe9aEfw+bcHfyScMBP3rxUlRkFsPq/4Lqgv0gvwvvqGwTtL3LAYzX5gY+h6DRPVaYHzd9O93wyJ8PrHN1QUwVBoNC5RorxDFk8pB1r/uzd2C2NFyVPt6jC77LHUbIPVQipW8Lc9jzUcNOezCDJtPhN0Y0+CCxfs0DRC+1nlnRCBV/oKVImYpME89amrUZAX94zK6sbe9O/OCr5r/Gzrx8gIdzUmLEa6rf9t3MqbU7IGuMA86W1d33/X3pTJ7Mmz42fRhL1WKKHYAsrEEoy8JzYdtqwX2Q4Vkat5rMQubBPzsKUzZOccvKw7p/i/uNhtpKlBjQduaSWJ0rUBpIJDvpMbM7sMbd8j9KbQYYGfuw0Jlfn6inXmMlhA6ZbcVcVLougMZSWZDrK1fTg5010TrVcfrRPFpcAicNsoLDeldBeEVn3VLXIqJQUFAnrj7cFT5fqdKcTyshwbaEv3EeRhzpmLgNOZ3J6nM4Xabwk6UqSC6NxFvRLlDYoJPLTklksNi3qrSoetXNOchwIV8fcDBEA7PYvikTqHEDb32anmYqLudmZQHluNgJWh1RrDZ0dTZjZXw385DJ4nEOTMOyvfj9ZtXxHHt3IkkZhDwtSPfTowSnR5ePNOe3n5GCHCRO0LqsHV6/bpMQMgkD/QkgxWE536zXUd4+RM2C5uNGJANqb/pR36Ny2AURIHUlaBjlG9ujR2jgaubENlKSB5GtHpPw//vNmiSHHJnCICDqdEnIf1sC+2Iw2QWhECAdEyOdKu4gm3/LZDVFWR+Phg9SUZyWX/X7y/3q5HNycdW/To9w7qjkSKxAharc9DMV6yAuMBHCBex+UY28MBI00UqT7Pi+RasG9SMfKuRPpgu6OagSMSVo2das4GaMo3xgtb9VBM+pYHRDHFzWRqO1092wYeTBPGakADjBOUIjxVYk1g3hWD2/hExWVn+Y1vYhSycBA7y7nq6S5bk14tU7xwVpXCHYtoFKlxJcB0kBUYzzSnXOMbrJ3CY51aNtNvUvJxmuJByLSLYHrDuWuvTJkZ4IRzmH475oB1etJ54DjeGZvNB1wrT8ypfG2MACkJpO8sghKp97Fgaop0xW7ARU4ms4EgiPkKxgvz2noK6UXOizHVSI1kt2OUDsdsZiFgYoaut5qsfcXmBd+1luGHpDygBljWcVI454P2Cr1ldXQAVMeBejnS+Yf/Z1+yOmJCn9f+8nghtI/ptnnD0uE0v2vAUOO3rcBxHEXTk9K9xSkMV/CixjzDVXlJb7SHatMHUAEKYTQK7MuepehYnQoFW9NUaePYPPICmthIcsTIkrv5tP9dhFYDWQ6hprxllaulN2Ly4XF56LY/ebF5OIpN7FmEcgjnmlg9QCl9man0GdAAjLVSL3YTwRbJ0Ro0TScknpfTMCI6jRSQZFbDIagarjFXNq7AZIFmxQwuPJNYeD0/FW7wDyrw6ewZs53kCmr9d0qeXQ8wCothqJWAO2tB/8PQVSA6hksfX3F0fPJ3UCjfR2wfcpP0d0A0PPusjHMJwyHXYD1DhnK4kOpZMObz4NTA9gOPHz3XYf3NRLuoNS48KmcXeOsbSbPgNAoFQy/5Qc0VQNDeG0+ZkC1ETHWUhoASCt2c4wT3y/zhgrskZSTSFsEgtRp/sMJ43noY8mzJb9i09SZN07gkWNmenRJl3icZITZI2JfiTGElRnD2RSna3Okfuf807lUALvu8eepEY2TCQ7/UlhP+JiPQGETWcqR/BTLGyHCZBLuXNGbOXZ2jnPKmrgLk3/w7sVguE5ZyULYPdeU8Kp5heeu5HA07TB1Q85p6Y9brngtEDy75WriHa0d1VVNznUfwweXusMGPq6e7LdDi+MaJnHNi6Lh9v+ZAAf7eQFrv5Y2DRCTq/wN6L6iHHxpS9bMZn4spHPxt+HXZAlm/B64SpzXgfeSKMmdeFmPVG6QmIq7sFESYUP5v5QRcjZgElKO48ZDe3nKAoJwMWLO2RizfZEutm8zGv4mfVqGx6zHfUnIS5Iv0SQ97KbE879/SreeKaazLBe++w3HEjLPxOKwGrxo9XkloChl+WvzV4oxnAcYoGWIKewH43WO7bHG0Jf93MYB5/m4aoF2hu8BEuHHxnl4y4SjgEghggzVIZBSyLWwAi1GhKfgYCGpV554vMkbNL4pNu9Vi+jmiXDU2SYi9aFNUUMSCZEGt74xhxiXVNmxSrhxzd9DnH3mAXe9HLptkDCORC6LJqjfiPmQ4RU/+YD+r1feRqZ9fGtJ/G1shv965M+DefHCSErKM4PtmcOzNEg/p51HLBS+FKIyrz37ap7W03thNaJD78BjsLXokdXy3bat+lJI0NixhDteXBNYsnXNR1fLrhVqcpRk+fowBQpuFdf8ZBLUSz3oz3kwmRmIm0obCnUzUb0LBGJCVK3lIIwbNAvR7nYQH6Gx4LhlBvkRmfIG7z7RcGrCSPw3O/Fb9RRUJbNbxDNKy2QRfRTbMAh0FwOcvKRZ7AtopuOMA4i4l/Y0c41SMP/XtmYbgQeKxOs7tkwjbXHuNIFsrtdTCJNSTmNl9S432+C6XgHxJp/hGh3k7BxXdR4XR7avMHfambZ3lEUM3NOdYm8blHU0rgeWKWa7ZwsZMALwFKXOuK09WH/3Eicg3CO1qKLNJDzm5aope1in8HCIMqKzqQwNd3JqSvrXEhGBM7HCUTSj4M//snxKRuaauSkFBk6XHZ8dLP2JpqTFvJIKbtLxpK2qK2BXr+u3cUnRcpayXu/MADqeRlai2zaoJDZtfxGsKN0B+GFaIDpQzPCGSpr96vmiOFfJefXq+5QOoSt5LQ15okX63I1oLWeTTpQ0qNczQN0FkYwBwxL9pFAX++sX67mkcVErpPmSX8ZqLvgwc38t0qI4wqd4sZkJyyKzIZ4CW3JO7lHXM+Bu04IPrmYxk5TRNiKZR8Sj7fAdM8qy1LGnYuvCz4b42Q3szD4mvbdZsPKuNR7GQjLDktkuqijwnHbXmpbGHX8SEhb+0bSW44S0FMtFauVk7JHlAkx4iCkFZtBgFpZjdQ5oOEW48MqGCe32RXOxkP08N9Zxt4f1DMZEZlPwfoQf5wH7zhRO8c2RqfWOAmhv1ej3sRYjcGrfBJcanzeT6TkHXZE85dIRVmEXvG8xGcTnC92nCD+pWDOWfH1U0m7UfderUZdK2+NAWkAcd+ksa7liqfmSHycEDenG/EkQtBr7J5TaYiICbbm/R+pWQX2lkWyja4sPYRyAAJD9mkXbP6N8FvpodEnBi/pnfjdug5W9DUCeW8fGFQwKqC3ZfZnN59OjP4BoDdly1rHj2280R9qk60ffQwEeU2bGlmC9aECizTykMF3uzzBNUEeLbn/GGTA81lDxHL1WSrkkYwXhKtp3M5XyEvYic7x1N6AfYEfbb1QcEtgG/+esS8bsOHdrgJKphySlgEqT7trRAVArjG/9UvEcKvIfmXoiv3Two483Laz/MEtdRVmUHng2iQXGssSHcS6GFTrcMww18CvRuGgNV9QIKWbSaWTpFAIoCKrDr5fZhpk9tyzyBbiyasqBGQFiroBPp3DkfCfepmPbhjQgJEiiPqMCy2h+Hpvcu5Vxs/4FcYZrVZAgmvDYwPIupkPAKYOHGjmTbDgMre3AwQ592WVB9QAA9/sxA9ihNBBOE5MvkXnNrSU7dHNiF4SymPRK/KePcTOAJxT2RA7vy0bCGk9keyUKegyRiCl90N3uUhQTqGsdYuKYiETZSCHe/uJ1vb0ib1ItrJYx8uqcAvGqsqHrbOurEkqrbFzy6Dp+hFK45hMity5nF0qdYN23bSVr2GAsHK8KJMIB0VEKVHkKdj9K+2tQ4MUYAcLncCxwXvY/tYGUDa5IWE/HSpeTZm28qvHKF59pXHi+59SF53uTRXCsiibba9L/N83JznA7WdcISg+/utsowXOgTpBrN2d5AI8W/3x/2OEIoVPaZEpXOblxyGCRGuGZSAbe2OdFXK+cIEsi4PyJKPV5fekdjxX++oNNKXAcZ5R31EloiKvbMZ45LRc8IMuW1rIk6BF+sMITCbptiqRhoHUZGrP5nXx8X6i/HzI9IZwHKM12hQmuWHQbaiKdhMGPeWFl1ouDDTQPIKeF/gmNCvPFjR/QFaC2zORbjhIcc4/m4i9DOk5sotyAQF4RdGZ6anfZGX0ypYNTAT7Wr1DzJw1vEQW/EzsTyghms3GvLyWRs5/X7h8irLRd4cUac9C+Iul5qW8X67VjSXyty0vWyFs/hbEiLg8Fk1awjiCMCCMmIJaw2viVZ86e1oy8yYwDJWFKf5GShcY+6W+J54jRXkQtjedmL/7/+mVpWAD5z2t7Lx9lSmGieK4YIEKzb67DyFhQM3G/FIH7eSgx9qRJq/RkSan4H55hnkxsTd44/Xr6rzeVNSPf4CwaNQ1ueQTtQZlrLkWKLZYrIz8J3tA6g6Y3KM9e9A3rEYBY9M4U3artWVA/HNm+YSQ4zcFh17xHTVutaD7jzYmJV2jTN0cp6V9IRSM6V9SKaaYlEWP7Ak4sdROI+dHDOFx6JLleFtyp7UA4QfkHATNWEdtb1zJQklvNjNMGga2hQ1+r4dx/b03LJ23DneHqjEand+N+3jDsYrrnK7qhk5Py+j4GjOFlbGyLXiS28wGMhGn6qjs+KOzgJ9bFe9mitGZ5s4yuHMkfx5rXqTkThQwkxMD6fmJJKArqE1HrgvV7J1w0FwbS8BEr8wHg7+A8YWkehJBaWFoyxU//uH3lkXwMoP0Dyu6WDrkwd8wTXF+bnDO+9FSR1z0EZuXEYpsWIV75IxEo1yNsMyadvhVJPOpQnp7M6JNFgIwrAz/Ko19TjUqXJOn2FIvA+e0WpjR8h6qadljFhIAnhJDMnWYVtcE8xh+D+tHSFfX81CBHTxUMyP5mdfjK3EyqZ74U1XvOO58MW5eNzyHayOLUXrseo5Vw+75SYR0cx3478mV/DSL7tT0Ps6ozZMWKTuy1HsPLGrGurp9jP0LKmgp/XNj8aWy+K8hRP40QAK17HjgZXBT07Dgdwmu4L7CpLcLoOu8jUUgK7slAEeCrJSFd8WIIrQdq6+vQBBFOHoRTPXFjf1aujX87bLps+PshF25m6al7bgRUGk169AmIiPNug6bVRDpv4w5YCxdN8WD7GcT/hQMPoGpbVxYR/DGTnyTc6iyPQA77GfWcFa379FakNxX3hjpSuisnsBC9YFAmpMmRWwjw/1HVLd+xzmxW+OJYqrvxgApLa/D+UlbbTz9ikXMBTwyKzyI9hObXJTfeXUQXLO1VVCV9HNm4V1t6DeymHwhl9niQ6s44zQv8P20Lmw9NOFm4yXIsFcG4Zoin63h36NOG/wuViEVxGQ50/yVYgQxTg7+6wtKY1XIyFgRC7bIrYt13J3LjvnMT8x0yo8tyxahETgwClfiZsYkl8JlyTDB6QTRDsZ40H3qPDzdyQFqfEvMC7okOqtIeyzFq1fKb0LX0nsA7MKXkl2plhVXPn1BxtelnDXGlWyF4ha5kcyvjelXAdlxYuearCG4kgj7EWu1THxJscYUjVvBVnUWPjgjeaw46uokeA6zaGDU7kFVlIKfirbWNwpCUV5yCuwkpxSg4UA47wbdmiDOt+uUnBMGtsLB0ic9XKriMeQCCL5NxkLtHDPFIU8kiTHHnsefvp5coeflk5Zk/LqCnEYKFLwUczblcMnWyfh8aToiAlQfYCyhb66Dbuw4eJ4p91nA/U2AMQW/TrYGNy7PePXjvjIK2r7HFu/VAoZfhDWUXQvbCXOezZ0R49lqmDGPXtxeInLEKGoJ0kFnisd6Lj+Y9dCUyMw2r1oc9kFeOVeKtr+BUcrjupz82AC1SixynwjzLkg5/2mAOlcVtCUADpD9WaJT2BXVflqu7ir0NafLszJ98PH8pVrx4bJLnABlsNuAd96qtEaGxo+z1szTEkw0dYvMvCARZSQCoTpZTib5PrMH8CknDe5Uc1Vaxr/bgZeAoaA63dHezT3Q8JHEIXVR/dsN3U9eTGeiFV5/4C0tGguGVYEM1P+ONCB1Cyja3g3hB8daC5U+DC4JTGM+BZPcAwtVilnuihNCMDoiX0+GLkI+5sLA+SP/hOpIblY+/PxiuYldITmbSAcFgy15v2HGzO+Ji/FtFjaH782yOUpgOqAC6msOc9YU0Pz0oqaU+MVoqw6ddni2SDrXGFOrvWK7Lyv6pH3Idz+mgzoT5BJmTh0tqqTD4nw6Ry4e9UrMlxN5+4Dw4e3rN8hvf5GhIQOMHRF/KRvTOWUQOph2e3hMTE588Xzl0VPReYKKVesFwC8Q0aEUIpqs89pUR1lqA9Q110LUFRmyQGuFw++3QJJdaoOzeGSVAzqxV9m/FoiNfanxyTfKA9Y81ea2+yb20F83FjYh0wCt1G8VAmtdVReEUfPGzhZibAcFgTr7V1bgDP73zc2LkH7KCL1nK3rCgTjDS8u+QrabRY5vrx0osqUj8tO4YdvozGB18MVzTupCgIL+bCSSsY83bpzM7CtD8nNMpf8pgnHzCqd1cq4a41M7sf6GGu2Qy71PZaqATCbQXxYP8Mqc3g9CCxfsrVx/6QVwhY1OiH5POZdkxP711iZkqMCL/NBn0ckSVDnjKgRPwsEEpn4ree8uP5Kf9I+/lt9paPDZ4P50XDmUp7sVslwmS7VWwjpENrYDOcEAyRC4uDVg53QJmCIL764v959cqm7OyTGz06DR8HcFbRlocUmz10PEffoWRbntdGb4oTWZn7Nn1iT1uzjXz6XZfOFLPUuN73hdCLDIvkS/zZPbGPgLysuwETz2ZzgpEwe75gfWzAT44/SULju/A/zG62rLetI2s18h5j06QWj+ETvLzpa8YlovuresOtpz7B1KTlS3p4079IMwU/UFDC0EOtfhznrJtv4m5RNkVw9W/dPMBMb8HZ95sNiWdVixTANEeYZJF3gISmUaGrjaliCHJO/QXd5IFwyRRb/AEadBWX81jJdFkOEWZIspsYXA4B930xC1pAwKHWglReiqeW1BhI3CJAnhxHW1N6ScEtgw+tSsl6LcYYeQHJiVHQLaRk4KgaEMzhib2R8bU4ZL87+655iBK4Sr2NgzhGobxBzCLkuCB2umHFXJbOwx8AWwsoapV9EORwc8Zvnd4cANgKYpsE59yY9u89O1FpMtrba+kvwSdtQ7kv7CbyKvsWqdOZbTdLBA+FkdHm6YGlEdJ2voFUXf4jODPGtNtVpboowUqfShR4tzH30SBlOqrhNFhwziwk2cdPxVZXLpo1cl4VTFHVJngLsnGTuPD7T1TlpZ6RgJxzCor+SumkdV91VlH8FQ887tXlDC066bzUJ8oV1gof76oponXlM3c1Fqs9j/2LYiABJ8g7HGbm/DzoQcXKtFdAOnVPKL9+4qw2Bw1fqqmTsNRBF7EGCVvvtaXWPm4hqfglJNv6bGO5HTznWEkLTxFrCDxP5XwNaRkQg8sXUAa7Fy3N5G1bU75p2vm++tPYvyk1oygCvT0jHYL+J5CZ1C6AOSTwtM8gG4dDh/f5BQKXQPpmscC81Ab5H+O5ixmZgmBC0JZI3z4n7anWvNKuqw0lDLcw72eZIUIMdppo9cUtgUHzGD2PxAGL+kOHHWuVPwJ7JYpenPgBc4x2OyKvEoDhDtMZi1WBCU9633aB57gIDpTOYQgs7irE9D+ZrpCZt1pg3LXAT3jKZs7RwL27olWcpmOqDES6eLW/tm7Ap1yng6JGHipqy+CPid/qqkB9fKGCYDW0A2TK4CWkt554vR0y9wjN65aZjWaj+wV5FMW+4WXRq8WCta62Xb5RvamYTmkN6xtIpx2ROo8Qn9cZGFI3PtDRMPJWneB5uzRut3wDTIgcJRVCL26qnRsIPZFl76MDiLwNtUkVO8gkl/QbnqtEZGt9pvuIBC57iRimqyP5XcJE2GkzcrwOPXA8xhI0CM8qq6Y9RPbJOfjXjqYCONV8Re9d/dTGkIJoFmjKk6+pbvVPHjPHD1jaOxpKOkkkJ2F2TTyjCZobewFYBKar2GFQ4spzlPCAHf1P9UdbahYX4gBkt1355EZOwABjYbNHtCxY3C9pkQ1iymZW8TxN1UjuRbBBMxA+MDXfhducpZ6phOXbVc1QtIOQcW+tX+ooaR9F20TfxKs8uXJzvuBpwPjWUlEgyTYVg3AKr4ccsdS4xcGWaQ01IVmNL4oZbi0w+Fmjd9BWEdZ2t7nisUD0wfbeQheFpaLi1q5CSCagKSlTmImKK4OOnzQsZJDPTzDLudshtiGoF1ZmOOZ6kUzHigVXOGdZC6ZIp1qRJ+8dCOUkvvPLcpwCZTKkXCw86PJbant495esDBBAOCP3yM5ZeHrr746lVZMD6MECTpzkI3qX1Tr8WHk1DLkZPzsNmKoqqdFr2pebDzvVtldpCbEBZ47MsvPLw2AK7QDhO8p3XO/4i7YK4Y27OIBk0wYaTFk5F8p3nH/250jpW+arB91g/TTG8W0UoogEvt53T+mS3Ju2oe8C4Kqpa2s+1w5rCpA6uckxrtoMay66prd+J5TML6feAPlQmtkyWLnY4IFZiwiKp1Rt9IiRPjW04qA6VzpID9QWug6DTGwVaOQb5IG7VgjIwsGmQ7hcIcRBdt8ZT3gw08/Z6FTZtfI7opax+Dgz+zSTj2SfnMqb+aOpKsSUjmCelaYl52AZnsILAWCZOqZe0T605+a3bwLncMTzyy3BwFPyyF7j69XhikX5DXTLvNqWuWMxMh4bZcz3juysI6GKQZLXzmlP/I+dgLe4r0NSnReQKMfbzcoButaa680cxoqVp7fkKOCmP6fy63VgqrXL3WorkHPdGFWKDmTZXOSRm8pWc4hu+WjToWJR+4XzlKJjBtOUJCEW+mRFCaeRNoe86oSq43CSXPDQVctAmxbrxyAwGOUpsoxStj+0kc0bWzEaDW9oYkTVSuPusM1CINgyAnmYT2dON0T6zC45t6G2a54PlvDPmg7M5TYL5J4DsLTUtLSKxIIUJDnAwExqMOanmLRvXTWsOuv7DCspe8o9zt3urO5ucJkNvJTt/atKmxA2t7ah/XhUFPSasl9sFBJ+VtSFdT3TlU9zkXirVwcXQgI7zGPPgwy4quY5CZ66qsXuHnb+suWgOk7/fTikTWjAeCwzs0s8RoS+KtxmhslfbLAWZuyMfI55uqa6F/poAC/B3WijQ2vWvBKTdleXoDp9vQO4vfbyfcCOy3Hqb9fDQGJsigXQRD/3fviXAM+YA7wzYxLX3lPMiKNTs1E/pOMuumIwm1UcErgxZUT0VxA3+SgYJXIHtkc7gZOykXybLfr5bYZ9Tbb+bZccV/FqyrEdmJdHuPra0A3doIpmoZR5+8FZKysrWyC2xFvI+p1dsJbY5qiY2C5sQFW+OecZAydOCl/csgXCpOuKBy2vfgNawwEnmqEKGlLScecgXtNaBMz45Po4iYMvre5Rn8JyNqj46LHjvp/evT08FUKblj3qg1Iv2w+S+qqPedoGT4/KybMDVKTV5CkhpiF8rZMnx/PPSdgvCUhnfSgLAXcfsUjChzPOSC/K5xCv2iK6I0FacaCsLj1yAoLoIdkgZBIfAD9aU3BRipn2YRVB1gkFOCFHRNfOKsyzDYMP9PUtbHL6BoXGuo203J0hGBtSobRifD8AanolHM9aBBPFO9ygNqFZ3ptjp4cJbCWDi+gVkGGFPYO6jwOFHscmH1JtKuUttylgi3xotuD6j1xgQMUObQMKvU5RP5umjh6PjrDkS+ugG9p9AwGXibP8asMnF6kZC4VCbpyenQehmHUectybeiKTcz60fJ50jO+fa+ErEb5qXvRdoHm9mr8piqTwZzNo+xYjRD6ZYqpUf3Zavxn3aHinXBjikunv2VL0HSeS/60oqW/o8S49U5aWWopv+pZzWkn3BCPftWudUJb7bo2m/ITpynZty/m/DN5gzXT8LN3Pq2eSyqkgIf/5QeRq5U7JSWu4ag9cKb0p+ruyhr/MEl1035moZVx9u6qx5x/b6LvYFfNjgJy4Jqq6DuvlZydcXEN4fTV4FktPVkiDd5kAhE4I0u3KzUzwPHto+1JQzKe4WFm6QjVsI+V485PomBT3oUQyExeNG7Dc3B6E9gMG2h0o1Wwiv50qM1U+wAl5wlI19dLQYF8xyD2YYB1vTz8Zt+Md+yX6ncsWD5H14S4uI1J+tXZ7Ezigup+LpLz0tSIYoSmXRPK4qxBQHnmsmwTuV+1Mi6UWPNM1Eo4oR1YC1vv1lEkfw4YflyNdgM8OgKJAdQIMGzyb51Yu5Q7P2zd1NIcYSeK4ewoBqqBjX5PphMkxV/9MPgYMJGrT7Xk8x8VBznv0gK/FXRKlqzCCNEnG7UgsYAhr6/gljoLuLt1BNZcFvyQ+pUTGMGLiC4I+c8Gy67B4iEJWPueJA/GiP/qZTYB79QL3CiXR9NnWUJ6Vi3Z4jKaD/iADZ7ElahaKuhoNXSzQir3reuwWPcefq5HzIoRFjPJeZhXEbphATWCzzly+kLlF45iOkvENjqFonR9Zc6PlVJXY5fd4qddYe6CZNxiZ4n3odnFCAR/BTcgX1U7q1bBeApTzWfYas7KcT+UBiLSfOK8S4ta+fnC30k1llt6eyHFBP7pNuVygZ5QiYGdeF/X98B4favCFdlocmVokTXIoxXcgRWlAFCjm4k8lVGeCV5gGtslLxzkQ/3iZHPhXoJlxM/PjXKGZHxCWyq3k2p5S5KvSW63zOiZ5fbKWNanC3p6CBjhGLttNYgOtUKZ1HiXx8eXbclC9nN3SDhHb12NiBXL1gKGAt1Ma75p40VkG0LG/6v83ozTu+iMZppWGbPCHFSRiMGSHf9un5Zct7pKtL59GT0NfIjIZrBiJe9Khz0kD/X2QyypCaHmf7X4R8AKIDXhpChJyXEXKoQfMFRxg7iW1ui9xUG/U/Pn3Sg9Vtp9fRWIfdPMJiTvvaS/iRC+XS/V1aQD77BZ+8QKeJb/+L2JpxPnjlDZiq/f5qA+iMcIsqPVHYsKZz+h42mu3LI1aXthUZVhZABkyPmnD189Tqt91D9eCA9Hmat0+9OAX9A54IGZEmB+60NGw0sXXES9bkoEXbC3KKsHhrX4StQKCJudGIJQ4dlM4b8iI+fu6XhTGlszzfTdZ3rNTxRcDBKz1im0bP2jVOZJELa0jyKu5HT/M2mHyKQxnMLPoAH3oLyGSwo3hrdi6DfKLJq1VhBAFlPncFQs7/bllLn+sdxiGHLKUOUGlsduRcWXBhovZomFcL85a2nqFXCaVBev/nGDY9BFB6xPIScNdydStWjqUroe3cQGMHSADdNqLGS4Px/+5+jn/Po21cx3eZOddaFhZrDcMpblH5injLiUtD9YrkKI8u5rw+Rs1/5Dq4QtWJSa3SJHZc75dQuW9eKNTq6yDMCAjwW0MIzRIKRK+UjvRudmdbDqazGssI3fYGKNqXVyVTacUkDVOQdKas5N2yT6jEWqJFZlerHdY0EPj3Cs3Q/qHQOr5NUuhSI8i6zu5fD/92koPqMWQoTlaUzn4Y95vTsVculaDVrHVNQBHQxrFOJQv3l3XFkp+9/VwOZ1kLqZso3QqJoJ5cuUDGwQxaNVUnAK6LoAwUNFBhahZT67tj83yK5vsLWel4xnUE8+rUtYRHIH27vQ1UR2Yk2DsxGSRLpRR6ewQLbkrEUs3wqYJjLKU69RqLKxfYXWdmDHJ4LxE/389nq9TGQe2LDEKqw2XJV90Pj11zrjHABo71bGPRADwsAIR5oBIobLfHybIPPCvH123SUPVuH/L+Qd+GxN5+qPnGxfztUg7Gu1GN38UoJ36chxXVYUtQYpnpda6ZsxaOXctJH8KHVeLrTroTXxp8bUUX+dRc1pQPlJ5pcCPXmdfzT+0LTjIN+g+M9dFZxiRnAUHtjqAQEU1N44vJkp9rW97S40JQTwYysyY+5M5LrBZY8HZpwPHas3YQj6DHbBNArOwtRbTFSOuG3Luh7vLjhFW6T4aqEU2NUHE/QZs5MtPhZq2KQc6pNUzdPMuLMlHogVSCtNdcWnwIBYcfb8Cw+Y3szBVJzyNbw8w01iylb/UCLyJZz0IXQiaWjpORIXRPF2Lhiuvp/bL7xpleo5LRvedRphdY2nu+WNnSM5nRI3UeuR9MO8A6Iw+T4dV19rn+V0itvBnf7yVpjZ1pVOjKH0w12ytxuZKZVY7woxoKy3FmU6ZdVHYAP8ljwz/oBIBZK+ZOMw09cddJqu+ISAqaFX/rJasU/37KWOzeAYMK0EtQ2QLowmWozaAOlLxEd3c/ZdEZwT++YX4MCApwAAGrjrhHtOON9tNF7Dxv2Aa5Xbiq5AC4KS7wXg1a/fEF/7cmE/gCGgyvf5SzkhFztQpMwBK562mA8kxj45Si4PBPphEbdjdd8QT/dVpzVCjg8riRhvKz+jnoBteD1xdrNKmka99gput/AYhnm0hyb18jbQa0miLp0qeR43EFdixOTQzi2T9U0NRXPs8q6R6zKpaIdYCvecsq2P9mEzzx44c9ZH26Ms9+ODnz5fDAxMNteLUiuOqOg7DAOfyZpJrLRrCcg6lYeVgQcwTCounzDOQLYffP+8JhSfqPzUsGkPymjUz7visk+vQz4Zs9FhUlPAHBS6jD6q74mqQYGXOu6H+PusUrOwweMDP6rNQ0GntD86ETLG/t5G2BVyMcaCrlUlQKgyhBf0gsBINZcIQM1ZCKtqPZ7GGI39XNQGPcMUscfXHboOrHEj/o8izIz2t5BF6bvg22PhVRLO+D7OFqEKoJeeIBxX5CBDG+rPSS8jbRxNJpR7nrfQOLV2zeMi2w8FrQmhgI98yPDA3nuexsOYaboD5ZmLTIaldAfHRtveq9PXYiAj8SMQZoD3j9+Iwx8D40IyoqFerJ9yPm7Zg3HBzynL7f+3kaq2AGuxnpRJj5Zr1L+qIVdoaw0RCh6M8oSUayEoXYGYwDI7dP9gAvy7txbTVT39PbUDOULVrK3uXZUPIyyuV/c6UXbanAasMGE9xOKlqXSUzGodx2N8mJ6P3+P742k9oZmQJ4feGyaNHJM+fIr+h2xtRAhFPgBmEEkXZuQ6pxdpMO0pJ41def/VdjI8y7+i/dtbyd1jGt1nLO5ncjdelgF/ZnpQyDFpZRHNbY/1q/CvPGggwt/fhuJcyVumyi7DEVxZqpI7vqiWQsgpNEBEoAhxcAWIiVAdVyzfuy5K0xyP+gxuoWAOuAtLDwA8UTjLxiffjo6BKfoIcFVdQq3xqy9cWTXDk/hZ1J4JJaQILFRAGpXT3dzKIi8L/pNthrpWxILVpO6l+W+JsHntSiPVduqzc/eXrrd+FJ1Hm/cu8NtNCa/ldIrFZ0tVqOnEJ7fhsiZv1iGAu6aXg7IJLFYhheHE8cMhNG5SMPTSxiX2qnIzoixsCDAeS9zAfLs/6suamldsCBbRs9t5b0LnyQRv8jJWC5n0oHxU09W++3TTwomTxE1WfNozu69nfW6Dz9nnmT7BMIds55gvHn1llcn1U7e2O3KGsB5L8BQZj7R5eDUmlC2hr4qHCkXu4zApxolZqzgAxFxkHuCkOCJx2gMn9eQsGYNi6SZnEeBemtmzdeAmLtPU6RsxD87pD0YBd3OuB2kEAOLbAF01sUk7piq3qBgcmoZ+94FUF0x1kfkHbXi8O8SFo/mDGZIEhGyS3R2JAzudQKhxM8B7vJz2wbCWhiQ5bxrrtRY8ozgzaTS+X2yQqHaVO3cOqo1n8c+Mzj0EA8hhKasWI3qU8o6m3TrZSbgqoWjURbC8p+9o6yiTcg4a8V2qhjWT8yVWKj5TyF8H3IqJfDK8EI/SgXKtBmlK2yETG0krGCYXVg4odV+bfPG10b1w5ZXS8cQfBfCMCg0Zc5jVDtQpOQ4ol99zVqNBQAqtJZKUZZT1r6l9MThxc8Bp63xM/56/LjGQMZaBZ8BJtFMApQs6ZKlaBWxq4wIgoTpv7O4/lEL0/sc0QJXpjW2BziMIVWLF084AJ2V/Zgi5XF7+QVnmBOVVhvpT6fnhBqlkw6/UjxVTJ2+1k5vhoqhr825Vi+a+FMTIxJJmpVRzTb0NvuNwjdaleR/g2F/UaXmgjD20nZ24AdudFKvwfzIQB0afXtr8AyL2NvcwpXyNAfKxoVX72sZddWTcBPfOZ2HwUazVbTfPCBebR2puteF7/ZVfbPFccMnpWZEuOOOk3e44rRIZHVb/+bviR11jfbhsvlp8fEEAhN709A9xLodGpzKU+GtyYrtJxJY8wQVGa0wK86FJ/Wa7JlTGZcKOLBapQa3QzKJdo1aF+yeKREI7g4y69c+/WxidYyjpXp/PT6bN7kD8afKAapaGyYWyYmuuL2T8l/X0+sH/cD4kXICbyElyjlVercMvQ7mBetPj5gomg/oFnkJ/R1ZOnc7OkSppy0zxdCYWcciNl9tQBtp1R/9vqk8Jq46vxS6r1ziPQ76oaPjLQwRabPQwxF6NfVg9OmGWz07zbfrZ+A0Pp35mqeOBlc+8JKePppTZkLYnqT5wq222B10a90cyrC5/zmMz5ESOfYkrnBlLpdKJxbXGcrmUYkLHvH6ksAs2KylVpabL966/WTIHmNjlTeWVFQk9gmsILouoIzkEmeSKco3t4klY+d/qUMu6+vrlkUsSZGkfmektNMF+dIU2Cm40bwTzhl17e9AuU7D9ieEvWc0h5kvEEuGZQuAYgGx4rYzIZD7s5k2g4HqJp/nW4LxWPcdHBuRjIQVQ8RCClYR0eOxsmvILQ53jXkTVS3Usx5kk6owk1udVYEyPEc+YkQ1OPgJws//QYE/GqgHfCYzATMbiVL+5BfVWT4kM6JpCn10J8xXIw7lyd/YKHm7mf+CqmUgoNHYDz5tvNhNgf2U0kqYMZHQ9DT8CCWPohNxri7PiU1IjFB9XdZ6pooRV0bTuBDCGnID+c16MWSyJmC13ccV41Y/9vZq4AyqqzKuDCaJCElIpeeF4Gsx0QSf/dpKKCg0GNNpzDsM2b8i48G6M+tKZIW4cn06N7VwdwA5ZZtkrHhIXrlk=" title="Mekko Graphics Chart">
            <a:extLst>
              <a:ext uri="{FF2B5EF4-FFF2-40B4-BE49-F238E27FC236}">
                <a16:creationId xmlns:a16="http://schemas.microsoft.com/office/drawing/2014/main" id="{BDD472EB-14D3-4B43-AEA8-EFA500EF4579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 bwMode="gray">
          <a:xfrm>
            <a:off x="351705" y="1954876"/>
            <a:ext cx="6334942" cy="4356000"/>
          </a:xfrm>
          <a:prstGeom prst="rect">
            <a:avLst/>
          </a:prstGeom>
          <a:blipFill>
            <a:blip r:embed="rId14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/>
            </a:endParaRPr>
          </a:p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9" name="btfpNotesBox632539">
            <a:extLst>
              <a:ext uri="{FF2B5EF4-FFF2-40B4-BE49-F238E27FC236}">
                <a16:creationId xmlns:a16="http://schemas.microsoft.com/office/drawing/2014/main" id="{4883FBD1-4551-4CFA-8B19-02AE0B91F9A5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te: </a:t>
            </a:r>
          </a:p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ource: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D8FD6EE8-5CDE-4433-80FF-8C8134F2FD88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332317" y="1661268"/>
            <a:ext cx="6354329" cy="31253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Q: 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How </a:t>
            </a:r>
            <a:r>
              <a:rPr kumimoji="0" lang="en-US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ikely are you to recommend X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to a colleague or industry peer for its solution? </a:t>
            </a:r>
            <a:endParaRPr kumimoji="0" lang="en-US" sz="10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aphicFrame>
        <p:nvGraphicFramePr>
          <p:cNvPr id="35" name="btfpTable810271">
            <a:extLst>
              <a:ext uri="{FF2B5EF4-FFF2-40B4-BE49-F238E27FC236}">
                <a16:creationId xmlns:a16="http://schemas.microsoft.com/office/drawing/2014/main" id="{094FCE22-DA41-43D3-9232-4F04A13C1626}"/>
              </a:ext>
            </a:extLst>
          </p:cNvPr>
          <p:cNvGraphicFramePr>
            <a:graphicFrameLocks noGrp="1" noChangeAspect="1"/>
          </p:cNvGraphicFramePr>
          <p:nvPr>
            <p:custDataLst>
              <p:tags r:id="rId7"/>
            </p:custDataLst>
          </p:nvPr>
        </p:nvGraphicFramePr>
        <p:xfrm>
          <a:off x="7244862" y="1954876"/>
          <a:ext cx="4628685" cy="43620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817985">
                  <a:extLst>
                    <a:ext uri="{9D8B030D-6E8A-4147-A177-3AD203B41FA5}">
                      <a16:colId xmlns:a16="http://schemas.microsoft.com/office/drawing/2014/main" val="2822039258"/>
                    </a:ext>
                  </a:extLst>
                </a:gridCol>
                <a:gridCol w="791601">
                  <a:extLst>
                    <a:ext uri="{9D8B030D-6E8A-4147-A177-3AD203B41FA5}">
                      <a16:colId xmlns:a16="http://schemas.microsoft.com/office/drawing/2014/main" val="3070865127"/>
                    </a:ext>
                  </a:extLst>
                </a:gridCol>
                <a:gridCol w="428882">
                  <a:extLst>
                    <a:ext uri="{9D8B030D-6E8A-4147-A177-3AD203B41FA5}">
                      <a16:colId xmlns:a16="http://schemas.microsoft.com/office/drawing/2014/main" val="3842794265"/>
                    </a:ext>
                  </a:extLst>
                </a:gridCol>
                <a:gridCol w="2590217">
                  <a:extLst>
                    <a:ext uri="{9D8B030D-6E8A-4147-A177-3AD203B41FA5}">
                      <a16:colId xmlns:a16="http://schemas.microsoft.com/office/drawing/2014/main" val="3387403182"/>
                    </a:ext>
                  </a:extLst>
                </a:gridCol>
              </a:tblGrid>
              <a:tr h="370392"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1100">
                          <a:solidFill>
                            <a:schemeClr val="bg2"/>
                          </a:solidFill>
                        </a:rPr>
                        <a:t>Client</a:t>
                      </a:r>
                    </a:p>
                  </a:txBody>
                  <a:tcPr marL="45720" marR="45720" anchor="b"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1100">
                          <a:solidFill>
                            <a:schemeClr val="bg2"/>
                          </a:solidFill>
                        </a:rPr>
                        <a:t>Country</a:t>
                      </a:r>
                    </a:p>
                  </a:txBody>
                  <a:tcPr marL="45720" marR="45720" anchor="b"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1100">
                          <a:solidFill>
                            <a:schemeClr val="bg2"/>
                          </a:solidFill>
                        </a:rPr>
                        <a:t>NPS</a:t>
                      </a:r>
                    </a:p>
                  </a:txBody>
                  <a:tcPr marL="45720" marR="45720" anchor="b"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1100">
                          <a:solidFill>
                            <a:schemeClr val="bg2"/>
                          </a:solidFill>
                        </a:rPr>
                        <a:t>Voice of the client</a:t>
                      </a:r>
                    </a:p>
                  </a:txBody>
                  <a:tcPr marL="45720" marR="45720" anchor="b"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1453429"/>
                  </a:ext>
                </a:extLst>
              </a:tr>
              <a:tr h="451180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inancial services SMB*</a:t>
                      </a:r>
                    </a:p>
                  </a:txBody>
                  <a:tcPr marL="0" marR="0" marT="0" marB="0" anchor="ctr"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0" marR="0" marT="0" marB="0" anchor="ctr"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buNone/>
                      </a:pPr>
                      <a:r>
                        <a:rPr lang="en-US" sz="1000" b="0" kern="1200" baseline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0" marR="0" marT="0" marB="0" anchor="ctr"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177800" lvl="1" indent="0" algn="l" fontAlgn="b">
                        <a:buNone/>
                      </a:pPr>
                      <a:r>
                        <a:rPr kumimoji="0" lang="en-US" sz="1000" b="0" i="1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“During the initial implementation </a:t>
                      </a:r>
                      <a:r>
                        <a:rPr kumimoji="0" lang="en-US" sz="1000" b="1" i="1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ere is a higher number of false positives</a:t>
                      </a:r>
                      <a:r>
                        <a:rPr kumimoji="0" lang="en-US" sz="1000" b="0" i="1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”</a:t>
                      </a:r>
                    </a:p>
                  </a:txBody>
                  <a:tcPr marL="0" marR="0" marT="0" marB="0" anchor="ctr"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647297"/>
                  </a:ext>
                </a:extLst>
              </a:tr>
              <a:tr h="370392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ublic Services SMB</a:t>
                      </a:r>
                    </a:p>
                  </a:txBody>
                  <a:tcPr marL="0" marR="0" marT="0" marB="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buNone/>
                      </a:pPr>
                      <a:r>
                        <a:rPr lang="en-US" sz="1000" b="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0" marR="0" marT="0" marB="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4B4B4"/>
                    </a:solidFill>
                  </a:tcPr>
                </a:tc>
                <a:tc>
                  <a:txBody>
                    <a:bodyPr/>
                    <a:lstStyle/>
                    <a:p>
                      <a:pPr marL="177800" lvl="1" indent="0" algn="l" fontAlgn="b">
                        <a:buNone/>
                      </a:pPr>
                      <a:r>
                        <a:rPr kumimoji="0" lang="en-US" sz="1000" b="0" i="1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“</a:t>
                      </a:r>
                      <a:r>
                        <a:rPr kumimoji="0" lang="en-US" sz="1000" b="1" i="1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ase of use</a:t>
                      </a:r>
                      <a:r>
                        <a:rPr kumimoji="0" lang="en-US" sz="1000" b="0" i="1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 </a:t>
                      </a:r>
                      <a:r>
                        <a:rPr kumimoji="0" lang="en-US" sz="1000" b="1" i="1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w human overhead </a:t>
                      </a:r>
                      <a:r>
                        <a:rPr kumimoji="0" lang="en-US" sz="1000" b="0" i="1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 managing the solution.”</a:t>
                      </a:r>
                    </a:p>
                  </a:txBody>
                  <a:tcPr marL="0" marR="0" marT="0" marB="0" anchor="ctr"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4860064"/>
                  </a:ext>
                </a:extLst>
              </a:tr>
              <a:tr h="370392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echnology SMB</a:t>
                      </a:r>
                    </a:p>
                  </a:txBody>
                  <a:tcPr marL="0" marR="0" marT="0" marB="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buNone/>
                      </a:pPr>
                      <a:r>
                        <a:rPr lang="en-US" sz="1000" b="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0" marR="0" marT="0" marB="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4B4B4"/>
                    </a:solidFill>
                  </a:tcPr>
                </a:tc>
                <a:tc>
                  <a:txBody>
                    <a:bodyPr/>
                    <a:lstStyle/>
                    <a:p>
                      <a:pPr marL="177800" lvl="1" indent="0" algn="l" fontAlgn="b">
                        <a:buNone/>
                      </a:pPr>
                      <a:r>
                        <a:rPr kumimoji="0" lang="en-US" sz="1000" b="0" i="1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“</a:t>
                      </a:r>
                      <a:r>
                        <a:rPr kumimoji="0" lang="en-US" sz="1000" b="1" i="1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wer up-front investment</a:t>
                      </a:r>
                      <a:r>
                        <a:rPr kumimoji="0" lang="en-US" sz="1000" b="0" i="1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”</a:t>
                      </a:r>
                    </a:p>
                  </a:txBody>
                  <a:tcPr marL="0" marR="0" marT="0" marB="0" anchor="ctr"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6455608"/>
                  </a:ext>
                </a:extLst>
              </a:tr>
              <a:tr h="370392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nergy SMB</a:t>
                      </a:r>
                    </a:p>
                  </a:txBody>
                  <a:tcPr marL="0" marR="0" marT="0" marB="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buNone/>
                      </a:pPr>
                      <a:r>
                        <a:rPr lang="en-US" sz="1000" b="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0" marR="0" marT="0" marB="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4B4B4"/>
                    </a:solidFill>
                  </a:tcPr>
                </a:tc>
                <a:tc>
                  <a:txBody>
                    <a:bodyPr/>
                    <a:lstStyle/>
                    <a:p>
                      <a:pPr marL="177800" lvl="1" indent="0" algn="l" fontAlgn="b">
                        <a:buNone/>
                      </a:pPr>
                      <a:r>
                        <a:rPr kumimoji="0" lang="en-US" sz="1000" b="0" i="1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“</a:t>
                      </a:r>
                      <a:r>
                        <a:rPr kumimoji="0" lang="en-US" sz="1000" b="1" i="1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liable</a:t>
                      </a:r>
                      <a:r>
                        <a:rPr kumimoji="0" lang="en-US" sz="1000" b="0" i="1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solution.”</a:t>
                      </a:r>
                    </a:p>
                  </a:txBody>
                  <a:tcPr marL="0" marR="0" marT="0" marB="0" anchor="ctr"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2890352"/>
                  </a:ext>
                </a:extLst>
              </a:tr>
              <a:tr h="434936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elecom SMB*</a:t>
                      </a:r>
                    </a:p>
                  </a:txBody>
                  <a:tcPr marL="0" marR="0" marT="0" marB="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buNone/>
                      </a:pPr>
                      <a:r>
                        <a:rPr lang="en-US" sz="1000" b="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0" marR="0" marT="0" marB="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4B4B4"/>
                    </a:solidFill>
                  </a:tcPr>
                </a:tc>
                <a:tc>
                  <a:txBody>
                    <a:bodyPr/>
                    <a:lstStyle/>
                    <a:p>
                      <a:pPr marL="177800" lvl="1" indent="0" algn="l" fontAlgn="b">
                        <a:buNone/>
                      </a:pPr>
                      <a:r>
                        <a:rPr kumimoji="0" lang="en-US" sz="1000" b="0" i="1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“</a:t>
                      </a:r>
                      <a:r>
                        <a:rPr kumimoji="0" lang="en-US" sz="1000" b="1" i="1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akes a lot of tweaking to set up </a:t>
                      </a:r>
                      <a:r>
                        <a:rPr kumimoji="0" lang="en-US" sz="1000" b="0" i="1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ccording to your specific needs.”</a:t>
                      </a:r>
                    </a:p>
                  </a:txBody>
                  <a:tcPr marL="0" marR="0" marT="0" marB="0" anchor="ctr"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0541690"/>
                  </a:ext>
                </a:extLst>
              </a:tr>
              <a:tr h="438570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ransportation SMB</a:t>
                      </a:r>
                    </a:p>
                  </a:txBody>
                  <a:tcPr marL="0" marR="0" marT="0" marB="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buNone/>
                      </a:pPr>
                      <a:r>
                        <a:rPr lang="en-US" sz="1000" b="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0" marR="0" marT="0" marB="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4B4B4"/>
                    </a:solidFill>
                  </a:tcPr>
                </a:tc>
                <a:tc>
                  <a:txBody>
                    <a:bodyPr/>
                    <a:lstStyle/>
                    <a:p>
                      <a:pPr marL="177800" lvl="1" indent="0" algn="l" fontAlgn="b">
                        <a:buNone/>
                      </a:pPr>
                      <a:r>
                        <a:rPr kumimoji="0" lang="en-US" sz="1000" b="0" i="1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“</a:t>
                      </a:r>
                      <a:r>
                        <a:rPr kumimoji="0" lang="en-US" sz="1000" b="1" i="1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ase of use </a:t>
                      </a:r>
                      <a:r>
                        <a:rPr kumimoji="0" lang="en-US" sz="1000" b="0" i="1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mpared to others. Most important - </a:t>
                      </a:r>
                      <a:r>
                        <a:rPr kumimoji="0" lang="en-US" sz="1000" b="1" i="1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provided</a:t>
                      </a:r>
                      <a:r>
                        <a:rPr kumimoji="0" lang="en-US" sz="1000" b="0" i="1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”</a:t>
                      </a:r>
                    </a:p>
                  </a:txBody>
                  <a:tcPr marL="0" marR="0" marT="0" marB="0" anchor="ctr"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5013051"/>
                  </a:ext>
                </a:extLst>
              </a:tr>
              <a:tr h="438570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hemicals SMB*</a:t>
                      </a:r>
                    </a:p>
                  </a:txBody>
                  <a:tcPr marL="0" marR="0" marT="0" marB="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</a:t>
                      </a:r>
                      <a:r>
                        <a:rPr lang="pl-PL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/</a:t>
                      </a: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</a:t>
                      </a:r>
                    </a:p>
                  </a:txBody>
                  <a:tcPr marL="0" marR="0" marT="0" marB="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buNone/>
                      </a:pPr>
                      <a:r>
                        <a:rPr lang="en-US" sz="1000" b="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0" marR="0" marT="0" marB="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4B4B4"/>
                    </a:solidFill>
                  </a:tcPr>
                </a:tc>
                <a:tc>
                  <a:txBody>
                    <a:bodyPr/>
                    <a:lstStyle/>
                    <a:p>
                      <a:pPr marL="177800" lvl="1" indent="0" algn="l" fontAlgn="b">
                        <a:buNone/>
                      </a:pPr>
                      <a:r>
                        <a:rPr kumimoji="0" lang="en-US" sz="1000" b="0" i="1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“You are able to monitor but </a:t>
                      </a:r>
                      <a:r>
                        <a:rPr kumimoji="0" lang="en-US" sz="1000" b="1" i="1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an't stop suspicious activity </a:t>
                      </a:r>
                      <a:r>
                        <a:rPr kumimoji="0" lang="en-US" sz="1000" b="0" i="1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ith the software.”</a:t>
                      </a:r>
                    </a:p>
                  </a:txBody>
                  <a:tcPr marL="0" marR="0" marT="0" marB="0" anchor="ctr"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9903954"/>
                  </a:ext>
                </a:extLst>
              </a:tr>
              <a:tr h="370392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nsulting SMB</a:t>
                      </a:r>
                    </a:p>
                  </a:txBody>
                  <a:tcPr marL="0" marR="0" marT="0" marB="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buNone/>
                      </a:pPr>
                      <a:r>
                        <a:rPr lang="en-US" sz="1000" b="0" kern="1200" baseline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0" marR="0" marT="0" marB="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CC0000"/>
                    </a:solidFill>
                  </a:tcPr>
                </a:tc>
                <a:tc>
                  <a:txBody>
                    <a:bodyPr/>
                    <a:lstStyle/>
                    <a:p>
                      <a:pPr marL="177800" lvl="1" indent="0" algn="l" fontAlgn="b">
                        <a:buNone/>
                      </a:pPr>
                      <a:r>
                        <a:rPr kumimoji="0" lang="en-US" sz="1000" b="0" i="1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“</a:t>
                      </a:r>
                      <a:r>
                        <a:rPr kumimoji="0" lang="en-US" sz="1000" b="1" i="1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xpensive</a:t>
                      </a:r>
                      <a:r>
                        <a:rPr kumimoji="0" lang="en-US" sz="1000" b="0" i="1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, either need internal staff for the product or engage their SoC.”</a:t>
                      </a:r>
                    </a:p>
                  </a:txBody>
                  <a:tcPr marL="0" marR="0" marT="0" marB="0" anchor="ctr"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21320967"/>
                  </a:ext>
                </a:extLst>
              </a:tr>
              <a:tr h="370392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tail SMB</a:t>
                      </a:r>
                    </a:p>
                  </a:txBody>
                  <a:tcPr marL="0" marR="0" marT="0" marB="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buNone/>
                      </a:pPr>
                      <a:r>
                        <a:rPr lang="en-US" sz="1000" b="1" kern="1200" baseline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0" marR="0" marT="0" marB="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CC0000"/>
                    </a:solidFill>
                  </a:tcPr>
                </a:tc>
                <a:tc>
                  <a:txBody>
                    <a:bodyPr/>
                    <a:lstStyle/>
                    <a:p>
                      <a:pPr marL="177800" lvl="1" indent="0" algn="l" fontAlgn="b">
                        <a:buNone/>
                      </a:pPr>
                      <a:r>
                        <a:rPr kumimoji="0" lang="en-US" sz="1000" b="0" i="1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“</a:t>
                      </a:r>
                      <a:r>
                        <a:rPr kumimoji="0" lang="en-US" sz="1000" b="1" i="1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ot decided if the cost is worth it</a:t>
                      </a:r>
                      <a:r>
                        <a:rPr kumimoji="0" lang="en-US" sz="1000" b="0" i="1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, we are likely to re-eval by year-end.”</a:t>
                      </a:r>
                    </a:p>
                  </a:txBody>
                  <a:tcPr marL="0" marR="0" marT="0" marB="0" anchor="ctr"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8747934"/>
                  </a:ext>
                </a:extLst>
              </a:tr>
              <a:tr h="370392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echnology SMB</a:t>
                      </a:r>
                    </a:p>
                  </a:txBody>
                  <a:tcPr marL="0" marR="0" marT="0" marB="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buNone/>
                      </a:pPr>
                      <a:r>
                        <a:rPr lang="en-US" sz="1000" b="1" kern="1200" baseline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0" marR="0" marT="0" marB="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CC0000"/>
                    </a:solidFill>
                  </a:tcPr>
                </a:tc>
                <a:tc>
                  <a:txBody>
                    <a:bodyPr/>
                    <a:lstStyle/>
                    <a:p>
                      <a:pPr marL="177800" lvl="1" indent="0" algn="l" fontAlgn="b">
                        <a:buNone/>
                      </a:pPr>
                      <a:r>
                        <a:rPr kumimoji="0" lang="en-US" sz="1000" b="0" i="1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“Suspicious</a:t>
                      </a:r>
                      <a:r>
                        <a:rPr kumimoji="0" lang="en-US" sz="1000" b="1" i="1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, it does not scale without remote services</a:t>
                      </a:r>
                      <a:r>
                        <a:rPr kumimoji="0" lang="en-US" sz="1000" b="0" i="1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”</a:t>
                      </a:r>
                    </a:p>
                  </a:txBody>
                  <a:tcPr marL="0" marR="0" marT="0" marB="0" anchor="ctr"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66613683"/>
                  </a:ext>
                </a:extLst>
              </a:tr>
            </a:tbl>
          </a:graphicData>
        </a:graphic>
      </p:graphicFrame>
      <p:grpSp>
        <p:nvGrpSpPr>
          <p:cNvPr id="7" name="btfpColumnHeaderBox975107">
            <a:extLst>
              <a:ext uri="{FF2B5EF4-FFF2-40B4-BE49-F238E27FC236}">
                <a16:creationId xmlns:a16="http://schemas.microsoft.com/office/drawing/2014/main" id="{FC5C57BE-B489-4AEB-AF3D-9492CAE9AC2E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7244862" y="1278915"/>
            <a:ext cx="4616939" cy="315913"/>
            <a:chOff x="6198825" y="1270000"/>
            <a:chExt cx="5662975" cy="324997"/>
          </a:xfrm>
        </p:grpSpPr>
        <p:sp>
          <p:nvSpPr>
            <p:cNvPr id="5" name="btfpColumnHeaderBoxText975107">
              <a:extLst>
                <a:ext uri="{FF2B5EF4-FFF2-40B4-BE49-F238E27FC236}">
                  <a16:creationId xmlns:a16="http://schemas.microsoft.com/office/drawing/2014/main" id="{A1BE7E69-242F-497B-8CED-35989988DB16}"/>
                </a:ext>
              </a:extLst>
            </p:cNvPr>
            <p:cNvSpPr txBox="1"/>
            <p:nvPr/>
          </p:nvSpPr>
          <p:spPr bwMode="gray">
            <a:xfrm>
              <a:off x="6198825" y="1270000"/>
              <a:ext cx="5662975" cy="324997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mmentary</a:t>
              </a: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cxnSp>
          <p:nvCxnSpPr>
            <p:cNvPr id="6" name="btfpColumnHeaderBoxLine975107">
              <a:extLst>
                <a:ext uri="{FF2B5EF4-FFF2-40B4-BE49-F238E27FC236}">
                  <a16:creationId xmlns:a16="http://schemas.microsoft.com/office/drawing/2014/main" id="{78B7D8E3-4938-4BDC-BCFD-FAFF4DDBA78B}"/>
                </a:ext>
              </a:extLst>
            </p:cNvPr>
            <p:cNvCxnSpPr/>
            <p:nvPr/>
          </p:nvCxnSpPr>
          <p:spPr bwMode="gray">
            <a:xfrm>
              <a:off x="6198825" y="1588997"/>
              <a:ext cx="566297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btfpColumnHeaderBox859634">
            <a:extLst>
              <a:ext uri="{FF2B5EF4-FFF2-40B4-BE49-F238E27FC236}">
                <a16:creationId xmlns:a16="http://schemas.microsoft.com/office/drawing/2014/main" id="{CFF0D709-72A6-4408-85D0-B8091B68615F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330199" y="1261452"/>
            <a:ext cx="6356447" cy="318997"/>
            <a:chOff x="330200" y="1261452"/>
            <a:chExt cx="5495528" cy="318997"/>
          </a:xfrm>
        </p:grpSpPr>
        <p:sp>
          <p:nvSpPr>
            <p:cNvPr id="8" name="btfpColumnHeaderBoxText859634">
              <a:extLst>
                <a:ext uri="{FF2B5EF4-FFF2-40B4-BE49-F238E27FC236}">
                  <a16:creationId xmlns:a16="http://schemas.microsoft.com/office/drawing/2014/main" id="{188EDF40-4F52-4D26-A25C-34A95CD3E140}"/>
                </a:ext>
              </a:extLst>
            </p:cNvPr>
            <p:cNvSpPr txBox="1"/>
            <p:nvPr/>
          </p:nvSpPr>
          <p:spPr bwMode="gray">
            <a:xfrm>
              <a:off x="330200" y="1261452"/>
              <a:ext cx="5495528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NPS</a:t>
              </a:r>
            </a:p>
          </p:txBody>
        </p:sp>
        <p:cxnSp>
          <p:nvCxnSpPr>
            <p:cNvPr id="9" name="btfpColumnHeaderBoxLine859634">
              <a:extLst>
                <a:ext uri="{FF2B5EF4-FFF2-40B4-BE49-F238E27FC236}">
                  <a16:creationId xmlns:a16="http://schemas.microsoft.com/office/drawing/2014/main" id="{6BFC11BE-98B4-4025-9682-50804ED588F1}"/>
                </a:ext>
              </a:extLst>
            </p:cNvPr>
            <p:cNvCxnSpPr/>
            <p:nvPr/>
          </p:nvCxnSpPr>
          <p:spPr bwMode="gray">
            <a:xfrm>
              <a:off x="330200" y="1580449"/>
              <a:ext cx="549552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8" name="Picture 47">
            <a:extLst>
              <a:ext uri="{FF2B5EF4-FFF2-40B4-BE49-F238E27FC236}">
                <a16:creationId xmlns:a16="http://schemas.microsoft.com/office/drawing/2014/main" id="{67FA3F55-A59E-4F92-8B13-CBFF1944A60B}"/>
              </a:ext>
            </a:extLst>
          </p:cNvPr>
          <p:cNvPicPr>
            <a:picLocks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0178" y="5618797"/>
            <a:ext cx="254000" cy="263971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6DD183B6-E203-44BF-B73D-EFBB564DFE08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6049" y="5249183"/>
            <a:ext cx="263971" cy="263971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BE5D22BD-7847-49CA-8E96-DB98232965D1}"/>
              </a:ext>
            </a:extLst>
          </p:cNvPr>
          <p:cNvPicPr>
            <a:picLocks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1576" y="3212730"/>
            <a:ext cx="254000" cy="263971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301B2368-232E-4D95-B6EB-6A314A7EF56B}"/>
              </a:ext>
            </a:extLst>
          </p:cNvPr>
          <p:cNvPicPr>
            <a:picLocks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2432" y="2824066"/>
            <a:ext cx="254000" cy="263971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2ADA0E18-3EF6-4C63-BDA3-178C495543A7}"/>
              </a:ext>
            </a:extLst>
          </p:cNvPr>
          <p:cNvPicPr>
            <a:picLocks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1034" y="3971994"/>
            <a:ext cx="254000" cy="263971"/>
          </a:xfrm>
          <a:prstGeom prst="rect">
            <a:avLst/>
          </a:prstGeom>
        </p:spPr>
      </p:pic>
      <p:pic>
        <p:nvPicPr>
          <p:cNvPr id="67" name="Picture 66">
            <a:extLst>
              <a:ext uri="{FF2B5EF4-FFF2-40B4-BE49-F238E27FC236}">
                <a16:creationId xmlns:a16="http://schemas.microsoft.com/office/drawing/2014/main" id="{DFCC33A0-C0E8-49C3-A279-B72B39A584A8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1034" y="3561738"/>
            <a:ext cx="254000" cy="253282"/>
          </a:xfrm>
          <a:prstGeom prst="rect">
            <a:avLst/>
          </a:prstGeom>
        </p:spPr>
      </p:pic>
      <p:sp>
        <p:nvSpPr>
          <p:cNvPr id="55" name="Rectangle 54">
            <a:extLst>
              <a:ext uri="{FF2B5EF4-FFF2-40B4-BE49-F238E27FC236}">
                <a16:creationId xmlns:a16="http://schemas.microsoft.com/office/drawing/2014/main" id="{3320F57D-24DF-484A-BB44-F5C6134CB2E9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7242744" y="1661268"/>
            <a:ext cx="4616939" cy="31253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Q: 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hy? </a:t>
            </a:r>
            <a:endParaRPr kumimoji="0" lang="en-US" sz="10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70" name="Picture 69">
            <a:extLst>
              <a:ext uri="{FF2B5EF4-FFF2-40B4-BE49-F238E27FC236}">
                <a16:creationId xmlns:a16="http://schemas.microsoft.com/office/drawing/2014/main" id="{5544FA16-70F4-4E00-A06B-79E8F37CF918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6049" y="5996003"/>
            <a:ext cx="279940" cy="279940"/>
          </a:xfrm>
          <a:prstGeom prst="rect">
            <a:avLst/>
          </a:prstGeom>
        </p:spPr>
      </p:pic>
      <p:pic>
        <p:nvPicPr>
          <p:cNvPr id="118" name="Picture 117">
            <a:extLst>
              <a:ext uri="{FF2B5EF4-FFF2-40B4-BE49-F238E27FC236}">
                <a16:creationId xmlns:a16="http://schemas.microsoft.com/office/drawing/2014/main" id="{B8B948D4-C88D-4BF4-86E5-9B6834291B72}"/>
              </a:ext>
            </a:extLst>
          </p:cNvPr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6048" y="4398979"/>
            <a:ext cx="272835" cy="273605"/>
          </a:xfrm>
          <a:prstGeom prst="rect">
            <a:avLst/>
          </a:prstGeom>
        </p:spPr>
      </p:pic>
      <p:grpSp>
        <p:nvGrpSpPr>
          <p:cNvPr id="61" name="btfpRunningAgenda2Level526277">
            <a:extLst>
              <a:ext uri="{FF2B5EF4-FFF2-40B4-BE49-F238E27FC236}">
                <a16:creationId xmlns:a16="http://schemas.microsoft.com/office/drawing/2014/main" id="{A3D9665D-BEFC-48B9-9E72-D950E5945475}"/>
              </a:ext>
            </a:extLst>
          </p:cNvPr>
          <p:cNvGrpSpPr/>
          <p:nvPr>
            <p:custDataLst>
              <p:tags r:id="rId11"/>
            </p:custDataLst>
          </p:nvPr>
        </p:nvGrpSpPr>
        <p:grpSpPr>
          <a:xfrm>
            <a:off x="-1" y="944429"/>
            <a:ext cx="4656975" cy="257442"/>
            <a:chOff x="-1" y="876300"/>
            <a:chExt cx="4656975" cy="257442"/>
          </a:xfrm>
        </p:grpSpPr>
        <p:sp>
          <p:nvSpPr>
            <p:cNvPr id="62" name="btfpRunningAgenda2LevelBarLeft526277">
              <a:extLst>
                <a:ext uri="{FF2B5EF4-FFF2-40B4-BE49-F238E27FC236}">
                  <a16:creationId xmlns:a16="http://schemas.microsoft.com/office/drawing/2014/main" id="{9D2D5771-8EB0-43A0-89A0-FF53223E0349}"/>
                </a:ext>
              </a:extLst>
            </p:cNvPr>
            <p:cNvSpPr/>
            <p:nvPr/>
          </p:nvSpPr>
          <p:spPr bwMode="gray">
            <a:xfrm>
              <a:off x="-1" y="876300"/>
              <a:ext cx="2122597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19116 w 1119116"/>
                <a:gd name="connsiteY0" fmla="*/ 0 h 257442"/>
                <a:gd name="connsiteX1" fmla="*/ 896080 w 1119116"/>
                <a:gd name="connsiteY1" fmla="*/ 257442 h 257442"/>
                <a:gd name="connsiteX2" fmla="*/ 0 w 1119116"/>
                <a:gd name="connsiteY2" fmla="*/ 257442 h 257442"/>
                <a:gd name="connsiteX3" fmla="*/ 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279416 w 1279416"/>
                <a:gd name="connsiteY0" fmla="*/ 0 h 257442"/>
                <a:gd name="connsiteX1" fmla="*/ 10643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457350 w 1457350"/>
                <a:gd name="connsiteY0" fmla="*/ 0 h 257442"/>
                <a:gd name="connsiteX1" fmla="*/ 1224695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793981 w 1793981"/>
                <a:gd name="connsiteY0" fmla="*/ 0 h 257442"/>
                <a:gd name="connsiteX1" fmla="*/ 1570944 w 1793981"/>
                <a:gd name="connsiteY1" fmla="*/ 257442 h 257442"/>
                <a:gd name="connsiteX2" fmla="*/ 0 w 1793981"/>
                <a:gd name="connsiteY2" fmla="*/ 257442 h 257442"/>
                <a:gd name="connsiteX3" fmla="*/ 0 w 1793981"/>
                <a:gd name="connsiteY3" fmla="*/ 0 h 257442"/>
                <a:gd name="connsiteX0" fmla="*/ 1793981 w 1793981"/>
                <a:gd name="connsiteY0" fmla="*/ 0 h 257442"/>
                <a:gd name="connsiteX1" fmla="*/ 1739260 w 1793981"/>
                <a:gd name="connsiteY1" fmla="*/ 257442 h 257442"/>
                <a:gd name="connsiteX2" fmla="*/ 0 w 1793981"/>
                <a:gd name="connsiteY2" fmla="*/ 257442 h 257442"/>
                <a:gd name="connsiteX3" fmla="*/ 0 w 1793981"/>
                <a:gd name="connsiteY3" fmla="*/ 0 h 257442"/>
                <a:gd name="connsiteX0" fmla="*/ 1793981 w 1793981"/>
                <a:gd name="connsiteY0" fmla="*/ 0 h 257442"/>
                <a:gd name="connsiteX1" fmla="*/ 1739260 w 1793981"/>
                <a:gd name="connsiteY1" fmla="*/ 257442 h 257442"/>
                <a:gd name="connsiteX2" fmla="*/ 0 w 1793981"/>
                <a:gd name="connsiteY2" fmla="*/ 257442 h 257442"/>
                <a:gd name="connsiteX3" fmla="*/ 0 w 1793981"/>
                <a:gd name="connsiteY3" fmla="*/ 0 h 257442"/>
                <a:gd name="connsiteX0" fmla="*/ 1793981 w 1793981"/>
                <a:gd name="connsiteY0" fmla="*/ 0 h 257442"/>
                <a:gd name="connsiteX1" fmla="*/ 1739260 w 1793981"/>
                <a:gd name="connsiteY1" fmla="*/ 257442 h 257442"/>
                <a:gd name="connsiteX2" fmla="*/ 0 w 1793981"/>
                <a:gd name="connsiteY2" fmla="*/ 257442 h 257442"/>
                <a:gd name="connsiteX3" fmla="*/ 0 w 1793981"/>
                <a:gd name="connsiteY3" fmla="*/ 0 h 257442"/>
                <a:gd name="connsiteX0" fmla="*/ 1962295 w 1962295"/>
                <a:gd name="connsiteY0" fmla="*/ 0 h 257442"/>
                <a:gd name="connsiteX1" fmla="*/ 1739260 w 1962295"/>
                <a:gd name="connsiteY1" fmla="*/ 257442 h 257442"/>
                <a:gd name="connsiteX2" fmla="*/ 0 w 1962295"/>
                <a:gd name="connsiteY2" fmla="*/ 257442 h 257442"/>
                <a:gd name="connsiteX3" fmla="*/ 0 w 1962295"/>
                <a:gd name="connsiteY3" fmla="*/ 0 h 257442"/>
                <a:gd name="connsiteX0" fmla="*/ 1962295 w 1962295"/>
                <a:gd name="connsiteY0" fmla="*/ 0 h 257442"/>
                <a:gd name="connsiteX1" fmla="*/ 1907574 w 1962295"/>
                <a:gd name="connsiteY1" fmla="*/ 257442 h 257442"/>
                <a:gd name="connsiteX2" fmla="*/ 0 w 1962295"/>
                <a:gd name="connsiteY2" fmla="*/ 257442 h 257442"/>
                <a:gd name="connsiteX3" fmla="*/ 0 w 1962295"/>
                <a:gd name="connsiteY3" fmla="*/ 0 h 257442"/>
                <a:gd name="connsiteX0" fmla="*/ 1962295 w 1962295"/>
                <a:gd name="connsiteY0" fmla="*/ 0 h 257442"/>
                <a:gd name="connsiteX1" fmla="*/ 1907574 w 1962295"/>
                <a:gd name="connsiteY1" fmla="*/ 257442 h 257442"/>
                <a:gd name="connsiteX2" fmla="*/ 0 w 1962295"/>
                <a:gd name="connsiteY2" fmla="*/ 257442 h 257442"/>
                <a:gd name="connsiteX3" fmla="*/ 0 w 1962295"/>
                <a:gd name="connsiteY3" fmla="*/ 0 h 257442"/>
                <a:gd name="connsiteX0" fmla="*/ 1962295 w 1962295"/>
                <a:gd name="connsiteY0" fmla="*/ 0 h 257442"/>
                <a:gd name="connsiteX1" fmla="*/ 1907574 w 1962295"/>
                <a:gd name="connsiteY1" fmla="*/ 257442 h 257442"/>
                <a:gd name="connsiteX2" fmla="*/ 0 w 1962295"/>
                <a:gd name="connsiteY2" fmla="*/ 257442 h 257442"/>
                <a:gd name="connsiteX3" fmla="*/ 0 w 1962295"/>
                <a:gd name="connsiteY3" fmla="*/ 0 h 257442"/>
                <a:gd name="connsiteX0" fmla="*/ 2122596 w 2122596"/>
                <a:gd name="connsiteY0" fmla="*/ 0 h 257442"/>
                <a:gd name="connsiteX1" fmla="*/ 1907574 w 2122596"/>
                <a:gd name="connsiteY1" fmla="*/ 257442 h 257442"/>
                <a:gd name="connsiteX2" fmla="*/ 0 w 2122596"/>
                <a:gd name="connsiteY2" fmla="*/ 257442 h 257442"/>
                <a:gd name="connsiteX3" fmla="*/ 0 w 2122596"/>
                <a:gd name="connsiteY3" fmla="*/ 0 h 257442"/>
                <a:gd name="connsiteX0" fmla="*/ 2122596 w 2122596"/>
                <a:gd name="connsiteY0" fmla="*/ 0 h 257442"/>
                <a:gd name="connsiteX1" fmla="*/ 2067874 w 2122596"/>
                <a:gd name="connsiteY1" fmla="*/ 257442 h 257442"/>
                <a:gd name="connsiteX2" fmla="*/ 0 w 2122596"/>
                <a:gd name="connsiteY2" fmla="*/ 257442 h 257442"/>
                <a:gd name="connsiteX3" fmla="*/ 0 w 2122596"/>
                <a:gd name="connsiteY3" fmla="*/ 0 h 257442"/>
                <a:gd name="connsiteX0" fmla="*/ 2122597 w 2122597"/>
                <a:gd name="connsiteY0" fmla="*/ 0 h 257442"/>
                <a:gd name="connsiteX1" fmla="*/ 2067875 w 2122597"/>
                <a:gd name="connsiteY1" fmla="*/ 257442 h 257442"/>
                <a:gd name="connsiteX2" fmla="*/ 0 w 2122597"/>
                <a:gd name="connsiteY2" fmla="*/ 257442 h 257442"/>
                <a:gd name="connsiteX3" fmla="*/ 1 w 2122597"/>
                <a:gd name="connsiteY3" fmla="*/ 0 h 257442"/>
                <a:gd name="connsiteX0" fmla="*/ 2122597 w 2122597"/>
                <a:gd name="connsiteY0" fmla="*/ 0 h 257442"/>
                <a:gd name="connsiteX1" fmla="*/ 2067875 w 2122597"/>
                <a:gd name="connsiteY1" fmla="*/ 257442 h 257442"/>
                <a:gd name="connsiteX2" fmla="*/ 0 w 2122597"/>
                <a:gd name="connsiteY2" fmla="*/ 257442 h 257442"/>
                <a:gd name="connsiteX3" fmla="*/ 1 w 2122597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2597" h="257442">
                  <a:moveTo>
                    <a:pt x="2122597" y="0"/>
                  </a:moveTo>
                  <a:lnTo>
                    <a:pt x="2067875" y="257442"/>
                  </a:lnTo>
                  <a:lnTo>
                    <a:pt x="0" y="257442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" name="btfpRunningAgenda2LevelTextLeft526277">
              <a:extLst>
                <a:ext uri="{FF2B5EF4-FFF2-40B4-BE49-F238E27FC236}">
                  <a16:creationId xmlns:a16="http://schemas.microsoft.com/office/drawing/2014/main" id="{F45613BB-B3CA-4864-A652-2762599A1925}"/>
                </a:ext>
              </a:extLst>
            </p:cNvPr>
            <p:cNvSpPr txBox="1"/>
            <p:nvPr/>
          </p:nvSpPr>
          <p:spPr bwMode="gray">
            <a:xfrm>
              <a:off x="0" y="876300"/>
              <a:ext cx="2067875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dvocacy</a:t>
              </a:r>
            </a:p>
          </p:txBody>
        </p:sp>
        <p:sp>
          <p:nvSpPr>
            <p:cNvPr id="68" name="btfpRunningAgenda2LevelBarRight526277">
              <a:extLst>
                <a:ext uri="{FF2B5EF4-FFF2-40B4-BE49-F238E27FC236}">
                  <a16:creationId xmlns:a16="http://schemas.microsoft.com/office/drawing/2014/main" id="{F369C6F9-7126-4380-AF07-10897493344D}"/>
                </a:ext>
              </a:extLst>
            </p:cNvPr>
            <p:cNvSpPr/>
            <p:nvPr/>
          </p:nvSpPr>
          <p:spPr bwMode="gray">
            <a:xfrm>
              <a:off x="1987754" y="876300"/>
              <a:ext cx="2669220" cy="257442"/>
            </a:xfrm>
            <a:custGeom>
              <a:avLst/>
              <a:gdLst>
                <a:gd name="connsiteX0" fmla="*/ 95080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50801 w 2313135"/>
                <a:gd name="connsiteY0" fmla="*/ 0 h 257442"/>
                <a:gd name="connsiteX1" fmla="*/ 89608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1 w 950800"/>
                <a:gd name="connsiteY3" fmla="*/ 0 h 257442"/>
                <a:gd name="connsiteX0" fmla="*/ 1111100 w 1111100"/>
                <a:gd name="connsiteY0" fmla="*/ 0 h 257442"/>
                <a:gd name="connsiteX1" fmla="*/ 896079 w 1111100"/>
                <a:gd name="connsiteY1" fmla="*/ 257442 h 257442"/>
                <a:gd name="connsiteX2" fmla="*/ 0 w 1111100"/>
                <a:gd name="connsiteY2" fmla="*/ 257442 h 257442"/>
                <a:gd name="connsiteX3" fmla="*/ 54721 w 1111100"/>
                <a:gd name="connsiteY3" fmla="*/ 0 h 257442"/>
                <a:gd name="connsiteX0" fmla="*/ 1111100 w 1111100"/>
                <a:gd name="connsiteY0" fmla="*/ 0 h 257442"/>
                <a:gd name="connsiteX1" fmla="*/ 1056379 w 1111100"/>
                <a:gd name="connsiteY1" fmla="*/ 257442 h 257442"/>
                <a:gd name="connsiteX2" fmla="*/ 0 w 1111100"/>
                <a:gd name="connsiteY2" fmla="*/ 257442 h 257442"/>
                <a:gd name="connsiteX3" fmla="*/ 54721 w 1111100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2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2 w 1111101"/>
                <a:gd name="connsiteY3" fmla="*/ 0 h 257442"/>
                <a:gd name="connsiteX0" fmla="*/ 1271403 w 1271403"/>
                <a:gd name="connsiteY0" fmla="*/ 0 h 257442"/>
                <a:gd name="connsiteX1" fmla="*/ 1056380 w 1271403"/>
                <a:gd name="connsiteY1" fmla="*/ 257442 h 257442"/>
                <a:gd name="connsiteX2" fmla="*/ 0 w 1271403"/>
                <a:gd name="connsiteY2" fmla="*/ 257442 h 257442"/>
                <a:gd name="connsiteX3" fmla="*/ 54722 w 1271403"/>
                <a:gd name="connsiteY3" fmla="*/ 0 h 257442"/>
                <a:gd name="connsiteX0" fmla="*/ 1271403 w 1271403"/>
                <a:gd name="connsiteY0" fmla="*/ 0 h 257442"/>
                <a:gd name="connsiteX1" fmla="*/ 1216682 w 1271403"/>
                <a:gd name="connsiteY1" fmla="*/ 257442 h 257442"/>
                <a:gd name="connsiteX2" fmla="*/ 0 w 1271403"/>
                <a:gd name="connsiteY2" fmla="*/ 257442 h 257442"/>
                <a:gd name="connsiteX3" fmla="*/ 54722 w 1271403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0 w 1271402"/>
                <a:gd name="connsiteY3" fmla="*/ 0 h 257442"/>
                <a:gd name="connsiteX0" fmla="*/ 950800 w 1216681"/>
                <a:gd name="connsiteY0" fmla="*/ 0 h 257442"/>
                <a:gd name="connsiteX1" fmla="*/ 1216681 w 1216681"/>
                <a:gd name="connsiteY1" fmla="*/ 257442 h 257442"/>
                <a:gd name="connsiteX2" fmla="*/ 0 w 1216681"/>
                <a:gd name="connsiteY2" fmla="*/ 257442 h 257442"/>
                <a:gd name="connsiteX3" fmla="*/ 54720 w 1216681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54721 w 950800"/>
                <a:gd name="connsiteY3" fmla="*/ 0 h 257442"/>
                <a:gd name="connsiteX0" fmla="*/ 1128734 w 1128734"/>
                <a:gd name="connsiteY0" fmla="*/ 0 h 257442"/>
                <a:gd name="connsiteX1" fmla="*/ 896080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314682 w 1314682"/>
                <a:gd name="connsiteY0" fmla="*/ 0 h 257442"/>
                <a:gd name="connsiteX1" fmla="*/ 1074013 w 1314682"/>
                <a:gd name="connsiteY1" fmla="*/ 257442 h 257442"/>
                <a:gd name="connsiteX2" fmla="*/ 0 w 1314682"/>
                <a:gd name="connsiteY2" fmla="*/ 257442 h 257442"/>
                <a:gd name="connsiteX3" fmla="*/ 54721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54721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54721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54721 w 1314682"/>
                <a:gd name="connsiteY3" fmla="*/ 0 h 257442"/>
                <a:gd name="connsiteX0" fmla="*/ 1500631 w 1500631"/>
                <a:gd name="connsiteY0" fmla="*/ 0 h 257442"/>
                <a:gd name="connsiteX1" fmla="*/ 1259961 w 1500631"/>
                <a:gd name="connsiteY1" fmla="*/ 257442 h 257442"/>
                <a:gd name="connsiteX2" fmla="*/ 0 w 1500631"/>
                <a:gd name="connsiteY2" fmla="*/ 257442 h 257442"/>
                <a:gd name="connsiteX3" fmla="*/ 54721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54721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54721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54721 w 1500631"/>
                <a:gd name="connsiteY3" fmla="*/ 0 h 257442"/>
                <a:gd name="connsiteX0" fmla="*/ 1660931 w 1660931"/>
                <a:gd name="connsiteY0" fmla="*/ 0 h 257442"/>
                <a:gd name="connsiteX1" fmla="*/ 1445910 w 1660931"/>
                <a:gd name="connsiteY1" fmla="*/ 257442 h 257442"/>
                <a:gd name="connsiteX2" fmla="*/ 0 w 1660931"/>
                <a:gd name="connsiteY2" fmla="*/ 257442 h 257442"/>
                <a:gd name="connsiteX3" fmla="*/ 54721 w 1660931"/>
                <a:gd name="connsiteY3" fmla="*/ 0 h 257442"/>
                <a:gd name="connsiteX0" fmla="*/ 1660931 w 1660931"/>
                <a:gd name="connsiteY0" fmla="*/ 0 h 257442"/>
                <a:gd name="connsiteX1" fmla="*/ 1606210 w 1660931"/>
                <a:gd name="connsiteY1" fmla="*/ 257442 h 257442"/>
                <a:gd name="connsiteX2" fmla="*/ 0 w 1660931"/>
                <a:gd name="connsiteY2" fmla="*/ 257442 h 257442"/>
                <a:gd name="connsiteX3" fmla="*/ 54721 w 1660931"/>
                <a:gd name="connsiteY3" fmla="*/ 0 h 257442"/>
                <a:gd name="connsiteX0" fmla="*/ 1660931 w 1660931"/>
                <a:gd name="connsiteY0" fmla="*/ 0 h 257442"/>
                <a:gd name="connsiteX1" fmla="*/ 1606210 w 1660931"/>
                <a:gd name="connsiteY1" fmla="*/ 257442 h 257442"/>
                <a:gd name="connsiteX2" fmla="*/ 0 w 1660931"/>
                <a:gd name="connsiteY2" fmla="*/ 257442 h 257442"/>
                <a:gd name="connsiteX3" fmla="*/ 54721 w 1660931"/>
                <a:gd name="connsiteY3" fmla="*/ 0 h 257442"/>
                <a:gd name="connsiteX0" fmla="*/ 1660931 w 1660931"/>
                <a:gd name="connsiteY0" fmla="*/ 0 h 257442"/>
                <a:gd name="connsiteX1" fmla="*/ 1606210 w 1660931"/>
                <a:gd name="connsiteY1" fmla="*/ 257442 h 257442"/>
                <a:gd name="connsiteX2" fmla="*/ 0 w 1660931"/>
                <a:gd name="connsiteY2" fmla="*/ 257442 h 257442"/>
                <a:gd name="connsiteX3" fmla="*/ 54721 w 1660931"/>
                <a:gd name="connsiteY3" fmla="*/ 0 h 257442"/>
                <a:gd name="connsiteX0" fmla="*/ 1829247 w 1829247"/>
                <a:gd name="connsiteY0" fmla="*/ 0 h 257442"/>
                <a:gd name="connsiteX1" fmla="*/ 1606210 w 1829247"/>
                <a:gd name="connsiteY1" fmla="*/ 257442 h 257442"/>
                <a:gd name="connsiteX2" fmla="*/ 0 w 1829247"/>
                <a:gd name="connsiteY2" fmla="*/ 257442 h 257442"/>
                <a:gd name="connsiteX3" fmla="*/ 54721 w 1829247"/>
                <a:gd name="connsiteY3" fmla="*/ 0 h 257442"/>
                <a:gd name="connsiteX0" fmla="*/ 1829247 w 1829247"/>
                <a:gd name="connsiteY0" fmla="*/ 0 h 257442"/>
                <a:gd name="connsiteX1" fmla="*/ 1774526 w 1829247"/>
                <a:gd name="connsiteY1" fmla="*/ 257442 h 257442"/>
                <a:gd name="connsiteX2" fmla="*/ 0 w 1829247"/>
                <a:gd name="connsiteY2" fmla="*/ 257442 h 257442"/>
                <a:gd name="connsiteX3" fmla="*/ 54721 w 1829247"/>
                <a:gd name="connsiteY3" fmla="*/ 0 h 257442"/>
                <a:gd name="connsiteX0" fmla="*/ 1829247 w 1829247"/>
                <a:gd name="connsiteY0" fmla="*/ 0 h 257442"/>
                <a:gd name="connsiteX1" fmla="*/ 1774526 w 1829247"/>
                <a:gd name="connsiteY1" fmla="*/ 257442 h 257442"/>
                <a:gd name="connsiteX2" fmla="*/ 0 w 1829247"/>
                <a:gd name="connsiteY2" fmla="*/ 257442 h 257442"/>
                <a:gd name="connsiteX3" fmla="*/ 54721 w 1829247"/>
                <a:gd name="connsiteY3" fmla="*/ 0 h 257442"/>
                <a:gd name="connsiteX0" fmla="*/ 1829247 w 1829247"/>
                <a:gd name="connsiteY0" fmla="*/ 0 h 257442"/>
                <a:gd name="connsiteX1" fmla="*/ 1774526 w 1829247"/>
                <a:gd name="connsiteY1" fmla="*/ 257442 h 257442"/>
                <a:gd name="connsiteX2" fmla="*/ 0 w 1829247"/>
                <a:gd name="connsiteY2" fmla="*/ 257442 h 257442"/>
                <a:gd name="connsiteX3" fmla="*/ 54721 w 1829247"/>
                <a:gd name="connsiteY3" fmla="*/ 0 h 257442"/>
                <a:gd name="connsiteX0" fmla="*/ 2149847 w 2149847"/>
                <a:gd name="connsiteY0" fmla="*/ 0 h 257442"/>
                <a:gd name="connsiteX1" fmla="*/ 1774526 w 2149847"/>
                <a:gd name="connsiteY1" fmla="*/ 257442 h 257442"/>
                <a:gd name="connsiteX2" fmla="*/ 0 w 2149847"/>
                <a:gd name="connsiteY2" fmla="*/ 257442 h 257442"/>
                <a:gd name="connsiteX3" fmla="*/ 54721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54721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54721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54721 w 2149847"/>
                <a:gd name="connsiteY3" fmla="*/ 0 h 257442"/>
                <a:gd name="connsiteX0" fmla="*/ 1981532 w 2095126"/>
                <a:gd name="connsiteY0" fmla="*/ 0 h 257442"/>
                <a:gd name="connsiteX1" fmla="*/ 2095126 w 2095126"/>
                <a:gd name="connsiteY1" fmla="*/ 257442 h 257442"/>
                <a:gd name="connsiteX2" fmla="*/ 0 w 2095126"/>
                <a:gd name="connsiteY2" fmla="*/ 257442 h 257442"/>
                <a:gd name="connsiteX3" fmla="*/ 54721 w 2095126"/>
                <a:gd name="connsiteY3" fmla="*/ 0 h 257442"/>
                <a:gd name="connsiteX0" fmla="*/ 1981532 w 1981532"/>
                <a:gd name="connsiteY0" fmla="*/ 0 h 257442"/>
                <a:gd name="connsiteX1" fmla="*/ 1926811 w 1981532"/>
                <a:gd name="connsiteY1" fmla="*/ 257442 h 257442"/>
                <a:gd name="connsiteX2" fmla="*/ 0 w 1981532"/>
                <a:gd name="connsiteY2" fmla="*/ 257442 h 257442"/>
                <a:gd name="connsiteX3" fmla="*/ 54721 w 1981532"/>
                <a:gd name="connsiteY3" fmla="*/ 0 h 257442"/>
                <a:gd name="connsiteX0" fmla="*/ 1981532 w 1981532"/>
                <a:gd name="connsiteY0" fmla="*/ 0 h 257442"/>
                <a:gd name="connsiteX1" fmla="*/ 1926811 w 1981532"/>
                <a:gd name="connsiteY1" fmla="*/ 257442 h 257442"/>
                <a:gd name="connsiteX2" fmla="*/ 0 w 1981532"/>
                <a:gd name="connsiteY2" fmla="*/ 257442 h 257442"/>
                <a:gd name="connsiteX3" fmla="*/ 54721 w 1981532"/>
                <a:gd name="connsiteY3" fmla="*/ 0 h 257442"/>
                <a:gd name="connsiteX0" fmla="*/ 1981532 w 1981532"/>
                <a:gd name="connsiteY0" fmla="*/ 0 h 257442"/>
                <a:gd name="connsiteX1" fmla="*/ 1926811 w 1981532"/>
                <a:gd name="connsiteY1" fmla="*/ 257442 h 257442"/>
                <a:gd name="connsiteX2" fmla="*/ 0 w 1981532"/>
                <a:gd name="connsiteY2" fmla="*/ 257442 h 257442"/>
                <a:gd name="connsiteX3" fmla="*/ 54721 w 1981532"/>
                <a:gd name="connsiteY3" fmla="*/ 0 h 257442"/>
                <a:gd name="connsiteX0" fmla="*/ 1829247 w 1926811"/>
                <a:gd name="connsiteY0" fmla="*/ 0 h 257442"/>
                <a:gd name="connsiteX1" fmla="*/ 1926811 w 1926811"/>
                <a:gd name="connsiteY1" fmla="*/ 257442 h 257442"/>
                <a:gd name="connsiteX2" fmla="*/ 0 w 1926811"/>
                <a:gd name="connsiteY2" fmla="*/ 257442 h 257442"/>
                <a:gd name="connsiteX3" fmla="*/ 54721 w 1926811"/>
                <a:gd name="connsiteY3" fmla="*/ 0 h 257442"/>
                <a:gd name="connsiteX0" fmla="*/ 1829247 w 1829247"/>
                <a:gd name="connsiteY0" fmla="*/ 0 h 257442"/>
                <a:gd name="connsiteX1" fmla="*/ 1774527 w 1829247"/>
                <a:gd name="connsiteY1" fmla="*/ 257442 h 257442"/>
                <a:gd name="connsiteX2" fmla="*/ 0 w 1829247"/>
                <a:gd name="connsiteY2" fmla="*/ 257442 h 257442"/>
                <a:gd name="connsiteX3" fmla="*/ 54721 w 1829247"/>
                <a:gd name="connsiteY3" fmla="*/ 0 h 257442"/>
                <a:gd name="connsiteX0" fmla="*/ 1829246 w 1829246"/>
                <a:gd name="connsiteY0" fmla="*/ 0 h 257442"/>
                <a:gd name="connsiteX1" fmla="*/ 1774526 w 1829246"/>
                <a:gd name="connsiteY1" fmla="*/ 257442 h 257442"/>
                <a:gd name="connsiteX2" fmla="*/ 0 w 1829246"/>
                <a:gd name="connsiteY2" fmla="*/ 257442 h 257442"/>
                <a:gd name="connsiteX3" fmla="*/ 54720 w 1829246"/>
                <a:gd name="connsiteY3" fmla="*/ 0 h 257442"/>
                <a:gd name="connsiteX0" fmla="*/ 1829246 w 1829246"/>
                <a:gd name="connsiteY0" fmla="*/ 0 h 257442"/>
                <a:gd name="connsiteX1" fmla="*/ 1774526 w 1829246"/>
                <a:gd name="connsiteY1" fmla="*/ 257442 h 257442"/>
                <a:gd name="connsiteX2" fmla="*/ 0 w 1829246"/>
                <a:gd name="connsiteY2" fmla="*/ 257442 h 257442"/>
                <a:gd name="connsiteX3" fmla="*/ 54720 w 1829246"/>
                <a:gd name="connsiteY3" fmla="*/ 0 h 257442"/>
                <a:gd name="connsiteX0" fmla="*/ 2138433 w 2138433"/>
                <a:gd name="connsiteY0" fmla="*/ 0 h 257442"/>
                <a:gd name="connsiteX1" fmla="*/ 1774526 w 2138433"/>
                <a:gd name="connsiteY1" fmla="*/ 257442 h 257442"/>
                <a:gd name="connsiteX2" fmla="*/ 0 w 2138433"/>
                <a:gd name="connsiteY2" fmla="*/ 257442 h 257442"/>
                <a:gd name="connsiteX3" fmla="*/ 54720 w 2138433"/>
                <a:gd name="connsiteY3" fmla="*/ 0 h 257442"/>
                <a:gd name="connsiteX0" fmla="*/ 2138433 w 2138433"/>
                <a:gd name="connsiteY0" fmla="*/ 0 h 257442"/>
                <a:gd name="connsiteX1" fmla="*/ 2083712 w 2138433"/>
                <a:gd name="connsiteY1" fmla="*/ 257442 h 257442"/>
                <a:gd name="connsiteX2" fmla="*/ 0 w 2138433"/>
                <a:gd name="connsiteY2" fmla="*/ 257442 h 257442"/>
                <a:gd name="connsiteX3" fmla="*/ 54720 w 2138433"/>
                <a:gd name="connsiteY3" fmla="*/ 0 h 257442"/>
                <a:gd name="connsiteX0" fmla="*/ 2138434 w 2138434"/>
                <a:gd name="connsiteY0" fmla="*/ 0 h 257442"/>
                <a:gd name="connsiteX1" fmla="*/ 2083713 w 2138434"/>
                <a:gd name="connsiteY1" fmla="*/ 257442 h 257442"/>
                <a:gd name="connsiteX2" fmla="*/ 0 w 2138434"/>
                <a:gd name="connsiteY2" fmla="*/ 257442 h 257442"/>
                <a:gd name="connsiteX3" fmla="*/ 54721 w 2138434"/>
                <a:gd name="connsiteY3" fmla="*/ 0 h 257442"/>
                <a:gd name="connsiteX0" fmla="*/ 2138434 w 2138434"/>
                <a:gd name="connsiteY0" fmla="*/ 0 h 257442"/>
                <a:gd name="connsiteX1" fmla="*/ 2083713 w 2138434"/>
                <a:gd name="connsiteY1" fmla="*/ 257442 h 257442"/>
                <a:gd name="connsiteX2" fmla="*/ 0 w 2138434"/>
                <a:gd name="connsiteY2" fmla="*/ 257442 h 257442"/>
                <a:gd name="connsiteX3" fmla="*/ 54721 w 2138434"/>
                <a:gd name="connsiteY3" fmla="*/ 0 h 257442"/>
                <a:gd name="connsiteX0" fmla="*/ 2306749 w 2306749"/>
                <a:gd name="connsiteY0" fmla="*/ 0 h 257442"/>
                <a:gd name="connsiteX1" fmla="*/ 2083713 w 2306749"/>
                <a:gd name="connsiteY1" fmla="*/ 257442 h 257442"/>
                <a:gd name="connsiteX2" fmla="*/ 0 w 2306749"/>
                <a:gd name="connsiteY2" fmla="*/ 257442 h 257442"/>
                <a:gd name="connsiteX3" fmla="*/ 54721 w 2306749"/>
                <a:gd name="connsiteY3" fmla="*/ 0 h 257442"/>
                <a:gd name="connsiteX0" fmla="*/ 2306749 w 2306749"/>
                <a:gd name="connsiteY0" fmla="*/ 0 h 257442"/>
                <a:gd name="connsiteX1" fmla="*/ 2252028 w 2306749"/>
                <a:gd name="connsiteY1" fmla="*/ 257442 h 257442"/>
                <a:gd name="connsiteX2" fmla="*/ 0 w 2306749"/>
                <a:gd name="connsiteY2" fmla="*/ 257442 h 257442"/>
                <a:gd name="connsiteX3" fmla="*/ 54721 w 2306749"/>
                <a:gd name="connsiteY3" fmla="*/ 0 h 257442"/>
                <a:gd name="connsiteX0" fmla="*/ 2306749 w 2306749"/>
                <a:gd name="connsiteY0" fmla="*/ 0 h 257442"/>
                <a:gd name="connsiteX1" fmla="*/ 2252028 w 2306749"/>
                <a:gd name="connsiteY1" fmla="*/ 257442 h 257442"/>
                <a:gd name="connsiteX2" fmla="*/ 0 w 2306749"/>
                <a:gd name="connsiteY2" fmla="*/ 257442 h 257442"/>
                <a:gd name="connsiteX3" fmla="*/ 54721 w 2306749"/>
                <a:gd name="connsiteY3" fmla="*/ 0 h 257442"/>
                <a:gd name="connsiteX0" fmla="*/ 2306749 w 2306749"/>
                <a:gd name="connsiteY0" fmla="*/ 0 h 257442"/>
                <a:gd name="connsiteX1" fmla="*/ 2252028 w 2306749"/>
                <a:gd name="connsiteY1" fmla="*/ 257442 h 257442"/>
                <a:gd name="connsiteX2" fmla="*/ 0 w 2306749"/>
                <a:gd name="connsiteY2" fmla="*/ 257442 h 257442"/>
                <a:gd name="connsiteX3" fmla="*/ 54721 w 2306749"/>
                <a:gd name="connsiteY3" fmla="*/ 0 h 257442"/>
                <a:gd name="connsiteX0" fmla="*/ 950801 w 2252028"/>
                <a:gd name="connsiteY0" fmla="*/ 0 h 257442"/>
                <a:gd name="connsiteX1" fmla="*/ 2252028 w 2252028"/>
                <a:gd name="connsiteY1" fmla="*/ 257442 h 257442"/>
                <a:gd name="connsiteX2" fmla="*/ 0 w 2252028"/>
                <a:gd name="connsiteY2" fmla="*/ 257442 h 257442"/>
                <a:gd name="connsiteX3" fmla="*/ 54721 w 2252028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1111100 w 1111100"/>
                <a:gd name="connsiteY0" fmla="*/ 0 h 257442"/>
                <a:gd name="connsiteX1" fmla="*/ 896079 w 1111100"/>
                <a:gd name="connsiteY1" fmla="*/ 257442 h 257442"/>
                <a:gd name="connsiteX2" fmla="*/ 0 w 1111100"/>
                <a:gd name="connsiteY2" fmla="*/ 257442 h 257442"/>
                <a:gd name="connsiteX3" fmla="*/ 54720 w 1111100"/>
                <a:gd name="connsiteY3" fmla="*/ 0 h 257442"/>
                <a:gd name="connsiteX0" fmla="*/ 1111100 w 1111100"/>
                <a:gd name="connsiteY0" fmla="*/ 0 h 257442"/>
                <a:gd name="connsiteX1" fmla="*/ 1056379 w 1111100"/>
                <a:gd name="connsiteY1" fmla="*/ 257442 h 257442"/>
                <a:gd name="connsiteX2" fmla="*/ 0 w 1111100"/>
                <a:gd name="connsiteY2" fmla="*/ 257442 h 257442"/>
                <a:gd name="connsiteX3" fmla="*/ 54720 w 1111100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2 w 1111101"/>
                <a:gd name="connsiteY3" fmla="*/ 0 h 257442"/>
                <a:gd name="connsiteX0" fmla="*/ 1271403 w 1271403"/>
                <a:gd name="connsiteY0" fmla="*/ 0 h 257442"/>
                <a:gd name="connsiteX1" fmla="*/ 1056380 w 1271403"/>
                <a:gd name="connsiteY1" fmla="*/ 257442 h 257442"/>
                <a:gd name="connsiteX2" fmla="*/ 0 w 1271403"/>
                <a:gd name="connsiteY2" fmla="*/ 257442 h 257442"/>
                <a:gd name="connsiteX3" fmla="*/ 54722 w 1271403"/>
                <a:gd name="connsiteY3" fmla="*/ 0 h 257442"/>
                <a:gd name="connsiteX0" fmla="*/ 1271403 w 1271403"/>
                <a:gd name="connsiteY0" fmla="*/ 0 h 257442"/>
                <a:gd name="connsiteX1" fmla="*/ 1216682 w 1271403"/>
                <a:gd name="connsiteY1" fmla="*/ 257442 h 257442"/>
                <a:gd name="connsiteX2" fmla="*/ 0 w 1271403"/>
                <a:gd name="connsiteY2" fmla="*/ 257442 h 257442"/>
                <a:gd name="connsiteX3" fmla="*/ 54722 w 1271403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0 w 1271402"/>
                <a:gd name="connsiteY3" fmla="*/ 0 h 257442"/>
                <a:gd name="connsiteX0" fmla="*/ 1481394 w 1481394"/>
                <a:gd name="connsiteY0" fmla="*/ 0 h 257442"/>
                <a:gd name="connsiteX1" fmla="*/ 1216681 w 1481394"/>
                <a:gd name="connsiteY1" fmla="*/ 257442 h 257442"/>
                <a:gd name="connsiteX2" fmla="*/ 0 w 1481394"/>
                <a:gd name="connsiteY2" fmla="*/ 257442 h 257442"/>
                <a:gd name="connsiteX3" fmla="*/ 54720 w 1481394"/>
                <a:gd name="connsiteY3" fmla="*/ 0 h 257442"/>
                <a:gd name="connsiteX0" fmla="*/ 1481394 w 1481394"/>
                <a:gd name="connsiteY0" fmla="*/ 0 h 257442"/>
                <a:gd name="connsiteX1" fmla="*/ 1426673 w 1481394"/>
                <a:gd name="connsiteY1" fmla="*/ 257442 h 257442"/>
                <a:gd name="connsiteX2" fmla="*/ 0 w 1481394"/>
                <a:gd name="connsiteY2" fmla="*/ 257442 h 257442"/>
                <a:gd name="connsiteX3" fmla="*/ 54720 w 1481394"/>
                <a:gd name="connsiteY3" fmla="*/ 0 h 257442"/>
                <a:gd name="connsiteX0" fmla="*/ 1481395 w 1481395"/>
                <a:gd name="connsiteY0" fmla="*/ 0 h 257442"/>
                <a:gd name="connsiteX1" fmla="*/ 1426674 w 1481395"/>
                <a:gd name="connsiteY1" fmla="*/ 257442 h 257442"/>
                <a:gd name="connsiteX2" fmla="*/ 0 w 1481395"/>
                <a:gd name="connsiteY2" fmla="*/ 257442 h 257442"/>
                <a:gd name="connsiteX3" fmla="*/ 54721 w 1481395"/>
                <a:gd name="connsiteY3" fmla="*/ 0 h 257442"/>
                <a:gd name="connsiteX0" fmla="*/ 1481395 w 1481395"/>
                <a:gd name="connsiteY0" fmla="*/ 0 h 257442"/>
                <a:gd name="connsiteX1" fmla="*/ 1426674 w 1481395"/>
                <a:gd name="connsiteY1" fmla="*/ 257442 h 257442"/>
                <a:gd name="connsiteX2" fmla="*/ 0 w 1481395"/>
                <a:gd name="connsiteY2" fmla="*/ 257442 h 257442"/>
                <a:gd name="connsiteX3" fmla="*/ 54722 w 1481395"/>
                <a:gd name="connsiteY3" fmla="*/ 0 h 257442"/>
                <a:gd name="connsiteX0" fmla="*/ 1750700 w 1750700"/>
                <a:gd name="connsiteY0" fmla="*/ 0 h 257442"/>
                <a:gd name="connsiteX1" fmla="*/ 1426674 w 1750700"/>
                <a:gd name="connsiteY1" fmla="*/ 257442 h 257442"/>
                <a:gd name="connsiteX2" fmla="*/ 0 w 1750700"/>
                <a:gd name="connsiteY2" fmla="*/ 257442 h 257442"/>
                <a:gd name="connsiteX3" fmla="*/ 54722 w 1750700"/>
                <a:gd name="connsiteY3" fmla="*/ 0 h 257442"/>
                <a:gd name="connsiteX0" fmla="*/ 1750700 w 1750700"/>
                <a:gd name="connsiteY0" fmla="*/ 0 h 257442"/>
                <a:gd name="connsiteX1" fmla="*/ 1695978 w 1750700"/>
                <a:gd name="connsiteY1" fmla="*/ 257442 h 257442"/>
                <a:gd name="connsiteX2" fmla="*/ 0 w 1750700"/>
                <a:gd name="connsiteY2" fmla="*/ 257442 h 257442"/>
                <a:gd name="connsiteX3" fmla="*/ 54722 w 1750700"/>
                <a:gd name="connsiteY3" fmla="*/ 0 h 257442"/>
                <a:gd name="connsiteX0" fmla="*/ 1750700 w 1750700"/>
                <a:gd name="connsiteY0" fmla="*/ 0 h 257442"/>
                <a:gd name="connsiteX1" fmla="*/ 1695978 w 1750700"/>
                <a:gd name="connsiteY1" fmla="*/ 257442 h 257442"/>
                <a:gd name="connsiteX2" fmla="*/ 0 w 1750700"/>
                <a:gd name="connsiteY2" fmla="*/ 257442 h 257442"/>
                <a:gd name="connsiteX3" fmla="*/ 54722 w 1750700"/>
                <a:gd name="connsiteY3" fmla="*/ 0 h 257442"/>
                <a:gd name="connsiteX0" fmla="*/ 1750700 w 1750700"/>
                <a:gd name="connsiteY0" fmla="*/ 0 h 257442"/>
                <a:gd name="connsiteX1" fmla="*/ 1695978 w 1750700"/>
                <a:gd name="connsiteY1" fmla="*/ 257442 h 257442"/>
                <a:gd name="connsiteX2" fmla="*/ 0 w 1750700"/>
                <a:gd name="connsiteY2" fmla="*/ 257442 h 257442"/>
                <a:gd name="connsiteX3" fmla="*/ 54721 w 1750700"/>
                <a:gd name="connsiteY3" fmla="*/ 0 h 257442"/>
                <a:gd name="connsiteX0" fmla="*/ 1919015 w 1919015"/>
                <a:gd name="connsiteY0" fmla="*/ 0 h 257442"/>
                <a:gd name="connsiteX1" fmla="*/ 1695978 w 1919015"/>
                <a:gd name="connsiteY1" fmla="*/ 257442 h 257442"/>
                <a:gd name="connsiteX2" fmla="*/ 0 w 1919015"/>
                <a:gd name="connsiteY2" fmla="*/ 257442 h 257442"/>
                <a:gd name="connsiteX3" fmla="*/ 54721 w 1919015"/>
                <a:gd name="connsiteY3" fmla="*/ 0 h 257442"/>
                <a:gd name="connsiteX0" fmla="*/ 1919015 w 1919015"/>
                <a:gd name="connsiteY0" fmla="*/ 0 h 257442"/>
                <a:gd name="connsiteX1" fmla="*/ 1864294 w 1919015"/>
                <a:gd name="connsiteY1" fmla="*/ 257442 h 257442"/>
                <a:gd name="connsiteX2" fmla="*/ 0 w 1919015"/>
                <a:gd name="connsiteY2" fmla="*/ 257442 h 257442"/>
                <a:gd name="connsiteX3" fmla="*/ 54721 w 1919015"/>
                <a:gd name="connsiteY3" fmla="*/ 0 h 257442"/>
                <a:gd name="connsiteX0" fmla="*/ 1919015 w 1919015"/>
                <a:gd name="connsiteY0" fmla="*/ 0 h 257442"/>
                <a:gd name="connsiteX1" fmla="*/ 1864294 w 1919015"/>
                <a:gd name="connsiteY1" fmla="*/ 257442 h 257442"/>
                <a:gd name="connsiteX2" fmla="*/ 0 w 1919015"/>
                <a:gd name="connsiteY2" fmla="*/ 257442 h 257442"/>
                <a:gd name="connsiteX3" fmla="*/ 54721 w 1919015"/>
                <a:gd name="connsiteY3" fmla="*/ 0 h 257442"/>
                <a:gd name="connsiteX0" fmla="*/ 1919015 w 1919015"/>
                <a:gd name="connsiteY0" fmla="*/ 0 h 257442"/>
                <a:gd name="connsiteX1" fmla="*/ 1864294 w 1919015"/>
                <a:gd name="connsiteY1" fmla="*/ 257442 h 257442"/>
                <a:gd name="connsiteX2" fmla="*/ 0 w 1919015"/>
                <a:gd name="connsiteY2" fmla="*/ 257442 h 257442"/>
                <a:gd name="connsiteX3" fmla="*/ 54721 w 1919015"/>
                <a:gd name="connsiteY3" fmla="*/ 0 h 257442"/>
                <a:gd name="connsiteX0" fmla="*/ 2180304 w 2180304"/>
                <a:gd name="connsiteY0" fmla="*/ 0 h 257442"/>
                <a:gd name="connsiteX1" fmla="*/ 1864294 w 2180304"/>
                <a:gd name="connsiteY1" fmla="*/ 257442 h 257442"/>
                <a:gd name="connsiteX2" fmla="*/ 0 w 2180304"/>
                <a:gd name="connsiteY2" fmla="*/ 257442 h 257442"/>
                <a:gd name="connsiteX3" fmla="*/ 54721 w 2180304"/>
                <a:gd name="connsiteY3" fmla="*/ 0 h 257442"/>
                <a:gd name="connsiteX0" fmla="*/ 2180304 w 2180304"/>
                <a:gd name="connsiteY0" fmla="*/ 0 h 257442"/>
                <a:gd name="connsiteX1" fmla="*/ 2125582 w 2180304"/>
                <a:gd name="connsiteY1" fmla="*/ 257442 h 257442"/>
                <a:gd name="connsiteX2" fmla="*/ 0 w 2180304"/>
                <a:gd name="connsiteY2" fmla="*/ 257442 h 257442"/>
                <a:gd name="connsiteX3" fmla="*/ 54721 w 2180304"/>
                <a:gd name="connsiteY3" fmla="*/ 0 h 257442"/>
                <a:gd name="connsiteX0" fmla="*/ 2180305 w 2180305"/>
                <a:gd name="connsiteY0" fmla="*/ 0 h 257442"/>
                <a:gd name="connsiteX1" fmla="*/ 2125583 w 2180305"/>
                <a:gd name="connsiteY1" fmla="*/ 257442 h 257442"/>
                <a:gd name="connsiteX2" fmla="*/ 0 w 2180305"/>
                <a:gd name="connsiteY2" fmla="*/ 257442 h 257442"/>
                <a:gd name="connsiteX3" fmla="*/ 54722 w 2180305"/>
                <a:gd name="connsiteY3" fmla="*/ 0 h 257442"/>
                <a:gd name="connsiteX0" fmla="*/ 2180305 w 2180305"/>
                <a:gd name="connsiteY0" fmla="*/ 0 h 257442"/>
                <a:gd name="connsiteX1" fmla="*/ 2125583 w 2180305"/>
                <a:gd name="connsiteY1" fmla="*/ 257442 h 257442"/>
                <a:gd name="connsiteX2" fmla="*/ 0 w 2180305"/>
                <a:gd name="connsiteY2" fmla="*/ 257442 h 257442"/>
                <a:gd name="connsiteX3" fmla="*/ 54722 w 2180305"/>
                <a:gd name="connsiteY3" fmla="*/ 0 h 257442"/>
                <a:gd name="connsiteX0" fmla="*/ 2340605 w 2340605"/>
                <a:gd name="connsiteY0" fmla="*/ 0 h 257442"/>
                <a:gd name="connsiteX1" fmla="*/ 2125583 w 2340605"/>
                <a:gd name="connsiteY1" fmla="*/ 257442 h 257442"/>
                <a:gd name="connsiteX2" fmla="*/ 0 w 2340605"/>
                <a:gd name="connsiteY2" fmla="*/ 257442 h 257442"/>
                <a:gd name="connsiteX3" fmla="*/ 54722 w 2340605"/>
                <a:gd name="connsiteY3" fmla="*/ 0 h 257442"/>
                <a:gd name="connsiteX0" fmla="*/ 2340605 w 2340605"/>
                <a:gd name="connsiteY0" fmla="*/ 0 h 257442"/>
                <a:gd name="connsiteX1" fmla="*/ 2285884 w 2340605"/>
                <a:gd name="connsiteY1" fmla="*/ 257442 h 257442"/>
                <a:gd name="connsiteX2" fmla="*/ 0 w 2340605"/>
                <a:gd name="connsiteY2" fmla="*/ 257442 h 257442"/>
                <a:gd name="connsiteX3" fmla="*/ 54722 w 2340605"/>
                <a:gd name="connsiteY3" fmla="*/ 0 h 257442"/>
                <a:gd name="connsiteX0" fmla="*/ 2340604 w 2340604"/>
                <a:gd name="connsiteY0" fmla="*/ 0 h 257442"/>
                <a:gd name="connsiteX1" fmla="*/ 2285883 w 2340604"/>
                <a:gd name="connsiteY1" fmla="*/ 257442 h 257442"/>
                <a:gd name="connsiteX2" fmla="*/ 0 w 2340604"/>
                <a:gd name="connsiteY2" fmla="*/ 257442 h 257442"/>
                <a:gd name="connsiteX3" fmla="*/ 54721 w 2340604"/>
                <a:gd name="connsiteY3" fmla="*/ 0 h 257442"/>
                <a:gd name="connsiteX0" fmla="*/ 2340604 w 2340604"/>
                <a:gd name="connsiteY0" fmla="*/ 0 h 257442"/>
                <a:gd name="connsiteX1" fmla="*/ 2285883 w 2340604"/>
                <a:gd name="connsiteY1" fmla="*/ 257442 h 257442"/>
                <a:gd name="connsiteX2" fmla="*/ 0 w 2340604"/>
                <a:gd name="connsiteY2" fmla="*/ 257442 h 257442"/>
                <a:gd name="connsiteX3" fmla="*/ 54720 w 2340604"/>
                <a:gd name="connsiteY3" fmla="*/ 0 h 257442"/>
                <a:gd name="connsiteX0" fmla="*/ 2508919 w 2508919"/>
                <a:gd name="connsiteY0" fmla="*/ 0 h 257442"/>
                <a:gd name="connsiteX1" fmla="*/ 2285883 w 2508919"/>
                <a:gd name="connsiteY1" fmla="*/ 257442 h 257442"/>
                <a:gd name="connsiteX2" fmla="*/ 0 w 2508919"/>
                <a:gd name="connsiteY2" fmla="*/ 257442 h 257442"/>
                <a:gd name="connsiteX3" fmla="*/ 54720 w 2508919"/>
                <a:gd name="connsiteY3" fmla="*/ 0 h 257442"/>
                <a:gd name="connsiteX0" fmla="*/ 2508919 w 2508919"/>
                <a:gd name="connsiteY0" fmla="*/ 0 h 257442"/>
                <a:gd name="connsiteX1" fmla="*/ 2454198 w 2508919"/>
                <a:gd name="connsiteY1" fmla="*/ 257442 h 257442"/>
                <a:gd name="connsiteX2" fmla="*/ 0 w 2508919"/>
                <a:gd name="connsiteY2" fmla="*/ 257442 h 257442"/>
                <a:gd name="connsiteX3" fmla="*/ 54720 w 2508919"/>
                <a:gd name="connsiteY3" fmla="*/ 0 h 257442"/>
                <a:gd name="connsiteX0" fmla="*/ 2508920 w 2508920"/>
                <a:gd name="connsiteY0" fmla="*/ 0 h 257442"/>
                <a:gd name="connsiteX1" fmla="*/ 2454199 w 2508920"/>
                <a:gd name="connsiteY1" fmla="*/ 257442 h 257442"/>
                <a:gd name="connsiteX2" fmla="*/ 0 w 2508920"/>
                <a:gd name="connsiteY2" fmla="*/ 257442 h 257442"/>
                <a:gd name="connsiteX3" fmla="*/ 54721 w 2508920"/>
                <a:gd name="connsiteY3" fmla="*/ 0 h 257442"/>
                <a:gd name="connsiteX0" fmla="*/ 2508920 w 2508920"/>
                <a:gd name="connsiteY0" fmla="*/ 0 h 257442"/>
                <a:gd name="connsiteX1" fmla="*/ 2454199 w 2508920"/>
                <a:gd name="connsiteY1" fmla="*/ 257442 h 257442"/>
                <a:gd name="connsiteX2" fmla="*/ 0 w 2508920"/>
                <a:gd name="connsiteY2" fmla="*/ 257442 h 257442"/>
                <a:gd name="connsiteX3" fmla="*/ 54721 w 2508920"/>
                <a:gd name="connsiteY3" fmla="*/ 0 h 257442"/>
                <a:gd name="connsiteX0" fmla="*/ 2669220 w 2669220"/>
                <a:gd name="connsiteY0" fmla="*/ 0 h 257442"/>
                <a:gd name="connsiteX1" fmla="*/ 2454199 w 2669220"/>
                <a:gd name="connsiteY1" fmla="*/ 257442 h 257442"/>
                <a:gd name="connsiteX2" fmla="*/ 0 w 2669220"/>
                <a:gd name="connsiteY2" fmla="*/ 257442 h 257442"/>
                <a:gd name="connsiteX3" fmla="*/ 54721 w 2669220"/>
                <a:gd name="connsiteY3" fmla="*/ 0 h 257442"/>
                <a:gd name="connsiteX0" fmla="*/ 2669220 w 2669220"/>
                <a:gd name="connsiteY0" fmla="*/ 0 h 257442"/>
                <a:gd name="connsiteX1" fmla="*/ 2614499 w 2669220"/>
                <a:gd name="connsiteY1" fmla="*/ 257442 h 257442"/>
                <a:gd name="connsiteX2" fmla="*/ 0 w 2669220"/>
                <a:gd name="connsiteY2" fmla="*/ 257442 h 257442"/>
                <a:gd name="connsiteX3" fmla="*/ 54721 w 2669220"/>
                <a:gd name="connsiteY3" fmla="*/ 0 h 257442"/>
                <a:gd name="connsiteX0" fmla="*/ 2669220 w 2669220"/>
                <a:gd name="connsiteY0" fmla="*/ 0 h 257442"/>
                <a:gd name="connsiteX1" fmla="*/ 2614499 w 2669220"/>
                <a:gd name="connsiteY1" fmla="*/ 257442 h 257442"/>
                <a:gd name="connsiteX2" fmla="*/ 0 w 2669220"/>
                <a:gd name="connsiteY2" fmla="*/ 257442 h 257442"/>
                <a:gd name="connsiteX3" fmla="*/ 54721 w 2669220"/>
                <a:gd name="connsiteY3" fmla="*/ 0 h 257442"/>
                <a:gd name="connsiteX0" fmla="*/ 2669220 w 2669220"/>
                <a:gd name="connsiteY0" fmla="*/ 0 h 257442"/>
                <a:gd name="connsiteX1" fmla="*/ 2614499 w 2669220"/>
                <a:gd name="connsiteY1" fmla="*/ 257442 h 257442"/>
                <a:gd name="connsiteX2" fmla="*/ 0 w 2669220"/>
                <a:gd name="connsiteY2" fmla="*/ 257442 h 257442"/>
                <a:gd name="connsiteX3" fmla="*/ 54721 w 2669220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69220" h="257442">
                  <a:moveTo>
                    <a:pt x="2669220" y="0"/>
                  </a:moveTo>
                  <a:lnTo>
                    <a:pt x="2614499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" name="btfpRunningAgenda2LevelTextRight526277">
              <a:extLst>
                <a:ext uri="{FF2B5EF4-FFF2-40B4-BE49-F238E27FC236}">
                  <a16:creationId xmlns:a16="http://schemas.microsoft.com/office/drawing/2014/main" id="{53C70574-E03B-4AC9-A534-B94AC7A46DDC}"/>
                </a:ext>
              </a:extLst>
            </p:cNvPr>
            <p:cNvSpPr txBox="1"/>
            <p:nvPr/>
          </p:nvSpPr>
          <p:spPr bwMode="gray">
            <a:xfrm>
              <a:off x="1987754" y="876300"/>
              <a:ext cx="2614499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PS - drivers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40940870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btfpColumnIndicatorGroup2">
            <a:extLst>
              <a:ext uri="{FF2B5EF4-FFF2-40B4-BE49-F238E27FC236}">
                <a16:creationId xmlns:a16="http://schemas.microsoft.com/office/drawing/2014/main" id="{0E4F7798-E401-4FAB-9DDA-F6390E1AD10B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0" name="btfpColumnGapBlocker498453">
              <a:extLst>
                <a:ext uri="{FF2B5EF4-FFF2-40B4-BE49-F238E27FC236}">
                  <a16:creationId xmlns:a16="http://schemas.microsoft.com/office/drawing/2014/main" id="{CA5323AA-7DC8-4C73-8F52-9FEEA0DA1105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8" name="btfpColumnGapBlocker584391">
              <a:extLst>
                <a:ext uri="{FF2B5EF4-FFF2-40B4-BE49-F238E27FC236}">
                  <a16:creationId xmlns:a16="http://schemas.microsoft.com/office/drawing/2014/main" id="{09AF3814-6B56-4A27-ACD1-AFFF9E57ED97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" name="btfpColumnIndicator102417">
              <a:extLst>
                <a:ext uri="{FF2B5EF4-FFF2-40B4-BE49-F238E27FC236}">
                  <a16:creationId xmlns:a16="http://schemas.microsoft.com/office/drawing/2014/main" id="{3B791D8D-EAF1-49D1-AA6F-AA6D3E2D6243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538190">
              <a:extLst>
                <a:ext uri="{FF2B5EF4-FFF2-40B4-BE49-F238E27FC236}">
                  <a16:creationId xmlns:a16="http://schemas.microsoft.com/office/drawing/2014/main" id="{DAAEB60E-6DA6-45EE-853E-DB1C46B940A5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btfpColumnIndicatorGroup1">
            <a:extLst>
              <a:ext uri="{FF2B5EF4-FFF2-40B4-BE49-F238E27FC236}">
                <a16:creationId xmlns:a16="http://schemas.microsoft.com/office/drawing/2014/main" id="{E7E072AB-DC22-42E7-B37B-65A9B9995704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9" name="btfpColumnGapBlocker500336">
              <a:extLst>
                <a:ext uri="{FF2B5EF4-FFF2-40B4-BE49-F238E27FC236}">
                  <a16:creationId xmlns:a16="http://schemas.microsoft.com/office/drawing/2014/main" id="{7FD905C5-34E1-4BE7-B4A6-496723D0BF71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7" name="btfpColumnGapBlocker179483">
              <a:extLst>
                <a:ext uri="{FF2B5EF4-FFF2-40B4-BE49-F238E27FC236}">
                  <a16:creationId xmlns:a16="http://schemas.microsoft.com/office/drawing/2014/main" id="{1F861714-875E-45D9-8751-A9C4A93AF383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291352">
              <a:extLst>
                <a:ext uri="{FF2B5EF4-FFF2-40B4-BE49-F238E27FC236}">
                  <a16:creationId xmlns:a16="http://schemas.microsoft.com/office/drawing/2014/main" id="{0B9B96E4-47F2-4F71-A774-6411CEBC570C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602603">
              <a:extLst>
                <a:ext uri="{FF2B5EF4-FFF2-40B4-BE49-F238E27FC236}">
                  <a16:creationId xmlns:a16="http://schemas.microsoft.com/office/drawing/2014/main" id="{AD175EA5-1C94-46DE-B273-13A72A2DCCB4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0" name="btfpTable810271">
            <a:extLst>
              <a:ext uri="{FF2B5EF4-FFF2-40B4-BE49-F238E27FC236}">
                <a16:creationId xmlns:a16="http://schemas.microsoft.com/office/drawing/2014/main" id="{4399A5C2-6A45-4644-9E6B-9B5D8A36C9BC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200" y="1270000"/>
          <a:ext cx="11531599" cy="4953274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914999">
                  <a:extLst>
                    <a:ext uri="{9D8B030D-6E8A-4147-A177-3AD203B41FA5}">
                      <a16:colId xmlns:a16="http://schemas.microsoft.com/office/drawing/2014/main" val="2822039258"/>
                    </a:ext>
                  </a:extLst>
                </a:gridCol>
                <a:gridCol w="1361903">
                  <a:extLst>
                    <a:ext uri="{9D8B030D-6E8A-4147-A177-3AD203B41FA5}">
                      <a16:colId xmlns:a16="http://schemas.microsoft.com/office/drawing/2014/main" val="3070865127"/>
                    </a:ext>
                  </a:extLst>
                </a:gridCol>
                <a:gridCol w="2138072">
                  <a:extLst>
                    <a:ext uri="{9D8B030D-6E8A-4147-A177-3AD203B41FA5}">
                      <a16:colId xmlns:a16="http://schemas.microsoft.com/office/drawing/2014/main" val="1450682124"/>
                    </a:ext>
                  </a:extLst>
                </a:gridCol>
                <a:gridCol w="859994">
                  <a:extLst>
                    <a:ext uri="{9D8B030D-6E8A-4147-A177-3AD203B41FA5}">
                      <a16:colId xmlns:a16="http://schemas.microsoft.com/office/drawing/2014/main" val="3842794265"/>
                    </a:ext>
                  </a:extLst>
                </a:gridCol>
                <a:gridCol w="5256631">
                  <a:extLst>
                    <a:ext uri="{9D8B030D-6E8A-4147-A177-3AD203B41FA5}">
                      <a16:colId xmlns:a16="http://schemas.microsoft.com/office/drawing/2014/main" val="3387403182"/>
                    </a:ext>
                  </a:extLst>
                </a:gridCol>
              </a:tblGrid>
              <a:tr h="297277"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sz="1100">
                          <a:solidFill>
                            <a:schemeClr val="bg2"/>
                          </a:solidFill>
                        </a:rPr>
                        <a:t>Respondent</a:t>
                      </a:r>
                    </a:p>
                  </a:txBody>
                  <a:tcPr marL="45720" marR="45720" anchor="b"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sz="1100">
                          <a:solidFill>
                            <a:schemeClr val="bg2"/>
                          </a:solidFill>
                        </a:rPr>
                        <a:t>Country</a:t>
                      </a:r>
                    </a:p>
                  </a:txBody>
                  <a:tcPr marL="45720" marR="45720" anchor="b"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sz="1100">
                          <a:solidFill>
                            <a:schemeClr val="bg2"/>
                          </a:solidFill>
                        </a:rPr>
                        <a:t>Industry</a:t>
                      </a:r>
                    </a:p>
                  </a:txBody>
                  <a:tcPr marL="45720" marR="45720" anchor="b"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sz="1100">
                          <a:solidFill>
                            <a:schemeClr val="bg2"/>
                          </a:solidFill>
                        </a:rPr>
                        <a:t>NPS</a:t>
                      </a:r>
                    </a:p>
                  </a:txBody>
                  <a:tcPr marL="45720" marR="45720" anchor="b"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sz="1100">
                          <a:solidFill>
                            <a:schemeClr val="bg2"/>
                          </a:solidFill>
                        </a:rPr>
                        <a:t>Voice of the client</a:t>
                      </a:r>
                    </a:p>
                  </a:txBody>
                  <a:tcPr marL="45720" marR="45720" anchor="b"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1453429"/>
                  </a:ext>
                </a:extLst>
              </a:tr>
              <a:tr h="267855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ravel &amp; hospitality SME</a:t>
                      </a:r>
                    </a:p>
                  </a:txBody>
                  <a:tcPr marL="45720" marR="45720" anchor="ctr"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l-PL" sz="10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kumimoji="0" lang="en-GB" sz="1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ystems integration</a:t>
                      </a:r>
                    </a:p>
                  </a:txBody>
                  <a:tcPr marL="45720" marR="45720" anchor="ctr"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buNone/>
                      </a:pPr>
                      <a:r>
                        <a:rPr lang="en-GB" sz="1000" b="1" baseline="0">
                          <a:solidFill>
                            <a:schemeClr val="bg1"/>
                          </a:solidFill>
                          <a:latin typeface="+mn-lt"/>
                        </a:rPr>
                        <a:t>10</a:t>
                      </a:r>
                    </a:p>
                  </a:txBody>
                  <a:tcPr marL="54000" marR="36000" anchor="ctr"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90729" marR="0" lvl="0" indent="-90729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“</a:t>
                      </a:r>
                      <a:r>
                        <a:rPr kumimoji="0" lang="en-US" sz="1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ey </a:t>
                      </a:r>
                      <a:r>
                        <a:rPr kumimoji="0" lang="en-US" sz="10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ved me at our platform integration project after Deloitte failed</a:t>
                      </a:r>
                      <a:r>
                        <a:rPr kumimoji="0" lang="en-US" sz="1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 I am a strong supporter as </a:t>
                      </a:r>
                      <a:r>
                        <a:rPr kumimoji="0" lang="en-US" sz="10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ey really deliver</a:t>
                      </a:r>
                      <a:r>
                        <a:rPr kumimoji="0" lang="en-US" sz="1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, also on the </a:t>
                      </a:r>
                      <a:r>
                        <a:rPr kumimoji="0" lang="en-US" sz="10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ackend</a:t>
                      </a:r>
                      <a:r>
                        <a:rPr kumimoji="0" lang="en-US" sz="1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where Deloitte failed</a:t>
                      </a:r>
                      <a:r>
                        <a:rPr kumimoji="0" lang="pl-PL" sz="1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r>
                        <a:rPr kumimoji="0" lang="en-GB" sz="1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”</a:t>
                      </a:r>
                    </a:p>
                  </a:txBody>
                  <a:tcPr marL="90000" marR="90000" marT="46800" marB="46800" anchor="ctr"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56293753"/>
                  </a:ext>
                </a:extLst>
              </a:tr>
              <a:tr h="850890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arge technology company</a:t>
                      </a:r>
                    </a:p>
                  </a:txBody>
                  <a:tcPr marL="45720" marR="4572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en-US" sz="1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Not specified</a:t>
                      </a:r>
                      <a:endParaRPr kumimoji="0" lang="en-GB" sz="10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buNone/>
                      </a:pPr>
                      <a:r>
                        <a:rPr lang="en-GB" sz="1000" b="1" baseline="0">
                          <a:solidFill>
                            <a:schemeClr val="bg1"/>
                          </a:solidFill>
                          <a:latin typeface="+mn-lt"/>
                        </a:rPr>
                        <a:t>10</a:t>
                      </a:r>
                    </a:p>
                  </a:txBody>
                  <a:tcPr marL="54000" marR="3600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90729" marR="0" lvl="0" indent="-90729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“</a:t>
                      </a:r>
                      <a:r>
                        <a:rPr kumimoji="0" lang="en-GB" sz="1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elican delivered good</a:t>
                      </a:r>
                      <a:r>
                        <a:rPr kumimoji="0" lang="en-GB" sz="10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implementation.</a:t>
                      </a:r>
                      <a:r>
                        <a:rPr kumimoji="0" lang="pl-PL" sz="1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”</a:t>
                      </a:r>
                      <a:endParaRPr kumimoji="0" lang="en-GB" sz="10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46800" marB="46800" anchor="ctr"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647297"/>
                  </a:ext>
                </a:extLst>
              </a:tr>
              <a:tr h="609883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arge manufacturing company</a:t>
                      </a:r>
                    </a:p>
                  </a:txBody>
                  <a:tcPr marL="45720" marR="4572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en-US" sz="1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Not specified</a:t>
                      </a:r>
                      <a:endParaRPr kumimoji="0" lang="en-GB" sz="10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buNone/>
                      </a:pPr>
                      <a:r>
                        <a:rPr lang="en-US" sz="1000" b="1" baseline="0">
                          <a:solidFill>
                            <a:schemeClr val="bg1"/>
                          </a:solidFill>
                          <a:latin typeface="+mn-lt"/>
                        </a:rPr>
                        <a:t>9</a:t>
                      </a:r>
                      <a:endParaRPr lang="en-GB" sz="1000" b="1" baseline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54000" marR="3600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90729" marR="0" lvl="0" indent="-90729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“Very </a:t>
                      </a:r>
                      <a:r>
                        <a:rPr kumimoji="0" lang="en-US" sz="10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knowledgeable and service-oriented </a:t>
                      </a:r>
                      <a:r>
                        <a:rPr kumimoji="0" lang="en-US" sz="1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nd strive towards the target in a</a:t>
                      </a:r>
                      <a:r>
                        <a:rPr kumimoji="0" lang="en-US" sz="10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quick and efficient</a:t>
                      </a:r>
                      <a:r>
                        <a:rPr kumimoji="0" lang="en-US" sz="1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manner.</a:t>
                      </a:r>
                      <a:r>
                        <a:rPr kumimoji="0" lang="pl-PL" sz="1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”</a:t>
                      </a:r>
                      <a:endParaRPr kumimoji="0" lang="en-GB" sz="10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46800" marB="46800" anchor="ctr"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4860064"/>
                  </a:ext>
                </a:extLst>
              </a:tr>
              <a:tr h="547001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ery large manufacturing company</a:t>
                      </a:r>
                    </a:p>
                  </a:txBody>
                  <a:tcPr marL="45720" marR="4572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en-US" sz="1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Not specified</a:t>
                      </a:r>
                      <a:endParaRPr kumimoji="0" lang="en-GB" sz="10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buNone/>
                      </a:pPr>
                      <a:r>
                        <a:rPr lang="en-US" sz="1000" b="1" baseline="0">
                          <a:solidFill>
                            <a:schemeClr val="bg1"/>
                          </a:solidFill>
                          <a:latin typeface="+mn-lt"/>
                        </a:rPr>
                        <a:t>8</a:t>
                      </a:r>
                      <a:endParaRPr lang="en-GB" sz="1000" b="1" baseline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54000" marR="3600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4B4B4"/>
                    </a:solidFill>
                  </a:tcPr>
                </a:tc>
                <a:tc>
                  <a:txBody>
                    <a:bodyPr/>
                    <a:lstStyle/>
                    <a:p>
                      <a:pPr marL="90729" marR="0" lvl="0" indent="-90729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“Good overall </a:t>
                      </a:r>
                      <a:r>
                        <a:rPr kumimoji="0" lang="en-GB" sz="10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x</a:t>
                      </a:r>
                      <a:r>
                        <a:rPr kumimoji="0" lang="pl-PL" sz="10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erience</a:t>
                      </a:r>
                      <a:r>
                        <a:rPr kumimoji="0" lang="en-US" sz="10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r>
                        <a:rPr kumimoji="0" lang="pl-PL" sz="1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”</a:t>
                      </a:r>
                      <a:endParaRPr kumimoji="0" lang="en-GB" sz="10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46800" marB="46800" anchor="ctr"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6455608"/>
                  </a:ext>
                </a:extLst>
              </a:tr>
              <a:tr h="395056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0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mall</a:t>
                      </a:r>
                      <a:r>
                        <a:rPr lang="en-GB" sz="10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company</a:t>
                      </a:r>
                    </a:p>
                  </a:txBody>
                  <a:tcPr marL="45720" marR="4572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en-US" sz="1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Not specified</a:t>
                      </a:r>
                      <a:endParaRPr kumimoji="0" lang="en-GB" sz="10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buNone/>
                      </a:pPr>
                      <a:r>
                        <a:rPr lang="en-US" sz="1000" b="1" baseline="0">
                          <a:solidFill>
                            <a:schemeClr val="bg1"/>
                          </a:solidFill>
                          <a:latin typeface="+mn-lt"/>
                        </a:rPr>
                        <a:t>8</a:t>
                      </a:r>
                      <a:endParaRPr lang="en-GB" sz="1000" b="1" baseline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54000" marR="3600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4B4B4"/>
                    </a:solidFill>
                  </a:tcPr>
                </a:tc>
                <a:tc>
                  <a:txBody>
                    <a:bodyPr/>
                    <a:lstStyle/>
                    <a:p>
                      <a:pPr marL="90729" marR="0" lvl="0" indent="-90729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“</a:t>
                      </a:r>
                      <a:r>
                        <a:rPr kumimoji="0" lang="en-US" sz="10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er-knowledgeabl</a:t>
                      </a:r>
                      <a:r>
                        <a:rPr kumimoji="0" lang="en-US" sz="1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 staff and </a:t>
                      </a:r>
                      <a:r>
                        <a:rPr kumimoji="0" lang="en-US" sz="10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asy to work with, </a:t>
                      </a:r>
                      <a:r>
                        <a:rPr kumimoji="0" lang="en-US" sz="1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.g. buy from.</a:t>
                      </a:r>
                      <a:r>
                        <a:rPr kumimoji="0" lang="pl-PL" sz="1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”</a:t>
                      </a:r>
                      <a:endParaRPr kumimoji="0" lang="en-GB" sz="10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46800" marB="46800" anchor="ctr"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2890352"/>
                  </a:ext>
                </a:extLst>
              </a:tr>
              <a:tr h="267855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0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</a:t>
                      </a:r>
                      <a:r>
                        <a:rPr lang="en-GB" sz="10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ergy </a:t>
                      </a:r>
                      <a:r>
                        <a:rPr lang="pl-PL" sz="10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ME</a:t>
                      </a:r>
                      <a:endParaRPr lang="en-GB" sz="10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en-US" sz="1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Not specified</a:t>
                      </a:r>
                      <a:endParaRPr kumimoji="0" lang="en-GB" sz="10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buNone/>
                      </a:pPr>
                      <a:r>
                        <a:rPr lang="en-US" sz="1000" b="1" baseline="0">
                          <a:solidFill>
                            <a:schemeClr val="bg1"/>
                          </a:solidFill>
                          <a:latin typeface="+mn-lt"/>
                        </a:rPr>
                        <a:t>7</a:t>
                      </a:r>
                      <a:endParaRPr lang="en-GB" sz="1000" b="1" baseline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54000" marR="3600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4B4B4"/>
                    </a:solidFill>
                  </a:tcPr>
                </a:tc>
                <a:tc>
                  <a:txBody>
                    <a:bodyPr/>
                    <a:lstStyle/>
                    <a:p>
                      <a:pPr marL="90729" marR="0" lvl="0" indent="-90729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“We are working with them now and have </a:t>
                      </a:r>
                      <a:r>
                        <a:rPr kumimoji="0" lang="en-US" sz="10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ood experiences.</a:t>
                      </a:r>
                      <a:r>
                        <a:rPr kumimoji="0" lang="pl-PL" sz="1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”</a:t>
                      </a:r>
                      <a:endParaRPr kumimoji="0" lang="en-GB" sz="10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46800" marB="46800" anchor="ctr"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0541690"/>
                  </a:ext>
                </a:extLst>
              </a:tr>
              <a:tr h="397209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0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</a:t>
                      </a:r>
                      <a:r>
                        <a:rPr lang="en-GB" sz="10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gistics </a:t>
                      </a:r>
                      <a:r>
                        <a:rPr lang="pl-PL" sz="10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ME</a:t>
                      </a:r>
                      <a:endParaRPr lang="en-GB" sz="10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en-US" sz="1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Not specified</a:t>
                      </a:r>
                      <a:endParaRPr kumimoji="0" lang="en-GB" sz="10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buNone/>
                      </a:pPr>
                      <a:r>
                        <a:rPr lang="en-GB" sz="1000" b="1" baseline="0">
                          <a:solidFill>
                            <a:schemeClr val="bg1"/>
                          </a:solidFill>
                          <a:latin typeface="+mn-lt"/>
                        </a:rPr>
                        <a:t>5</a:t>
                      </a:r>
                    </a:p>
                  </a:txBody>
                  <a:tcPr marL="54000" marR="3600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CC0000"/>
                    </a:solidFill>
                  </a:tcPr>
                </a:tc>
                <a:tc>
                  <a:txBody>
                    <a:bodyPr/>
                    <a:lstStyle/>
                    <a:p>
                      <a:pPr marL="90729" marR="0" lvl="0" indent="-90729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“</a:t>
                      </a:r>
                      <a:r>
                        <a:rPr kumimoji="0" lang="en-GB" sz="1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elican offered </a:t>
                      </a:r>
                      <a:r>
                        <a:rPr kumimoji="0" lang="en-US" sz="10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ood solutions</a:t>
                      </a:r>
                      <a:r>
                        <a:rPr kumimoji="0" lang="en-US" sz="1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, showed mainly </a:t>
                      </a:r>
                      <a:r>
                        <a:rPr kumimoji="0" lang="en-US" sz="10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ood commitment</a:t>
                      </a:r>
                      <a:r>
                        <a:rPr kumimoji="0" lang="en-US" sz="1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, they want and </a:t>
                      </a:r>
                      <a:r>
                        <a:rPr kumimoji="0" lang="en-US" sz="10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ngage in finding solutions </a:t>
                      </a:r>
                      <a:r>
                        <a:rPr kumimoji="0" lang="en-US" sz="1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at suit us.</a:t>
                      </a:r>
                      <a:r>
                        <a:rPr kumimoji="0" lang="pl-PL" sz="1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”</a:t>
                      </a:r>
                      <a:endParaRPr kumimoji="0" lang="en-US" sz="10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46800" marB="46800" anchor="ctr"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9903954"/>
                  </a:ext>
                </a:extLst>
              </a:tr>
              <a:tr h="395056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mall manufacturing company</a:t>
                      </a:r>
                    </a:p>
                  </a:txBody>
                  <a:tcPr marL="45720" marR="4572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en-US" sz="1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Not specified</a:t>
                      </a:r>
                      <a:endParaRPr kumimoji="0" lang="en-GB" sz="10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buNone/>
                      </a:pPr>
                      <a:r>
                        <a:rPr lang="en-GB" sz="1000" b="1" baseline="0">
                          <a:solidFill>
                            <a:schemeClr val="bg1"/>
                          </a:solidFill>
                          <a:latin typeface="+mn-lt"/>
                        </a:rPr>
                        <a:t>5</a:t>
                      </a:r>
                    </a:p>
                  </a:txBody>
                  <a:tcPr marL="54000" marR="3600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CC0000"/>
                    </a:solidFill>
                  </a:tcPr>
                </a:tc>
                <a:tc>
                  <a:txBody>
                    <a:bodyPr/>
                    <a:lstStyle/>
                    <a:p>
                      <a:pPr marL="90729" marR="0" lvl="0" indent="-90729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“</a:t>
                      </a:r>
                      <a:r>
                        <a:rPr kumimoji="0" lang="en-GB" sz="1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elican offered </a:t>
                      </a:r>
                      <a:r>
                        <a:rPr kumimoji="0" lang="en-GB" sz="10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ood service.</a:t>
                      </a:r>
                      <a:r>
                        <a:rPr kumimoji="0" lang="pl-PL" sz="1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”</a:t>
                      </a:r>
                      <a:endParaRPr kumimoji="0" lang="en-US" sz="10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46800" marB="46800" anchor="ctr"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71825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0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</a:t>
                      </a:r>
                      <a:r>
                        <a:rPr lang="en-GB" sz="10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gistics </a:t>
                      </a:r>
                      <a:r>
                        <a:rPr lang="pl-PL" sz="10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ME</a:t>
                      </a:r>
                      <a:endParaRPr lang="en-GB" sz="10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en-US" sz="1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Not specified</a:t>
                      </a:r>
                      <a:endParaRPr kumimoji="0" lang="en-GB" sz="10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buNone/>
                      </a:pPr>
                      <a:r>
                        <a:rPr lang="en-GB" sz="1000" b="1" baseline="0">
                          <a:solidFill>
                            <a:schemeClr val="bg1"/>
                          </a:solidFill>
                          <a:latin typeface="+mn-lt"/>
                        </a:rPr>
                        <a:t>4</a:t>
                      </a:r>
                    </a:p>
                  </a:txBody>
                  <a:tcPr marL="54000" marR="3600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CC0000"/>
                    </a:solidFill>
                  </a:tcPr>
                </a:tc>
                <a:tc>
                  <a:txBody>
                    <a:bodyPr/>
                    <a:lstStyle/>
                    <a:p>
                      <a:pPr marL="90729" marR="0" lvl="0" indent="-90729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“Very </a:t>
                      </a:r>
                      <a:r>
                        <a:rPr kumimoji="0" lang="en-US" sz="10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knowledgeable and service-oriented </a:t>
                      </a:r>
                      <a:r>
                        <a:rPr kumimoji="0" lang="en-US" sz="1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nd strive towards the target in a</a:t>
                      </a:r>
                      <a:r>
                        <a:rPr kumimoji="0" lang="en-US" sz="10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quick and efficient</a:t>
                      </a:r>
                      <a:r>
                        <a:rPr kumimoji="0" lang="en-US" sz="1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manner.</a:t>
                      </a:r>
                      <a:r>
                        <a:rPr kumimoji="0" lang="pl-PL" sz="1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”</a:t>
                      </a:r>
                      <a:endParaRPr kumimoji="0" lang="en-GB" sz="10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46800" marB="46800" anchor="ctr"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6457587"/>
                  </a:ext>
                </a:extLst>
              </a:tr>
              <a:tr h="395056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arge bank</a:t>
                      </a:r>
                    </a:p>
                  </a:txBody>
                  <a:tcPr marL="45720" marR="4572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en-US" sz="1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Not specified</a:t>
                      </a:r>
                      <a:endParaRPr kumimoji="0" lang="en-GB" sz="10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buNone/>
                      </a:pPr>
                      <a:r>
                        <a:rPr lang="en-US" sz="1000" b="1" baseline="0">
                          <a:solidFill>
                            <a:schemeClr val="bg1"/>
                          </a:solidFill>
                          <a:latin typeface="+mn-lt"/>
                        </a:rPr>
                        <a:t>4</a:t>
                      </a:r>
                      <a:endParaRPr lang="en-GB" sz="1000" b="1" baseline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54000" marR="36000" anchor="ctr"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CC0000"/>
                    </a:solidFill>
                  </a:tcPr>
                </a:tc>
                <a:tc>
                  <a:txBody>
                    <a:bodyPr/>
                    <a:lstStyle/>
                    <a:p>
                      <a:pPr marL="90729" marR="0" lvl="0" indent="-90729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“Great service provider, </a:t>
                      </a:r>
                      <a:r>
                        <a:rPr kumimoji="0" lang="en-US" sz="10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ood price/value</a:t>
                      </a:r>
                      <a:r>
                        <a:rPr kumimoji="0" lang="en-US" sz="1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offering, </a:t>
                      </a:r>
                      <a:r>
                        <a:rPr kumimoji="0" lang="en-US" sz="10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trong customer support</a:t>
                      </a:r>
                      <a:r>
                        <a:rPr kumimoji="0" lang="en-US" sz="1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r>
                        <a:rPr kumimoji="0" lang="pl-PL" sz="1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”</a:t>
                      </a:r>
                      <a:endParaRPr kumimoji="0" lang="en-GB" sz="10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46800" marB="46800" anchor="ctr"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08585585"/>
                  </a:ext>
                </a:extLst>
              </a:tr>
            </a:tbl>
          </a:graphicData>
        </a:graphic>
      </p:graphicFrame>
      <p:pic>
        <p:nvPicPr>
          <p:cNvPr id="132" name="Picture 131">
            <a:extLst>
              <a:ext uri="{FF2B5EF4-FFF2-40B4-BE49-F238E27FC236}">
                <a16:creationId xmlns:a16="http://schemas.microsoft.com/office/drawing/2014/main" id="{8CAF8DE0-3D14-4C62-ADC3-D432C7277129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0400" y="5108007"/>
            <a:ext cx="239788" cy="239788"/>
          </a:xfrm>
          <a:prstGeom prst="rect">
            <a:avLst/>
          </a:prstGeom>
        </p:spPr>
      </p:pic>
      <p:pic>
        <p:nvPicPr>
          <p:cNvPr id="125" name="Picture 124">
            <a:extLst>
              <a:ext uri="{FF2B5EF4-FFF2-40B4-BE49-F238E27FC236}">
                <a16:creationId xmlns:a16="http://schemas.microsoft.com/office/drawing/2014/main" id="{13914E87-D9D0-461A-8939-E0D5E27006A2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1078" y="4707957"/>
            <a:ext cx="239788" cy="239788"/>
          </a:xfrm>
          <a:prstGeom prst="rect">
            <a:avLst/>
          </a:prstGeom>
        </p:spPr>
      </p:pic>
      <p:pic>
        <p:nvPicPr>
          <p:cNvPr id="104" name="Picture 103">
            <a:extLst>
              <a:ext uri="{FF2B5EF4-FFF2-40B4-BE49-F238E27FC236}">
                <a16:creationId xmlns:a16="http://schemas.microsoft.com/office/drawing/2014/main" id="{0D957A7D-7186-4E20-B24E-134C8CD2EF65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1078" y="4034467"/>
            <a:ext cx="239788" cy="24046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99918E8-1A4F-43FF-B0BD-26C165DFF9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/>
              <a:t>Promoters | </a:t>
            </a:r>
            <a:r>
              <a:rPr lang="en-GB"/>
              <a:t>Users cite x, y and z alongside good overall experience</a:t>
            </a:r>
          </a:p>
        </p:txBody>
      </p:sp>
      <p:sp>
        <p:nvSpPr>
          <p:cNvPr id="36" name="btfpNotesBox233073">
            <a:extLst>
              <a:ext uri="{FF2B5EF4-FFF2-40B4-BE49-F238E27FC236}">
                <a16:creationId xmlns:a16="http://schemas.microsoft.com/office/drawing/2014/main" id="{26478F16-6DF2-40D0-B93D-0CD6802EE69D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319682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te:</a:t>
            </a:r>
          </a:p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ource:</a:t>
            </a:r>
          </a:p>
        </p:txBody>
      </p:sp>
      <p:grpSp>
        <p:nvGrpSpPr>
          <p:cNvPr id="37" name="btfpStatusSticker870495">
            <a:extLst>
              <a:ext uri="{FF2B5EF4-FFF2-40B4-BE49-F238E27FC236}">
                <a16:creationId xmlns:a16="http://schemas.microsoft.com/office/drawing/2014/main" id="{F02A18CC-89B9-4321-A964-3AC435FA684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100356" y="955344"/>
            <a:ext cx="1761444" cy="235611"/>
            <a:chOff x="-2280176" y="876300"/>
            <a:chExt cx="1761444" cy="235611"/>
          </a:xfrm>
        </p:grpSpPr>
        <p:sp>
          <p:nvSpPr>
            <p:cNvPr id="38" name="btfpStatusStickerText870495">
              <a:extLst>
                <a:ext uri="{FF2B5EF4-FFF2-40B4-BE49-F238E27FC236}">
                  <a16:creationId xmlns:a16="http://schemas.microsoft.com/office/drawing/2014/main" id="{6ADF07AD-639A-4FCC-93E5-E7AEA51EF4F9}"/>
                </a:ext>
              </a:extLst>
            </p:cNvPr>
            <p:cNvSpPr txBox="1"/>
            <p:nvPr/>
          </p:nvSpPr>
          <p:spPr bwMode="gray">
            <a:xfrm>
              <a:off x="-2280176" y="876300"/>
              <a:ext cx="17614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Preliminary</a:t>
              </a:r>
            </a:p>
          </p:txBody>
        </p:sp>
        <p:cxnSp>
          <p:nvCxnSpPr>
            <p:cNvPr id="39" name="btfpStatusStickerLine870495">
              <a:extLst>
                <a:ext uri="{FF2B5EF4-FFF2-40B4-BE49-F238E27FC236}">
                  <a16:creationId xmlns:a16="http://schemas.microsoft.com/office/drawing/2014/main" id="{30FE1BDD-A90E-4103-BBB7-BC6D12D7D0D7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80176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btfpStatusSticker816345">
            <a:extLst>
              <a:ext uri="{FF2B5EF4-FFF2-40B4-BE49-F238E27FC236}">
                <a16:creationId xmlns:a16="http://schemas.microsoft.com/office/drawing/2014/main" id="{BE117793-088E-4C82-8434-8ECD720B8C45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8214219" y="955344"/>
            <a:ext cx="1759136" cy="235611"/>
            <a:chOff x="-2269853" y="876300"/>
            <a:chExt cx="1759136" cy="235611"/>
          </a:xfrm>
        </p:grpSpPr>
        <p:sp>
          <p:nvSpPr>
            <p:cNvPr id="41" name="btfpStatusStickerText816345">
              <a:extLst>
                <a:ext uri="{FF2B5EF4-FFF2-40B4-BE49-F238E27FC236}">
                  <a16:creationId xmlns:a16="http://schemas.microsoft.com/office/drawing/2014/main" id="{2B7E0929-E76C-4155-A793-E7FC2D9DE7DA}"/>
                </a:ext>
              </a:extLst>
            </p:cNvPr>
            <p:cNvSpPr txBox="1"/>
            <p:nvPr/>
          </p:nvSpPr>
          <p:spPr bwMode="gray">
            <a:xfrm>
              <a:off x="-2269853" y="876300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directional</a:t>
              </a:r>
            </a:p>
          </p:txBody>
        </p:sp>
        <p:cxnSp>
          <p:nvCxnSpPr>
            <p:cNvPr id="42" name="btfpStatusStickerLine816345">
              <a:extLst>
                <a:ext uri="{FF2B5EF4-FFF2-40B4-BE49-F238E27FC236}">
                  <a16:creationId xmlns:a16="http://schemas.microsoft.com/office/drawing/2014/main" id="{45063CE0-F63C-445F-AABA-F1E57609B9AF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69853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80" name="Picture 79">
            <a:extLst>
              <a:ext uri="{FF2B5EF4-FFF2-40B4-BE49-F238E27FC236}">
                <a16:creationId xmlns:a16="http://schemas.microsoft.com/office/drawing/2014/main" id="{58381A02-A034-4B94-BFA0-D2A1311C41D5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1418" y="3007558"/>
            <a:ext cx="239788" cy="239788"/>
          </a:xfrm>
          <a:prstGeom prst="rect">
            <a:avLst/>
          </a:prstGeom>
        </p:spPr>
      </p:pic>
      <p:pic>
        <p:nvPicPr>
          <p:cNvPr id="88" name="Picture 87">
            <a:extLst>
              <a:ext uri="{FF2B5EF4-FFF2-40B4-BE49-F238E27FC236}">
                <a16:creationId xmlns:a16="http://schemas.microsoft.com/office/drawing/2014/main" id="{14890DE6-2DA9-404F-86AA-4AB39DE0EF7E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0739" y="3585052"/>
            <a:ext cx="240467" cy="239788"/>
          </a:xfrm>
          <a:prstGeom prst="rect">
            <a:avLst/>
          </a:prstGeom>
        </p:spPr>
      </p:pic>
      <p:pic>
        <p:nvPicPr>
          <p:cNvPr id="95" name="Picture 94">
            <a:extLst>
              <a:ext uri="{FF2B5EF4-FFF2-40B4-BE49-F238E27FC236}">
                <a16:creationId xmlns:a16="http://schemas.microsoft.com/office/drawing/2014/main" id="{01F2F2A5-E580-4F65-9972-95886B54ECFA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1078" y="4389475"/>
            <a:ext cx="239788" cy="239111"/>
          </a:xfrm>
          <a:prstGeom prst="rect">
            <a:avLst/>
          </a:prstGeom>
        </p:spPr>
      </p:pic>
      <p:pic>
        <p:nvPicPr>
          <p:cNvPr id="117" name="Picture 116">
            <a:extLst>
              <a:ext uri="{FF2B5EF4-FFF2-40B4-BE49-F238E27FC236}">
                <a16:creationId xmlns:a16="http://schemas.microsoft.com/office/drawing/2014/main" id="{86DE2DFE-B95D-4237-B910-506CD5DDCBB9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0400" y="5530239"/>
            <a:ext cx="240466" cy="240466"/>
          </a:xfrm>
          <a:prstGeom prst="rect">
            <a:avLst/>
          </a:prstGeom>
        </p:spPr>
      </p:pic>
      <p:pic>
        <p:nvPicPr>
          <p:cNvPr id="142" name="Picture 141">
            <a:extLst>
              <a:ext uri="{FF2B5EF4-FFF2-40B4-BE49-F238E27FC236}">
                <a16:creationId xmlns:a16="http://schemas.microsoft.com/office/drawing/2014/main" id="{76F8F406-2A28-4A55-88A6-1D56BA5B76C7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2860" y="5918321"/>
            <a:ext cx="239788" cy="240465"/>
          </a:xfrm>
          <a:prstGeom prst="rect">
            <a:avLst/>
          </a:prstGeom>
        </p:spPr>
      </p:pic>
      <p:sp>
        <p:nvSpPr>
          <p:cNvPr id="150" name="Rectangle 149">
            <a:extLst>
              <a:ext uri="{FF2B5EF4-FFF2-40B4-BE49-F238E27FC236}">
                <a16:creationId xmlns:a16="http://schemas.microsoft.com/office/drawing/2014/main" id="{FF9FA11C-118C-4772-8168-6F146725F86F}"/>
              </a:ext>
            </a:extLst>
          </p:cNvPr>
          <p:cNvSpPr/>
          <p:nvPr/>
        </p:nvSpPr>
        <p:spPr bwMode="gray">
          <a:xfrm>
            <a:off x="5577840" y="1516527"/>
            <a:ext cx="6279198" cy="4750950"/>
          </a:xfrm>
          <a:prstGeom prst="rect">
            <a:avLst/>
          </a:prstGeom>
          <a:solidFill>
            <a:schemeClr val="bg1">
              <a:alpha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ank – not updated</a:t>
            </a:r>
          </a:p>
        </p:txBody>
      </p:sp>
      <p:pic>
        <p:nvPicPr>
          <p:cNvPr id="159" name="Picture 158">
            <a:extLst>
              <a:ext uri="{FF2B5EF4-FFF2-40B4-BE49-F238E27FC236}">
                <a16:creationId xmlns:a16="http://schemas.microsoft.com/office/drawing/2014/main" id="{8FC6FF99-25FB-45C8-97E6-48F2B310BCE7}"/>
              </a:ext>
            </a:extLst>
          </p:cNvPr>
          <p:cNvPicPr>
            <a:picLocks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6188" y="2291377"/>
            <a:ext cx="254000" cy="242230"/>
          </a:xfrm>
          <a:prstGeom prst="rect">
            <a:avLst/>
          </a:prstGeom>
        </p:spPr>
      </p:pic>
      <p:pic>
        <p:nvPicPr>
          <p:cNvPr id="160" name="Picture 159">
            <a:extLst>
              <a:ext uri="{FF2B5EF4-FFF2-40B4-BE49-F238E27FC236}">
                <a16:creationId xmlns:a16="http://schemas.microsoft.com/office/drawing/2014/main" id="{9B7FC6BE-E492-4768-A791-83BC8E1804D4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6188" y="1641924"/>
            <a:ext cx="254000" cy="253282"/>
          </a:xfrm>
          <a:prstGeom prst="rect">
            <a:avLst/>
          </a:prstGeom>
        </p:spPr>
      </p:pic>
      <p:grpSp>
        <p:nvGrpSpPr>
          <p:cNvPr id="97" name="btfpRunningAgenda2Level526277">
            <a:extLst>
              <a:ext uri="{FF2B5EF4-FFF2-40B4-BE49-F238E27FC236}">
                <a16:creationId xmlns:a16="http://schemas.microsoft.com/office/drawing/2014/main" id="{865C2FD4-A5EC-4485-BDAA-D1BA109E463C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-1" y="944429"/>
            <a:ext cx="4656975" cy="257442"/>
            <a:chOff x="-1" y="876300"/>
            <a:chExt cx="4656975" cy="257442"/>
          </a:xfrm>
        </p:grpSpPr>
        <p:sp>
          <p:nvSpPr>
            <p:cNvPr id="98" name="btfpRunningAgenda2LevelBarLeft526277">
              <a:extLst>
                <a:ext uri="{FF2B5EF4-FFF2-40B4-BE49-F238E27FC236}">
                  <a16:creationId xmlns:a16="http://schemas.microsoft.com/office/drawing/2014/main" id="{877A1DA5-9C52-43AD-8848-34964B98C486}"/>
                </a:ext>
              </a:extLst>
            </p:cNvPr>
            <p:cNvSpPr/>
            <p:nvPr/>
          </p:nvSpPr>
          <p:spPr bwMode="gray">
            <a:xfrm>
              <a:off x="-1" y="876300"/>
              <a:ext cx="2122597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19116 w 1119116"/>
                <a:gd name="connsiteY0" fmla="*/ 0 h 257442"/>
                <a:gd name="connsiteX1" fmla="*/ 896080 w 1119116"/>
                <a:gd name="connsiteY1" fmla="*/ 257442 h 257442"/>
                <a:gd name="connsiteX2" fmla="*/ 0 w 1119116"/>
                <a:gd name="connsiteY2" fmla="*/ 257442 h 257442"/>
                <a:gd name="connsiteX3" fmla="*/ 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279416 w 1279416"/>
                <a:gd name="connsiteY0" fmla="*/ 0 h 257442"/>
                <a:gd name="connsiteX1" fmla="*/ 10643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457350 w 1457350"/>
                <a:gd name="connsiteY0" fmla="*/ 0 h 257442"/>
                <a:gd name="connsiteX1" fmla="*/ 1224695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793981 w 1793981"/>
                <a:gd name="connsiteY0" fmla="*/ 0 h 257442"/>
                <a:gd name="connsiteX1" fmla="*/ 1570944 w 1793981"/>
                <a:gd name="connsiteY1" fmla="*/ 257442 h 257442"/>
                <a:gd name="connsiteX2" fmla="*/ 0 w 1793981"/>
                <a:gd name="connsiteY2" fmla="*/ 257442 h 257442"/>
                <a:gd name="connsiteX3" fmla="*/ 0 w 1793981"/>
                <a:gd name="connsiteY3" fmla="*/ 0 h 257442"/>
                <a:gd name="connsiteX0" fmla="*/ 1793981 w 1793981"/>
                <a:gd name="connsiteY0" fmla="*/ 0 h 257442"/>
                <a:gd name="connsiteX1" fmla="*/ 1739260 w 1793981"/>
                <a:gd name="connsiteY1" fmla="*/ 257442 h 257442"/>
                <a:gd name="connsiteX2" fmla="*/ 0 w 1793981"/>
                <a:gd name="connsiteY2" fmla="*/ 257442 h 257442"/>
                <a:gd name="connsiteX3" fmla="*/ 0 w 1793981"/>
                <a:gd name="connsiteY3" fmla="*/ 0 h 257442"/>
                <a:gd name="connsiteX0" fmla="*/ 1793981 w 1793981"/>
                <a:gd name="connsiteY0" fmla="*/ 0 h 257442"/>
                <a:gd name="connsiteX1" fmla="*/ 1739260 w 1793981"/>
                <a:gd name="connsiteY1" fmla="*/ 257442 h 257442"/>
                <a:gd name="connsiteX2" fmla="*/ 0 w 1793981"/>
                <a:gd name="connsiteY2" fmla="*/ 257442 h 257442"/>
                <a:gd name="connsiteX3" fmla="*/ 0 w 1793981"/>
                <a:gd name="connsiteY3" fmla="*/ 0 h 257442"/>
                <a:gd name="connsiteX0" fmla="*/ 1793981 w 1793981"/>
                <a:gd name="connsiteY0" fmla="*/ 0 h 257442"/>
                <a:gd name="connsiteX1" fmla="*/ 1739260 w 1793981"/>
                <a:gd name="connsiteY1" fmla="*/ 257442 h 257442"/>
                <a:gd name="connsiteX2" fmla="*/ 0 w 1793981"/>
                <a:gd name="connsiteY2" fmla="*/ 257442 h 257442"/>
                <a:gd name="connsiteX3" fmla="*/ 0 w 1793981"/>
                <a:gd name="connsiteY3" fmla="*/ 0 h 257442"/>
                <a:gd name="connsiteX0" fmla="*/ 1962295 w 1962295"/>
                <a:gd name="connsiteY0" fmla="*/ 0 h 257442"/>
                <a:gd name="connsiteX1" fmla="*/ 1739260 w 1962295"/>
                <a:gd name="connsiteY1" fmla="*/ 257442 h 257442"/>
                <a:gd name="connsiteX2" fmla="*/ 0 w 1962295"/>
                <a:gd name="connsiteY2" fmla="*/ 257442 h 257442"/>
                <a:gd name="connsiteX3" fmla="*/ 0 w 1962295"/>
                <a:gd name="connsiteY3" fmla="*/ 0 h 257442"/>
                <a:gd name="connsiteX0" fmla="*/ 1962295 w 1962295"/>
                <a:gd name="connsiteY0" fmla="*/ 0 h 257442"/>
                <a:gd name="connsiteX1" fmla="*/ 1907574 w 1962295"/>
                <a:gd name="connsiteY1" fmla="*/ 257442 h 257442"/>
                <a:gd name="connsiteX2" fmla="*/ 0 w 1962295"/>
                <a:gd name="connsiteY2" fmla="*/ 257442 h 257442"/>
                <a:gd name="connsiteX3" fmla="*/ 0 w 1962295"/>
                <a:gd name="connsiteY3" fmla="*/ 0 h 257442"/>
                <a:gd name="connsiteX0" fmla="*/ 1962295 w 1962295"/>
                <a:gd name="connsiteY0" fmla="*/ 0 h 257442"/>
                <a:gd name="connsiteX1" fmla="*/ 1907574 w 1962295"/>
                <a:gd name="connsiteY1" fmla="*/ 257442 h 257442"/>
                <a:gd name="connsiteX2" fmla="*/ 0 w 1962295"/>
                <a:gd name="connsiteY2" fmla="*/ 257442 h 257442"/>
                <a:gd name="connsiteX3" fmla="*/ 0 w 1962295"/>
                <a:gd name="connsiteY3" fmla="*/ 0 h 257442"/>
                <a:gd name="connsiteX0" fmla="*/ 1962295 w 1962295"/>
                <a:gd name="connsiteY0" fmla="*/ 0 h 257442"/>
                <a:gd name="connsiteX1" fmla="*/ 1907574 w 1962295"/>
                <a:gd name="connsiteY1" fmla="*/ 257442 h 257442"/>
                <a:gd name="connsiteX2" fmla="*/ 0 w 1962295"/>
                <a:gd name="connsiteY2" fmla="*/ 257442 h 257442"/>
                <a:gd name="connsiteX3" fmla="*/ 0 w 1962295"/>
                <a:gd name="connsiteY3" fmla="*/ 0 h 257442"/>
                <a:gd name="connsiteX0" fmla="*/ 2122596 w 2122596"/>
                <a:gd name="connsiteY0" fmla="*/ 0 h 257442"/>
                <a:gd name="connsiteX1" fmla="*/ 1907574 w 2122596"/>
                <a:gd name="connsiteY1" fmla="*/ 257442 h 257442"/>
                <a:gd name="connsiteX2" fmla="*/ 0 w 2122596"/>
                <a:gd name="connsiteY2" fmla="*/ 257442 h 257442"/>
                <a:gd name="connsiteX3" fmla="*/ 0 w 2122596"/>
                <a:gd name="connsiteY3" fmla="*/ 0 h 257442"/>
                <a:gd name="connsiteX0" fmla="*/ 2122596 w 2122596"/>
                <a:gd name="connsiteY0" fmla="*/ 0 h 257442"/>
                <a:gd name="connsiteX1" fmla="*/ 2067874 w 2122596"/>
                <a:gd name="connsiteY1" fmla="*/ 257442 h 257442"/>
                <a:gd name="connsiteX2" fmla="*/ 0 w 2122596"/>
                <a:gd name="connsiteY2" fmla="*/ 257442 h 257442"/>
                <a:gd name="connsiteX3" fmla="*/ 0 w 2122596"/>
                <a:gd name="connsiteY3" fmla="*/ 0 h 257442"/>
                <a:gd name="connsiteX0" fmla="*/ 2122597 w 2122597"/>
                <a:gd name="connsiteY0" fmla="*/ 0 h 257442"/>
                <a:gd name="connsiteX1" fmla="*/ 2067875 w 2122597"/>
                <a:gd name="connsiteY1" fmla="*/ 257442 h 257442"/>
                <a:gd name="connsiteX2" fmla="*/ 0 w 2122597"/>
                <a:gd name="connsiteY2" fmla="*/ 257442 h 257442"/>
                <a:gd name="connsiteX3" fmla="*/ 1 w 2122597"/>
                <a:gd name="connsiteY3" fmla="*/ 0 h 257442"/>
                <a:gd name="connsiteX0" fmla="*/ 2122597 w 2122597"/>
                <a:gd name="connsiteY0" fmla="*/ 0 h 257442"/>
                <a:gd name="connsiteX1" fmla="*/ 2067875 w 2122597"/>
                <a:gd name="connsiteY1" fmla="*/ 257442 h 257442"/>
                <a:gd name="connsiteX2" fmla="*/ 0 w 2122597"/>
                <a:gd name="connsiteY2" fmla="*/ 257442 h 257442"/>
                <a:gd name="connsiteX3" fmla="*/ 1 w 2122597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2597" h="257442">
                  <a:moveTo>
                    <a:pt x="2122597" y="0"/>
                  </a:moveTo>
                  <a:lnTo>
                    <a:pt x="2067875" y="257442"/>
                  </a:lnTo>
                  <a:lnTo>
                    <a:pt x="0" y="257442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9" name="btfpRunningAgenda2LevelTextLeft526277">
              <a:extLst>
                <a:ext uri="{FF2B5EF4-FFF2-40B4-BE49-F238E27FC236}">
                  <a16:creationId xmlns:a16="http://schemas.microsoft.com/office/drawing/2014/main" id="{BF489C31-7583-4871-A6F5-07037B21D3E4}"/>
                </a:ext>
              </a:extLst>
            </p:cNvPr>
            <p:cNvSpPr txBox="1"/>
            <p:nvPr/>
          </p:nvSpPr>
          <p:spPr bwMode="gray">
            <a:xfrm>
              <a:off x="0" y="876300"/>
              <a:ext cx="2067875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dvocacy</a:t>
              </a:r>
            </a:p>
          </p:txBody>
        </p:sp>
        <p:sp>
          <p:nvSpPr>
            <p:cNvPr id="100" name="btfpRunningAgenda2LevelBarRight526277">
              <a:extLst>
                <a:ext uri="{FF2B5EF4-FFF2-40B4-BE49-F238E27FC236}">
                  <a16:creationId xmlns:a16="http://schemas.microsoft.com/office/drawing/2014/main" id="{59CDEE07-ACE7-46D4-BFEC-DC3A8EA89B2B}"/>
                </a:ext>
              </a:extLst>
            </p:cNvPr>
            <p:cNvSpPr/>
            <p:nvPr/>
          </p:nvSpPr>
          <p:spPr bwMode="gray">
            <a:xfrm>
              <a:off x="1987754" y="876300"/>
              <a:ext cx="2669220" cy="257442"/>
            </a:xfrm>
            <a:custGeom>
              <a:avLst/>
              <a:gdLst>
                <a:gd name="connsiteX0" fmla="*/ 95080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50801 w 2313135"/>
                <a:gd name="connsiteY0" fmla="*/ 0 h 257442"/>
                <a:gd name="connsiteX1" fmla="*/ 89608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1 w 950800"/>
                <a:gd name="connsiteY3" fmla="*/ 0 h 257442"/>
                <a:gd name="connsiteX0" fmla="*/ 1111100 w 1111100"/>
                <a:gd name="connsiteY0" fmla="*/ 0 h 257442"/>
                <a:gd name="connsiteX1" fmla="*/ 896079 w 1111100"/>
                <a:gd name="connsiteY1" fmla="*/ 257442 h 257442"/>
                <a:gd name="connsiteX2" fmla="*/ 0 w 1111100"/>
                <a:gd name="connsiteY2" fmla="*/ 257442 h 257442"/>
                <a:gd name="connsiteX3" fmla="*/ 54721 w 1111100"/>
                <a:gd name="connsiteY3" fmla="*/ 0 h 257442"/>
                <a:gd name="connsiteX0" fmla="*/ 1111100 w 1111100"/>
                <a:gd name="connsiteY0" fmla="*/ 0 h 257442"/>
                <a:gd name="connsiteX1" fmla="*/ 1056379 w 1111100"/>
                <a:gd name="connsiteY1" fmla="*/ 257442 h 257442"/>
                <a:gd name="connsiteX2" fmla="*/ 0 w 1111100"/>
                <a:gd name="connsiteY2" fmla="*/ 257442 h 257442"/>
                <a:gd name="connsiteX3" fmla="*/ 54721 w 1111100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2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2 w 1111101"/>
                <a:gd name="connsiteY3" fmla="*/ 0 h 257442"/>
                <a:gd name="connsiteX0" fmla="*/ 1271403 w 1271403"/>
                <a:gd name="connsiteY0" fmla="*/ 0 h 257442"/>
                <a:gd name="connsiteX1" fmla="*/ 1056380 w 1271403"/>
                <a:gd name="connsiteY1" fmla="*/ 257442 h 257442"/>
                <a:gd name="connsiteX2" fmla="*/ 0 w 1271403"/>
                <a:gd name="connsiteY2" fmla="*/ 257442 h 257442"/>
                <a:gd name="connsiteX3" fmla="*/ 54722 w 1271403"/>
                <a:gd name="connsiteY3" fmla="*/ 0 h 257442"/>
                <a:gd name="connsiteX0" fmla="*/ 1271403 w 1271403"/>
                <a:gd name="connsiteY0" fmla="*/ 0 h 257442"/>
                <a:gd name="connsiteX1" fmla="*/ 1216682 w 1271403"/>
                <a:gd name="connsiteY1" fmla="*/ 257442 h 257442"/>
                <a:gd name="connsiteX2" fmla="*/ 0 w 1271403"/>
                <a:gd name="connsiteY2" fmla="*/ 257442 h 257442"/>
                <a:gd name="connsiteX3" fmla="*/ 54722 w 1271403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0 w 1271402"/>
                <a:gd name="connsiteY3" fmla="*/ 0 h 257442"/>
                <a:gd name="connsiteX0" fmla="*/ 950800 w 1216681"/>
                <a:gd name="connsiteY0" fmla="*/ 0 h 257442"/>
                <a:gd name="connsiteX1" fmla="*/ 1216681 w 1216681"/>
                <a:gd name="connsiteY1" fmla="*/ 257442 h 257442"/>
                <a:gd name="connsiteX2" fmla="*/ 0 w 1216681"/>
                <a:gd name="connsiteY2" fmla="*/ 257442 h 257442"/>
                <a:gd name="connsiteX3" fmla="*/ 54720 w 1216681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54721 w 950800"/>
                <a:gd name="connsiteY3" fmla="*/ 0 h 257442"/>
                <a:gd name="connsiteX0" fmla="*/ 1128734 w 1128734"/>
                <a:gd name="connsiteY0" fmla="*/ 0 h 257442"/>
                <a:gd name="connsiteX1" fmla="*/ 896080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314682 w 1314682"/>
                <a:gd name="connsiteY0" fmla="*/ 0 h 257442"/>
                <a:gd name="connsiteX1" fmla="*/ 1074013 w 1314682"/>
                <a:gd name="connsiteY1" fmla="*/ 257442 h 257442"/>
                <a:gd name="connsiteX2" fmla="*/ 0 w 1314682"/>
                <a:gd name="connsiteY2" fmla="*/ 257442 h 257442"/>
                <a:gd name="connsiteX3" fmla="*/ 54721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54721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54721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54721 w 1314682"/>
                <a:gd name="connsiteY3" fmla="*/ 0 h 257442"/>
                <a:gd name="connsiteX0" fmla="*/ 1500631 w 1500631"/>
                <a:gd name="connsiteY0" fmla="*/ 0 h 257442"/>
                <a:gd name="connsiteX1" fmla="*/ 1259961 w 1500631"/>
                <a:gd name="connsiteY1" fmla="*/ 257442 h 257442"/>
                <a:gd name="connsiteX2" fmla="*/ 0 w 1500631"/>
                <a:gd name="connsiteY2" fmla="*/ 257442 h 257442"/>
                <a:gd name="connsiteX3" fmla="*/ 54721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54721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54721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54721 w 1500631"/>
                <a:gd name="connsiteY3" fmla="*/ 0 h 257442"/>
                <a:gd name="connsiteX0" fmla="*/ 1660931 w 1660931"/>
                <a:gd name="connsiteY0" fmla="*/ 0 h 257442"/>
                <a:gd name="connsiteX1" fmla="*/ 1445910 w 1660931"/>
                <a:gd name="connsiteY1" fmla="*/ 257442 h 257442"/>
                <a:gd name="connsiteX2" fmla="*/ 0 w 1660931"/>
                <a:gd name="connsiteY2" fmla="*/ 257442 h 257442"/>
                <a:gd name="connsiteX3" fmla="*/ 54721 w 1660931"/>
                <a:gd name="connsiteY3" fmla="*/ 0 h 257442"/>
                <a:gd name="connsiteX0" fmla="*/ 1660931 w 1660931"/>
                <a:gd name="connsiteY0" fmla="*/ 0 h 257442"/>
                <a:gd name="connsiteX1" fmla="*/ 1606210 w 1660931"/>
                <a:gd name="connsiteY1" fmla="*/ 257442 h 257442"/>
                <a:gd name="connsiteX2" fmla="*/ 0 w 1660931"/>
                <a:gd name="connsiteY2" fmla="*/ 257442 h 257442"/>
                <a:gd name="connsiteX3" fmla="*/ 54721 w 1660931"/>
                <a:gd name="connsiteY3" fmla="*/ 0 h 257442"/>
                <a:gd name="connsiteX0" fmla="*/ 1660931 w 1660931"/>
                <a:gd name="connsiteY0" fmla="*/ 0 h 257442"/>
                <a:gd name="connsiteX1" fmla="*/ 1606210 w 1660931"/>
                <a:gd name="connsiteY1" fmla="*/ 257442 h 257442"/>
                <a:gd name="connsiteX2" fmla="*/ 0 w 1660931"/>
                <a:gd name="connsiteY2" fmla="*/ 257442 h 257442"/>
                <a:gd name="connsiteX3" fmla="*/ 54721 w 1660931"/>
                <a:gd name="connsiteY3" fmla="*/ 0 h 257442"/>
                <a:gd name="connsiteX0" fmla="*/ 1660931 w 1660931"/>
                <a:gd name="connsiteY0" fmla="*/ 0 h 257442"/>
                <a:gd name="connsiteX1" fmla="*/ 1606210 w 1660931"/>
                <a:gd name="connsiteY1" fmla="*/ 257442 h 257442"/>
                <a:gd name="connsiteX2" fmla="*/ 0 w 1660931"/>
                <a:gd name="connsiteY2" fmla="*/ 257442 h 257442"/>
                <a:gd name="connsiteX3" fmla="*/ 54721 w 1660931"/>
                <a:gd name="connsiteY3" fmla="*/ 0 h 257442"/>
                <a:gd name="connsiteX0" fmla="*/ 1829247 w 1829247"/>
                <a:gd name="connsiteY0" fmla="*/ 0 h 257442"/>
                <a:gd name="connsiteX1" fmla="*/ 1606210 w 1829247"/>
                <a:gd name="connsiteY1" fmla="*/ 257442 h 257442"/>
                <a:gd name="connsiteX2" fmla="*/ 0 w 1829247"/>
                <a:gd name="connsiteY2" fmla="*/ 257442 h 257442"/>
                <a:gd name="connsiteX3" fmla="*/ 54721 w 1829247"/>
                <a:gd name="connsiteY3" fmla="*/ 0 h 257442"/>
                <a:gd name="connsiteX0" fmla="*/ 1829247 w 1829247"/>
                <a:gd name="connsiteY0" fmla="*/ 0 h 257442"/>
                <a:gd name="connsiteX1" fmla="*/ 1774526 w 1829247"/>
                <a:gd name="connsiteY1" fmla="*/ 257442 h 257442"/>
                <a:gd name="connsiteX2" fmla="*/ 0 w 1829247"/>
                <a:gd name="connsiteY2" fmla="*/ 257442 h 257442"/>
                <a:gd name="connsiteX3" fmla="*/ 54721 w 1829247"/>
                <a:gd name="connsiteY3" fmla="*/ 0 h 257442"/>
                <a:gd name="connsiteX0" fmla="*/ 1829247 w 1829247"/>
                <a:gd name="connsiteY0" fmla="*/ 0 h 257442"/>
                <a:gd name="connsiteX1" fmla="*/ 1774526 w 1829247"/>
                <a:gd name="connsiteY1" fmla="*/ 257442 h 257442"/>
                <a:gd name="connsiteX2" fmla="*/ 0 w 1829247"/>
                <a:gd name="connsiteY2" fmla="*/ 257442 h 257442"/>
                <a:gd name="connsiteX3" fmla="*/ 54721 w 1829247"/>
                <a:gd name="connsiteY3" fmla="*/ 0 h 257442"/>
                <a:gd name="connsiteX0" fmla="*/ 1829247 w 1829247"/>
                <a:gd name="connsiteY0" fmla="*/ 0 h 257442"/>
                <a:gd name="connsiteX1" fmla="*/ 1774526 w 1829247"/>
                <a:gd name="connsiteY1" fmla="*/ 257442 h 257442"/>
                <a:gd name="connsiteX2" fmla="*/ 0 w 1829247"/>
                <a:gd name="connsiteY2" fmla="*/ 257442 h 257442"/>
                <a:gd name="connsiteX3" fmla="*/ 54721 w 1829247"/>
                <a:gd name="connsiteY3" fmla="*/ 0 h 257442"/>
                <a:gd name="connsiteX0" fmla="*/ 2149847 w 2149847"/>
                <a:gd name="connsiteY0" fmla="*/ 0 h 257442"/>
                <a:gd name="connsiteX1" fmla="*/ 1774526 w 2149847"/>
                <a:gd name="connsiteY1" fmla="*/ 257442 h 257442"/>
                <a:gd name="connsiteX2" fmla="*/ 0 w 2149847"/>
                <a:gd name="connsiteY2" fmla="*/ 257442 h 257442"/>
                <a:gd name="connsiteX3" fmla="*/ 54721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54721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54721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54721 w 2149847"/>
                <a:gd name="connsiteY3" fmla="*/ 0 h 257442"/>
                <a:gd name="connsiteX0" fmla="*/ 1981532 w 2095126"/>
                <a:gd name="connsiteY0" fmla="*/ 0 h 257442"/>
                <a:gd name="connsiteX1" fmla="*/ 2095126 w 2095126"/>
                <a:gd name="connsiteY1" fmla="*/ 257442 h 257442"/>
                <a:gd name="connsiteX2" fmla="*/ 0 w 2095126"/>
                <a:gd name="connsiteY2" fmla="*/ 257442 h 257442"/>
                <a:gd name="connsiteX3" fmla="*/ 54721 w 2095126"/>
                <a:gd name="connsiteY3" fmla="*/ 0 h 257442"/>
                <a:gd name="connsiteX0" fmla="*/ 1981532 w 1981532"/>
                <a:gd name="connsiteY0" fmla="*/ 0 h 257442"/>
                <a:gd name="connsiteX1" fmla="*/ 1926811 w 1981532"/>
                <a:gd name="connsiteY1" fmla="*/ 257442 h 257442"/>
                <a:gd name="connsiteX2" fmla="*/ 0 w 1981532"/>
                <a:gd name="connsiteY2" fmla="*/ 257442 h 257442"/>
                <a:gd name="connsiteX3" fmla="*/ 54721 w 1981532"/>
                <a:gd name="connsiteY3" fmla="*/ 0 h 257442"/>
                <a:gd name="connsiteX0" fmla="*/ 1981532 w 1981532"/>
                <a:gd name="connsiteY0" fmla="*/ 0 h 257442"/>
                <a:gd name="connsiteX1" fmla="*/ 1926811 w 1981532"/>
                <a:gd name="connsiteY1" fmla="*/ 257442 h 257442"/>
                <a:gd name="connsiteX2" fmla="*/ 0 w 1981532"/>
                <a:gd name="connsiteY2" fmla="*/ 257442 h 257442"/>
                <a:gd name="connsiteX3" fmla="*/ 54721 w 1981532"/>
                <a:gd name="connsiteY3" fmla="*/ 0 h 257442"/>
                <a:gd name="connsiteX0" fmla="*/ 1981532 w 1981532"/>
                <a:gd name="connsiteY0" fmla="*/ 0 h 257442"/>
                <a:gd name="connsiteX1" fmla="*/ 1926811 w 1981532"/>
                <a:gd name="connsiteY1" fmla="*/ 257442 h 257442"/>
                <a:gd name="connsiteX2" fmla="*/ 0 w 1981532"/>
                <a:gd name="connsiteY2" fmla="*/ 257442 h 257442"/>
                <a:gd name="connsiteX3" fmla="*/ 54721 w 1981532"/>
                <a:gd name="connsiteY3" fmla="*/ 0 h 257442"/>
                <a:gd name="connsiteX0" fmla="*/ 1829247 w 1926811"/>
                <a:gd name="connsiteY0" fmla="*/ 0 h 257442"/>
                <a:gd name="connsiteX1" fmla="*/ 1926811 w 1926811"/>
                <a:gd name="connsiteY1" fmla="*/ 257442 h 257442"/>
                <a:gd name="connsiteX2" fmla="*/ 0 w 1926811"/>
                <a:gd name="connsiteY2" fmla="*/ 257442 h 257442"/>
                <a:gd name="connsiteX3" fmla="*/ 54721 w 1926811"/>
                <a:gd name="connsiteY3" fmla="*/ 0 h 257442"/>
                <a:gd name="connsiteX0" fmla="*/ 1829247 w 1829247"/>
                <a:gd name="connsiteY0" fmla="*/ 0 h 257442"/>
                <a:gd name="connsiteX1" fmla="*/ 1774527 w 1829247"/>
                <a:gd name="connsiteY1" fmla="*/ 257442 h 257442"/>
                <a:gd name="connsiteX2" fmla="*/ 0 w 1829247"/>
                <a:gd name="connsiteY2" fmla="*/ 257442 h 257442"/>
                <a:gd name="connsiteX3" fmla="*/ 54721 w 1829247"/>
                <a:gd name="connsiteY3" fmla="*/ 0 h 257442"/>
                <a:gd name="connsiteX0" fmla="*/ 1829246 w 1829246"/>
                <a:gd name="connsiteY0" fmla="*/ 0 h 257442"/>
                <a:gd name="connsiteX1" fmla="*/ 1774526 w 1829246"/>
                <a:gd name="connsiteY1" fmla="*/ 257442 h 257442"/>
                <a:gd name="connsiteX2" fmla="*/ 0 w 1829246"/>
                <a:gd name="connsiteY2" fmla="*/ 257442 h 257442"/>
                <a:gd name="connsiteX3" fmla="*/ 54720 w 1829246"/>
                <a:gd name="connsiteY3" fmla="*/ 0 h 257442"/>
                <a:gd name="connsiteX0" fmla="*/ 1829246 w 1829246"/>
                <a:gd name="connsiteY0" fmla="*/ 0 h 257442"/>
                <a:gd name="connsiteX1" fmla="*/ 1774526 w 1829246"/>
                <a:gd name="connsiteY1" fmla="*/ 257442 h 257442"/>
                <a:gd name="connsiteX2" fmla="*/ 0 w 1829246"/>
                <a:gd name="connsiteY2" fmla="*/ 257442 h 257442"/>
                <a:gd name="connsiteX3" fmla="*/ 54720 w 1829246"/>
                <a:gd name="connsiteY3" fmla="*/ 0 h 257442"/>
                <a:gd name="connsiteX0" fmla="*/ 2138433 w 2138433"/>
                <a:gd name="connsiteY0" fmla="*/ 0 h 257442"/>
                <a:gd name="connsiteX1" fmla="*/ 1774526 w 2138433"/>
                <a:gd name="connsiteY1" fmla="*/ 257442 h 257442"/>
                <a:gd name="connsiteX2" fmla="*/ 0 w 2138433"/>
                <a:gd name="connsiteY2" fmla="*/ 257442 h 257442"/>
                <a:gd name="connsiteX3" fmla="*/ 54720 w 2138433"/>
                <a:gd name="connsiteY3" fmla="*/ 0 h 257442"/>
                <a:gd name="connsiteX0" fmla="*/ 2138433 w 2138433"/>
                <a:gd name="connsiteY0" fmla="*/ 0 h 257442"/>
                <a:gd name="connsiteX1" fmla="*/ 2083712 w 2138433"/>
                <a:gd name="connsiteY1" fmla="*/ 257442 h 257442"/>
                <a:gd name="connsiteX2" fmla="*/ 0 w 2138433"/>
                <a:gd name="connsiteY2" fmla="*/ 257442 h 257442"/>
                <a:gd name="connsiteX3" fmla="*/ 54720 w 2138433"/>
                <a:gd name="connsiteY3" fmla="*/ 0 h 257442"/>
                <a:gd name="connsiteX0" fmla="*/ 2138434 w 2138434"/>
                <a:gd name="connsiteY0" fmla="*/ 0 h 257442"/>
                <a:gd name="connsiteX1" fmla="*/ 2083713 w 2138434"/>
                <a:gd name="connsiteY1" fmla="*/ 257442 h 257442"/>
                <a:gd name="connsiteX2" fmla="*/ 0 w 2138434"/>
                <a:gd name="connsiteY2" fmla="*/ 257442 h 257442"/>
                <a:gd name="connsiteX3" fmla="*/ 54721 w 2138434"/>
                <a:gd name="connsiteY3" fmla="*/ 0 h 257442"/>
                <a:gd name="connsiteX0" fmla="*/ 2138434 w 2138434"/>
                <a:gd name="connsiteY0" fmla="*/ 0 h 257442"/>
                <a:gd name="connsiteX1" fmla="*/ 2083713 w 2138434"/>
                <a:gd name="connsiteY1" fmla="*/ 257442 h 257442"/>
                <a:gd name="connsiteX2" fmla="*/ 0 w 2138434"/>
                <a:gd name="connsiteY2" fmla="*/ 257442 h 257442"/>
                <a:gd name="connsiteX3" fmla="*/ 54721 w 2138434"/>
                <a:gd name="connsiteY3" fmla="*/ 0 h 257442"/>
                <a:gd name="connsiteX0" fmla="*/ 2306749 w 2306749"/>
                <a:gd name="connsiteY0" fmla="*/ 0 h 257442"/>
                <a:gd name="connsiteX1" fmla="*/ 2083713 w 2306749"/>
                <a:gd name="connsiteY1" fmla="*/ 257442 h 257442"/>
                <a:gd name="connsiteX2" fmla="*/ 0 w 2306749"/>
                <a:gd name="connsiteY2" fmla="*/ 257442 h 257442"/>
                <a:gd name="connsiteX3" fmla="*/ 54721 w 2306749"/>
                <a:gd name="connsiteY3" fmla="*/ 0 h 257442"/>
                <a:gd name="connsiteX0" fmla="*/ 2306749 w 2306749"/>
                <a:gd name="connsiteY0" fmla="*/ 0 h 257442"/>
                <a:gd name="connsiteX1" fmla="*/ 2252028 w 2306749"/>
                <a:gd name="connsiteY1" fmla="*/ 257442 h 257442"/>
                <a:gd name="connsiteX2" fmla="*/ 0 w 2306749"/>
                <a:gd name="connsiteY2" fmla="*/ 257442 h 257442"/>
                <a:gd name="connsiteX3" fmla="*/ 54721 w 2306749"/>
                <a:gd name="connsiteY3" fmla="*/ 0 h 257442"/>
                <a:gd name="connsiteX0" fmla="*/ 2306749 w 2306749"/>
                <a:gd name="connsiteY0" fmla="*/ 0 h 257442"/>
                <a:gd name="connsiteX1" fmla="*/ 2252028 w 2306749"/>
                <a:gd name="connsiteY1" fmla="*/ 257442 h 257442"/>
                <a:gd name="connsiteX2" fmla="*/ 0 w 2306749"/>
                <a:gd name="connsiteY2" fmla="*/ 257442 h 257442"/>
                <a:gd name="connsiteX3" fmla="*/ 54721 w 2306749"/>
                <a:gd name="connsiteY3" fmla="*/ 0 h 257442"/>
                <a:gd name="connsiteX0" fmla="*/ 2306749 w 2306749"/>
                <a:gd name="connsiteY0" fmla="*/ 0 h 257442"/>
                <a:gd name="connsiteX1" fmla="*/ 2252028 w 2306749"/>
                <a:gd name="connsiteY1" fmla="*/ 257442 h 257442"/>
                <a:gd name="connsiteX2" fmla="*/ 0 w 2306749"/>
                <a:gd name="connsiteY2" fmla="*/ 257442 h 257442"/>
                <a:gd name="connsiteX3" fmla="*/ 54721 w 2306749"/>
                <a:gd name="connsiteY3" fmla="*/ 0 h 257442"/>
                <a:gd name="connsiteX0" fmla="*/ 950801 w 2252028"/>
                <a:gd name="connsiteY0" fmla="*/ 0 h 257442"/>
                <a:gd name="connsiteX1" fmla="*/ 2252028 w 2252028"/>
                <a:gd name="connsiteY1" fmla="*/ 257442 h 257442"/>
                <a:gd name="connsiteX2" fmla="*/ 0 w 2252028"/>
                <a:gd name="connsiteY2" fmla="*/ 257442 h 257442"/>
                <a:gd name="connsiteX3" fmla="*/ 54721 w 2252028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1111100 w 1111100"/>
                <a:gd name="connsiteY0" fmla="*/ 0 h 257442"/>
                <a:gd name="connsiteX1" fmla="*/ 896079 w 1111100"/>
                <a:gd name="connsiteY1" fmla="*/ 257442 h 257442"/>
                <a:gd name="connsiteX2" fmla="*/ 0 w 1111100"/>
                <a:gd name="connsiteY2" fmla="*/ 257442 h 257442"/>
                <a:gd name="connsiteX3" fmla="*/ 54720 w 1111100"/>
                <a:gd name="connsiteY3" fmla="*/ 0 h 257442"/>
                <a:gd name="connsiteX0" fmla="*/ 1111100 w 1111100"/>
                <a:gd name="connsiteY0" fmla="*/ 0 h 257442"/>
                <a:gd name="connsiteX1" fmla="*/ 1056379 w 1111100"/>
                <a:gd name="connsiteY1" fmla="*/ 257442 h 257442"/>
                <a:gd name="connsiteX2" fmla="*/ 0 w 1111100"/>
                <a:gd name="connsiteY2" fmla="*/ 257442 h 257442"/>
                <a:gd name="connsiteX3" fmla="*/ 54720 w 1111100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2 w 1111101"/>
                <a:gd name="connsiteY3" fmla="*/ 0 h 257442"/>
                <a:gd name="connsiteX0" fmla="*/ 1271403 w 1271403"/>
                <a:gd name="connsiteY0" fmla="*/ 0 h 257442"/>
                <a:gd name="connsiteX1" fmla="*/ 1056380 w 1271403"/>
                <a:gd name="connsiteY1" fmla="*/ 257442 h 257442"/>
                <a:gd name="connsiteX2" fmla="*/ 0 w 1271403"/>
                <a:gd name="connsiteY2" fmla="*/ 257442 h 257442"/>
                <a:gd name="connsiteX3" fmla="*/ 54722 w 1271403"/>
                <a:gd name="connsiteY3" fmla="*/ 0 h 257442"/>
                <a:gd name="connsiteX0" fmla="*/ 1271403 w 1271403"/>
                <a:gd name="connsiteY0" fmla="*/ 0 h 257442"/>
                <a:gd name="connsiteX1" fmla="*/ 1216682 w 1271403"/>
                <a:gd name="connsiteY1" fmla="*/ 257442 h 257442"/>
                <a:gd name="connsiteX2" fmla="*/ 0 w 1271403"/>
                <a:gd name="connsiteY2" fmla="*/ 257442 h 257442"/>
                <a:gd name="connsiteX3" fmla="*/ 54722 w 1271403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0 w 1271402"/>
                <a:gd name="connsiteY3" fmla="*/ 0 h 257442"/>
                <a:gd name="connsiteX0" fmla="*/ 1481394 w 1481394"/>
                <a:gd name="connsiteY0" fmla="*/ 0 h 257442"/>
                <a:gd name="connsiteX1" fmla="*/ 1216681 w 1481394"/>
                <a:gd name="connsiteY1" fmla="*/ 257442 h 257442"/>
                <a:gd name="connsiteX2" fmla="*/ 0 w 1481394"/>
                <a:gd name="connsiteY2" fmla="*/ 257442 h 257442"/>
                <a:gd name="connsiteX3" fmla="*/ 54720 w 1481394"/>
                <a:gd name="connsiteY3" fmla="*/ 0 h 257442"/>
                <a:gd name="connsiteX0" fmla="*/ 1481394 w 1481394"/>
                <a:gd name="connsiteY0" fmla="*/ 0 h 257442"/>
                <a:gd name="connsiteX1" fmla="*/ 1426673 w 1481394"/>
                <a:gd name="connsiteY1" fmla="*/ 257442 h 257442"/>
                <a:gd name="connsiteX2" fmla="*/ 0 w 1481394"/>
                <a:gd name="connsiteY2" fmla="*/ 257442 h 257442"/>
                <a:gd name="connsiteX3" fmla="*/ 54720 w 1481394"/>
                <a:gd name="connsiteY3" fmla="*/ 0 h 257442"/>
                <a:gd name="connsiteX0" fmla="*/ 1481395 w 1481395"/>
                <a:gd name="connsiteY0" fmla="*/ 0 h 257442"/>
                <a:gd name="connsiteX1" fmla="*/ 1426674 w 1481395"/>
                <a:gd name="connsiteY1" fmla="*/ 257442 h 257442"/>
                <a:gd name="connsiteX2" fmla="*/ 0 w 1481395"/>
                <a:gd name="connsiteY2" fmla="*/ 257442 h 257442"/>
                <a:gd name="connsiteX3" fmla="*/ 54721 w 1481395"/>
                <a:gd name="connsiteY3" fmla="*/ 0 h 257442"/>
                <a:gd name="connsiteX0" fmla="*/ 1481395 w 1481395"/>
                <a:gd name="connsiteY0" fmla="*/ 0 h 257442"/>
                <a:gd name="connsiteX1" fmla="*/ 1426674 w 1481395"/>
                <a:gd name="connsiteY1" fmla="*/ 257442 h 257442"/>
                <a:gd name="connsiteX2" fmla="*/ 0 w 1481395"/>
                <a:gd name="connsiteY2" fmla="*/ 257442 h 257442"/>
                <a:gd name="connsiteX3" fmla="*/ 54722 w 1481395"/>
                <a:gd name="connsiteY3" fmla="*/ 0 h 257442"/>
                <a:gd name="connsiteX0" fmla="*/ 1750700 w 1750700"/>
                <a:gd name="connsiteY0" fmla="*/ 0 h 257442"/>
                <a:gd name="connsiteX1" fmla="*/ 1426674 w 1750700"/>
                <a:gd name="connsiteY1" fmla="*/ 257442 h 257442"/>
                <a:gd name="connsiteX2" fmla="*/ 0 w 1750700"/>
                <a:gd name="connsiteY2" fmla="*/ 257442 h 257442"/>
                <a:gd name="connsiteX3" fmla="*/ 54722 w 1750700"/>
                <a:gd name="connsiteY3" fmla="*/ 0 h 257442"/>
                <a:gd name="connsiteX0" fmla="*/ 1750700 w 1750700"/>
                <a:gd name="connsiteY0" fmla="*/ 0 h 257442"/>
                <a:gd name="connsiteX1" fmla="*/ 1695978 w 1750700"/>
                <a:gd name="connsiteY1" fmla="*/ 257442 h 257442"/>
                <a:gd name="connsiteX2" fmla="*/ 0 w 1750700"/>
                <a:gd name="connsiteY2" fmla="*/ 257442 h 257442"/>
                <a:gd name="connsiteX3" fmla="*/ 54722 w 1750700"/>
                <a:gd name="connsiteY3" fmla="*/ 0 h 257442"/>
                <a:gd name="connsiteX0" fmla="*/ 1750700 w 1750700"/>
                <a:gd name="connsiteY0" fmla="*/ 0 h 257442"/>
                <a:gd name="connsiteX1" fmla="*/ 1695978 w 1750700"/>
                <a:gd name="connsiteY1" fmla="*/ 257442 h 257442"/>
                <a:gd name="connsiteX2" fmla="*/ 0 w 1750700"/>
                <a:gd name="connsiteY2" fmla="*/ 257442 h 257442"/>
                <a:gd name="connsiteX3" fmla="*/ 54722 w 1750700"/>
                <a:gd name="connsiteY3" fmla="*/ 0 h 257442"/>
                <a:gd name="connsiteX0" fmla="*/ 1750700 w 1750700"/>
                <a:gd name="connsiteY0" fmla="*/ 0 h 257442"/>
                <a:gd name="connsiteX1" fmla="*/ 1695978 w 1750700"/>
                <a:gd name="connsiteY1" fmla="*/ 257442 h 257442"/>
                <a:gd name="connsiteX2" fmla="*/ 0 w 1750700"/>
                <a:gd name="connsiteY2" fmla="*/ 257442 h 257442"/>
                <a:gd name="connsiteX3" fmla="*/ 54721 w 1750700"/>
                <a:gd name="connsiteY3" fmla="*/ 0 h 257442"/>
                <a:gd name="connsiteX0" fmla="*/ 1919015 w 1919015"/>
                <a:gd name="connsiteY0" fmla="*/ 0 h 257442"/>
                <a:gd name="connsiteX1" fmla="*/ 1695978 w 1919015"/>
                <a:gd name="connsiteY1" fmla="*/ 257442 h 257442"/>
                <a:gd name="connsiteX2" fmla="*/ 0 w 1919015"/>
                <a:gd name="connsiteY2" fmla="*/ 257442 h 257442"/>
                <a:gd name="connsiteX3" fmla="*/ 54721 w 1919015"/>
                <a:gd name="connsiteY3" fmla="*/ 0 h 257442"/>
                <a:gd name="connsiteX0" fmla="*/ 1919015 w 1919015"/>
                <a:gd name="connsiteY0" fmla="*/ 0 h 257442"/>
                <a:gd name="connsiteX1" fmla="*/ 1864294 w 1919015"/>
                <a:gd name="connsiteY1" fmla="*/ 257442 h 257442"/>
                <a:gd name="connsiteX2" fmla="*/ 0 w 1919015"/>
                <a:gd name="connsiteY2" fmla="*/ 257442 h 257442"/>
                <a:gd name="connsiteX3" fmla="*/ 54721 w 1919015"/>
                <a:gd name="connsiteY3" fmla="*/ 0 h 257442"/>
                <a:gd name="connsiteX0" fmla="*/ 1919015 w 1919015"/>
                <a:gd name="connsiteY0" fmla="*/ 0 h 257442"/>
                <a:gd name="connsiteX1" fmla="*/ 1864294 w 1919015"/>
                <a:gd name="connsiteY1" fmla="*/ 257442 h 257442"/>
                <a:gd name="connsiteX2" fmla="*/ 0 w 1919015"/>
                <a:gd name="connsiteY2" fmla="*/ 257442 h 257442"/>
                <a:gd name="connsiteX3" fmla="*/ 54721 w 1919015"/>
                <a:gd name="connsiteY3" fmla="*/ 0 h 257442"/>
                <a:gd name="connsiteX0" fmla="*/ 1919015 w 1919015"/>
                <a:gd name="connsiteY0" fmla="*/ 0 h 257442"/>
                <a:gd name="connsiteX1" fmla="*/ 1864294 w 1919015"/>
                <a:gd name="connsiteY1" fmla="*/ 257442 h 257442"/>
                <a:gd name="connsiteX2" fmla="*/ 0 w 1919015"/>
                <a:gd name="connsiteY2" fmla="*/ 257442 h 257442"/>
                <a:gd name="connsiteX3" fmla="*/ 54721 w 1919015"/>
                <a:gd name="connsiteY3" fmla="*/ 0 h 257442"/>
                <a:gd name="connsiteX0" fmla="*/ 2180304 w 2180304"/>
                <a:gd name="connsiteY0" fmla="*/ 0 h 257442"/>
                <a:gd name="connsiteX1" fmla="*/ 1864294 w 2180304"/>
                <a:gd name="connsiteY1" fmla="*/ 257442 h 257442"/>
                <a:gd name="connsiteX2" fmla="*/ 0 w 2180304"/>
                <a:gd name="connsiteY2" fmla="*/ 257442 h 257442"/>
                <a:gd name="connsiteX3" fmla="*/ 54721 w 2180304"/>
                <a:gd name="connsiteY3" fmla="*/ 0 h 257442"/>
                <a:gd name="connsiteX0" fmla="*/ 2180304 w 2180304"/>
                <a:gd name="connsiteY0" fmla="*/ 0 h 257442"/>
                <a:gd name="connsiteX1" fmla="*/ 2125582 w 2180304"/>
                <a:gd name="connsiteY1" fmla="*/ 257442 h 257442"/>
                <a:gd name="connsiteX2" fmla="*/ 0 w 2180304"/>
                <a:gd name="connsiteY2" fmla="*/ 257442 h 257442"/>
                <a:gd name="connsiteX3" fmla="*/ 54721 w 2180304"/>
                <a:gd name="connsiteY3" fmla="*/ 0 h 257442"/>
                <a:gd name="connsiteX0" fmla="*/ 2180305 w 2180305"/>
                <a:gd name="connsiteY0" fmla="*/ 0 h 257442"/>
                <a:gd name="connsiteX1" fmla="*/ 2125583 w 2180305"/>
                <a:gd name="connsiteY1" fmla="*/ 257442 h 257442"/>
                <a:gd name="connsiteX2" fmla="*/ 0 w 2180305"/>
                <a:gd name="connsiteY2" fmla="*/ 257442 h 257442"/>
                <a:gd name="connsiteX3" fmla="*/ 54722 w 2180305"/>
                <a:gd name="connsiteY3" fmla="*/ 0 h 257442"/>
                <a:gd name="connsiteX0" fmla="*/ 2180305 w 2180305"/>
                <a:gd name="connsiteY0" fmla="*/ 0 h 257442"/>
                <a:gd name="connsiteX1" fmla="*/ 2125583 w 2180305"/>
                <a:gd name="connsiteY1" fmla="*/ 257442 h 257442"/>
                <a:gd name="connsiteX2" fmla="*/ 0 w 2180305"/>
                <a:gd name="connsiteY2" fmla="*/ 257442 h 257442"/>
                <a:gd name="connsiteX3" fmla="*/ 54722 w 2180305"/>
                <a:gd name="connsiteY3" fmla="*/ 0 h 257442"/>
                <a:gd name="connsiteX0" fmla="*/ 2340605 w 2340605"/>
                <a:gd name="connsiteY0" fmla="*/ 0 h 257442"/>
                <a:gd name="connsiteX1" fmla="*/ 2125583 w 2340605"/>
                <a:gd name="connsiteY1" fmla="*/ 257442 h 257442"/>
                <a:gd name="connsiteX2" fmla="*/ 0 w 2340605"/>
                <a:gd name="connsiteY2" fmla="*/ 257442 h 257442"/>
                <a:gd name="connsiteX3" fmla="*/ 54722 w 2340605"/>
                <a:gd name="connsiteY3" fmla="*/ 0 h 257442"/>
                <a:gd name="connsiteX0" fmla="*/ 2340605 w 2340605"/>
                <a:gd name="connsiteY0" fmla="*/ 0 h 257442"/>
                <a:gd name="connsiteX1" fmla="*/ 2285884 w 2340605"/>
                <a:gd name="connsiteY1" fmla="*/ 257442 h 257442"/>
                <a:gd name="connsiteX2" fmla="*/ 0 w 2340605"/>
                <a:gd name="connsiteY2" fmla="*/ 257442 h 257442"/>
                <a:gd name="connsiteX3" fmla="*/ 54722 w 2340605"/>
                <a:gd name="connsiteY3" fmla="*/ 0 h 257442"/>
                <a:gd name="connsiteX0" fmla="*/ 2340604 w 2340604"/>
                <a:gd name="connsiteY0" fmla="*/ 0 h 257442"/>
                <a:gd name="connsiteX1" fmla="*/ 2285883 w 2340604"/>
                <a:gd name="connsiteY1" fmla="*/ 257442 h 257442"/>
                <a:gd name="connsiteX2" fmla="*/ 0 w 2340604"/>
                <a:gd name="connsiteY2" fmla="*/ 257442 h 257442"/>
                <a:gd name="connsiteX3" fmla="*/ 54721 w 2340604"/>
                <a:gd name="connsiteY3" fmla="*/ 0 h 257442"/>
                <a:gd name="connsiteX0" fmla="*/ 2340604 w 2340604"/>
                <a:gd name="connsiteY0" fmla="*/ 0 h 257442"/>
                <a:gd name="connsiteX1" fmla="*/ 2285883 w 2340604"/>
                <a:gd name="connsiteY1" fmla="*/ 257442 h 257442"/>
                <a:gd name="connsiteX2" fmla="*/ 0 w 2340604"/>
                <a:gd name="connsiteY2" fmla="*/ 257442 h 257442"/>
                <a:gd name="connsiteX3" fmla="*/ 54720 w 2340604"/>
                <a:gd name="connsiteY3" fmla="*/ 0 h 257442"/>
                <a:gd name="connsiteX0" fmla="*/ 2508919 w 2508919"/>
                <a:gd name="connsiteY0" fmla="*/ 0 h 257442"/>
                <a:gd name="connsiteX1" fmla="*/ 2285883 w 2508919"/>
                <a:gd name="connsiteY1" fmla="*/ 257442 h 257442"/>
                <a:gd name="connsiteX2" fmla="*/ 0 w 2508919"/>
                <a:gd name="connsiteY2" fmla="*/ 257442 h 257442"/>
                <a:gd name="connsiteX3" fmla="*/ 54720 w 2508919"/>
                <a:gd name="connsiteY3" fmla="*/ 0 h 257442"/>
                <a:gd name="connsiteX0" fmla="*/ 2508919 w 2508919"/>
                <a:gd name="connsiteY0" fmla="*/ 0 h 257442"/>
                <a:gd name="connsiteX1" fmla="*/ 2454198 w 2508919"/>
                <a:gd name="connsiteY1" fmla="*/ 257442 h 257442"/>
                <a:gd name="connsiteX2" fmla="*/ 0 w 2508919"/>
                <a:gd name="connsiteY2" fmla="*/ 257442 h 257442"/>
                <a:gd name="connsiteX3" fmla="*/ 54720 w 2508919"/>
                <a:gd name="connsiteY3" fmla="*/ 0 h 257442"/>
                <a:gd name="connsiteX0" fmla="*/ 2508920 w 2508920"/>
                <a:gd name="connsiteY0" fmla="*/ 0 h 257442"/>
                <a:gd name="connsiteX1" fmla="*/ 2454199 w 2508920"/>
                <a:gd name="connsiteY1" fmla="*/ 257442 h 257442"/>
                <a:gd name="connsiteX2" fmla="*/ 0 w 2508920"/>
                <a:gd name="connsiteY2" fmla="*/ 257442 h 257442"/>
                <a:gd name="connsiteX3" fmla="*/ 54721 w 2508920"/>
                <a:gd name="connsiteY3" fmla="*/ 0 h 257442"/>
                <a:gd name="connsiteX0" fmla="*/ 2508920 w 2508920"/>
                <a:gd name="connsiteY0" fmla="*/ 0 h 257442"/>
                <a:gd name="connsiteX1" fmla="*/ 2454199 w 2508920"/>
                <a:gd name="connsiteY1" fmla="*/ 257442 h 257442"/>
                <a:gd name="connsiteX2" fmla="*/ 0 w 2508920"/>
                <a:gd name="connsiteY2" fmla="*/ 257442 h 257442"/>
                <a:gd name="connsiteX3" fmla="*/ 54721 w 2508920"/>
                <a:gd name="connsiteY3" fmla="*/ 0 h 257442"/>
                <a:gd name="connsiteX0" fmla="*/ 2669220 w 2669220"/>
                <a:gd name="connsiteY0" fmla="*/ 0 h 257442"/>
                <a:gd name="connsiteX1" fmla="*/ 2454199 w 2669220"/>
                <a:gd name="connsiteY1" fmla="*/ 257442 h 257442"/>
                <a:gd name="connsiteX2" fmla="*/ 0 w 2669220"/>
                <a:gd name="connsiteY2" fmla="*/ 257442 h 257442"/>
                <a:gd name="connsiteX3" fmla="*/ 54721 w 2669220"/>
                <a:gd name="connsiteY3" fmla="*/ 0 h 257442"/>
                <a:gd name="connsiteX0" fmla="*/ 2669220 w 2669220"/>
                <a:gd name="connsiteY0" fmla="*/ 0 h 257442"/>
                <a:gd name="connsiteX1" fmla="*/ 2614499 w 2669220"/>
                <a:gd name="connsiteY1" fmla="*/ 257442 h 257442"/>
                <a:gd name="connsiteX2" fmla="*/ 0 w 2669220"/>
                <a:gd name="connsiteY2" fmla="*/ 257442 h 257442"/>
                <a:gd name="connsiteX3" fmla="*/ 54721 w 2669220"/>
                <a:gd name="connsiteY3" fmla="*/ 0 h 257442"/>
                <a:gd name="connsiteX0" fmla="*/ 2669220 w 2669220"/>
                <a:gd name="connsiteY0" fmla="*/ 0 h 257442"/>
                <a:gd name="connsiteX1" fmla="*/ 2614499 w 2669220"/>
                <a:gd name="connsiteY1" fmla="*/ 257442 h 257442"/>
                <a:gd name="connsiteX2" fmla="*/ 0 w 2669220"/>
                <a:gd name="connsiteY2" fmla="*/ 257442 h 257442"/>
                <a:gd name="connsiteX3" fmla="*/ 54721 w 2669220"/>
                <a:gd name="connsiteY3" fmla="*/ 0 h 257442"/>
                <a:gd name="connsiteX0" fmla="*/ 2669220 w 2669220"/>
                <a:gd name="connsiteY0" fmla="*/ 0 h 257442"/>
                <a:gd name="connsiteX1" fmla="*/ 2614499 w 2669220"/>
                <a:gd name="connsiteY1" fmla="*/ 257442 h 257442"/>
                <a:gd name="connsiteX2" fmla="*/ 0 w 2669220"/>
                <a:gd name="connsiteY2" fmla="*/ 257442 h 257442"/>
                <a:gd name="connsiteX3" fmla="*/ 54721 w 2669220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69220" h="257442">
                  <a:moveTo>
                    <a:pt x="2669220" y="0"/>
                  </a:moveTo>
                  <a:lnTo>
                    <a:pt x="2614499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1" name="btfpRunningAgenda2LevelTextRight526277">
              <a:extLst>
                <a:ext uri="{FF2B5EF4-FFF2-40B4-BE49-F238E27FC236}">
                  <a16:creationId xmlns:a16="http://schemas.microsoft.com/office/drawing/2014/main" id="{F896B896-577C-4D5A-BA4D-8ACE9CA3533A}"/>
                </a:ext>
              </a:extLst>
            </p:cNvPr>
            <p:cNvSpPr txBox="1"/>
            <p:nvPr/>
          </p:nvSpPr>
          <p:spPr bwMode="gray">
            <a:xfrm>
              <a:off x="1987754" y="876300"/>
              <a:ext cx="2614499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PS - drivers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1352547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FORMATS" val="&lt;MekkoFormats&gt;&lt;NumberFormat DecimalSeparator=&quot;,&quot; ThousandSeparator=&quot;.&quot; NegativeNumberFormat=&quot;1&quot; /&gt;&lt;Font&gt;&lt;Output_Font_Name Default=&quot;Arial&quot; UsePPTTheme=&quot;True&quot; /&gt;&lt;/Font&gt;&lt;DateFormat CultureID=&quot;1033&quot; FormatString=&quot;M/d/yyyy&quot; /&gt;&lt;/MekkoFormats&gt;"/>
  <p:tag name="OFFICE" val="Warsaw SSC"/>
  <p:tag name="BTFPCOLUMNGUIDE" val="Client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LEFT" val="True"/>
  <p:tag name="BTFPLAYOUTANCHORERIGHT" val="False"/>
  <p:tag name="BTFPLAYOUTANCHORETOP" val="True"/>
  <p:tag name="BTFPLAYOUTANCHOREBOTTOM" val="False"/>
  <p:tag name="BTFPLAYOUTENABLED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ItN+BdkIU6kSkys1oz4FTbg3IAHFZDQQIUI41CPkYeCkR+S8QFB2kPylUA3JsntOnMnXuTmmpeohPhgnOvWjiJahxbCEkKhcALAa4/g5rVRNUo4brP4JhiLsU+8O7v73AugP61KaL9V/ZMDFmIanld6KNo4Tnuo4CWlQ3Kec22FtIEqMisG3RMmj5wobwJmsj8l6v1JQfLZaoon24tS/ioy6j09oDLuh7RRZyxVpcRdzOJjmmHUa0qnMr5Uegu32pOZ7YDnLB2Kug8Z2k+gzN41szMpcTwsFOrnZvPaAzlsdFKar9I7xTBXyhuPu65sqsySYzv/TMR2o5avDQK3tAkwzTP5gMC67GjfB7vcNfWLHrawTs9BApP3rgdfsgUG4h53LQlLZVl+/PKXbzfsCi4t1SIoYR9o3lVpf/tKthok/n27L241QL7+/4rg2wtKtrbphyOCSX/7GTsMnp9VgxKhd57Ua4rzujC0jnI0XKD9B3VciMaO9UJ5v01yQw2fRSndOGYgl0jtidIldnhjSDiYv+dUQkM4G35GGbTvm611KOweq7ryy6tFOoo6xinyGMdocQSIN9N33VRtAEjpUhODxMAsSSJw52YomYi+ZAU2r1H/rjGl1+nv8EWi3e8wisuftHtlqkQpK6SbxXqNIgw4KgjqKoeuXzagjzn5TxC43NMylCVkVJhyEwusoyCEhedozCEtNhCK/TcKTyT5/IjntyQ8VmVVC0sUkNzenLrrkQs9vtETHB5h8+/7r/osECtB2FVLe9RvrZqzxmLrNvtpFj3cH+t1Wlpxkn/yLCU/2hPJANFZ1sT41KzTPVJaPnvSBxu0SLoE8BnvJdwQ+pDTph9gu36Hmrl72xpw5HkiOrjtnkwA83heaDj16FnnBt85938CG5i2v0z8OtsKb+JBuhgHE839O+bfLo5HQXMgy4FkointIra/n400RKyB8pgZXnWJPdhGL1rc1SmZBADd3hwY7ajjbzFbqgMogwWd62a/6Y/UzgPh13xvN2wIiGgPQKiCfk7cz8JJb/KisuRnMrxxri5ZiBGoGzr8e0pmR0XuSikuEqSg6o3PKekKzLwtC8eBtmCxjM4k898D9q+MkKfeGsPRTxsElanVCxc7yg7fXkCZng7tsLh5BHfYm8WrIC7XI5RBsn/yAy9uE35fgSAuvH8hd1fJyXQ25RiVunVk3kWgdBotSUo30yQ8pCHM5bmX05Z4t0Rf/wfg9+iM+ABw1rZ10qCMpA1JFjFUGrG/B3aFBTQH13VsIOMGUvYL0TqYqH3kroJnb09zDNeJC7L5W9ChE8Lffzy8itwcPsBKsI9FhjBspT6hB9VNQD+SOILoWHMNGtuv5XxwTc6rpR2mWjwVqgYdc8py36d3FBvu6rtyOBsfWqFSVklYx9oILTRep7qMTLT/aYTCcis5y26oId8uvxrKO+T9+LKkrmkiNx07P51uB6Bg1R0u16KDcUQ2e2K9ndoqS7OL2PA14VJqaHHzW7u3Bfe1DimvSitQedMzwPOw2hTo6AXoKPUtX+1P4wdIuqsPjPqTd/1JXg3rocuV+dy0nyjIp8PBl3LjO5cbGnwKMFcknxocVqjg/WIagzHxtNftpDhB46TPbYy/43qGP9716ngQM6sI7jutUGK/n4mWYFerpURHsmdAcNWGsSSi+OAjN1hCcww7828lpfAiNerX8UeIrBeDg//QRzHcslhoqHjzHgNoDSzZQSkAPsklccpQsbSyOSht2BBHFVqh60KiiE37nq0owrGoK0C5Q5nSNxS3I5uDsh23g1gqqjYOhrMwe4hr5HDQuim8nXLcSlkdx9wKBUMhbj2iH/FGiMJbvhGmybiJjInB6cU1HqRQxKNbNNfR5KSH1LRTvCFuElBRUoSM/Z0o11gZddW5j+Tw49rEkUBF4pXu7/Xsm7jR+gLgEj8PjUhJXd3v6HDeKmJqtIgpCKoPpaMtoKs9bZ1H5Gb2+wfiPMAwrK/h2ii1pr8XuWOC21p2T9H6z3JkmForv699MFpeT21ANJo0vywpqTbMYk3gC1HqLPAsGnS9DvyqdlU4ZSfA7HNf1LPRCa6dJ/GNVNPJNyTy7y1gtt/wHwqmOL1/htfTeVtgJ5jL099d4fZMkiY8a4fltW1z5M7s5/OQ5KzspGPpuoz1W/woeRDi/4OSQjoOzCasUf8N8AkyZNZH+z4aIU12y5mSgxupA8frKrtrnvzRMnqnseOhs6laFomCNS7NjfsNp9WVN2Jb7WPHtXTVcUwKfMgPYk31+Hilj0RfIO2fqL9zwzT73UzkmhYlPKfrjmykgKqtrsJr88vVVbjVBRgITU37yOicxM/5wZIRKuzo9ySyQ3f0xcfXAZzwSZXyLSvleJ4w2Apy/X/ReQbDVU+nb+EPbxe3acnjvEDlwYfL7EbOycr5wCtc9BOF/5S+h9foIiYpFJRAIsXdEEBHPr78EoeySHU7gqBjk/cLJfDDfgXt6GQ4B18P79DRqvRdAoRBD/Kp31ns1pz8yOHwGvcwrVaMuD0wIi8G2OBTjH6Wqq3BxJAPesnaJnoKBiTh3hz8u6QDBPL3eoz/uN1B/S7gWSZcI/BHf3r1kv9NBeABrTCrkT8S8x1e0RgPJahceNX/W8JgrcHfKHQOStTfHg91U18I5TGuMzqmdwSMCv0Wox/lyn4pkgtkSLxbLTIcgu+F8HFoo9bSOQ2JM0uCueEYE3W/ztUIpC6Cbn4XUomIbc5I3QHFjijLUJadDmRseT4QrhR6nQ5g4KKypek4QknR2ZgHPC39DzZ1TBw2F/BxPjj9tcfwFhUACBzb2mn2kF3HKBi//HwfhNRNXv30wUsduJBqxgO8EL1q05vh9gA6kxol92kUSSIzNQ3CfrYXkR99iCWd8DRKlxyFD4hxX/d+st2nydTzpzs4M+M+3RLieouuI1ZQYpOgj8PXSBi7GPgUIP1EwlUTWEkcC5c1adKPG0WHGGu7gxIpFtFLHvYai4eHcaB5OSvf4CF/VSWY1FqPNaaVPhZzchCI0BIxEa0MzsRpG/Lsj8Pxcc1IDLWeZKCAI/OJVSPEfczHScP6twgoMtHFl7/tGLUhB4GgSSZiTvfl4Jss2CNPoey+r0wbX57F06rPySgdDCU5MalzN5nu7EiwzNKbdYLisiPoPC1K9itqkciZ534RJ+zCyjQgTuDpsfJY4Oo1YpuFSxjtpVC6YWWNiJMhZVpOb5E5dYgWIPmhj6lL/YsUIB8aR2qTlcp1biCLtAIucEw4CpN8e7uX7EIALPCzJMju4OKylpqEvcEiLaMN5yrWmneDewWF4ur9qVCVudwDW+VLCN4RdHlZgRdXRIVxq/HLoXkllTDRbXPRI9bxmwPxlwGliXFUTGhcOE2BTEiIoS7cgk6cQ+cg4lTBm6DqbkSahAo/TGrwq7FIwcAt4Hj17zXKlRW+TTKsHxDQYoSXbYo7YHVXTOe444J8BVyKYkTukWfTRTZpGObhESrObEg/ESw+k1/nebtThfzcEzp/dcBMVfe5RZ6nRd8PbSL5UuwoD7x19gqilhdT3N1MoRoS+ROv97GwvkrDVtTh6zsBUd92j5RjF0JTjuQ3I/nQuNbyRnNvSGRaHTv7iDhrxfBfzvQZhcILgCs00Wt66EOtXfoP16AdscSGeO5goYA8ks6Fmv6ik2dCMWaPWlbHNnpuJxk1LYKUXWzrHW2yoG7t8M0X4uLSu4kjeyk6g12E3/XhzxYXAyBTxlrIBe2QFn+ngHhs9r8KiIqtbEuMgd/J+Z5mOv/FnE/fmXZCcAr2Qwh2sMByZC8ibLNsmGsNLdLi3VEhHFZbC4f76EMbfPo3y1vwjkMkBYHKtWPNVU9OwuSgnby4EuaSczenGd/Mar9TikeODY+E0c3vgeBnmcTdHLZvdIYFi1rJljS//YtRkUeSGH2d/0VRAUy5MbxeZDnX5rVtuc4gUyF4hOYQWO4i9q8LLEW3ctIHsOYxY6Cu6QS40VXfiI2GnRzW4+Juie5kSjshu+mBwD4knSUYk83sv9eTjz5QDw/bByrUX1I+ipYu4OE73XEtS0j+88boxM1trTVd7ca4ywJ1X2v9hB0KjhQIQexjJjCrORevCn5zPIuBzrdQIxzMhSaNAiLwfloE/imK1soM/U30WdODmQzTyrpJucO2ogVGcqwmvdCr+UjW7A4QhlnuI6t2Rd4N2q4AsFZFkhCzo+ToD1JGz85NIlSuWPQftlngG2Pb1OqzjKy4NC4FD8GT51uGMm0i5B9/J9/3j/CTkPyrjgn1nALvXUT+9P9I49rfBM8RIvyUnC/Qd/f6YY72DujT2I0jnzu0ATtRue3BGS+PTf/xupqkI/KUvhoAD+mDOLt6m4Tp3Kp9ydbmjudk/sE97BSdrNUqu8Y1u8JNugJpJcoJ12tlTHnkMkC21tiwxO1W6KXGDwD4LysL43KXHR1amuoPuUra33JZBwOb5o/DnGeZzfo6NLCJa20xB1tQjFO5CvrLJRg069CkT+WIQMp2uuZojyo/BJtYAOleKMYEsvz4vTMrjXO/C/ju6Dj9+detIEdZqgGy6Yq5uucxepBHBE27OqgyQlTgM/ijGdtZyBvsHmpPaiRmh5Q+6vu2GshR1jPK2TRfmo2OlUAf5kON0WEnHGa/pZIAV6Un856aVT7/jHZfyUmVR7y20OmNM5n/zmbyEE6OVS7fA8BeND9ZRPzduHTpvXyc8Bnv8ueGtNUbwocxKIxbO9r3iyCdfS5mlfysbXXGHsoMtGPWPV6ApjzMejnvSrmzgpCqCqdpIgpL7y1IjyW25x8EA3M8P97g3pe6LBqclZxccxMshzgzCrou5CVVQCqahHoOt4IeR+/EEaN9JPxmcqPF1VofmLk2IccaZfhtsRGFmWXWyTFL/lAbrzLOPsOEaDd+ciaEsI3jq+11JhhK4/m73jGH6jnYqtqsjxDf9ZY9Spd3kv6C6oqegFN3okxx2HqasGlpQG63eKwoi8Bea49SmiXP3eDgmlhr0JBU1tFt3dcqhyVN2m2AMVPMTCVT0P1NiXswUdrcNUwNNd0OzMZimlaGbDT2/w8zs4byyWpPt3x17pXnAXj+0pJ4kHydrr4t6WdIARzvcsewgUbt3i2v25RFeknJ1l1XLAH4ONI6I/rtc/1mgw3NZT05MFiyPd+syEd5Ddi4OvnK2EYeq9U1e2oZH5HBgq2HqVcJjRLxoV+GiRY0TcoaSKzakr2KK7WK3M2UKpQJnkiQxXW+nWhcuMOng36mdAXUyMvwWy95ZJ2OJyYuUecd0PiqbZlGun0uw8r77n3xcTor67PP6c4gMi5LxcJXrOCnUMtJ48lzPWJEXkpP0cTUy4ZM1+mMGLWa5lDmjJ8mFocSYWFK9g0fHg+SwNrdhjmFRSECLevl13+zGKr1oogQgY22D9DhYj517nb2F1v8WrHJ0gJx4hrV0EeY89qIMFcWCrzByXVitSD0Xw2SGYehRRX8sB7XBHHGSbshjyvqyMMDOW8iVacAZLMcFNrEOudA8P9Sx7Y8zWscyX1IX8469ifWFeXikACNGznZGNyW6rk0lswOUjBGs/0DvMN7vsCyCEZNSo7Coj55LUg/wY5TGUBIeY0x3X9xel4MH+tPwC4Y1qLH501f8LHp9pU6YNN0ZTRPxIPpFKmOzhInHgoJL0PzDEGC4BVUibcRJNvAyvqEORW+SfXZSKBqnB0+vCIijOgVyzcn3ZP7MfMbwyD40LfjYHdX1EaVP97xJfIrlUimJyiLgovNKHSUOIkYh6RnCs9hm9hqyMBLliO6hg8LtVY0wnbQj0bu6DzDNGndk0fG4G/rXyb6R8FBN7Bd3dDNqXdYLDWM1baY5GGEc7DZTlh0IXlExeJx92nBRIW35dMaCG0hsFXEgJNbIgueQ+vITAIWNtWAvcWh86CoAEGB2Oit1ykSoU1Kp/54ZR9oIOHA+d/irTJKrdy/MXwarCKNKqeTcRAdkyYnlBK4qjVlHdts1Jtizoxw8OfXAepbadZAgXS5pFCCgwm3s/5dbft1uqPInM57GQe8u80K91KF5fMZkff2CWAbRNRhQzu1iUrDEPapiBq7iCrC0YVLylf/oQa1S0hAJUltHz9mkWNoZgIir8ADIlYK1ipxNy/NRH1Zp+R9z57HYc42sBQMqdW75IvWYGOKVZoQK1yqhEjVeQJJ2q126DDAzxbn6QPjMW8SsrvZiPO5TWa4/MeocVdK/JCdV0oxNmbwnQUKCkWqA1nbULVf4WDngo3nRnQpTtwiE1rNLk/0PFOmY2GiuZWYLFx13oMbYoIQZSKMfhAZ7Zjw+jeRqQYpYu4flRWZ/kRszz6ZDm49+Yon6D4t9fjtYQ2lKxR7ieaqhl+B2k/CB8NCSXvtwwvmclZgxj7nPZJ9U/1oeLw8Yp140COtTZv4A+7iCvmgt+fTLaSN3I5rj/YJR+JI2NU50qBHpqGV2f54jJfh09D4jHC4KbjxOo9TCkfiwDWcwbTKLoaQkGSOS8YE2XKMiZuhhVkgfgHTOETZcTIe58r1oQhDNpVjzbEwh8PfR5eLDexN0Yq9sxxRJZuMvpmyGXsqvSxXJ+8YZe6qpu+Ytohqe7BNnPeJb9IdRtExuTuA7VFM82U6mZyODiwSgMTSjA7pcKoooe7a28Y5injBf/z6SOqvUwQ81L+dkEcV776EH5S/eOKZ7T+YEKLAXC0saUBL2gZgzaVfjVEKWb8n4gXTzzUR+C+jHbmdrMth8W8fBym13JM/RbRXfyo864y46wrpTgS0BkUJbJoTGGFUzbRVzL9yDfy4zMFvAZPomHLgVIPmrNhsvjWCc81Zs1Ur8inmcS9g+XHM5UZD7Oq66mPJGg+zPY3SfcAEr1tXM2kzuGdwX8SSx6Zb67i1GnQYDo+OtSAr/HD2QOu00mz4c6OvI7JIL35aKcztDyRLwuohRTLMdpiob8jktHbyN5W9nASNkSQTg9I/cseYjxgQJ/wMTVBuHfXsRv1xumjKXI9M51/YK+PqUfhT/BtNON/ek2KOuf1eROFVhbGtY6SDSdXB5oN4n2dsk+EWnhbHN8R5Tog/tj0HiaCEnf0TIjnuuwdJX5Bfd6o7qF8cQDvTqAi41G93RmJ6ZmH3YEbYPaDfawgkGkjmUJfMuWVXqfMQKaJQcImUPxUQEO3THO14VjC38C2XptRtnKe1i1iIXbmFROrTPqgxUICKCzS2wM8lbue0aXGBQSCXSatvVUL7IhvPhfQ5UWkeBWPThSQyMyFCbA9XLFxghZkkGJ8ewXQVL8sPjGtW66nsiA0GYAS1h07eD2CvN3cI2Y2dFEUwGQxKzhmJlzbtw5ZkuktNKuXDXP1dFJjbJnTRg5hMWCmilDy3FTiUUUwwqRx+So+3nEwSlYwAXJBM3aKo83U244N/kPvQyaIOWMlWLf6wuYjYX77EcDdZEdGPCLkcnyVNSyUaMfdU3fGSbsH09DmJnEaPovTQ4jdmMeXOYSqi7ToTdAhq+0kjEn7msKbshbJsautMVMlOq9PB7hWGiWMPNvqCcWeZifSSHdpazQbteRi9jBniSufMlM/kJUb2cUrPFpFMRuweK+jC5nR7kOzgp/mLFi4RVyfZGPy+xXo6Sh/AoXnybvjGFp/bud2hrfMCab4RVB+9RO8gs5/HQEwk3yXAAaz+G8nlgJsn6XPAv82vapTamGoRLgaMUtYc1DED5JE6JMhhYc0scGSdaVbqVIAMM7ILbbNlJcen2MQhzaCqVrXz4RplE01cx/9FsWO7gNqp7fg7ab4XwfhM4h3tcMAg/x3zKP+DMLxZm4c1phv7Nn6VUS7SOjNt6IwDIg+4nHuu2MvJCM8rEY65GO86Cuat2QCxQvthtAOTVj2bqVjALebxrG/j8VOFrZ8u7P2JGvpTZcaArxd1f7XMNildReKtIduuO4zZEL69HboYST3kRXFYEpnWLHZi7yW9G/L0p64c4CNkKHhN5fn96rnvdJTUmAprybiB6qack8XFZnUa364PRsMqCaLh52ib1aVakaWM6JwNGWVvr910Hm+qFo+XDK0V77lmwv+Omf0t5srNKeWGPwdmqxF/6nL3TYDMaHi2UYp+rXrsWDQNQJ5FJkbYTjrhexLtvfGrFMKAAryuK3weFXyh8p2V9RW1Q8MAMUT6XCqHqtW6jQF4Og+Aus805F1uEwGbWOp3lKnwXROOzbPjzWUWepwUDDrIPqW9JyScmTZ8ebAYF4ivP1SE6xKmYLc3eyui93fr+JBlHwjJF8ircEgv8qj2IflVr842e9tmxban1H3utDqR/2a7fCwq2nxfi497rkhMUaRRvBgE1j84XXoJLtzMivyZZLFWb1kmcT81ngcPThWWPXGyROsKf9eXsTRrQHS6DkvZSnQoAVURUMtg9cqN023fqyG1VI2xYtE3smYRHfHYUBiyw4638+z4GSaRaHGr66iv+YVLD8sk3a7xwdOe9FuWB12qtgb0jRgRLjo5IYxtz1A9bvKGNCrzpE2wh05uh3ykzJbFOcy/GmNcdp06om3fk1JDKkDrewU1YoNolymsbKn/JLntAI1G6B5dD7ZQxk2cNs1tg6TI07tQMRcI986T7e0U4UWn0lgrT+QXV1HNRK0PRVYDAsDq51Pkc/0OQsejAxUjVQeG+Argz8ZT9sAizCAga2fOAvPmqlaC2i34Uj4QPmT1LXwictSgo6aWr2KhIKmvpviIXrwtpodjrBYLCOonTy3/Bxnwq3ZbofsryThbZE2QbuJ9hGB3Tdn8OTCm75U9di6YWTaAxBToCNANVng8wK9zbSzPoKv8pw/xIWrgzLYUPjOf2ffytjly4TA1dgkUFDcvhsQnB/OXlZtWH8YhwW9Z1EJoJOEMCCk9dftTfWaxC7O7UaMFlfw/ULtmbbsGq4aEuz1z58Gw+ZYxIXKaqGP24qsAwCIYI0d3OiN0eIvd6VALC2eIYY/j67imWt0MjjTdCLzOfkY/8aQ4/WEwPI/tEizTW72vfU63fBElITIDn7NG0lq87QluUUnQoAfOf+lS6UbmWQm5MAmCZyH+X8vPKEwMNAw2FT4Kleftp/FthikPV7JiT1sFkgsSwGUuvW83TiUUH0uHdE/QWLV2aB8GFQ3UOcoQjoImhfDTcdtWw0ub+RG5fmDZny1j3Ei56xocRo9uZ+XlyVU4Z54i5dB1bKZiAFs2n3Q9g7npbg1JujrBs+VKby69P5dXHMe2+NO7f34jho8P1DSyC7azO6VE50dJV/Km4vISfNwIQfaaLDWYQKcivqOqObbtOVE7rYK3BhjVS2ducfO9jIUCboQm43LVuPXQSQ5RWrADDh2WwFkHkg1iHeoD4nilF5xojTXEZ4QuChbi3Lmu999AecC48KmccouqqmczXS02VSXOkR74aeZ4+qdt+P4Yv3Wtq4u4rD2ogC382429bRCEa8Ftc9pkr7AauCiNhwblsFiuSjxAV4ZJ5AUEsxcbTpZquWVS4EcRc/rknAikvxqCxJx8R/iVD8BpdAPNI9371hRvMN81/Dz44+QH8JW+r5mvqpKEYkMI7TY7lSWxEMzM02QA/hb/wMNKj/8LowkR3W0BMdnfw7QixYg6MjbqrZYNYetXU+Po/QCSGSWrEe98UpLvz1TedrRcNsb9WJn+vgmS0wjhc4axwwY5RBIDdaOD8Cag+JfiStOUSGN2Cy08aWr0jtnbyTLefugXpVM7M25PCGDUmbX/t7UULGxCCE2DPfYh5kPea8Z7IJeSpZQrr+G9mLrSKiNRXvD812N3qWQ6N6m8hi4SH4FQJyCrRmeh7w7IJ0vUo+TVOwATKXcuGkw6FZOfnGMJuF1LOTVzqwVUyPkVc3IpNUxpgjHuSsK7p/Xz8gawR9Nm2ydzadw1v29q4LacEdOp4PrLevwN4OeDHIURW3bQ3UlR1hnlzaLc6bgmVdkkHipEmFhwIlZrERdJLfCvQ/2laMIwfve/Mf4RKjKpbBMNVUypKcrJ6U1eNSf3XTAYq/QiHGUmYjW/MJs2qZPJCM2k+BWU2k6i9WIfdgZk/ftZWeBXJJNIl88vBuEToGrCFzHuSXa5oJgbf6XhPqTdXLu1AIL4tWM4iAH/d7sUGcGLNcEdBUa2ujYpvJUx96ctbweYLdwEv4YOe4jc971CDvNX7+wnz7i9psvIo+dOfpjgIcALYt3cSUKezqvEHka9iw9SZW4KDOQqNRP5ShX4SFevi1L1OUd8202ibZCRnfYSvkXwz650KGyHJ5mYEo3DhUZyLL1NJ3SBdv3P1kld0XmoH25lgS4cIUMFk81arOHknxFmgl27aejhaDrHb357JLy2IphE2AyDa8PYY71nwH7XjYDjhFa8Vjc8zgeJXIQBG1LVj3tJOKW2oAVQovO3jl/HSs1rjVi3eewI41na2gR9KY0ZyvR+CvlEPme0BIuLGZ28WCxHBQLUpq5LSzdXWWLHqpkTRwPatpsLNToTJVcy7r0W7mPXtFTNyBxfgEQKMaC60E2qaSRMunLudHHzcYDx2spYZcBAK1WUY/Cli9qETaabPxWJjPG+bNKfNsYXCYb8ntRhJsjokVbk2j3qE2Q5l4GKYsJJUpCpCcYSCUNauES/LkdPfSOUqiRnXb84r+RseXXM8bL8SFQ7dN5TMwCO7nftsSfn4VHiB22wU4O8nVbCxk3d4H403Dbm+SImr96md/3QlxAMq/NJeW3pv2xIA8XQ5NSV+GeIkyevS+EEqhk9+agokNX8gdoo2+7HgidYD9L8VGNJ3xnLWP6fI7iEeuim8pq41DlJn5EaW67+7etHOtcGfHM0Z7vTghzAnHWGU6kSPvO+QpKbJPIsF3aGJUHUPj9pWaRjL44nNyMlkuYEB8D+hhSQBqqY3TvyhDXivkgHC06M8YBUl5MhkDMeLxNcrWE1YwnrOKnSf+zJA2Z9EavDpZdRSMmDTaQnMe3t3K2go0EPdkBns86mqPsmhGpM2YEOT4m2cPJeawxF9qMdbCSLHtv2T4Yc6X4twbt8vaGMQjcaLDB5CJxAzzZzCr9nKRUNsoezfZIh8kgcNruAFxJ5ev2GEgC+JOoEwhSP53Xy8chkotqf+IBZ6sTeIzGeU/GVjryIb1FRLAdf1qaanjqt9Sf5EI4hpNjbGnOwa1VoGFPCR7d3rUNLIITqGeMbFnulbVrS/pdDm7euZbwcqyO2VYX9lPqIqWVv/admKNbHqnsP48rqVlWBwed6LfKDG9nbyDl49AsLrtDJ19+bhoaW1EhtK434zxMY7gTJwx9k33N5tAepLb0HbglMseh8mo3tiExkDBomohqrHUcITTcDb+vw5IP4jO0uJGiAVyuKegjJTTEXxH+AHai8kuKNaXo7wO3Zmx1MSOVN/MZnP4rW6P7xKtoa1t87soeOU3XVsilGEB0InICjDD9cA+8/vrMc6pFDxaQKd+EDNvXX4qhPNYiks+iuruffAEv2sCabNvEr8ZDE4Zu9xPb2v/uJ/QfvGsXTHdfIkZUkofe6I3y3erN/vlC8Xels1Uy71XRgJUCPSGgwFs2benJ6ZCshBg36ZZYFo4AlVmKkeOw/5Br1GqafPPdrzupB4JR2Dbj/mMz8JyDbfzCNETVgtT9B2eR6AIE/q/ByAY5MB3e+UzaUriQJhnRFYNgwDc+mNmXZ/2xwZxH2Liyi4IHzDWJEhMfgD5Pwh+BhQ7GVGdqEHJXRHBW5894K9h6BKPQp0oHvqdJDuDGaQcFPullIcflzXEqXx0AExt3DZowCpu9V6jIIxsHeB0uheJ2RwZ9ipPMDr7KT+WxCFYj7996+tXCUP5aTt+knkQKAQEMDHm0wqGNPOUbpD4te9NAC8h5jXy0WuM8LY3Nfx98Q+pbm4TpvRYMaOtwl4nX+/7mG6clWYuma5lQXzRsed/20Ds7EyL8NO6t64aToGnqZqzz8oCWAjbxm9+KmojMjGVlRZUNgndBVVsOjo3zztEA/7xW9YrxqIU9gE3cG7Nr5k9fG20/Nvp3NTXv86Vd+YFs1FsYbcfikeO40yZM6RpE19JCWkXC35cMRwZ0c67gcFq5OMEcs29a5fewN1q/CPD6v2BQFU5BchmJ+wXdySwN/mkYWUhxY9DRb630+bU1NaExtlgBRhQTcYgr1j6o+YETfDOjC0QiyEJCwpXILyWgRTS0BRAqIQP4M9w28f9CcyCZcj+U0nNpWZ7WQ1rQVnjo/YJ/hUtXPOA9mbDF5sbtTIfxlURcYxl6ZGLdGKdIIwiKnQvIEFNz8L8FDjY2Qmw+aLasys6CV62mXiY7nj/pJ2Y/7Kajw2atBsXsdaCqkHGtewtwLlFLHOSMYeKzi8el+kV5ZjUGbcB7+w2qhm6iHodIBu/oCMb8ronO9eqFKUMujJJ8sxuquvhh0rcBxzC2iVuJUyU508P/sBrBbsQTZjpTqiIpy7LAC4kKXyRUQhlTVM7KZBOO/JGNcK+pNNeGW4pFcccMmoaUcTjP5IsrF5T5ptlBBr24T1BzVF57HQPJyiewaxCZRhwkOTJoMThCyp9Yai3yiXBbxt+wRDwqqYTmYhj8TU/Imwts1YDKt5YcTqtDfEeYjht/IdCrZov4Tk8btvY+46bwRKLImLLOQIJtP0/KC2dKGlhyMVtOrRdDdL7WDUEjK5WIQFsWIebQIY0VAet7BaHwaGaDeB1B0B3AJuY7C4QcGOXLp1xmgDDSdYE22lIXbQwTL4M3DjNFSnz6Jfumf6U+JAQ2TKMSpYEAw/bCuNfZJFl6iPfK4lEQYFt+QvoJLVcrWeR2XEQ2iamixhDWV4bmbIwkIXzA8Ne88MKeu92TQc4y3eq8zvBk0WU6ZEpJsWcp9sR/kjBcnDpznak8iWbpPv/DNcKxFbVJihewjIydNfo31Nop0CpQFjifWiSA2m4Z7HpXqE2xRl8VULCUJVC6CLpHl2Itf0Q9noiNSvueoXrMWsjfp0srPbM06reRwJlcOZJzDjvTcquh5HMoYxALyIDTWdLWLIJRkVE84pxlb6IvPPEiA4VXhXPingkjYg6nVrDdTCG7mUOPjyFonldEZTsc4vm6XPiWIXnmTlXKqNtvnJ1nM8kDoQARWr83+aeIKT1l6ud5RH8l2k0J4ihTuD4KOUlzew1lUdo+S9u6S/F+stRmWQdqaJ87a0OcTg02Tj2apNuTc6dZs5jgfSXEJzkZ0UhmQVNUqI/6l8DjT9URQhrGLsV2i3moP+IRSAPsxhdlfQM8jPOhumVYqWNPR3m8qiMmiHHh7puG87mIcwEDr18azlEg8CwMsElfFj9xlw+n098aIFPGw5PHfkb3j8hXwk9LnZw24Jn8ah+v7l0cIJsTafrMHu9pw8cH5DV1cHS9heyLsBqz/w5xtKnTuXd782sgrc5g76Gz4v/9ut88lX9huXWitQPbIEGcPfO8+6noBUO0SvnzgUxmVLd5GIAgJflgMf/8X0BwUlkSN7eDEjxSL2VrBGQQaDMU552NJGkVoMG5U3hh6spDAgNy2O6c+DF54+gG7o8qaGNs/klaXIZQKeiWmkphktpFG3bja7Xt8eyoEVylNqPVNbRw4EbAfCF/zML7+H9p8pQsUWCws2HpUafThX53nTjMgM+I3+GWQjevxKd3UpgzRbcWnuBuNlifwozahGTE+9rSBJAIaIV1JvuYajJMqMrGYQwafCNYQH5oVNg+ydeRsVbyo7MQS7OgbX810bcVIefsJ3oCoxv2Fdqit/t3GsDGR4JLp/c4aaXamvkpPTmL8nIePmEzWOw+00MDzBbFItGtfF6qZs5HTp7H3+SR7ROCeXx+NVTVi98R2x6Q96lgkGactP/UcFle7091mCLa4p33pqHNen94DkCyadD4AsfYG8fVuN6XmHVhMv17TRglZQq7nBbNmly+R+o1S2WhydJau0XkjKH3JExrmDRr4NAjvoVtSXB8bneJkbA/R/j/v0+3ftA/RdD7s5t+ZO+zOn/gb5WjLHgIX34L9aBBALsFzQM0bXhTYBWRpdgGQRtFmpCFqawlqaQ8aHWtQ9WIvHbYDvUCJqyNjZDrbD+h5QaVvNV01mOnwkjzmgGxWhBatm1vxUTv9fQX6ZRMf+EZpF5vq1fFEbpXLxm1bvY1+izkdspjFb4QYI/NrILjvHCCONkeDTf1jDa5zfbGDO7h/dcF0Z1f2KHUCDydQd5sTV0xwHUocJdpxblYpcLyX/3KRqByX5u+PaF6Kggrw0f9d/W1yu1vpyKiHr8nfEmLDaADxItB0+efiIMUuYfUVcw8LnHRgHDIfOLuqaU7EwxM/jLrlHYBda0enr5OmC2FR+4ojWxY5gZrrQxmo4g7CkiNSUK7OiavrE7h2QUnum7WBgjVXvBTt4Zaq2oa1myY88tABlzIxXznEVYmcWVZ9t0DlTqXgxCUV1t2sHY3KV/8e8+jT7zIcm72+w3oKZ6yYRuGE0eRQoDAneV1DSqdPLy5GQHVM4Vi2DTOoH8t/+v33Cmw+w/xV53csChaFFJfYqpKF2nlhaBDZ4UtIrUixzrVdzpNPEA3TViMhbUcGpWmRwdQQLjjGp1ZX7QL+bnPBXZa5XRGVM3M+Kksh+MTt1prI1XLl0ncNtbq7wgEtPU9RNuqrWXg40auJHY6YdXlbWmbxK1Z87XQTWZkRSaDfKaz603VkntFhWTBOavRSvJ3ZWl5JkquwmBjTaHLhaknmwQ35Sqb38OZVxxIaJB9dnAJOtxIR2vXd0TDss2M9RnL9CQ1cOzgC5wUJWqe6auI55WNb1niiTc7skeFWw/ejxNdsqCKjtt/h4FuT42Di6aLh3v4iFiqjhutkgApNizhtCmbMpRrHE+KFCYa4hU3wnBrviXvwH9WFS4Y4VeB/7HmTupOLktEM6i3ulAEOcAs5NSyzTD7Gp81gUmLVRm6Px0RgYPlqg+J+MliN4+AqaRpb1EW9BMK7KhmtDfU1Y7/AAKGrggwesQpUEhHoWpztnvtm0QJU1wMc7RxE2um8I4qIBhlzo2rY91dWf1dFPQKs0Sv72s0/gtbEX3K4qNRHRBFJXQGSUSi7u6tBOifIHg7qkpIlgfj46pREdt6F2sH5BvkvrHqdqPt0LILX71bdrdsIUPleJ3hyGWWakkm96dBOi1CWlKKm07W9ASfW8HinOdYOg2MYDQlwyv2NrOpUI7SQLfUMGeU7q2+f485tJTBRum1wUC2LfOlOf4he43zlzgxse/8RbQ5pbyACOdbon0TjmmFI+5hF5Pdg3oqoz57YLiENNGLFgwTni8uPOHIRvcaUEXb/OoiUuAWOWYbxv9YPTCKft5EX4yBLTQMS3pc1p1pLIqxmoeXDZvJf/0rZogDxBj8D6zI6LmVs8pQM3VBnMBP/a8e1Gj3+1DCz7on8+hVZtdp4YQud5XjT5TlzI83dk8JfB+UvmoCmeMvc09/Vh3edfedwdme8bG1Ith0Cgzx+tX707qynL2QcezYHw7WYGLDD6+jkGl5AaSCh+uOd/FfR+ASAgkQ+KcKmNvPRAxAbsB3gap8M+SWXNVX6d8ybe9f+iStWcrEaDezc5LcJBqUbyHixkzPOhJLqOiaWDJcIeeaNM5qW1ekXIQIHHmDEQBNa9D2Dp/T7uY1XComf3OKLc9zuGr9cMrKpxLPchrwfIPLmqGOI+nCBjUiBNy1dVwwVWeLIcygjRNvUnMN4H4c+7fcRpje85wTUxeMrpTqEJXaDgIjHj8uUUZXVU6s7rufm9fPMtYDTR3QFjBSQj0wVUaAWqDNroccwmj1I/bSXAMRQ8O5drXu8PFsFRbyauvy+AxZr2FuAIIXVTj1h3S2MSf94D6N90DsaXuHjdbdwhkFROmjP4266u3PjScQAuLg4lyPSbpQPVXp/shHYctl4pgT3huBh7cBx5IkKFxC9P5jefQiRT0oeR2p4Rs+iCEQa5IZ9Jd2mgSE7i+5LuF3nmdhLmTeqnmCa/XvzfaLYA1PVk28Q91r1g7BE9dYm/ADzP49Jd5DnwK2xN9yG5e8ervCKl8ODmzvwFo+mpWaJs9Q7y/U8151uEnivkWRH34LkmMN6XGLVaaYCeNvh4Gv+YY+UHhzvpsAbxun4yVALFZqcr8c5i7im1KSqEkq7czCx3m3jjPPCBHFtPybq8ot1CeayAoORL0UqitS5hBvggRrQJj4BoKxwiATT01vT2WLOAuU6NxW8hfl+nX+ri4DH+MLCGuwwkU0HoDgLupqffnVgduG9/u2QvWOpIi0QXzhelfBD2TyYzRbyqrlxMHXDTPQdJVjGecLF/ezbcSmnIXO59WwtqrZFIWroPx6ZITeAMStagje/RQ37iem1ZgTnCd75HAfXSfX3Cj41baOgWlw8ii9iSab24wZf2DtPejfzx0d2grN+EiSqFnk5UqnaMRkchF2vdKAKUOetSaOlWWwxF1h0z4NFFWQNazsEaJz8C9+/JRyz/q1grxOcFc0qWm6pHsVWI6gz908RCT0Sc/Ca01+fIHsD4WZZ9ApJhtzh6nyB9nIxGhwxd53mU1fDBIxIfEf0OtPL8+kFpunMKfnrwndYkg0fV+SVmgtT/GWWVWjJ9srncOjL4V2+QRbBfrbB+UTH3lRJk6gJo9FvHUcTCKxrUtoOQVoGV3btk/NDpD2/pf0lE5qtQkosQbwuesjE1BLSXwxt9klb507Jehhq3EQtEQfrIzTgrKvrbXogG3MADtJH2OZD2F+6y/UrTMjT25kE2UwBBtLirpd+BpVEeWP1yzG8aPMKzj6vc4AChySkjiwGNtmkH6fAzkwE6kfBkKpKPDlgHGooG8zR2zCq41xvcTi6P1oF4mrYtO+uC1KxQlD5IUugS/Y7AQUQtnWnbRb2jXN0MhxVZe14pIM03WgolySfJecq7pJ9OjeQ7R4gFsDSwTRoWjKmcMM/gxlDEW1cmiM3mGXcdnyF1QOQHnQ554ymz5MTu0jRZDJ7HkYVajIxCyNq2ydQrRprhybvCq+zAIYIl8tuslHuLs9J/8V0sk+r6cum4Qg+WxXMEonski5j4HzVOkHx9hll3bE3JG4O3LUYBXIdV3XR+1mlv9RNpQ88M3nxtvwGkW5/SjnXWodyJsS88AjTR8UD4D7sAuTJnxsulDIYx6X+xBqCOesQs8a7t4dVeJGxp34UwLpN22uVBs4/vIw69zCCD6pKwU3LJYxjNBoiIocQIo75eX55/ran1lkHrf1xWZVs5f2jZp0ThLmLAqCDlUoDaTbkEBDeAlPjg7KF3LY5HL2O86GMgR5d+P7ZvTxWYKOxJEzvU+s5cR20PDQB8ci5lvorQmy46OhZkvbxNjbnHXYUjcjmS/pYTBJMxjrIdb4+DStdPsMnUBVEMeLy+jeMYdndBbbC3eFqHNssHjsuxXMWX+nOARrIh+aDd8sLPH3K1GPw2mk7jAF83qAVRBVrGxg9aTJkpwrP92qvhc6nAT9auaS4pekbbwU/TFKYzfgKUt0Isl0xB1FY0KVabnXR8iIAZIzcXqIB6UNSpI1B7XAXhxhf5unVMGX60gMaNsb6SACiaLOJ3935oPv+kP9MNtNzC1sRaPfaTBo6Pp2t3pQmVltQL/oKz/y6zCO7Hs7EFf6m6EV6mxluNGRwbxY5of78OcF4vsC6enWO+50LWWy5DWQDiNWA+Jh8zdJVpICsYk2rxftNnVPkBGrDvkf2tk06cTnTTK2YlaNKn9JVkIe90euYEjQ8RNwFm2DRgrScfJDgK7mGHYtTjhYl/l56CpPbgu193Wp7GAz4MIwx6r8Cs7U1GCzxvEngzU+8ASRW8Q0GdJVqbZCe3WMDa+IRN6Lsfo2LxhLIPtIVrc0GdceZH5EynxVkex8FgvRcVC4saWE38vKzzU7pZ5jlgXMnOntOF+dt69peOPE9uxE4YowQVwUZrkPEAiYXHnesDnfsvoPFRGH0quP/4E02Fk+yl24APO57OZ3WMttfAUP9qkh8bP0+HeHiABDJIWcra3fEFaW034zXsP+PGJ/NnfNMgFOyTcjDFKfnEHbHVwUAJ5MFZSbWz1NWzlqG557JfxQminzvPDtoJONVjlqKUKJHxGDHzq8Z+qlHb6r7ymvsDyKGb8Q+1wt4Tkq43pgXR7O6uo3m/hZFe0WzQ1jLtpDmlsRFcH0/JjyFQYyvrAtONNDPVAdQ4nAp6ZDtu/YobLaDRyZOOhH/3l9nLphVeD43+EjApY+12gWlNjumYnfHVEp2z7J0SeMClKu3l4ocW8XOqJCDQij4d8NY8T3mLmkiiHOTTZhWR2hdwJzTTX+rRsj+JTjTRSnWeoRaXjE7XkqoyESaZg9IOwrTn515HwK1G09ETV1aM1LVhBQcwbGyTHGaGZ34bv2o0TeAdjshfTHJZP7dW8R84guV5cDoAm/++ICkP5Wnw6HH84IQm4ibFCWzie1yy9tAId7y5Hdvv8ABlrchH5Cp2Q7Mpn0raadhglE5aEC8hrmTwEKhQAUlRowaLx3I3uA3x4BhGvO8slxKoTCtrao4uob9cPiFLy5/XrobkRXlHWnWQ0JXYlhEHUgd2C+WEH18Nnb+KRPXnVAkX1PiVZ+T1eI1VV7LPvtrTYSfaFb6KgbAzYL+o2LnWQDWwAtU6u6R7wkrB+HPJVUbCS+oki4mK2FRaou5ZTPj24qRYX4SvsobKuQBR/r4VrAqwsVQQB3p5sfz+EbHZj1xEZZegfFcONOSzRmRob343IhIu5bhuyUzQVepaDVTqpXDB0zJSKFMfJmuDeW+APMrQei5ehvg2vYN0XgKC8zGNFiut4g6/WpZ70Z9e8D6lPT/TwaoYBE820KFgooGMbqPKHBET3yrGm/nQ05/RQkEpfSkSo12GFUolbjUOHK/T+OUql62JVOkK8fOXcYxG564u86V4HlRGFztHHcbcm281IXtE305Gi+V33CY2VugDIkoVgaqy24O8WxDemuG3eJFGbH64tEyUMxNaAM5Hi33SPzGwa4ygF9/1sDX2o8wEvndvx8uWWWBC9APK22w7yGQ0czqZaH3mHZnnKxoBdHS47/RY4khbGiXE+8lFHbGHq3rNXCTUCm+U/cgsLbEGF5uh7xcNqgfP/eKbnWQSOduT0VH/sedvmiOpKV/1CNkwk58p3h5ic/JD68AGtbJsYyJ0rqMdhW4jOGaIYTEHdP4FAz/ccT1QHsMcsAWnLaY192K7cthaLIBfVoUL7UJw+sqFswGTxIUxyHGjNf1LmXqNRXIshgtIi3g2k7S4W7GYrQ6V7KmgfM152GZ/11TCHAiqH+kuuQSXfQlW9f6HqAmGWKSDd0swB9NPzVSFDQtfwT16losoqVVWDLOsduwV6mYybVqjsf0oWa2+lbdWTpBrZYBRQ0cBivXEDrYA1eYnpKVdp0OC044+X0w6uglrWsHymdPhvqpulXWjOCuwqF1Xs9aiUU7l7y1GWXMbLSTIHhfbIdcOVTG3rHdYJ6+rtkLDjrwZsA9QA4Kd1mv0edbmryQnMikgVChiPFaGhc3w9gpAN2VHIvp6YO5eMG1bFjukD+bK4k8SRc52P0Z9EjtiVLnBl9nAQZKmyY0jPYyHjP5p/4dpIfKdAxbQtIbGLkcJBEdAUop/9ItL/Rej148MBZNbf2e436SBwxtaAALFh5hq2BXpIBkgr84N7q3rUpgLdkK68dzAbT466+oozSQUP+yZPkzz4PxWzWkWbmgG6ycjakxpaiU1GauUvppIE8uzVbY4m3zhBF9DaTorH7BdDfvNWfsTQxOIY+1siksxIhzEuZwh2IFcxXKxS9M34xnEL7/fFZIY+mFzs1oujPaiW7YPaHIOzVoT/HvJBcmV5pnsHLLBTnKCl55HyKkHWowJsWKl+P2bG9Pt+ffLjqh+6BtU/5i9dvjNMiWODrX9LQuk8U1eQ6E1qr4hC2MnwhALT9XJ3ZKg60DTauJp5449xe82BrOXkficjcxFi3Q11ZSFchl5nBzMIe6FYE7KISkbPsnnUSZ54APERTBjbxTtNGLlvzHOTaeYmH2E7/+5VoKV9eBXlq74tA8O+QPdpNMhEWJOC9g4efsCuAeHDrsQDbSZehxGdXa6cglXcClYMhaNHPyyYjX8V4BpNIQx9YLOAbOngpZolGTa+wQVYqvG/Cm+FZhSwoVPcOiWRuUw/xxx0+l5kjcPj66xjUtFDbOkXQ7gGXBUXwaaLvctTmd7At6y4OOWLV0ffsiLXMU3sLceVDXqfJNV7GyXVXS/D+p3GiUHrKoRzwADVzIgpMw//V0iK0kOWhhwcbsnQWxRNqC+8cNz5+w6O/47UrhoG01In/wGf1nazKyownS6Mpq9Vt3Q3u0Om73tPJaizK/6SOLkV3OXtDn3Ov8//ITbRvfRtczsSrP78xTR8FpQJcVawYXQogktsvtKjCpnjmJhIpkfYbvqZFoNfJgL6cZvk859e/8P4lPI3id/1cT5/d2B1bn+U+qMmBCpH0fTh9XN3pp9vQ/Z4KVBHxG3GHrJMkbuzowoxMH1RZpGIjsnXCkSEAI8+NLL9iEOxmhbf+oG0mzwTn/pfWvDjICFcITL726TT+zzCmWlagppGjRiCsRE6NhXbR09hy4WgTqSF/QeVF8rNbNeiW0Z46U5uPOOwu1WirPaY5PsGNpglsp0hEQfd9GR3vc5xEgtKgQkjPHrzszBBG++fnfiAKPkeR+4G28XCcW9u1+50RkucerNTR/yu6L99eahOq/SttZUl2zGiq7KaimQFzLVISSUBvVR+ndohAnNyzYTWW1G9c92ICNMbgCBrIeLesVGQBY5fWBXazNtPWaui7A6Ryk/pRka3Zi4KgomHFkIBevQxVSOlZu1XKk8NznuNrulfE1HZS1YmroXE/c7prKKvu8wu8TvxKn6tiXN8YHjlwqL1HKIGaXPKw/12aCJIVq1G6Kb+YHQnnc//ae3gQS2rQPUHRlqAm/jR53Yx8cZOcrbI5O59KTAGkHfK0lUM36MqZyObyPFwot7v6XirAcFH86uWZkJ1qeruntcndu/UyA0eDVlRSXumVansthq3yO/meJNjXLw5ozsnymX2XxkwChXsba1B5Z7G9RrweGWwgmbrXF1xuN7kAhkp6TXIl2XjoVIofRw9A00Z7KIuKlNWnpkSXmeE5ua+Zwdo+u32NNWubieW75PulH7E7bjpi/Qvb/cx6OaphfCsQanN3Ag2YCFK4FGE8DXxJ7RUhBGe/vTjN5JRHsxGEXBXht0e/WgeXBH8F6htuMY/dCIgRl9+tkb6nWBN26ZLCmmucwZXwcsH58LubJWGip2OzfZTDR//cZObm1nJJhB8TAJ6G0z/Cp30eRld606UPpqOJTqBaPfzZ5Nqj24qFeiS/7fls18dq0seKHW/qMB1OBDcHcH/IdRS6ZvMymfUz4fPbMPGdesVxK/SZRWoKa7ey9SC3MkBBrON3a+vAKxTZeKbCEj8BLQVfV2Ue3HYNa93qXu6m9wJMlQNNI/eV2Dq5LfiTc0+ADcu01yzs3XTre0tQcd6YXQtfdtaEWoo/9A/9u2+w1ZmBjbzCpsdxZ6XRPoWXnejfjqxIdlM2LidpU9jl9cHh7y4+45AMPv1Xp4U6rhKgkeG3f/MeAT0iRgi4UL1EJWrEd+g74dVJiksx/CN2DMPPwkpcWt/yDswbExl9O+xtMSSKzHr9TpgtyLzqeX/439AZw225/2tFtIgFnIDGXl8bVL4iwhiwQ1KT5+DiNFLKyD1s5Sto5X9g1fLmFEVEPzVo10HmkfI1JIyHUhQqDA0ueP7l4RBW44+XLdDubWyHabqkbtQyW9LomD9YOwJF5vGkRcNbKL7T1L5a1v+zShWvg0hlSgNmqGL9vcYDLH51VT4CUN3qo6c9IseRPTEJCgHhRVmSVA8v/b6rePbkqTGyf2a7A1lAJJZjCsLDy89dEK22LgiPNHbgbJx/hybj85Xpd3yhst9surYNSmqcwkESfS6cS2ZKCxFNH4LR3D0Sb97LmMCvaeg9uFKG9PWxmRuZZTotKQF7Y9rZ14QaJ8KZBpf195e+6nOtJC7BaIKlThbDEjdmSFTZwi1KHNgfLuyi0gQWEooV9bGrHmaxCf6cw0g9xx4UDEYFhz2aNlpgF/yNuh/R5Z4g8qU84Dhqtu4HLZuLtj4/e2H89Upd4BWzkezpxmd0lE8eVWBXIyx06djOZduLsX57bgC7D1jSz2n1g6QB6JaYxC1eH6nL4ktPwHxLWnTJl32YNBbWEUjqvjJD0I8e4gmKa5wgh/dNw+dU9Ry5IUBdFkKvb7eVKfgyFDh8xc5NxYxFWEvz2x9d3RT23QJo+0IWVpdx7tgA5fdl3RMYDs4UrUEKbI0bGK6TabZAHjvTkxPC177FYWdft0fCuig28Kv2xsW9Upqiw4shTUzsv6oNG/GJdN6b3h5C7EbSM2uC4I2tblT5sU6wlT/Lw1ee77dyiHa7CpXwWW1Se7BDoHVrJLC7gVbjISuFdk4F9sF936OYRskUGmr6in5fShsvNddg0SSKst3vOeF2RjyoBbsvMCMiqOn4k59YMiWwnZaqMT8/7wvnRmSaARskxE9qW5Al4I7/eth8VgM5Hr0mkD79QFTbQXygcfTTgMszy63vOSNBRZgoi6MoDJBO55RdJVa/ELOlAe1uATir2phQEINERqs/JUBUjffq8NbQhBXGojD0dkNku3ms4N/uPTP9PV5ZtEgKErvYpgbCM38PJdhoQKivsZ09hEd2Ok1optXvlWbENuzqMiCTSy/NRi2/QJUjPu+hDvHL3VQhTvr6kJne6QypRtFkGHRRKcfh3OG4HCpW1yQUSryWiuxAIlF64f9YVWBFfXYziHXcxkaIe82NJaZzf158qWsdeVSg2k36iPTuBy2CCKBE//I1H/c9uRq+/dJOtnx4wVjAFMEKg2rFXFqSALBc0ragE5OYTzGoei7fDp9neRD4555DPzk9YOhoWUUUkDVvOlRVt17GKDddNNHWwy2buQ5C5hCJdZQ/kaGj/iCz5sUjRvz+qqIde8sUYXNgGOHI8awYGWjUFasthUESr4nqrnUx6TUIV8C+iABu313XrLpyiBpzGuAUW4/mNSVd3RtS6FoTXpi9dH+UJsd+jM8Xurka4WO6S1FB82L791oSnvjBze+TpuGU6SeROs6Kjvsioeb2GrGKESxKU+gak3m2CfG+MK89ZfpxwpR8TXpmdSDJSgJNucRKuxqXyrIppyCUx0DO16l5zRQ3Cw5YpqEA6Cg1J0HT8SqufFwOkOo0UdKKlZheDJNNj2XTPGC2O8WLl1axmbnBJjRFfm+0Zf89XmlPb1gBU/32TG1zMVoGWpH6A94neKd8HEmnuvewN1Y+IMxZnSW4qlVNir2foGkKxci7CRGpXiXgoKplrvD5GM69hvyye+Cy5cNTomMLFT0kJuzzh0lRjh0mJ5OSpxqEwkpdfBjlld/ac1j+lnLVJGQyPmCbwQuXYqrO04O+N3RDwreiqxHEn6Tn4Dq4MPXuC4oQ+7lb8fdY8+AsIpkzO8g5RF/tbn5ORBQH0jawijnPgbe80+Ks9I/faY/bmO8UNmlwjqBaDfPtOfRWJk6lsuxLGwXpD8v4r6ptgsjO3p1SdKQRmDUwofUCi2FUgY6i8qXUWNeUp7wDmad6oxGtpfc02Q8ztXpzanegy0k5jvephcFBmtuNfA+Wad1T2a9geywKuu/kYgmA0qsm/haz9PL4ALr5BJO06OxTtxUNpA3CSUDqZcjFn7Jyyo834xwMFsXosGLNvrNrflgxUHdDAxEPkyJjykBLCO3/N2RiZAdh4fauBQm7WdSOTLlMWsk8hYyY0+G/KKauO+gTRG3sHA1rgngFfOTyGSogwrMVffAauzgpcrzWzW/W19JuRPPVUE/q/Vp/D2leoCcDidXfEKiiqFndXx7bC2nL7Aiob7qqJ55LFhxQqMeZQjzV7vjwQa5B/vYjDaRVQvRp/L4nXfNYZPRWulMeV5s70ZXQU0PkCcnl29+Bzh3iUnRo/KMkkJ6T02lWR0LapOCxhgdH/Io0r3v5CtY5JF2JFwvVdPX4TBX5HsL044aZ1Tz/9EJVj3aKMtlYxEX5OPbRTtGIpopcghJqMd5cBnFw8Ntd0Gtp3L2K7NRNLi1vGrU8q3NLTTMw+zjePdQ+YjYH8OT5+98p6w2vVsQJ2hmfksDtDypIRkrbXSBE+XMIzrqQKR+UcY7UdpIdMtoZkYplx+RGgrXEjcYWovZy6s8eUTyVgfAw/cLX0PxJaVayiLreVcDvnIG5bUwvlVcPcSzNxAKeMcIC+A6Jj2SuKm/4YoRZx89nL0h5rE5mUby652rzDF4JUHI1L2vpF2Z0HIzFaKl6UDlBWpKAT5k8HhCXltewskQgjGiEI3lOF00rsQUBIY64/hfpRjE0TkipEr6t2MWwjwfZeQ6W8+XWuPHeho0X1kRGwHGmbmYSLxCw7qCTbmaSi77jYtwp1BqMOYtThrZJ/J8PKi0Kd9zmppmsqc/iv1AR2X+dLukVTFFSiJ6fhvWfv+/i+tajLKRX/D1YcQqTvXdEyGS1FCYsgvxg5xpQ0jR75yu0y8ekMMqFUTHlCmtHsuahI5g4UZg/e+ej5SjCicMdts1RPd481abntod9dY/rguN7evP8tjjUsBUAoDPC2iqyQpOVhI4eZhnhzM+V6nXlaWmHIfOWP728Oi4xlH/v2VUgiaU2gdxBJGMw+5IuBVkHbK5REjCG/OP6Jt48P4qqGtOIJPNbs+iguinrjOnFzYfWjfWOXH6/2HNxmU94zwqKJDYBItozykI8HV3HE2dSy1QksRk9Eshb8RivELOSb7b8KnWkkyWlUJ4HIlJTE26IQKSMb2SDzkhDHtCR9c/UbQ+xF9BfP0uOtp2W5QS9n4ZI0KuH4ovAAxMEfHShbPF/tUcOjKGkoR1Mzjm67GOHm2ixLiy7u8DXLZIQG9YmiRauS2hDoWMRkScR/mwVXa+Q3JftLj0KrX0pQmYiBzEyAP+6fr81/4Ks/RAcxbu12Zk0pZWamu2RuN5+pTVZ1N6LJAA4h2I4ZAeUrhv6mER8L9IxRqvL4H3hjV0DrVIzNp6fRlPDYxn+pHVSwQBIfPhg4SE6T3xJiDWJcA09dWP32tKzqJcRpaO9PxT5l31g+r3Kbee949ASCSEpICQLcyCDXKrAom65GR8nMUmHbvj6QxLLQIBYculMJvQ315SYyY0EcPay/71xQBloaL37MpFfk8IwsukLgVI9ag7Slgfxii76+/LztRdbmImqpd1Q+BPyC9A18W8F+A+oJ+viGRoAM2adMnM2KrWoP+1v3G8Aeeap8MAL4sG3xRNFAcQaRDavDlkdYpRJXXfjbCxz4ocUeFRz0pLZHhfvN/KWbPKmuG0QqIXVTw3G653cbcQzkiwnGK08xD3YDnNvqIy/7yLONeCjP4d86adSR1FL0bazHOy7OckpDDefXbSGin98iOuZQGh0iMjXgdKKT9GRnQpIHfnRt0V34EREFKtg500/xTJSk2rCMfdjpFd67AVOa5e/z8+jJfInVONXeCoz4JkwxpRyZoV9kEn0D9F3pIbVXigcB8FpxCodJX2MHe0jCGzrlYKRi20cQv5ycR4pXkUAle9Aarun94vFH69qFh5+IPyghuNnske5OmE8YJCoPS3J4QFyr3FO6YzUXB8Fe4rFzpQg4Y1nnTjy8MvJ3Fr1Iw1b2JYD3zqUUhgJxWzkotWWw/SnzMSlQuaVkpPl3wWehlKHfDeAKShdfPndwIZc5BoEJzpqDf8UGYCxGcjGL1rVIQl3eG85VgP7bOOxd/YGlrJ/+VYl6qRLEokg2ES0lEY86iVm8zfAEGDwKI5AxQDR7V6KybGnGnBqUPI8NdySDD6tuMwFCAo6q6m6Pn+gaOl1WJ8Ixoc1ghwFMePCGsY9BnfTlP9tjuVbmuarjyYEs9S5czYh3Shjl0AhBGldgNiIHrvqxUHI1KEPOXeLIvRiE3TtQfZi2JuooeVQTIp9wyEUq2tkX8LhLOFPkBzIuX/WnwkkrxwwZS6lGBZAMVH45mrJyBw+5Bf655FLS5xl1h4TTQXFz296/8q8W3MxCJcUTmpvQJYw7zVgH+JYlEWytWVxMdzCLRHVz+++jFAl9+UhhA1mr3f0qQZzrHBdDTaFSMbd8SVaNhtvLWT8kUFiCcwY5wBUS9paS43mGIw96mP+T6yiD6Tl6Vhha/5jE2RJzYrgVxnO+FOS2ZsaPT+wXFJIuSR7aQ0pBMSbZlDRh3rR3UgyrvUKnqGdr1EJVO5VcWEhVfBa7H6SZCbVAWLSHjYxrTpTeuDDOu+KAHT9ro4JF+9F12OpQVw5IksPV76ON89EQdK1mJsqUdXKZAypi+KM8zQGmiRqyGLvxlomrVJZ0ZQ2zPP7kzWLXuCOHHa4JnfcKKrqty1/KcBCeTO222ZAaM6Ofta/0UVLEm8MZs/iSdQtUoWYdDgtBsEkAsj9QBKSeyFvek64rKEsUt1IiDVdRCCoCqmSvHEE6UNocFarncRBEoAWcY8zZQz26W/HvdR3/D8GDYNS9mgtjKE3h7N1Ni5zyyDZWV+8DIYZFyNuQcXLb9DgcLLL4wAFMUH+4XEfRatX/12ULHQJcI+iOyrOXo0r3op0ccwpRdnp2ZGJVJBBfEa0FoyABnsraDEtwGjwFiz6iv84UjmiJX3E6T2Rd7IeWdXU1cfDyMJ2txdr13sSAOF+osg6T0kWFPExSR/EUVbS+olQluYWEUHS/xfDZCozxf2ye8LIhn3XgVAmzcQ0GixIzF3MtIDRbaWHbu/SYs+6IrKEB0tewlZGaYO0/5vyrjadXM93s66rIzn3RTWo0bsD6PNs+gIMDA6t23ekeZvxAnpAIsx8tT6tOvnT+R9CyMYDogxT3r1aHQsk1iq92Wq+l4RwYHN8frsFU/nxm8fOWUKyQDt4YpfU+Af2eHhDBO6Jw741X8OLqWryzbk1sd/u0Zi6EtklyhxVBKxjR3zzG4z+tmalJCQSM14JzrtEmMaZn2QIg4FGLWLem15Q8PG2co29+vRip4dv5+fCmiv7fALUvYFNUkj0EXLVb1XUwWGZ03eTwYi7biQL2WcygXxalVCFrLfFUu6AJ9GNqwSB6miBEZSfbfdE94eoxQBuRTfKmR88A0yjwbCM/O7qTbA8hBEFZowvAxlJAhZ0H6AbiKAlUSw3XS0LA/CoYWwYdu/AcQL3Le2ZkdAHETFZeIPr/Ipj62MMr2iwvttgGhKaOleDznLrhJZRCTxK1cyVPb968/mWZkv+fPBV8VYkQOqe6O9NzqyWALxSh/TDTj0DIJM0kg/4YhE4zM7YcX5AZtAZNXrG+Rntno3GdSFuiYYkdkBNeIS74dCztKvHIYKlHbsLyfAnFPbeHKuzDBNvy+YPy9IEviifrOqEel5uzLUgB+uotfGzkTyQM3VPz1iRiCPTABL/dtsWPVPll+INsGJR+1OZSAGWb9Ly3PHJ/VbfQMvPBU2PjQ3GLPujdzwEkF7WQSlulepEuGJrZYjLro3XdfdfLIxPKcwtH84FSTkludT5npR+JKYtY3vQfMcDlBf5byRFFOSeNjqVFCzA0eT9uQ9U0M5KPxZHP9h8gpKV+jJwyEEF5sxGHasPet/7KIicdJmybWkZTSKmm1PiyMQSdeOsilgSd44qmgL9KtVxsjRKMzNv4A7KBWxfJz2u/vDxnXbs9r9lBwVwmr5P1hdcm8uDIFspEcFORu04cpTZqq4cKvdYgnHLBbLWqO/8HWcaP6XieqY1FUrpDTtkzNbMMlzvoEBePhZxbaZQjNLEkdtv2FCzbZ34C0PtL1YGDzTcmdPtWBXye78JNSs/MUJbbldptos9+ESKcazrbkgxVTQSr/rdvmB0rqFmBqorqexom/Q+5243xZ1YnWczhfOlfCq/6jDX4nsgb2c+Uhv+S3140SE7p0CB0iHkjEbDICh6X93rPmwic+w+tQnGOHtB7d3aDRR6kONB5747P9wyPDpt2oelI183Hp+WP9JkvG9/PE8xULmJ+ysNxLYp5HlYAgrLVQ7nqMZvJAG1QEDLRP+vhLAg3/qQv22fUN1CrW5PA9IwRc5G9Z6axUwFxVinuxJ8Jg6GL5xou9RYS0BqzUwye477cKMmnnTcL2Kx0e97lFfifKhCG2y678NUouxGuZtb4JMBM/sogxdO27X5YzPF6CdJbX2OQesUzRLBfyohj8endiPBnJfsQ9tv4b4HKv42rTuMPWC2PptZg8X3c/7DbT0hQp1n+fR+FuS+J4ZeGb8CIBn863JpUGlF+GmMIyYmfac6jHjKe7wu+K59EdCcijBhE7Qb/ueOHHOIbKWLvm/cubd0z/KIVfHmQNTptUiv+gE30ZqOwn6MC5+G5dP955ju9YvFyGL7T0QivVfEo7u6vcecn6OUym6UC15FjptZHQWp9smkTEG1w2B3vVt8IdgkI1wB7FHZeRTTTOlqxw3me3P0USjlUkXbOE9cHdyADTnQn+j0X4YSS/jK5FxUgnVfYR6KXwOwz29+9K+12M2jTlUmPSRMLCDcfeLgH2I+2aGmisfCk7MKJdcCv9WPc5txB65FN3ygWmwvOoVHj6RcDbtkoBY48gcixqCcdOog8kwQHsNf1Y40bu4AdnfeOzSV7ex9a2yxRx4R5iV9oqvzzgz2WjJBAtfUwIDcZZGLRLcwBtXJtIT/ecXfJEG8i5t5LVmYatr/6CmpcKs+23mkeGZbVgDxJFqUE/glrEUjGYSWy+VCVlucpJNDApUbEGk9gI2B6UE961PQ/50+lqB87ej2mUY5Uzs15+PDfv2UIJRGhLTLSwkcHVdcNffVwB7OZ6VO6YiipCocss+DA59im7N14FWXJEDBSzRa4W4QSrubQwC94HhmM4/ijQbRU2y053jGhYXoQ8EaC2FO6q1/qpOBy159JWRvRvLpVgPPNFlaAPU0dn83GHz3jWb2WsPO99lxBUAg/Akx5Ncvx12EMPLWETa4YTMDgtcxmzf+FsBmtJruMaYVMObD30DVhoKlRW7BfsHMvVB31/K0N/rGlqtuqs99iZt1bnVdKqYV3oB2uZiPlgHh3wAMa3mpOctKS+9pH069+C/IDPP9xh9vhxxtw2cXAxbNRZNexKT7B2S1zb1bndjv0sp3qQ4CT4N9tHGbh1p/2K7i5tcZlf9CdL2eD9lOWgAbNPdkut6IpoaoZgK3fthw3KwvoK6ujPofn3l7quNT79Ah9DCy2dajPs5g8UjFWOH6/JfEFLzaB1kgpQf1vfPh6AoIBAUsDk1myasnlp1rF3nR6A+uDtCfeA5RXz4uNuT0nYw9/M93Ky8AWhEIp/DB6W8Wro6XxyxD9ssf1vDN8r11TwSGQxZfF8tk6lTw3VDbZmzpK/vUV/BxvAjXcH3UwK5XemQP+4qWfXSSa74BjTfdo+b1xO5YCwBNToSMXJbTChO3i5WqpH5ln+KFkWk7CmFH1B+Yx9dpTD7XtLs3cvaA6+I7dZ3xtuAHvHGlop2ZVfs/UcW+IAz/d5xltskOmF8xf+5CED7QHhw7NDhadL6eCYRJGan9OgC/7k8pTR0RQ9pfx6+P5QH2nfiPmVOHw2vhT60TGaeJbLgM0fBeJDb1jYsPT8YUfxzRiuzVVGn+yFfAr7ij23cWMORIeJUr8MoSEQ7wswn/i3mwfEqvO687MA9hVCZgwpCxRph/4YD0FHXq4r7tY7m37IoeP6/vSicHAOX6UZMTlznoeGXz2aBu24Gg8wrAyrskXFFiBzF3wO179mhdLJ/kugaMCmi7IrtIPVWtaLim0prqInnkffDkV2vhiaSmO1r0VAwBvTfxaul2yan5PJKl1YThGSQH82gG8oH2TCW4sNn1+HGS2tEdzQFYQzIuqoaS1EGFkHDIGpvZ9sTvvjK4DJ6R1w+arSxRPkCcWh8UPGnEWEbHfQbyJUgCGo21mdQ02kQZMDuQbsdWYvCo0pT90nACFKrylD6E7ncXkQ3irkOy3YsxZJ8Q4z2A3Sst/EOqOZhJXsM2d87VYNAKyjEY/H53Y4YE8ddPuMKt0Wat3JYRPHr7nuSc/mF5Zhg+31uwJsdRH3G/4WfrEXBCvrXGZTf4TnezHyphDzTKwg7MDm3H+DRKzh6kgNsjtN13bbLUH6eqj8OwcJJaffo2wxlaph0/hWXMtz/WIdZTc0qshP5HdP8L/uwT1O2Ekm1iYyQZajPjj03FL9iv7F1LA9prpit5c6Uj+Ffj/Gf0X4rU1C0Li1A2BJcI0ThAwdWIpxaaAvARolxeqv+nlnvqAsr8gEJl4S+iV8SrH1QzSOBi2FZVXzKrNX08Jr0t7aFbUFClb3IJVkNfOKQ0RGoaPsXfdnmS1GNHkEjdqvy2t/EBNMnxipif1ZF9wQaD4xMB4L9R2v3h2ERiO42QoYesOAyn7niqKWbvi8EHrqvM6wZgFKx0JY1ZQeah66Y4iyCAR42vW9YsscXDXlnpX/lPxyhqHfioq70zwJ5+sMd3z9BwDuFRpvzb3M5WNaCZEX29Nb6EEi4ILnPJcP+HvtpnNUAIexxxJJftM8wxEi6MDtfFgeyVdMsaqBh04ijE7Ir1keyacRdaQqTc+PiknW36jqYeUBBtsuPu6A9vdYtATpamDlIUa8vO9FTVHADlkjdm7Uk/Q4pWQzMFfopKp9adpLvQz/kSMwvrT8Q9rI5Yz0MVDSsC4KoP7675qw+/LRcUlyB5c3T+NQv7b+guB7KOeHoouREQH9B+A80CWCD3s7FYRPziOvZ5dxXpzVilm7Ey6XhecdEGegzaBfyJgUZcMAaw5jkOznLbGin4kAsTVMybrA4jW1xO/wX6sejSeRNSPxgS1XHnQc3JeQiblkr4TEFujC2HQkgo4e0wfozpT+W7LCBm/OsQNJe/L0yKug0wbTus89o5HzoXZ7s3Wiq4OvxOxy7rdcKMya9GyFkb0HQ203929WxYMv/M8rTa5Ji57FjFbWxZVJbmJUirecBa9bsNhFV6Hbagn90W985aVatQpOja5+zHWQ00YE20qbC3sGTEy740BSzQ8wD4q+ZLRHhnrREsRCm3kSNrsS6OsNps2bAGwcXv1Iombh/lt7j2iihfBS2RYbkcBksRAw+TsEXedZ+8n7a56rCTytMBPm1r8ASD5K/psm9PCqk7xYOBARPgmsyXAGXet62rShoL8+8O6Jy7qZLyMoT61/6MuyeKuyVlNE6aXnCE79BCHz/Ld7jmV4lkrpkzNst1pXYjHjCbxNmCXFZuCmYTXuNDkSWomCdXKN+OFXN5Pn003CNl1/CQRjncgvvBqeuqO54A7Da4bOdYxP/Sg0LXOfFS2e7m6i5ZUQPVqCDce3DdGMN5z4K4FPIJhURWw8cIFOUo1yBxa7eBSHPZFBL+JdDQgcxX7h9WnbjDkEZJldjShuMXY2Y3unpi6Slk2rjdUkNgT60sQyClUAix1J+uxmZKT3VjBV/Wkt+nYdFPsdPJsx169JUWNfwaRymRwwUd+HAhFyk0srwOXDIyaHzTJ8ic+Y31hUqrRFA0+1HyYbw94bgQGFIyjPSOXUpRErAiVu5IPK4hjn4G8BUZthDPXMiJtGfWtLCuHyjJxNgff17Cnb083YPKwtrqnqpDZGy4EAwQf8MN+sAc3jQf80WFIkjlPZfEvpJvYlsikYKbS/67XIP4nbud8G8wO3tRY1YqI1WvxnuUsr8tVDlXbbtbBLvntirfkRScGEggLx3itk7Ztu4G/9OdC2OLEKrpbwvomx/CoDzPPWEHq9RsnF85UTZlcOHysvY3cfXvbPOpFYTp3RpvWtAMUt9HTtnuxi72Iy0MS8bEYKL6uDcMjNfbE6iw61ocV8Aw6dUdYOieNnLE/syDOPaeZAxQOfcsuaNj7qO83+Gooi5KScqojxmnbSOEfKUKcYs8aNKDSP4nHIQBfC1PCeXbh/yk52z9ERizV+W3AFwniaRn021/aO/1k9AsR87zmuXu0l9yYq3wytdNxN2rhW66feptQcbopsTx/ciNBX89q8ZvcrX+n1e7z9Rvpv+/1bwnV/mxmFjo4djI+UlbHBv+i7nnMO7PdiStUCdTScAupiluw9JF2xyfvzo4dJbo7PwVH6ay+1bHupIt3fsE+nHyk1c0QB4XckRoVkvVaEssL7NqYpt6YCeESO8HNeYuHqVt1qbqd5FUaAp+Jz9JPgeqzg1QpbrCHVGrE0jxGNb4H8jgjiKMcXmtx46D0S/IzIwmIHEbspBWszNgTJmRk6FxaKCYfL4qA7i2gjf+3UFDqXDkqP7d7ItabOBhCdzJgUIO2ziDyi4ZPHw4N26UbHXB23YBcqKqCc5VMEPhB8/NFrOEMzQVV13oPDtnlNVU6uz/CyGjB8TSwf/tp9V94a+L3nrKKj3r9YRmffcS2FjHzRWw8CeA7HtemIkT7mJstnxJT0YIAbOxmevjMU76r2iPoiwKfOKGylVwkZipDK9V8rcskmabnEjry3r0oN8bVUwaU1CtIADMi65HJd7xkVhnUaNBuI7MQNQubxSsqhNiNgDqajGI0wc8HdVrJNQ5sHyLGTLHcicuW9O2td33FFZbGt9/e/jr1lou3xMx/Dmw1NUXJ9C2ibIFRdC/VetIIoNXjRNKUp8ha2nUDJ23S00PJIOHh6kVH6QNf1rICVb85RNJGPEVWZDcomWsofekbrPwtBUkJMtTk15gw4thOOgJxmp0xKIPl0XTd7srCdbFbzvF6euOKA2quPqfDtbRkhpFDE9hx4VjLEKur7CkKe/nryp2RrZHME2zjIv3a4Lctvv5hveZGUTGrnM3JspEV0OpNiJYiK8IYfjxsvX0gp/LYqpoH9NoDrZa9FH3Jd0Ym+rrNXh7ITf/u/nWevKKT0twHzxMqxGeoYp+6wb7wfAjv9YujtXlJBNojVxX3fka1TkXosU8XAhVEQASqdHQvV3mCtZaPtDw6gplGjZaPc6ax0dCfWv37MOGjWC7ZuQ0z/3d4TInzmj0TNnpeQF9k0427HyBv9Qn1D0Vf8bbtKmEx5Mr+bGcYWTf3Z/+od92aSptKJLT67H7U5g6eaisx6Q/nBdL5e+CbOP8Wg1hF7toeA0kPHYtcaV3gfGBhFrPF14wU/zJ84NHbzvZV22PEoQMBg9IUNN4wpttYx8Bg7pAhIeQmXeV1BM8+bmjjHvmeSyXGSehVKWvhTy6sBRYiVMxsR/BWRZPutIQtsOfDiMgv7EppXrExXxuk2iRrQqvMRJOudihrACsU6JpIpa/5DE0cIDE2cn2FTfBUDUDAdTUHCMcG/JeIsE64xAtCGjSPYaMXz2BBPvwZPFpsHlpbmGZexzxyRp+OgXjwiP0OZb1IJ36l2Iyr47GQwW/ziJvJdukhfqdwqBY6gLPdSkTDZRlZEp6+uX2otdZR/3297g/w5z5efhFo1450YXCIsPyt3HPnocvUfWjIy68h3ASG5NBqTa+Td5nqR0ZjyIrWh601eaJJKTC65swAIa+56E5x01VG7IQNdGDSeId7H2cy9rFkZKAoRiJ3twZFXe1ylJrlMneHdo1fCwy9B1Z0I1YRpUdCdJqaI8JnrSLvZl99B9lpY26uSeE0GR4GcVQd/pQH3LF7jo2AZHd/PtjHkZg3h8izggAq4Cfx7XfrCoEqjQhIlloxN69cMp3MwE/A4o70XFKyyNh/tClr0cGc9O9md0Tw7G1ylomYD89ZdSfkxSzNn8ceeGYYQn5uqb8uT77SEgnKETbTs/wLlaw4n5Ym0dzlRMgBo4bCAu6xU/8WwRwMBB/nUNJpuEHie8TobMKrd+j1RsYHzoluLcVWcOUqFDkLcF6UifmL3P5mAlUBCEx3gp+d4unbZJTTxvc9F4ywy7cWGs8yWVa3NSOZvz+p9lRaFA85iBIIkaBktxK+GULOc/qjyTQT5J5BBGBl+PQ3ywwUdhfxva9K8d7B3eOTVEOiyGex/felHeqrhf6GDSpTKL8OrL+vTuyocfWRFyTnmvRuatHwp/Xm7qvv0VuG/IFnZHSqC/WXNMy9b6Y6A2UpMZV5QjSm9aujMydu054H+7ibcGiA9qifmIZoqPj4p/taFplbB8tNETz+QRfO4PfLR8fc+jDQSJjezp4WH5MEp3d/umOJmwr8q1NikloiEmyfDfk4qwthu6r2WuE2tcbl6tUvDAz1f9cbldX8PkK+ZiYS4a8Mws042kc6cFbluexjmKQPzyeIiBP9hH/WZirTpyu27w1mr4/jsbi/tOJUc9l3oD35pNlrLZvuQkxlnuob60kI12tamJIkrh/wcASoBGCR+YXuQzgQAzTYc2TJVWuKxgQ5nSGuXGsMaHNqKcP0SHgXjRcL4ln7wnnk5xO6MWCYBK46B5SJORr2KU8KpKPdtvax43u2mj1dQd0B9tIE01jfTKZjC5NHS7lR3SZWkhu+gXgKLKaJ7kgFDM8WAvJb6yK9tVywXmWb6iOa5bN1ED194ScjPkJwtd5cKPdYDCzE5bdEcVViTW+1z0yst5sOO/dsSL4JzFYmzK6lxRqtvuJEqXt7MR+5sm+Jp4C/tDRxb8QQbS/W/KGQhG7oIE6jjQWS6qQMZ/jw20dbTdoussut4bdtFFfYSTnpDd6E91cq+qLK05ptYWjtPs63ONSF7oHW6Mf8Mpam/hZtPCv6R55XPvMxLQJ7wNu9EGx9k/GascbVmmLQkDKoym+umBbjebFg9v7E4fWaStXUFb2cGJDz+LJnv2oi15H89s5B4LyQJgZ/f7ABEP5Nz66PmtZOlEuLyOxfWSDWE3IfpgXqikyl4txOaaz/ttOObNSOMzNGi43UpjlUr5Nqz4If1uhyQmCF+JoJN3n+kyTpg36EEfSX8hTd66m7G8BUDOt1R8lOcdVY21Rwc2K8wz+liw60oWiEmonwHeOabnod9n8ei2KnLQXFRsbXQl1OwH9BCKSkx5t3RnO5nf3dvtw0kKttu26wkR1ok9kbePOdOgIJqFpfqrpMCRTDKcLAaaYH8suBpoKuuH4cznIhQ1lxXUYwKnYrlSxWYJkN7WIsECihgVbU5fyTJ+ow6UOYNh4bDyoq23RJEC847N2w7jn9S7QvlLjk1a2osXVQRyQVrr1hAqJhP/JcuOX4kw1uocWrKPfPeCKjhWoj+J1draMl8/DS4YWgg07Mf9feEGTlIo5/2eiXEO2wITZ0sbaA7Nrg3OGofhqG7E5icrVau77DJ/ll5wR9sJyffSDzrBYZ800CJfg7KI7cRhDa8a7H5MCUA8sSUbUF7p8gQ9aBXtfb19h/81YkaivgVPg4XsD87w5WVzQzIrMacjeIAL2vvi0LqbMJh3l5jYcQjEVQq9OdQKE3h50J2Kj2zihjhx26f+KveRSBzCtL37djauYli5731pYJL0TZzSwHykKUTcUpLBkad/Bocyb5O0vTh+KSeA4J5jH0wga4ZxXP+XUBNroC7P+pC+9WUfNUo8y2PboWX2XNpI1rb/8M7QnI5bJzagELcH38pt4tbqHcoedOJ7IAqOGBaw+Gu2Z0Xe3XTDidgVqZLjaTqjNMERObKA6/g8nGn94IMvLXEpjOZ4DZjwclsAkf80Ih4aomnmzFStHTluJrB8zZXjIsEoWYzKFSufJRssr1k/8fsBhMie6+XIeVImn33L+wwcrUsylIEfjxBHBbS4IKhnRAe4VncPoR0nqd4qK9lx5UHzH/sbkIZl2EYcmrMHgHk7ouFiFNqQ7CJNRxMhYk4Sv9hffDikk9zhgO0SUWq2FWCzaHv0heTaCHmo1SNekOSuyd7kwszEylHrWxe7ssF2KQCYYikDbVjBUo/XcDsKplbNYEl1ndvrN3S8701WEi+F2BqcgsX7Lq8aitr/E8iY6JL0JqY3lUGDbyyqudDP15DQb/dbiZc+Lg8yDr2lhGnicO07C5ajZPTCiEn4Z5Qbk5H/6DJ8lSxTXKk4bpvl0VA3N2WnFLg6FMXAAG7WxVbsgaRIj94d8kTloLFhG5L29IN04ROUjTreujBbtT6snO55gWKAdnfm5OShlHRqh+XxCa08w+XQf5q/dAUnB/ZloRG0LzqwUrPHfrx53+bykuaz0+C8cH0QnHzWFh0JgQ+N0ywfMJNN+TEuqUgjexNkoSUJUsi/Qy7CaVtqklxEza0Nyu7on0s1zxziyWxuQhCBhkDim0lNWaygNt/wq64CJhzxMDs/q+mefNvz8NtMHd8+mj9DmDUzhtgGzNActDMah+xKYJCZuvFaV83U/XyojIhZF7anh9OLD8T/hyRFw0GjEA3/ZtrPzibqdxSKqBkoufT7Ie0LByJKq6L9ZvJ9PLJkOXHgxGen4zjtgrTQG7bFACqde0SZaoDe8XO8YvKDaQwpsIM57MEv2vcy0SLBq+Y72MdPoG2W1HkAYaClmCP0PAkn+VxfxRMeJPZucGok2R2dxduj6Wgn4/mzbObMwzXIN3YZqlRct1ybsruFCnfLIKDu6+JwK+ZyKCVksW2htjM7Uw3Lni/9zlCckAcJ954sew54QBeN7X14b8MWLEKwKWWWCAKY6xkdNxuXP2G7H/+f7ct6XiW9KGdFjnFE9nPaWNmkrq/ck9R9CJ03tcNvI3ctKiw6dp18DnAU4AVl/V6n8o8FEuaGzA44WdVN4tvlySz7tvcxBjWed4EEZWL0gbRNJeLuwW0kdS/PHLyVREt2oT15ixUoiWa786ZkJqYiuSFrk4SJMwic9Xi+Rh0gy+scjck0cuVYpF1HFpsK/PGaGJx9GCmDuJSf04swLQ5vaifYBpcyjDH83J8mN4W70OK1etJxW3YkriBzNpRvANZGun8WIsIhxJFDhEjerM/Zc8JVOetgvU+si+0wy0y0VVCmwNtece6M6+InsXxSkc6Id7QsajA2Jtq3O8othF54BYPVb/jFdTxPpy9j3IJAFcWVATm3PtYvHOgUjV8QiDmck3DOkJlj5PvEIuuLd2vLEFy8IC3Oj811vkS/utqcvMIUOG7Us5msHTJchOUxFke+ktroogDWdboHOsScPxfL9Q98yEp7OGmDubJEmLmrxAloxJaqm5uC0v3aP9r5vnDFaAKb9SqoV031DUQywnP6GyeX53zi1OHDvUkTQI32cDjv0MWINYMgSA8DSY4KYUMgDVi9hHOQSyPHBhdso45mep9Z+PlT647hq4sVKgnVvMuMh2kRV7cGUvMSUs38ahr75qFtjBh20Ii+PPSdsl8f1NkDrUxwb3h/KpWQpjWe0jdUkr1Q+lbmt2uIW7X2fpP7phxyWB55qm4xTWrLhf74XjsmcYQrJ5KszuUIGUVFmedwNl5hUGWKr66nHvfQBJjMGZHWP9dUByUTR8kN7LI6BIwaUv2ZhKS4+yf3fKKOivlpfls1aKinTRZ/guIyC4PTV30vUND7VoCLRKD2rvI+1ODIOJNoicvbjv11U01wgh8bpMNgRSHqlsKSPnlA37JQkbUdQe3VG+k5R3dt3gAHB997ZtiQyMEWsSz6UPtqBML6UKABa5wc1OBLKgVnnM5KrpR8/eE1S4yFZlhz/JFrHsKfdvEUndn2S2zEjZYPoIel8d/wY8ystyCpKXn0Cx9ZXbghlogVU3mRLJMAjwPrzX3mghE4GtvHfaOZ8zzWdyBtMBRFgxCAVSEV4JN7M21dk35D/VyYgIzEm7MW4AlJ2o0Q0azgyLhymoduM3geHrYLYDsDya/HBJCugGZg9AIn1Tza65DpRGorfJD4zp5JgG0WarDpcGqRuSicIWjq2F2I5WsV0Ydjlpp72VHNMc8yNgzwsNmmqREEhnTGcmvkTNc4xG+HlBq6W1+Uqvb3HGhyp7xcf1Boje3je7PD5ytDkRHgIXrgKTaVT2Xps7qYDNQTVcAqpOKM9Sn4MI8q/z1+axMXDKFtcKHDHTLBhcqKeGhUAjIwdOAPvTJAUa0gWJ0LjQUeHy1wrMvmEsvARxaT3lJej5Rg2br2puxjUA06iJaIOXNjmMNh66+UUUP3QVYGaETGpc+ll2O3ttI8cJ94pCuSYENSWVjcNfXy+36aEEIqeuJDg5uFihI0fVsnIrcu1uPevBFA1slltwMfCFMTr9qbYdRL0dPjipVBpKm3yQIsfOlnJPlTzVj7eM7whYykdvdxKv5gSdQvkku3+ReWumSpcZZBtvjDzGZJT9wzYgf0ird9WnT2HW5Bgf5dS8iarfaztjyb/G3t1nnCh+Xcz9Z1KUShUAEa41KTY9aycVqdTY225cnX3UPi2pNpIKHfqW2fixeqk6vCkBm3FCEoB0AadOAwkQFp5bph63mzIfYegxwN+K8L5CKkGEbwmzOhNWyCgpvTAYzUrkcfIVMCtP4D/ZNHIIAiyWg9JMWxBNl4Tpvu25DAIknSOgYwbkgpM6HI+8wgEGh8aRlslvaL5PwoW6GE83kYk0yW1rhV+dQ8+ap4v0Nui43OBrV6YN3JS6m3rvrumymncVNSsAJImRr1mIdaq696dAU9vjPjSmjOKMS8sLZMe0qQz6gd2CINwmSMgCE/UcCislHLG/4/zqYs48eV//JqSvy3k4P6jmn+DVyCW7TI0PpTaUfg5pnNY4ScgS5dDWvFvkigSmiKS3uGyJsxm5e28mqs1Ohe9L77mNgmVPrEBL7d+wD44Ioz0lQtLCAJf5D9XiSQ4GAiEUaQ3lEtakDd/jUCkIRhs6qoufYyx17B01XkbqQL3kb+V7ug0+ZWsQ8hFkLLqsgUPDW6BbuVImCeuSnNi8TG5EZYdk/Uhba2aCOfOz8p7SGzDTzgW5fpDByoDT2m3WFikgFM5EZGg67JWKVMPGY8LErJp2yDuAD+YZ+NyMx1KnTYVUuLjJ+9VG6itdvGrd0v9q5mTg0d46dbHUuuldSlkDbQrTAu6dwegUcb+Ma2QXYH30Ai744AYCsA8bT7ttUweIni3tdXLAEG0/JUIxuivqqDiL63pC7XwdqiVnDQ5z4HrGNSylzpSmRSrIBdeA5S8qWxmRXr4+ySeDrUAtsLdslz+HGpHt6Zhpb4GJ5IKK0I8L7lqVGxWlEVCFvNYNGon/Hj+XS5XGOUxSMJNPRO/vi0Pa0vWlt4PP0t9J0A5ueCBm2gG/g0Sq293lbN8EwILNQD1S82ejbRt8kM35RmcHIMeMk7VMfhPqcuH8vqyqCm3XgBLPjLKm69aUoVpXpSl0fiZXw/bIeX8uTzsUy6x1O6A1ftzbYhHuO9wSU0m58qcYqBIpFMg/3FA2sgqa+4ni5p1cIoHKnuF49iT9HX3ttnh3nDtYsCJlk5MczJmsqNOFwyjH7zuzPqebrqxZSgOysBBnfWeDlQGIJGkx1EqWjz67JY1o2jMgIe+MjoV242BzcWBqS/8ILHdUSar/nRj0XpEL1biHPbdR29XV62sp8aKse6Bcrv3pdJfkhgcP/PbO8i95WbSa8g/hwfKizcboFZEcwkuvma+lrjtDqyitrRScTt4scccyY4rXBPj9EjDYVGJ4UPG7c+z95pBroQkQgU0tGyCAGTCgSUzLWRsYP1QLFDuF3/ZeorR4Dz3zg1jbq/4LhUlirvRyLBmC2BGCT2RI6BOX+PdqUt7GHifbp6CohH8j5eJBkt6SMHiEzXJVWa4pAx2P+C94s6yxKFhHBipd5vryRNgJXlqngVEI8ua8LVfYldGbF1lnukmmYl+Ek4x5sJTj8GWGXQdze0wrqmfAW3QzBw2B5A7IDp2vnrHyDnzaIovewOME+z73ZcUwxGlbI+bDkdcEaKlNJqSCfcr+BUq7psGxk4tDC1jPvV6nVJz2eukoEVHF+ky7809eSa+62aj6j+v2dnaL2pMf+0x7wWsRJsDi81w0GloFo/DWTt1PU9g26EW0IFg+WRXnOJ1ebfRtiQBWZ+KpR7iWfar1xr3Lm5gpN4mW3izzdDkrPXgSsMNP/bTYbu9Ql+U6beYRG0roLg5DgkfkpYdr6NCU2efzzESWVZUxKNX5vlaNuWDs6qAmLPPhskVMtvPc1MtiOuBo04ikng7bozy0poKyWbsiokE9WdHeXO6emxnvU5V6zHJi+CM5PpT/RFwLJCCksYHBpxz5sqFB3B5bEagxva8PWEYBIzw833KnEJ+t+blp+W2RimKPY/RSXtJo9Iv3F50HLTkGVAyjjtxVBNmRAwcVcP1/lfmXXpLcXGfOmRx+fvMu9bNmf4x2U80CGK3hp4fJF+qkdXxBqUcmDKPqPwuzeDa3i9KqjKTEfAP+vdEZeU2uPS/bHqArb37wTJogQp7eVgWoIuyV9h5SSJpDwse/TWUC6Ho7wSVcZJcPvupcFEaslZhRtXXNo+MaZXD3F6TvwJckppUKNW3mzMZxuallY7yyQcrNd5tm7V3IIfBEZfJ3hUrpZcx4IdES7r7AH5iGqbOoX9AjYk40sD1mYfHwCvUkfWk+bNjS1eeJsY1/r9aobnAMLt9jckkb0cYwfkmiIadnvslx94Cd56zYf5rLmvLQduDQbgS2UmXV4562p/0zN8N8jJh8KD/cttYuIp9nW8azI5eYXi2pd0Dx64WH4f31Lb9Hf5CuRNqhI21go+Q5DyX2J9Xyjvtztda0gUTrLVm2IOErVj2yU6hL7rZr9yWs6jPLr0aQ1VHnDbA4tWNrWANCQq/zukIWo87BUrytsI7bxqblziHq981L+8t7DUUi1HHDAlCW6gjVim+sYZviJPn1HByHlBsbZHNE1t+nYhHZ1DsVzPvKjzuVC2wAQ8zD3ody3IaszHkrmyYdjmLfEznLJBDf39F37cLq+Am/7W8fT+S0LbvIOwKDjcC8JR7GGpd1lB4yjm9R8bf3z76Ha6st/2qPBao6dmJVb58MiayHEYOBrxVWibILVw85BAsZ/0ziiFfiWfFHvGl+COCxmE5cvj4ti8yD9G6jOT1IF33K5Coc2XBU5cr8TZKWlt6QQXm+NkIEo4F3GZM81lTvT1TqT9dr7pZWPhGfa3zZzJ41f/4Hnqrl0QA5genJSaEFViuTn6jQ5JkeVSQ9L8WXxQeAGJICJHQRn7oz3+anQSwK7jpzczSaxlraxUZRCB6Yzz1DUgFS+iBQIIrc0MdMRbeZc9GG7fNBmZMHtJCQSxKsst7n6d1GmF4K76gwyHBH3AmXuCdouYlEKrmo61pQvPYX6ttSz1L/BqoM4Sz5uAowXWn65Uo4I4oI4hsVGpOiZs0K2r4ch4J+OLAFdV+pu0MqEl1WX6uO5MlMAu9oarljnZWlsfZDTc0hXCQHxeaB0kiS9Oim9pwyEHphLv93ObsC/BGsIQbMpnlumyKYP+FnXKDz9Yuri/KgijXCXKldZog60R/qkm6NY6zfC1+l7XEwf1Do1rqMCVWYRnD1kCwuhXiCBGLxmZKPaadEjwJ3/6D4a0HKSMcF1n+GOXAEQvpgVzzrm/zMdN3xsRlQuca3zzPsTfOTlCfaJwU4F32b5sXGj0L9bowwPoEjLPnwcCdJXkL4FpRbeSUd3vrMHngZFAOchyO0MvFrfCkhXndGMrVl/StZblC4WWoEl2dIOg9ThX5cfpdrAur397kb1yWaM5/r6O97zVSrM21MgaaaA9W/OzoQ5gkmUBbxy/ICJmeRHeJm9YgFWrxc6sLiua2tkPIuc6XJhxSY7h0RaFQ1MB4QG2X8FcM6Hc4f7htxvAMRqk9hy5aMx1aOXgu0F9pl2965eHFKX3sytJG53KsT2zSV4kavpWdSMGf1B/iSye31uiqSf/MwiwvutBOFpCLatqh7y5V41b4oltb3vgAF1tXhceR/zZK1rFfPtNLU0e9Y3eEt7LX6QBT3PpmMi57zWLji65iYX6LSNTiShv75AzJW44h5hCg+ClWlFkcdg/jBF64M94ghiiNDvASkto3FAntweMv70FCLuRshMfdMMYUZQvWWOqz769kMos5lAwhYhLHe9nAjjGKKXJ9N0srNxqeGc9oNRJqkEulGQv/xtH4ufbEIWxgOjSZOHrSG/e8mMWRHuSSHgTlWkd/LGKW6fpVB3tTe8zgVRD7/0EnyUkShpHHazsYsjkSLddwjZkbUl2NzEFLf+IIsFaolVcsAq+tEY7w9PDflq4ORrfQaxLXOE6zb0BCV9pXnasbsjoHqI63ZG4jtONvvkgkIzhlnSr2LxKVdohv6+lDgKpIqZ9e4ihPdA0zvUL9gbdQZw40g/TtKpHvOY6mQnZUZAcMSBdVrHdEdVolANg/2f25h5Rqn0dXBnVhRqiu+MyGgNenN+mnmNwqa3KKP+J0J3c3uXTFV6NS0o3I9RvrIFs3k+IMFnIL5W5jEJXrlcf+G748SpaY1NdlhiZnH3fTauVQDseqmrQJf0UbOfU29LsPH+KBZdaFNtrJKaJ5kPHWSpMSKShm3AiCr03Ojig6QxI8H7UZEokEbuqqvfenHxlQcLam1E1+8+3H5djnbjjYIMrWyyJ+fkKpcmFa7JkYmyFUPE9Ud6qq1UxdHddcpr9lsnvOh0OeUEvOjPb5IofkcWOBgKjy3FX3UtHiVSHJTmqrgNtvL6Udsurho/eq4R41SV7SKj5GurUBwCg2YDu1YvUeNEqOpjJiRSH86oxdswXRNBqWJ3Cm6ykWS8kMCDbMSk7MIcGSGCG+hCXECpzUvmQcNZz6OyW9geij2jYwGkx0KuHDZnnfdEHca4SWKw6R+MSl/4rQNJZ2gsJseD/rAxg5/C01j96G0RGBv5UTtcV1sJJIdhz1w0LTrdniJcnSBrcEKe5LAIohWFQeWi1Y92O0V7ADMUbR3jaECgfemjB2Zh8t3MTk8GH5X3S+delGqemVl27BynzfdT0+HJYbAaN4821g3cSwWq6oE4gYFWonJO1ADADRxifb8AAOve1ebjWvHMMmXsn4qdvHowFWTrjdQWdB0GoXkCKW+P6ROUqW+BhvkVTsL4altwB9kaWgnDtVPyjdUr0nFFybKOCuKqXQrwTcRYCBtLSRFXQ87YXDKbnL6HxrHWFF0gVBtR11hr6jSGDDIVfGVYfiGCg5kSJzCSlDV+bros/mLa8dgG79Jv/mYVsYsc8RbEbW2v9aTQlisOUareh4YKR+2XFhdDAbgu4Li8JbwSZ0BlLGqGgUUXERlmK6AskNIJGOfSQp0/TTl9Z3D7S4Qfk+KfKIYtglGFajAsVgwXE2vIeaanqmhGKEDGIHU9FggulPMdN1yPcdIpYOpHxYM6OWOBgErBVoDUqmWsJ5I5MIlIPKCs2sTDascm52tz2LdRJM91WLg+PgoAJiT1xDEUyDoE4ozwsWpoBDxouCWvGi3tFJAnUH0zqAWjLOXdU6LZPSBDuslWwhdX34xQAs7Bl64UKxbV+7Hp5NAfvmRF52JJbjK6xL9/Kjq3h9aqjZA/3jbIiqX5hThvP0oglnSSI/DxQW33iEmR4XzsutiAVqsAakSIQTR6Nqjl+YxG8HwAKnZrioP8utFBjK4LZDffsFYaiJrV8bvrPi8lfSprW3CyfN2Ba+MwOzLfAgBxfFh2wiCTn/TgCHFsFaufpBw5LLiwbgOdYihokOfaVJo9NiepdL9QWLzj8rzzAh3wmnysDGDutgSoM7ICewEImvuhWuupdaYMcKlXAnQZYJlwtoFqaZiaTzuNdIGxAgW/jFVrTqOPAqhOSlv650Cgku14OIW/3gc7JOeE065T8JJnWNO3jfTeHZDdcEFj+RGfUS1u0jHhYLIH0QtcPo/qgBRyyjHdo6cddg7vypv2iNx668fCFogLdjtcPFkWoU6IHSLgOBe+957NzblVmmLbHgxu6EA9+tFDGGLdy4/RQz3gRp/sr9R7SZsqMVIDpfFbgILNnxaxOiX2oooEDdtANPdNTR6gpAErszc6r8an3R2UG2GgYAHWIAqETihm6i/N5vmWZPbsomdPrsLX/vNgeeg/vZOhLzLrUy0y/R4UKAxcMii90Rz1LTNVNdri+L1x60xIBBR7HCATFDrLwtiFgyKNkiNzP0TFQ7cqLj/rRn0PqcEOLzkU7qeGa78HMBkXXNTEprHImEfcbJKpiwDwP/8ixgEt2brgNSPguYjqhG9CoLI+Jf6FispPcB8OkngO1G34JMaFj6xTcMnW+sHgZJWL2OPkblWichllNCyJKdN0b9LK/D6paIG24n004dCsAJG0NwcvX6LBw+q7CDfB3oAZ9vQJWiNrHbS2kHzMFGKhZTLyTFaQtZAnEtuJYHjWkUojId2ssxFriufjEQ2jNULQxXiJ465dlNFZ6NFAiDQDxypWMiHxwpm43es9wW7YVIe6cf6uFE34GQlxd37r896m5Oy1Zu96HGJ6jftSxZ3yscTkf4EybcJD8iRhNh8MdD6qC0swEY9MfzgBAzeTkGPxwpjHFT3qsg+czF4e1cqUD49YsjUmOP68if9mUWKXmvEQjYm8EBhq2Iu5eFpfUkxfq3eJHXsU37yDFwoFaoKbYFpmGesU5wWQu/hRiNKKn0CqTZNRhOgzeSNWXXJPedHMvOtwV5wxzgl9JJzsc1h81ssinMv0wAZCcOAx+sGpGx+O7qqYpMBW+qddTHFNJJ4PUeY8v74Wzqa8HON3mQ0iZ7hn+dZ+kZ3ROz7i9zFbgDcrCMO5yy6TX10ml7sJ8muiCYrXGu2xs5ZKhTeEP7yl3qZoDZdBB3evpmGLU+Pyg6ByfzUHLI1U8UwMe+0vecDRvo4vBWjpHbTO93oLgT6dDdpZPXB9ojiw4/8SPZM+bKvMSSDsrx5NWl5lcBtu/krnvXZMWI3bjMRmUSxweT7Q2uo+SIQuN2w6Fb2Ecbboiq0WX/pY4N99QX1w2Dl+mwgEjDkObUh681P1mSfY/NopSvMIIW9B1p/R95ne2+wFsL/XdD94xTUx+FrPnT6ytuKcBFTJVPKggsabFi8wjmeAtzgogAl2G7Xw1OlPpWd71NUgXHlU7H8A3fszQxeZ/0s290AKLCBNemKbrwiRCmL/E/5DOGh9rzTJsJZzII9q9osrhWUvbXF2I8jozxpPfG0iRjskKTvTTt0aLuTM66ez15HrUFsFcj9Qd54l5olBL2DWSkHqY8YrVgTS7BxvWeFMyeWFPJ89Hkl0age3bkJsT4yoheaOYD88pBFCFhMnzz5W5Mr3IspXa/8jlhAE7adklksPbWhj01m+emsiRm12bDTmrIzWWmmyLb9zSzY0HkV7hIEb7L7Afi7UsEccjgBgGgEVIWp/AbfseORzUlgIexsov/0QYJTZrwNQOUikVg1Ih7cdiNvPtooqIOL/pyLNlUyT5UF6OeWFtMEm4wRvLshSVHwhkWzMZmFEUj77xGRERZ1u8+PiWVpexuaVYgHR/dsbLoiaSu+MGsYALFY3RwOuqCP7w/Fj0u7DGRe7c+Gi2kmkKWel81VVKzIexRqw3KBFqg3V5HKlio+uu3AgsefBcwhbZUFzB3+lfgmlcbypeuqOwI0/a2TQwy+UK73bV8T+mq1JKnWh40jYd/T+1DwNSgsnd7mE8qenktg/j5atb7Zo+Ek/T6IkMolwFDzg+l8rJFCp75WoMZNz449Ltf1f9nQ1NQx7FKADg5VpgrjapqzWsJcbzXQR2rSdNw2daqKRoKmJHgtOmXy3iI6GzDy8d2/CnE+pmZ3OG/Gkr7no7RmDUsRyUdcre1AcQbuSDmErK537wRSD7KLfAdOqFAHRFN2dmiBSj90klRpfrUUnIKN5XR2/MgQJS9WoQG6NIi9u0NadXLbN0XADXhNFepqBzTAZnJnMqi+L0QvftVFUIWDOGQoT/IPFiVhSAPg9TMHw3HSJTrpeSVMO74gdt0opisahOVAXCwsdOgNTa4/jOmqvV6r8lNue4MGQTzifDqflou3Yssx8VQG3WQWfYK8RP6fj6GwyCWn5mlmFnPPcgH3yjs2Z4VmJs7PNzxfuL2VZi5DPekZ+1Sy+ykc4sNjj846tpPGHhhwD+h79Nl+/8leB06iRP0dFIeyvCcW7jtn1ByPBYdzXFrxQUjVzARyDwhFfbKbOD4jJ6M/0XIlY79zarZy+teQ/bmSq1wUeh74yhYrBW/Mg1jHCLWaid/3KyfuD6MKJ1btHW1BPufFpTZE0cu/xFSU43rTOkRmqsX4Eo1lDfSiBeZCcFd6TOd90pL2DQQBico4jjboU0sqbBD7xSTOf/IlQ+EgzcoFQ4p6Qt0EwJgwaIXvUElIQIaSFAdmKsJkwZx1prLvXozXuZl6zACSWu3y75i5M4aJlcI1xuv7VNQe2gWXPk0pa423JrHbO2Jr5if7mFg/YUuCi3J2omxVbhSpF21NCQJ7we5UCWGUHEjHmUMLMdl4VbvX5oc86DzSC5NJ+DiDfXVIUPbS3v4wTNv3gqtY0VLUM5H1yn4C2BeCdxvSafbXkII38J3X22no/CxMMdiB6A3cjzgMsua7aX9ycdlXQloF/YTEHO4a6VnqVqDyoFAn9XbqX9dgt2QSKxGsD0hynkh9LAEZRCt2vNTBHEsBXw7l96U40eS9gDjFueLvbhvG3R/drT/37nPZlTQnEErfjbuAhS2ewJaWd8dJN46xOqx0r7a2PbwH8D1t+E5JZbJqYy1rH6f+STBNPcBJ5bm4bR0fI52551/tKLMnE2xfUKI009Nl5QNX/6NL2NpIqssIfVTrfHr5Sz9I6c3tn8lx1VEhyHoQXfMNrePEANpsC72tlSt0hSlhLun5+fkMNmJ/LN05BxlAA5JFnDimFxmhF3DpBhBjr9JnfkCmwPGVFuB0IQbCeMrircY7vuZh/pckdfN/ypwLQ40yZjlSLOaNL/8MAaURhP+3MBJUwG4BUoEhsowVJd0UtYUjAFK0+4ZWYBmvZ8Ggj4SI5D0Y5lMwP765xwOfRWIGui//oudxp6WVDvRX+iy+6ApmxWTC/MGzeAgTrNTYO6/KsX/NbzZz99EE5lcSlQY31ieVmgnZcQ0WzYlIJVrs391Lf1FvAEgaeawjjjpA0qWD27JSy5wxw1BSAMroDWMSaywggMbOxbDbPTr3pWKFuqvYC9SPRi5ze5DFK6Ua466V2e2+MEzqeTk+XbsrjcubVDYbvBuqdNmbvOXl4WJYRJS+EFne1xcKLoKcMZt+NzdmsGi5Z+RPMhgRBl60TbjgIAX4l6yqZyvFxMHO6+iK8j8yTpN08C+vFn00E7AoFEGORvyPc3iVgih7CVZB0UggPG0sb8WRY4EYS3USaDCn9eGoo69pEhtj9Ilx0wmPCh9hz8X0+32ITHg9ifhww3MORL79ydr+Dx5bv4evGcvn4gUsZ49cP9sOfKqs6tuf6CeajkJYEFB50RRL91BaCAcbrUkciYSqjImiZkj2J0ZbZ4Wp7EpZycM7jdCGxRd2xeRl9RZq/96RtDdJUQVKteWj+C6rwH8dnm/1l9gq+r37k7zxtvRsyntvIRU3O4U1vn6e049GJQgup8DQ6t2GzMRcKHAIxzm7nwvDiQxjtpEOacLPA++qIlEG+2RKuGvCfL5rL/+6I3sABCheHF4vcgvEnSsoO/QrW+J4eoU2/3rut7Uy+N1pyWYpFNFqFAPODpHWyxRFsAoAuEkBCi3BF9kIcEDxJvFz8/MN21p88caqqvhOPcXTsKzDYaZkER0LyzTFb8RvcOGRrC2arm01RLGCaTMQBng7Imexr/ZxcgreFu5m7lVkd3TzLRS9jAi59bJAyW2Bw4c6GhX1IOC0tWZlp4EyffRcA1AXTlUwd1yZaoxkH6RFNhI6oeOLSpcY6pVWIjLlzEdkLV59mjV8dA6Smi6JDCD8/UUsB8ng4JrKa8tc2CREptFa6OkjPaD2T+1DahlsUIK5dOyvpODo7d+8SxDfQZMyb+9D/52RNOUX8VSITdy0Gdrh8asIWEqQSLDF18w6vhWh/w5kplBjW3EqV+wKYv9q/JD7R7X7wRWskLl9h2sjvFn/gclChKg=="/>
  <p:tag name="MEKKOXMLTAGS" val="1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ItN+BdkIU6kSkys1oz4FTbg3IAHFZDQQIUI41CPkYeCkR+S8QFB2kPylUA3JsntOnMnXuTmmpeohPhgnOvWjiJahxbCEkKhcALAa4/g5rVRNUo4brP4JhiLsU+8O7v73AugP61KaL9V/ZMDFmIanld6KNo4Tnuo4CWlQ3Kec22FtIEqMisG3RMmj5wobwJmsj8l6v1JQfLZaoon24tS/ioy6j09oDLuh7RRZyxVpcRdzOJjmmHUa0qnMr5Uegu32pOZ7YDnLB2Kug8Z2k+gzN41szMpcTwsFOrnZvPaAzlsdFKar9I7xTBXyhuPu65sqsySYzv/TMR2o5avDQK3tAkwzTP5gMC67GjfB7vcNfWLHrawTs9BApP3rgdfsgUG4hx5y3YhUW8pSYX5Np15tpQi7oZ/nQRePxQ6d32NQhnddmqHdSMtojhYECD5/tOorHxi5r/z10JJlhaGgyckrIbWMkD4P2NQH80nsfr10dyz3KtZEh9KhHOIr1vI9Dh2pN5hQatsVhAVX5LgPsTJr+uG1fYIzLRhD0Vevryif4IF8GS4uBxV1b1mWL2Wd/tUCeoIHXN3ayGc8qHB6Zx+ZRci9dQi1VoJqLHFyoY2cVG0E1SU3nZlZPyUlyUoM/ATt7kwrX4Xb3Yomb6ITrUfiXKf762JJdFluQW1ODcnwxNuZ1j5xEwk7Yz+qjXkoTtRrnOfdlklIeHof+9Hqh9eorCwCC/QHQVsCuVYf1p6ackljKsZj+djFn4b2spEw+NHDaZk0LerNciqm0g0qXJZlv6ZMj3k7zNMHyzJTV/7eJ5Fdor5olnNRWsD+oFIar1V8Ty2IvxZv2BnU//x+HmuD74Laoo7OyKnlsAPstoTozWzZjMeQZnRRnN9rDDWXb4E+xNqDP0FTXQxf3nmZbvSDWX64uEPNcIANdv5PzlRN8b8CLjRbeZIdOLMylURNkIeZZ4X0cb2hALYkL61o2yX9G4Ir20PySTuVgTN54fxRGj1+cR6SzFnjgB9XkgIPhzTmsRrPvpWCLhV9fwJ7n5oz0ceniZujo+Yod1WE/0yK88W0S0p5GC9cBbsCBSLVqagml4qTYcZiMk9qeAN0L5CEA7oFsFl3BCHB6KmglNFQsCVLq+6ONZj+BVIQdfPu4QjyUocCaIFAjTXTrBW/kCiy84TbIkRZdN4jAOSIDaXK7EZs6rYRwUNjp12lkr4Cv8Dmug6/sgREQPQMJOia2jNV2Rbif65ueT/O0ohP51o8YyqvI3ELm8bGRox6ivi+panTpmwaIgG8i+xMy23Thszb98bi+jETIOlT6Z4t277PIkhYTcfjqia+mhFVNejXkH65fHP7VgulxAWErv4uvKWUkJH0TYqzJjwbz9Hvh5PmB0KJAGIAts5OKSFsyACzkgMZJAV6BlN70OcQAmw/vvxBYfJHsQmx4rrpp4EhU6VSQAIdXvsUffW8YNm6ES/Wfw33h8gRpZAuJt/pczbRQWaa+uelNNvphl1fVfAdUvSJ+w1ZzeHQb4DWXAy07dCTRYoTJbIL3od9cmvlrzLzBiIuIkvOQYAu5IMrecglHjmokAzlfWexafsMIJSi9GIy4S0fFIo5IEGaHgxKuYgKIOXgfEe1cK/hL6gyyNncHu/NRhWak22w2aUX8wdBYIfeTG10YQUD/IlQkvDu7eHzVyNCfcAxT5kJ7aKGdMMuEdCpbsdDCMOEh4l6hdr5mRPsRSCoprooplp2OCAmWPaxq6eSoIZb2W/fL5MhQ5YzCh3YGLdxhZbQF5bbqol6NKYB6mNexZmih4k0eAte7ambbRFPTCOKIALnpAvTJeubCXDArtSJsEXHB7uTVVB3FckRXpobmwzdxkqW77W7sRB1O5gdCo6f7GsZ0qgx/XP2dW29J/dXp3x9LdHYUTpLHHsL1Cw5Fi1JiIIUlUP+uSBEzYP9OmSVhd/vv71HGFzwgoQX48NkhiZiSU2dVwP1W1I1QleeyTE70bYalqrJljkg8uDTuZidKKBzVcc8ojYaPBjj+FBJYYR3FlgdN1QxitL4HdcQUdNa7twUDduOGFMMYbIHxEvQKSyM+Cqq7iZtLutrOLA+w6UhkaDg96UME/tJm2PgsGx7TJRwKyjCsYu/qM5GS+XBGe/HJySPiS5BH5R64lfd5aHdIsdksnLGfT0cdTfP2sxIEUxr01RxakXPEwldN3F3fpWuEL+qftHv9wgqqixlyw/NfRYLXVVrv7YsaHsO4QMqOAHAl2JqAMVY2JSwS/I0hHalCvo3v4DWSHLaMr9GNpeW+V81WL1funWHRmbnM1+I1YT3FU+Tcj6goJkKikszAErthuApj/QaB2MHGwwhWpu6C71YQZolUMFFyJYB0XgA04YrR0hshOpLfQzEdDltti22aQ+aaE2IxEfrL7eRbyv6NoBhV+2Wbf4pVZeBoC8QkwifeI9HPOqUy+BRa3M4M9o4sZBn3SRCtooqWmksrQLnYxb7gwKXfDMC0iQbin3alqY1EnsJBr41bG8XEMJdptuumWunQalQhJ6aIuaoB71Ioy5Q0FkTVcnYAnFa8v6YavhRhFAfgebfAe+7NVwBDs8HE+EBwk30wDegGigQ3G+wu2n6KlCxB39WW10dEba201IuW7uEqepIMEuco7QJrLFjcRBqMmcEbjM3BQmk2fU32LtJLdRAaL8EppvXa9DDPIcB/2VO0U4fIShyviM2bOGeEC8d+mzNW0qzbp3pNI1Qd8VwlE+uq4fvZxEIgmUeQBPZC+EZJipvT9mZ7M54MrH3mgRkaZd1aHGdEl23u/GKVqSytdveTS/e87vInM0UXc2TD1PzzCOHMqqhRu/hPpfJbw4phiJPNrpYmqQjBY3kg0pLrQT0R28bY7OxbPT8cx7536uoSVBsTz1zOReUIHefRspcjJ3gHYZ+wzA4QG648SHl4OO4riRiPLmDfMgJkBipYY8pDxw4GbRnPJXmxLbuD5hum7i4FSfMy3ZywqtlWMR0yZJte1QqLRqx4NdbpmWHKr3WLq8qPUeqnPuggl1uAI6TGKiWMGYDZGZ0sFoPbVsijiFY1uKDeJdPLz189Sn+qmu2LtMEUedax2ATSAx6C2JKX+6JYHWwZt4Y5Qw6Cdm+QzlRuBBOdZgLA8rEnB7VwIXRbyOd7QinUePRgmfTu62JdjJNAwCcr7fLO1pUupmALb1ZEGY4NEPWyObHHk1ZoES+uQJbL1qzUn+ukfexQiLb84U/VxGVSJTB6AnRw99kzP0eL6MQBa1LiXvfS9M+Vie4xL3i/ulttOYQqCeNToIa2/MfdBwVNNWtjh+R3VH4wl4/O4NVKnvWmzdOf7VfJLXuDXaEjA3vU31YUoBJPw7zrq5LwZ9jOpIBSDMjv/LD7n9/bqn6h6sBcMxGyRWrrGQ8V0wqHsRjs785xm+wcvtA8TxN9FVYohunJLeSjSa//nI0UFKMozCDiFyj1V7RCUh+ZxKZgCFCNzDQElLCTgWXqii+s5z4+ZopBJzzsvgKAHElfKWAQSmGVBSbcsnmdMxbyfNht/e9ZSv9fyv4lvAj0KqfnMTBmWtf/wPNz4jAAafiWrf5N9d3DzFyEZcBevoWkAZAcb+8UKxmplUtUS5Nj1LJEdD3TS4JSE2AfrXESWl1bNnQIMnbPhozJZRemu5nTAXshM0SRG6FApFMIhGyUw6mvH4bTQsd2/wCSjs82cv2zRRtmNhcL6FjrfO77vlBkBiT+AC7hE5B1ZQ6Ww5rzCTwTPenhzE+96Dxr33Gi7rQqdA3KISL4RUkG/r1PJG8uZ9mg6v2a8wbI9en2taOyYDWZ1l3voUVh1mnS7+OVVXQPjSBrwO4HKwsrFV8sPhVm0dDv5s+3CRC3WareS2kirtzgzAZms9DNrHuCE0DfJEraDjUB1x9+4JdfHmGdsXCQg3D8a5InWr0Pu0kwh7YsBFc+7wE5K8O3EJe5Tg52pXRdztujbOdhBhJ5ndEmQhmsQ+krFGsTDOckpbM5v1ctNU6zGbaZy9j/0ai9oZF9Yh/xZjvVdw4KY8cOlVdQ8ENiETauDTrAGH2P+lU4/PDR5MQy9kfyZ2nRss8Tdqewy714RsmN6RkdBOixpgGKQumkG1DxjzuDrD2JR9SzIrfZjiIjhF3XQrs1wmKIjPGHwzvO1Ydr96O3bq4/OZntq0vFoyvm26wRkE7sOSQSOMJvJekTK2HgAm96lJ+bn+X4JXKZ1vfUG6D/dApgidEK1Q1jiUCcsEoBcnk/tYgPZCiDp2Iw/CWYY69nzmsbxproBHAdAWC3c+A8ChWX0HbzG/zx6E/CU6r6TOV8KFo2upn1xuLp9BMRwRFBEiRuSMb2gpJ3jl5g/wN0Lunjp+yGXtJANZAc0SrKwc8+woGJGHKTMu1kKSfKriLFScN6vnXBV+0YsVk3fMOglY2BAhHqVgZ904Ja3ThTMFLJcKja6x9KnSsccY/aLwglY7Yll0hSw5DdDXjoImuXb5jTNmeyy0YP7LrqC0fG+wafxtY1tVqrgaT7dziiuSaNKSG7YzsuSaB6rLHoaylGDHe0XqxfVgpPS0mIbx56Uv11ZWu5Anr1xLj0pgxYMslTQcnmCvpW0iik5aLLjvsOlhtVjZn7H+YdeBUR+yZHm77aiFVOdNfYP9d3UcLJ9K6VntgS4uWx/Q+fZxXnbJoLD/jZil+2d00gpNs0RT/QEzzoGBEO5egDrDUDBg6QLD2u8O2pi2jApl/w8tlFJoLHa4Sp76d5r7xnkK+S42EIGyBV6dSiFEN1TskT/ysF8YMa1KG9KmcfW9SdOxEWaoyEssnin7N1EtcA4NftkMOkzSp/ug5cpPK6IzcdhWgyWRCFl+iY9p8S3zXATK9C39Wj6gI7QZUuWplItkJLevQpU5eSvFeQHyh4GHQrZyf7zj9tVQJjW6WP/StLvcincKf/5OmQ2aYRkQDG3dNIHVLlDo0r2nQYnbMC9ggtXYbJWq86wA8ogzMp7WAt/uE6SRPZMeIXdfclQ8ExuR4Lb3NkLUCUh4olwjqrNYA4DpwCpyvvND4v9fR3MklYefcuOjnUw5kwzUGR7msBFSTCNRxGo7jKekHzbz1Zwfkax8OAzSmfUtNU76DdXduHLkQwpfWDT3JvqgA0mfFsEPxV8DsPMR1wIDc1ijkEpkpRo2X3oNijj5beJg4J6CEVNYE4KslS4Rb1+dfRpxKUqxnvW8AmbaFgy3l2z1h7MlM3miLYLtgyJQ+3f0ijS/bMipC9KElAVKijBq8EvF5Evaf/5Qe9XKxe0xTE5gR26ws5o4n2toXaFCoHE1Ea2sHE6HzqxvUmULc7hyhx36XhnjWcPLcgEtYsR8WWikfXjptUu8nyInUTeW/+XU9ky7WKU5BU3hJbJ8P5/I3cNsr1ts6fL8i+/ycl5je6g7GKkIkmsKqD5C1se63FArWZO9+fncaJk/07DXcNBHbDjvPCtpY8k/lz2MC8KOdT1E/CSt8cfGej5wPqj4hRl5Btr8YhrmD7pG+9plygdLhfelTlkjzhQY6Gfu4WnlfUEqlv7Z05EptD5j8VQ9tUP4cEPRN3sp69mNCHMRQLphoK/bapgfXSGzJ1Z+yyGOXUHLKLaq5kxoXYkxwhsDr5zDzlYb9MrhH16eSfe102FtUzHipLPLh8xVcWWof6rHWuGFo778U2FJ4zmijB0yZuOLKyh/1KV9Rzz+ovRBGEtta+6M6cqKGOxdeBDw8f+I03nl822H+N9xfpxKJXYlWLJjb5uOAO2pODqcN+uSr79KYuiItyEhBgtU6zIGnUEB7dvyCQvocI2sM0yDH+eXWLy8AjTuglAUTAzkb81tVy/PfZnAHU0QDVc0l4qyMkZi9TjYr2pnSRLE3UAE3u7e/TXAAAeT1KbZ/7tLCmHbaAznQtRPnYAA/sXDM4AI6AZdddBT+FuNFTrc1NSPEaC4CwaqjzAbhHWhyWWvf53O+mV788eljwLJJCIgSaJr2Ii6hsZYvu32CY0qp5z2sEHVmxLwCqZzpuJmx0sf1z+n7mCGE6Uq7ytDhWswc+em4lJHivgIYmlwNHwMVtviwYVltpoagymdlXtl4/Enz2gZEDO1vz9QYKVJIMlh51zA3c067W8y+vzwMJcvGMWH8AVG1R1I+CzBhUr8U9RhvE5g77shTnjjEJgzevjnT24NycIYw0ziFzjctEm0tP/wyqG2GYbhKuoOQY5wPXnGceri8aOgi+aVWkprxTQYZjJKLBUG+K4ZPGAfL35zyaQhhWthhmwuYYYoqurVTSDr442XJVm12KmQW6oRrEmgb1L4RQhBftt4aGghH011ASCc6WUyQl5gektmSRwj1izf17nIt3/eJvnny+8wb4StiHvqktSDAA9B9wm2GZvyWSTWjRAkEW8ccxs1DfdhID4TRm+DwUevK1aa0YBHIVE0ksD1S8BtdmFpApky2TFyB0LAX9c2gNjzhWlTRcDMVzXqpqCZQIlkp/s6xLfcZzHKS/g0HWnT4Ztiqw1DRkxSup7dfxHS/aMgAsl9fCOZp+uHhBtaHlOT4GIdfyjxk3Al7mCnwWOChwDU8tgeJhQ/H2XkXJxk8sZ77hBrb7n59Gzvd7zmkWjwGEIPaYWljuBECXdY9rf29bq24lqdszXYAbrQBWSlLzO6mT0KVHUyRTJJpCzHq4AZAQOUBqa21S9tAVzAzEjGs2/epimU3DFhDPsczgI2CKT/nEPSyharLRWBycAs+HS3WG6ZdxnokWkEBtwpOFFO4JoiUo/hEmddsTGc5oNvOI6I7BpM4NQedPkgDZq1ZoF/kspFaGQwSjdHriNOXjiItpZgxJ5a05BOxGAE/UOMv0hCO1sRwxApPfm+hCfbj/V2jgJtmmL4ZypXhxKwj3bYnclwM3qHecxud+W7an8Gab0BLuaEAXEXRqKg+1u6VP8x0rIQchgk/MTLyv5+J7nAnRvxAPUM21igCtLayQ6z+EwZl9OIl8vjTe0jPwoHZ1DZxSWoCTP5W5cypcsqe8y2DtWyr0r5yPsf8ZAiTBg49puqKdzNKWwjXipunMYj/Hpt2zeiDEOtKCQ2fr3lZvaUoXnM71ZLf4IQuwAklGp3jNNVM9GJereMR4+nJX3/uprBHV36g5znUwvcbI/S77oVYMjr2x2thu8+FcHZ4r4iFFOjopl+JjT73eRQ3H3Bfiw+iHCyMtSf+iBuP62P64Fi6oqkK0x8HJbBxv48SWREmZm0GoQ5wFe7fzlhb/w5sSqnedg/MqEv2pV/j4FPojuaHFDbe9NCYtj+raYJ8ehrYARkt2xQWUchaEV0X36ZbeiN6t/Ugei6EKHEJqaPjURBptEJtLjOb2CRZkt5DCHJTo1ufEaGKF65yaU++oeqTzpLbq4CKSmIyCFrys8Lz1gP9zb6xsQd+6f0Lg22GHPQs3ntBVoZpxVXIzC6XECW7AsfoZa4rN+4n2Gk0VYttCL9dCCzbMrFNpIF9MpTf2G3dxJSsr2hwNiC+BzwSEUm/ApAVuLAMtXvvuvuKg/doE6ICcx6BydwZXcjvN8MFW75stYr1WqupSnukk65CAttt7VyYCM1ZwWjIZ8hOXfUMOnAykQtjIEikJveIQlFYZOz+fhuyNgerTa0H7rJecv5Y4BzCpTdn9HvPetIHMVVIroxiIYC1N7PvJmQpsD35pxj3xta0Xt/5riD7E8UjlCugQRYHr7XjCiJaEpjMgT8KtmdmMFYqshrqreBhlXzMomJBztguVHkZwfpKszSJzs7zI1zCoZC4EJbiCFZxSsWcSMhnD0QpuSaYDPmvSpDR197eoRHMAGh4w/oxT5H7r5LaMgtIrwJ87dz+CPIC+m2EJ3j2WAYMqqha8QIotezs9eIfL04qC3q4RHAvKwH3om9BCGARtHcyGfkdXeiB5B3qia55+l4BJjS5P/Xy+BCfC8mpaKSZYcUnD/kvXQnnHRA9yIARm2FzGF0DtfXRuyJlIrCAlX314Tu2R3qlAGA1o68B8t47it9DmOagg7XItnatWEowChK8GlMf8ZN2cL40jbKsoSJwhOJjtssAObgGnPIayuw6M3Q3JnqMmS2OyL+MHYSfcP6jcC92EBWqDt0zI4LsDh7I4UBOeBw3U1uUWQWaxPKKqTJw/rvkEemLtQf/xAkvqlw3QCVxn5m/uLqt6kvBpFVahv1MkLda8Qg6app2xngg3jewkQnvSqflSpN09fdl4OHcHI8s+mA9moS6mbpUnw+cXMBA41L1Fq7lKAdx952EoEUIRQZ6e9QBa2ABZkgBC/GVwDmcrKa85M3CL2nVDjd5wbUHDGqiWotwFKKW10MJSkr2gaBXPHc0HPvwTc5NIG3VvCCNm5istTfe52myqRikKzDDVI5ldl0o4clp8R57I6FRe+ruOJbnpTlNu48MvlIfBgSe2gEKIHguxqKrfPEDm1Ou6D4nn3PLHkXQIRDvMAtOnGDKUekRpcQTuvynMM5jY0wVzpgGwTTtc4DtR4vfw386NlIYuvBedETwQiXyDcscwzVaQRaggS+wnpg1hMVHKlxLBaR2aavchDtaf0CpdgPVBPPlG4e0feGQXTiG5Wn2l5HdkKnFlkhvQVhawhU41WGtikQJM6ae6c7NpEKb+8D3yJzAGxwebZqUfSfJtScDKjTKTwcd1vDdsCEvIJbDFhKzQGUkYYrmBSVp5QMHXhQokJdSmatEW9Pkr0BuKJZS7UY7A1HU5HHc2JW9JI9uQHZvabb83JL1cnsJZCkt5U9+/+XLsHNojeR3K9pke7Q1+xrU1iQxmeXVom+GyMokzyHkNfyyqJQ3NfjLg8+kIFZC9M1mJrB2trVedQ94Xwitg6TGGWvFA92LlrN9Bt1NOpose7Ez+p2KrkwQvWrlJIDWIGGUgvZPuk2YW/ur958wCMejD7XQ76qr21Zn9O/3qsYUlcfEvNY5j/jE7+ogOhRPBXzjfg1uhL8bK355qikVjc1xrg3srKI+B9tSXC3PrZ/BlywNsVAkkAZFlVwx73raubPAuf7Q3XV/Z/KoCGylnH3X219L1JS2G4A+Ov568HYvGULqhdpULpK4QVImlX/jmyRJygML1F4/OmEUUoOmEXDQCXekwShYB6aaUH4O6ThN6xnFx/xo9h/qST0HmMsi+Dl0XDdWDxb9y+Zab+LEnPQiM8xcTEusV1rD3WiOzC9ta/7YMQPFePW433KyCaa7bhTcVmJ6cBxGcwRO8F5rH8nuIh197OmU2jj/yjc/1j+5qIquEK6+6cqtfAw2tQgxND6+C3MAazQFeqmKYXBdVGJDIwNUYB0p0hlQ8X0g2eexndW+qKrxLL9PLhqKsNzgCUGAKl+ptyginJN44Z9qfGvas7o8WQkKkO+F6A3pYUhgWWUt1twhRLuU6QQF8TjyAYZBOZ7TEnBvPmAJ/BD8wfNGD/oxdGwEvDB6c0raOgyRhnYM0LuFDon+HsT+MuuGxXcYMiIJ3m02OxtVjF5II55ZjqmV9E0AsSWsPHX7qoORemMIiWmrv6X8tLT82h59i3rGFMLi84G/rvZjWHi2dGJdY9wX5RabJ8Jam0eE7EirQu7jZ5vBbqk8UjHIdP7MVMvclzwaPXK0Iz6GReGmBcWwvGuq75s8O8aTsbXfjtjoXhy2OwWTEYcul9pPHJcfyApbPmbvDw3gxgwsAp4sA4qmqPVbMy2g6owsuNCcu9eoKUgfiPUed20Earg6U79Kz/Z73bOQOvWk8Kbzpi6pKCqDG2+Mss68/hU2csBdtkkcuCLzJXYfs3W+d3+IcyRH7tZAesn4FU0i7bN2V8mQV7krwi1cZTddkUztoTp7oulMNEJRWqlak6E8UF8tb29vq4kQhFArxSPuSHOh6LSvDv1NhjQK7QMW9P24tX1C//0fdrlL5Rxx795be3iEJDLzUU2g+Z7AeQfZR7XsSY+e91KlbIqfR56f2NbYfczwURZTeSDe+KnYvHI20MFE/6hXvEVsrdpFohMNtypnvDO/E2gWJrDgNOC7HF3gM8QPnX10oGgpZSITITsNOaFY4047PmclyvDSiT610coE+y9H9jxjZbL5SUR7/Kbmd7MEmmbZc7UApT6ONbO4lLDq1Qg2AukgHRGGkYPveP1ZePtX29jEwOqV/RD+Ym8gBIHLJ34MQz8rc/oADL7Br4SKOMNm451OOYnonJtaNyrdsdqw+KKXkUmA+GrEgsjRakrHAKIIK2wrwKhHnjyWXU+envb3O4G80i38JVSpSF7++YC6aQaUqf5euCGZVQifW/iq/JEBhR5gdr/VruVi9c0QGeXjt0PsOvGzW9wwSTxCEsxpDj0/vqicDhR+2XWw+AgdhxCMc+F1F0W2yVeb9i/ZGwF108iXsZJvJiLFgD8KvYR8T1W0IcXIL2SL5NknOhHyN3zqUN4/WSsUVZ//oTrkvcuLA3sB0ZlF6+SyB+KR4mVh4JBHANIw7oDoKD7Nn5ZZ03/UHsf+8XTZrqa9g21f9F58DJY+MTgesQJDWKyxLrHHFKla7WZ7a/EuDzay0bbL5cvQg30OLHc1vXRT1VJjkWH+i3apU9g2JzzST5hKBlqBOkL0D6dbRkiCkpVYJXL+ovHQpgs4U/F8kfKcgyqxbEfTed5SatwNl1QHv0yTQYHimIELIPv5Swgz0Mh/kpZieAHbU7BlZj6g9qcP4MW5X/w/+6378NxlFJb2M7U3ithlzB1tvZHzklY9SVMaMg8IZMvIfJ6u5rKRlD35zEbk8qPPhhaVGTNkPvuFmXAsm8vhZsZmHkodsF+OdayOCf8vL8mLuuZ10FpYY/XjC7B+CP2Q19HLfBzWbL61AmWDi5lVeDvwXGnsy25vwXYxh5DVtObVmZM1TqUDENL2Gsankhmk4B8sQDhHxBWf9Oe10rgqihgvh02yMq1ZeqBzcRpOyMYEJmgPiMvJ7uIVIQqBpJ92kSIXX7qxpbM1a+Jokg4ZGpSd6pSxFyXE3wnvdx6y03fi66/0ImRAzK9wUTN7mGZIgEyIn9c7Ck1JpLrSW6GRs3wEdYcPzFO5d4PH7cOuxlrQHotqCxYJaCNaeR/IPQ38sB6dEn25cPLKzpERDyV06MB/EtoGttgcT0TS9Z8qGii0x0hl2MQsU7bNhg3DKt/VAKBPkgAq8s1ZH5qs8183iW3GBw9XUpYDhD1jSxHUsz6J101VVagyLp4Awf24ZKCINSr1pDpGVk93hPQt5wyGeCJOc74VFWMPHpaUlT9V+FuYexVET1qNJca21xWw5VHTFi/DGqm7MEdiNJ6kMX+iJgNBE9WrK6zbkNv8YMxvDuFOvkjZrFtaY14UtwAxnznAa6OxSMHq7vChXN6o5TC4c5xoKWAQLKq7cFBz9Xrcb5NPgQKeg1SZeo5RXy6y4tao1W6BNpYMI+EGdxB5xDlD7rvFVYGOualbhnIAMWcu8mu7th5RAoLSNwiT3ZFseyhzLenRc3iQ2hJ59j4xwMVavLVytuZ0TGSI2J81znbbwIDEy+k75GuQajqZPD5uwC5+oDjyEm6yGh+jDB0aj+W4GtId+YFyUK/B5UqAP9+2GvPNnNpBByKxNWBtsUIt9jtarZRl2dyeDWp6hXzzEBtpA9/kZ9hygfcwT5Uh+iDFrDCXXgbJxXRIUs5XYc+cKLcutsqb7+hQsbtVx2dibpNuY9OJjD80U8Y7P+xZSeqBKCfvP1nI1yMmC5Q9N7ofmHV+1wpHji+TG3R7AF4RoDxAudcTwSHL0RalpJhTOV3f5Ry4gL3SSHtGu67eXmtkqX25N+dJb2qtMva2cmvjAE34qwcAu8nZmha9P2+iX+d2nDtYRrjkox4xrs98T/QEOfZq5oU9CJwhl4NQ6bHjOpdxuTX9w+SaG5WLBl1Ki7920HeUPu2XsG4HgBHiACAcFTYdrDiJ5Wa1yzy8EFfZrjj/d5hOpRTmz99A+NMQ6aUmWo7fbMMsiBGjCE3cZS9rBqlfiBs67f+jNPXOGx25j7hYj5n0iI1qzmKrPeWjXXcV4mHtpdetcfglQEqtWmMCwj1fLt+L6VTLvDK4RXpWoTB396GeNDpS+gyggp6KiDtF2xi3RcF0O5qUp4zfdUYB/Pyz3d0rGoDpAmmo6Zfgb4wpKi1CF9Uox0vIlHwNh4v2Jh+VopFbjcoKNF0TIxxzwnk8ICoRl340/3JSdylYyFYxsADj5ryJON7lDVgnY+WfXuA7iHNmZl4vPRBovJf0QW4pfTCVycOzI9j2+IYNQ2YGubXSAavdEjidlmAO7IegrWvAmmRa3fhoSCcXUgnc9K1BOAxv0lYjObK+LLwEbHNOjyMFRXw6vpbIP/TzZRbRcN6C3E4c6vPcYsxwo1H7Z9T9WVRm6tKnnqta+99R5QsE23VGsLshDcj/u0ubSpb3fYuz055hnvi/cZtkKXSD4dQtheqrDRxZKDfXOj1PnOkZ6RxLgg+ZqBIewcxOUjoCq8VyP0pMMf04byOr/oePN0BQRyjdvP7fGOyQqdOpWJsb3qIz2nO78COcZj9ro3VQ+yYHdqo0s6y4AbYWRhvj7ySFk2Y5ZB52xptnGbf1m5NwhP2gNvsN1ZL/LMOnZUMHJK05qHcnD7mwMf96pGpueGQhn0Mn1sN3QCarPIt2b4oJfyiZ4naZRt076kUgFg6+wG8Uuqh4tl4xng1fg/g1Bwje8eJ/nnaO2sVb+5gdZA1IznadaCOsr1e3UobB0teHkujy7QM7N3NprbfJFA1vrLxvxTwNbPEWF7LGzK/ajTNYL+7UV+ZTJ6yeiupeH8H03OCiQkrMz62ubzfKtOgpgyr0briSnL3c/zZbVkF+0qBrI43o//1CdUV63PP0Po0tJypzzHcgXhDpP2eqbLjJ/xV3q8MpJUkV1mS0F0RRIfyOrt46+n5VznVF+EyRCLdyfLMEZF3xFV4PUZkjCJVVvLqToEEMA+z0RZ7AhcAr7WZZgw7Ey9gXy8ypmU/Uz7th0o5zRPcLbeK5TyBvqPz8l/GolnBlJ50zdY5/qwQTD+fO2jlwdVIa9tTkNssIZzpa9B7zDi5CCvfFZ6P3DUnGm8L81T4q3EdB3Y8yQTVjvUbYB+aYJd1SgiaGfTuFa2B9D1LhdlKCP/Uuk5pLo6AwVSycU6Az4JBnhpyfgIR4b3rXD9FwF0jZwS0AF6vF9jgdtTLJ1jUqs3ALuQMHd+J8hsJjIlqdTePZ0F5srTciv/b2//7tbnQT7rkjCAD44HrhKswt6d9a6N/MQwZVh14KxJLW80wKmzTPsoIZkPT1uodXsJ14RuZ1eqJlHh2IlJwb0TFuVJC5QLkJEZDWWv86n3TlScbdslMxLgUa+qDJtiDdhJmqz0bCD2ORzxSxkxvAe6zKlTUA62Vzb/CgPaZ3V0s1pGhznnrKQKByrIweKbN7xGX23zzFD/0Youvva6qyLXWwYltNlyiVZF72eeA/R8a0nAqZYibhqOD8c0u6ZITJlBVqM/ptaMjseUtqQ8pTGE8Gobd9JVfviq13K8/DJlgkS5v5/nB01cUl4stWl2ATsrUnhMncQIjw9f/5G0QiQMpfCxAqvNuFkqxvr/bpChPgx/lj1iE/zAqTy5LLtTUlk6P4f6KZJBla4P9Dkf37j+/rKz1QevADZdiQnyXntLQ4YlUEuZ/Syghg5z4fAM55Cd5aVpga7a0nJb8f/NQ+U0VE7ZCy1gEDGHGZ32dTJbUgl48JKtnod3yFcjVFPeNxx7dXCe0FFsYxUc2xCYA8DebgOfWqCFjnV1vYnGd8Z9b8wmbPUhMOmj6aeGvR63sp/5AqErvlmMlmY3vssG3LXxaUTkWHz4un5uFBzjBODOimqTzZhMjeuGNpmSrk5lLnbq+5m9lE/FFccEd+IODZZh6P+pM5gYSZYKr7/E3RDc7XHN81AJmDui4JaiV2uIkPC+bgRgkN2VF5XzDBCLCyBtj5nyFym5d+B6oye6LenJ4t07CjAkv9rUshFc0TRw5HydBsvj/qr+20OBnhe6kwOrKQb6GAj97eaUTPBnRP1geVbC+Ox1ePRCGaLGKiUsA7zd+kgLz4nfhJ9tbHPHCyC4G7QaWiOV58bPMZ02z+wewIDOmihEBHfUFONHK7ArYSYLflyo6wZXvgJwXP8NQ9Wm8rYZliq74kUE6FuFN5Ocxs5/UOljv5vY/CuzQD7NQfqHw7BfmqrmG22K2sbOHnrgDFBvbUUXxttcwtdrXkB2Gk+NjtdaQZB2dZuxoTWSI8dHQxnR/V20nRoJydFNIK9G8imKyiR996CCA0oGszhjrZgGIpXAA0eqlpzvwu+iK2B5rYdnnEoFbW0uhk11NCW2814eBRGf9gJRRjvEuwlPaczZibsaVF+m0g5sVI+LYzNtLKubd7qltFDPdNf0Rb46yQOj21zm6Kk4/snkhBBtW1iu+MIpP/0VdnTxU6K+hjkA304S8M6VTPHkTnD9OyKip9tS4DRYc9dvOCS9jIvAzEF3IPGCm/78bzUeO8C8ZOAgox1Y5B7/BHvvoXRU2tIKjK10EtXnfYL0M5wQUu758ie8j9yUUnlgzzzPFUq41lKDD/LnGvEqHC+fCWLD4kDBnVOkxfZSNkWzDNZa9qR1XlMXK+dtP5Q9XtSatiJI4aCNWcrD9U/VqxFabr0cUYv+M+h44bihCN6A+PzUAdhomh7XjqZndA08icPA+JzO8e6BNtRs0U/Uri1hsjVQlZm/Q5d5afoKA3paq61VDQr4ZPBkf7FW3dUQeRRfJpzadfsqxaJPvgzz3PnNbpHT3DdTxpm5Z4Lzpc6NPdqxS8U2xv1iivk3qTWJUIgoIhuqsb3i82MBPx6n3N2w8Kk3LJp1MXn1oz1NCnx82mQzLig4Gskur/OgAGsH9m8zJ4rXKbP2g3yCs/JNimvE844H9oO07M1EQ8DtWowJ9tTzJxqS/eG7/GfL8y/814cXStdJx5TMCxVPHWobqcfL5KCL8NONE5+0R5BOYit6fwqRWfeH/PMhK9HZUcRmk+WpR/ICldYcyXxQYexvWn5B+NklYk6edaNLMoHb9z5ITZ0QCYDBpKB870ki//pUqicbbqUpV3JELFl/R/kBTLERLRPV8X9D6LiLzLHJOdHg4HRQnBg9lELEmBZL1mNfER4wdu5JbffKipNO+u/96hyGw4U88cDwsIBB4itdVPqQub3jVzBNlD+gtfiKiHKC1qzgaU6uHfLcdOGPC8zHdtiGXE/ZLSI8tyKMocThOdMGSxQafuXzBbHhT+tRrKfHRJ+bpFy37PrAN3zDY2QOLR/8QjwGtV5sWVOdB6QxtmUQfjj/Db9JaKtOO4YyzjvUoXVrwx6ByuYGCTx1x6cupZ3lICbkN6iw2GlefHhd/IjGx8HkUBngyVuBSI+SWUAajFsxHGXZbiNvI67UMXyEYycxK4Kf7be0zwhYVugF9FGD0bSXinuXXDGbHhXYXYhfMCQKP9cT5e5D4YT3+LmPOLuDwTtEb3teYATYZvNrpx3zGBjokliDv2csM62Meeeh+ShvWTR3l2IF83WhVVTQUzuZATZ5lzIcC6DX4dnFIMbDmVrlDR9G7yPKEGYrGRdY9WnRf9qRzl8NzOhD59twTUb0On6qe93reKdlMDHZmcsoVexJqT33b4R4nHdP3jhtW4swoWT/HucWGfAsINhccWR7fZr+aA9bziPIfdFtjt9/g4s9NV2Wb4AURpdhHoD7F8+JJIg+0Yxbj42u9+3+3270ISzMhlf9zB59cTr1ihTmCf3bM038G5ZVOa9TvZxtCNhCt/IHY+UYN8yqmEZAMwxx55WlMqcHV0SAiQcboYb8TsXSiEz8vJhZd+Gr/nRdBaWdg6zSSx1gGDUnS7YhpJt3Ccnfi35/ESCPHlFaEC1nYqSHF2m9JHKtbkqqb2X7LFnKakoTXLJXcW9Mnssc7CaXV0ETQ/kJrTqnItoTIzlipA8q7R8DS6SeSvENna2aFWxRZPKSkizVig+V5NiLLYIuX/+CuSooYVqjSRcJ6GKfn6PJgryj8Q6oXhbgHup21Kqcf8vKgeZDbDBKXhQFIPimavKHz1+MGaRxFX/brLVzprkEPTFmkffJbFcRPni1bvW1e3PZv62et9A0fBW2pri0+TKRPx+2YZ7aPYCPoKn5bKu3d5j0EDfRWqjTunC2M2Ucr1fRA55Zgd52Dw2Ybi69FfM8j2SZ1M+4d/KCPgg1zjspEN9sT4pGoj93Bzrt+8dauZRMBRGS2m6gQNiSTIX1uHyaSjI2IDvpDZo0mUhCn9ZEeUX3MEYW5WtezHa/Im0MeJ9wq43ZZPz98n3HLhA3Rz/A315inMWl968cwHixRnpySnm2MB6F1V5dJc3uD7FhfaJ2NXJXHtythoLkEGq7f3GbEv5YQAuWYRTw6PUzZPgLaCspJjno56GvviQAHnSs+xP72+/YWi8MRwpOhqw/n4HtqEQqVINotgs9lc6xHo0cOE22IdcKkNo9KS2aTGmBbJcL+jdPvjvPq9SF4AnLdY5oSRXUrEjbExMwhz3ZmO1T80WlNJQhDHwan4akRtzeARFON/VJh607oBnsrrQNxzGRPJld0TIAQK+K0nQ9Pd7ZbphIB/XDg/NqkDNxddkhIx0/PqPIk2L8Dvk+5XXKzmMEmY1w3n4N6ZOtvnPtKZhJaL2PBYQUsukh5kkCIZFB/uc5NJUp/HZ7WU0lLsK6ANLbxYdkTZqf6YPKO0XpxMfUoWI0kq7GKbmXNcz9CyMqzdVK37t1loge+GSnCMtbz3M2d2r+Qgg/xcDN5JW9bgNa9xODMsi2McDOg05UXGKlxcY6EO1P2I+sDB4PUqsAoAl1Df+aPWJTgHp+8iUZGnWWNkSXTa/nE6cWvcsIEOwQz1DkUiGopRY6qsQ9H2hCsNkhu3dBTWbdb6N4zqvC1aD6JRXRJdJnyVXXoh1HPcMQUEf3qXplTVpCPx3ml50Z4w2bViOPHLIuheW9stp4BDDraucVsZEH74fVP5fKlZ3TqjyEGXtfhVqFz1/TFNfYhdiH3Vd4EGpLLAuCfiZ0MFZGW6hj4lRJX/Ya6EAS556l4kjD4btI/gc4xQUIozVvXAanqIp4n5WSCO7rnDOvbb3sQpKAD0ghlNp1xRI+Dnx2ud8nhOHLZvkLmx8aVbf3X0fhqknUHbDedohRVWiPoS3w590U9Z4qXbCM3Dl4DJmorVeK/5ES6/ta9r2KBIF3kpzjW+6ijig3ysZO1kaMWQ60lN7MbD8pGrz83b19SHOSCCwJkQQ7P74aM7hrooEAkaLU60LEem3+yu5b7l+TncXBSC+QOZa5bcrXaweFn6LACJan7T3j/ZAkQSf3uU7JaId2nWwTJDEoEJJLqiglgjqZVSBdnxkNWdLajqxD3R3IWH8vCWY3SL7PpxH4zmNryjSW6RMRbgwCxyKAi0RoW0K+WLIWs/a/zALSk8P+hOS9gaGSsfXOdAtxnM2KnQ4vQWZ2mTuN52nUqoMHiBDpXsyBcWtligHpaNrhYMfa3HVg/7kmULnvXQjtVKvNeniUcodyR4DYAVkVhfA3FRisOraAuAYONKMLOWXYod9KaDyWR4vNKiWz6LN/glstyT7SdoDTKjg/0qJvRCPS2A5sho87BhYYEdS0mFcrfCDvUELhXVK7ZfV+jf512kFj8rPyKfi3z8zAwRHVeUvr1Sf74gICLXplrWrMawFQJU45jPBUpA2GCQVqcECOzPlwvqpvpDOTRRRlNko7XG6+G3k6yFueSPcYOvPWVyRhuR+f7aZUowv0Uw301vGLLPuyOr7vc50bQP+kX2HNCju49Hf9QvOtLKaWKqYGSWCRcKw6Dh3AM8nSy0oHRmfGkogxMNrkPHwGFbz6+t/POTYbSGWN0kn0WJFdgC9UkFsrjpiRUn+jIlHwdKBp8giUkj0Q7hD8fCzb9tMbHl/tqOKzwQc8nB2qh3UC1jYE4oFQOMOQzD8DB05NiYkH1LOg4v7kqVtYqpEcoOtHP3PcyomAXvzzjjdJ/NBrvo98curdl+UVGkka7AdI8xWj7Exxj9JwRUyXWT2ytmE78s7eMzcwzOtl1i6PEm9pUxEk3e77TBKy3oHmyyKdP94KTb6q/vaOWA94qZ8YfKd31lEOms+XjDC6CfW9ymVO5IniI5fANv+0pmh/dSGaTxyO45zBS+x9lTzMR2ZwPXc39lrV+OpumLchHHFpzGro76TrIwt5oyQDvcFSNdJB15/f9R2zwLCefxJ3f6wZzCDvJvuwtOCUnd4S2JYPs70A0GQd2ioIBf3usONXTy4Hi7dHhBxp/vbkR/IwWuc8jcc7fikNPGtW04Xi13BXchjG7GxkpizkRIBg8xsGLJRJu1I8mNzH2+0jLD0abRLNrpg0KHzjpBp4kRvvwXoG3lzs5Gv/xt57VL7Ij/abAIIqydS112xguJPgpseh9ycVPSM4lfcYySlgKHvWi8iWMoLwZd3FQfi5ezqdsqA3mI5DN6iB6Ng1FmV9xkrFjEfG1KTqLoZFx6CWMCvckM6nBugLJQrHCZSn6dNtfu39mk1wZMM1yzqmxxXGGlp5yI1x9MbXILWQYD5/9cNq003+D29XtQU6Y47YXTA+baswVbHH+tW7aLfO52u0pYLeTFZjwkeSB2uVlj2kyqJpS+L5cmk/zeU2HSTEXlku/WN+wW6uInwm72CCVbp/GuCv4+VIrd2pzHjMlIPpTApy/DzdyUjX6SpAxbWCUS21E0hBqx35andsiwUZc1qDVMISZs+1jiS6xBZSeaQ1u1nF56O1qMFFDbsmtGUKghT9e2ThhU3Lh8gwbV1WeuqhEzFLUIkQc2PVlMi/c98r6NgeQVMAYnow+wZ2T3w8GMNpWkfL0vmhEoNs9nGKg36TzdOhucKpmzqchp5NKDMDmp1jHLWmhU4JZNIstOW0LzBqpBgyMAFwSe+eQImq3GVWI0CY/nuYO1Q0dD0R81OeGPCUaaJ7DRuDKbF2dF+pAStr1ysH2N/Fn+va12xhKfkvzSsGWhriFxl1k+87z8hJRrMohVvzELd1cMqtLSmJ1AizsL3qStFnpzdP67onTKSrviLKx0gUrcNWPFzr9xLpuMUyqk3Hmc356EdBkJjYNdErMANf+FC3ZA91Iir38N2VROTXMC0R+swKMIIICcvJddLSIFyNQu656FLSHlZ2cEhqcYacLKnPb4+fD82VX9sVo6FB4YHPojEBKZYJBX2PyCschhW+SPG0LdqbMVsli7aj27NHz1Q8G0T4hHwEwCO88vtS4tghNYROOA/KFIxj0ipE4lmB6Zg1dgMSvO+R9QiZVk8xUM2gPRU5G0SFapWV4kKEnO0lLLorjn2btGTa7CiTbk3L7ajZSxLfpBUj2p/4cRLlklTe/xg+g458dgml6vmbd441Gtme8NjSp3RqFPkEHNeqytXMFSV+VVPDhoiDSSyn9Ww4zXetjeqauTh1/0KkoXILB8wWfRxdpg16I6Kbrfz5KwOb5Kg2cHdsivek5aJ1g2iwANHgsXh4c2QJNBQ4TMOxqy8jpk/uwAxXeo++FkAFm/f578OWcKkHTtxQtjP1l8xG57zO6ITdGXZp7NlGSewLVIDDjiRVs9vkTY32nrEqoummBJ6C4dkBPZc3PSqXfOh/8/VR3EIlhDyRgeIXdS6a992IDrsE+ncd5Fo5uvcp7AlQO/rd+BQtFphTqK4Xfgn6oQKveVEp+MgcB79uV4gARw2T+OP4tE+3YGMTO9d4VYeR9HPh2vYrKsvhStIQnUqoaBdC66/AHdDgL3lLolzlkMerfQFO9KkYhu3iARPqlqKFe0zunRoKv7VAnSfQJCgYaQerNd5i7LUrXoRWF+7E6bnRvimmB72ZjNbUMrMRiaBxixWENmZ0cL870rozbNye0w8Oe3EPc/K3lQX/Vzj+6bxuyvzdfTwbErS+VCh0gvJLNaMXIRE+qTgpeRlSjACMLClNjOHW5hHEBvITUoPktfrg/EJdyYCh30+EOYBvuHfQQGrmOaTvZBkaEmJp5R3uMzwfGHOHHFZ9/sE1A2Yjpdf09l9KUzzMXNml7F+XRhW6cWnszNQrRExFVQkT2iMHJNZ2YMZiMK/p4iDIqV42+Bl8rP3hHbjKdA60KvHvBCfMDyaSpv1EMoO8lrqwhpE+2gmfhz1aIrjwSBcK+BQf5qRTHbWv0jl4cKEvpz7nU0G1QHekx1bhRVGNjere9veIOo9/RtvSclCfn3+t5p1FxxI1yExYkPtEft7PLthoAXmT8BsUsDa7BmyWdo+g7wEXv+06BobYwiMvUmo02leUThFV7EWhQM916nBX9X5oQ7YqMsAEN0+f1yhwknIdNEbkIG1SSz8wtUOh1bJ9o9HNcPbawoyw19TBcEfq6C5UvRshr82dB7yp9Il61L/dDSzeMZbNWdyqbGe2y+6mlqobQ4lpGgzcYCL/mY6E88a2NLt2ChaCIAPcpM8AksLuwG7NsVXfdSPScXC1n0o09OHB8eABV/CgJx2iJXZs41hnESo+3Q+kiZUCqfRqEugoKMoO1ebTSyJpmhV38I1PGR94YPLSJfzEVUW5VAQFl2x132DLapzrGgqNMK27p4LtCTQ3MwxnGxXgVx6dXpJtLpO5oJMI55MCdobNcXNulGy3zU7eU3HtAq7f9Xc9v49NhUw8zzcmPc/i+bEBB7zRKf0xGtcvbN7oDdQBp1Gl9ojdB1RPN3dF/PCVKJB7wnJyhz7kVGraqC8N4iUJDH015mv89LSNUEtWG1AY96zDEjtY7g6VtQWlzFALY4fKIck0jgm5dMHyiz49NyIssoqV+lGs6BwLMohX/j6Mr//dHWRMy8JugWOeZTgZLFIsugh4/vNpsMApWAnQQ0/MJIuZlQlKaxFV9nYV0fay38hbv3ma5tpvp4OxBGvOiCDu8aHOJBI6dITVJeraTprWUiDbgZ/EEP5cApMIwcI3K76oQT5cn+MGvaDrR73779TeXB6TURrcL9OsUOy+H+785SXKVpWGT/AvkwyFLuOMEIhLHeFILfuC9R9gxWM+cItij9uv5yuwPnCiB1W6OHGN/4XCLXeHRGccQZbJaNxtUC+acWpbzmavGl4vxzxrDIcDZb6ivAl/OzPbq/DJfDBf5MIbzSdSl2qcF0hWI+rH7QU3kANEDTREdEqS7FSqSKBKsM4/y6ci7X3hqh+1kGzl5UIx3LUsvBj84ZrQh8DfjHPlyf2dEldQn7U1AKguDoxkFfWxIHAeT1cPYpD0x58+lSyZl+EONi+D6Gm4Herpi6Le++SmF37sywjVpRypcq3nhJ9GN5uccWx/Y+c1cj9kPjQSNC5tezqmWpE8xkY8R842h/vUgzIqtXnifIn7QLx/tjRwVzm9rbNcD8nZrl31Qz+0+OrkP+Nz7WQZ744VsN7hOIgu635iDw0gH0eLqDbYHYExQBqI2U0tc15XH8yTKuXepkiu2H9wFDw2owZegez37sUah4w9kJWFDHey0s7o2Vbpf/2y+MHg0dWIBcxrIkfT3BrebvbzmG4nU9lEGpEB8LpYSxIWiL9dRlMAwPfIEPtJRy+OY0nOwiJOBh63HDSswvN63ofFa43bak1zlFX0wNiUA1xNjzVLIvMOx6if2bzomGmll7n5FxQ2iIsFPNZIhuRzkUZQsiAn9Tlus6hsIkAFvuHQzZvj7jKZTSLhFwSX6eKL7T7eqlOW3Phea7B24BoCyQ9GnCUs04qnMW5bVv7zetXXB30bAKESjAxiuJJtnYZbyOer4rDzVfsO7zPGcvwPuFQjKKEJQ1XZwgCLQIf+CC3zwIdXCTc2DSFGL3TxomV+vYcCCA5FqK5cJCALIwHDKNu5V+iOsZeC670hYjz3CpJRZfWj6fksnuDv45+/1QOjPZvyp4wfxF9G1NdgKR1pk2Qx1lSSfaUl4EvQYUe7/ka76/T11PWdkZ51Zw7A82dvb1djBIGOsL7AAJyRugOu8DTXJnoPKYJ6ryodnaRq3b2xnnhbvqiCeeO0D0q6RxJRkOwntx+F8NqAq22KtgRbuPiLC+u/VqIp9v0488o/m8FuhVQapTTlJ3hEd7a9jfGW1R4tN0LjhEsZSOi/fsD2LYa+0tAZgwGbaYixxfYbDH7ASflI9DhPFUlHFFqo4d27N018W/5E3RBVEVlDJkrmxReuYowVHU9/O++zAm9tKgVp/yj+tscuzoiAAls6a7u/rOhFOLZ48/RiMSl56tqDnyCrnRg/w834dcYt9wa9RHBNSdxoF3zsX09yoWLn0g5DViei8sve1j6wdfF2yYtQW0NJWfcPK2hJZ8D0DCinFY4MfBxOB0TavY/X+otN7UdO0XPASUSSHVYhNjZc6cqS+42llCvfmTMa44j/b6i7G3zK8da7kme4a6pR/F4a/rFuVBO5MB5LBtwbEhGHcmv+ydWYoYi34wAhpTH7dSmUpsDLc+6QsSAidXQo9asXETGh4vlUqP9jdsRGuTNHEkrNmuUCRbVnTGR6XNeKXAZQfqhQkRFJvnUD3mOd+fbXyPCA9CFx061RUgvH+fXNplV9iJPnVzVjtXZj6QNhpE/nqUdamnsGrQnqXcIsFdHFWS7+EMkD+nxleGAd7GGQpELXQjZ6UcOA0KBKU7W1d9gP4oVoK56uZOjgLNX4JeeMjZZof2TA4ru8AwDc5ibrWBqM/xuKkRlNDHC3uB0UIFEwkaDuRlNGCUCW/kTcc8xqT6zgtGK4ASIyiDW6nwguKWFVlI6O3CwtnelMX7YcFpFCoKxtWt7EQCUBCB+FZTGNBVNL6UFQNK/PAuvgwo5BebkCjPzDb+BEhsPAe45OdIjQFM9/Pzjj0m3Ebj87ZvK6t8RlZXMETnD8Dpmm/IVKD8E75FDIz9qWIqTXX9o2X1Dcr7cwqHIqFkJrb5Nyvndb+CNdE9iMhjcm+q3itnGXXHYfDIjSr5QDEnrvw+QGUGdipIY2dMZDSSSUTQJ99CgFuutnkyXoo4rM/fJczZw56YAGko155aTAKdBOzOTL2NKu3HrAZXPkVfDODnX4eZFFJscaDBrpCt0alCthNtRCRaYvWN+5/6ditAG8c8/rs0xPQGHS8pYmtRMiX5l2e8pHSmmUNz6X1Ds6CmXuHlfTo6OL4Tl9CTNjKEZ3eTCNbilOZU6QhExCUX/ZFXsf02Jh65D1JpazW9kfIhAMZxl4+4XDDz/9DPypeM8udn6KRsdmefQl72YIuhnpIdhRtvKd2LuYakPLPiRWHu0nzUenKP6dFc9sz9Hqk7coxUBYhSSpA6+1xCtU49oxvmtqaFnHXT1tpFawIklLtVPbD6cEZVckCdYx4UxZmyHKVIjl76+cgFKLnr1VgrB61o0/Mnl/w85dTesXLA42XZM5KLh3XEHUWLG/IbWGTrAJgyikHuGZsg1h3aCUjLv2SgMLIt/qgQEY6bylvc3XBIvksN2hTd61HQWBD6499iaoM1wXBE64eBSY/fs+PHBsfnIMf8A9KTzRAUV+yddS1nVnZ7Z5HdfCQoUifbXEAPycQFqLtufp8cW9ov++76RAOIxMa/x/e4pX2FSxvcKoUeGwRI8auXd4w4HJ/WdU0krZtzvQQAP5eCwO++gFHuH6WOwgfIRgIeQC4yMwFOGHkRjLPIsDBIen48917+9PlAdpgm61aBCOy4+PApmqNdUE7fn4IDqaz75jKV5yFDGK8IFscKNU4+iqTE4xjkTUY7L2uWB2ruWjlYBfTAebbNJIJABTP+DwX/s3dw8iEO0oaUAlowx9QEYd8Lcl7DvFrwiw39nftOozqZ/pt/54LdgRxEGcC2vGsn9DfXDNg+3V+zscS5bhJWfB1DB1vi+Gnvk0aA3ywd2bhCjDIsY7dv7j0nJbW++20JTrxqNPo5yIl2NSlCKMcJ6ue/jHIS4DFbPDs45hiUPrE1nI0uRQi9ZeYoxBEm3tWEDIN2zc38GLdn2RC+PtYVMy7chcNDonFnpCtNHcX3or81vD6D0xb4ws4DdNYioAWV2m44za6sCu5P4YYA2c/yLIpE9iJRNMeGSqdOIQwyBGGkaNuGfBrK4oYeodNQ95/Tae3F/34fxHEsCDjbKARfFuR1D3/602MeVPKIGUKjcoww5XtiI2HwiSBN1N054L8Y1ngLl0qsz4X1nCl8gRrvb12Fozveyfv2Jx7kblcAv6Grh1utEm7ZYyTbfCY9q+CHBqegkOGgqkYjf8mO5MeiowBJE9MTGS4Cbx3ysNleB78GjgSSJwI166yYwgdB1jubRInzBj3qxSr8Q2PnJ2QoI5fYvhHbsPwd20JTEqkEg1mcfHdH3h/orhqQXjoWJ5Wm8EEDnTjQm1zLIyaLMbjxvjbty3N2/O0Bmm0E0X130EFLwANKjKnLsPhuSn8ZEJ6L4N/91rWszwneLSGLwmeEtF6yTEb4teQK477vLcv/sBMLJdf19wcys5yh1KmP0rsaFqvrV89wlU9n1FjXUVtHcANqFyGRqADMp0wLbZ+HjZgWeeYjbpf6SGiRNL7duZkfm5ArNjYW5yoONf5N8QqZN4HArFvUX2aeUdxqGU5/gKU1EaF9It14hsd6RK44SUVkLqNSuNuXEIiqOcjAWnJKz+SplFD33wDaJ2I1T/S9M396JrTKo8fhhEp+u53XzcvIoo82qd9+y2np1e1bSJVK8zdIey5zGyabHMSj4I0FvDE9s568RAFXYRnYf9j1ZwYntPiNWduRooUqCJ2TvJ8URLAU+/hi8oz0o9bja7t1Wi8HqE0JiNvB0JZ0EnyqwrI4il6U7KvNkW6r6ZuDW6Uni+ffA0DncpxGV1XKyOvtOMq0bCqkgbHfLXdc6mgs2GK9rCv3nJPGONX1ezDQJDInrGJyfRzRmbrAAQwXS3Xcya3BIWDP9z6oR8cqb7FSiWSM5AFe2+Xzi+FSXvjNozwfE89zLOaMJgQ/dzKfFM7LOkfEyxfuYPKLDTartJacmM5mWr25iEeB0CM8kk2X3HB1YswnFVkoEfeftMWuUSR8dyITRB8f9XvoJP8bUcbtLHxRWnggyvYS5wpulTB+siXxyzKBmm/wHrsugQR64oAFl7KKU/IYZstRDrGWgwO0IXeyvMtnNJr4tYNEedNZqqWoTDVMD2RzTCvhzIGSGWIBAnxE0vFwntQYSTq8AAx4EzrihKsF7Zu9CiDvm6ViuIBbaQ9o84JclSzp+/UVZelL33OgtLEVzeWm5lXrzgOsWbdr7Zh3YofupCufu7TPpAp42X7+acOfwL9MP060Ae5D5AB4lhHi+ZeqbGv6nmITjjp/Ovv17DxUruGobvwN6c5jA+B/l6sS00MFVz5yFFO1aU3bvNNCmbVQzKqUpk1r2X/7Aay+0zCWqZQUKo763goxgLDJW62LWwQZLlriLVynwmvOJUG9DXBB0ZrFwgZwUTZCGpwbRSJ6PrZu3jOZ+F0DJG7DBypLkNbCz1abmI87QnHX+Of6VyGk6+jn3oPof2aUFHXBQCV/b2sFzXHeBTbMi5zkxifMoiOQdlk/7bh6+IwAH9HIFb9cWgfivWZBkELSFcUOM3EwZU/szDz1vJkvxLCxniaBZv39JCVecQzf1+5aRx+I6fzVw6ISFpTZUAIi+z1hIG0mqHuBfTHGmDwwvX2OwCuYTMmDAv6EgBXPekUdmsZPevEA8YQTmiOhJgQYeION3+3nrvAwmoG147FFXdu9u0lG82QLxLEBlKwAKUqG0mEM2N/Y1WmbPzWG2FN9TW+0p8eUfAk9ZuKtWGcWCLvenYcvSiE/IQ55vmRBMcUoC22/jyV/gPHpVA6W+qrlwKhSBcgR1HLKzbHRQlU9nTR0PheAGKO7nXJ05DfDQrRS3aC1e1sIxh/OQ0l+hQ5TZNiwkdVu01IZ5Ijj+mXesIxZ3vfWM8i4Jgy1uXNTTC+DOcJqIiLcRdmZzv8/EJaRLMKfF4WIw3EIsmCUQL/opnSLJ3w2DDvxOOpdW8Stl/92QVulM3AMK/RsAi6uFNHOEzXaduL9QZuw0RLrOfCHwVpkHwCdz3EmjPf3YH+MIwUaUEwrOHZAKADZkVIQGS2MU391vAH9DMMmvb37akbYqMDh2nSHcjM1cOACwZYrpYW5iWHZBd1iNUwfhvfautVjDSeu9DKILU16E9ZnADuZTWDSusqD/payTsW3Nsmzo/gXDDkCmdzRCfiUE0VT1CyWOqx0JygGX1D7gXpcUEe7ML628upQQv0iCPgEtZDW40oUqsdLXz3wFVFpvMQ2tmgWUF8sIkawMSX78WON3zw4i5ZRgVdxSx/QsKj7CGUXsRLPIGm0EcIWyLTnnArv47t+fpn7qrCuJU46NHaEFIy5UJKlYsbkiDqcAaxhtg5rfIWbRwyvuPG0gWLJ5NH3r+gLWu4SM/V2heRin59iGKaj5avWncecouaOHQA3bEdTECqbdenbn7+nOz3o9MdMaaIk+AeQJumGyLh0TDY0yDu2aocJ60h+wNKvWFAuO+nKDRfXMB+hld+uiEAGb7otZbDrXqqQgjDSPWddCp6hBeCBEQZV6QSh4eDoq+u1Z1U9IgQETAMvbdSzuJLxyhck7Mxcl824vON2LcnW1nuqNjOULNzaVMGWbi52Xn6bPrFsnsA0kLMQl4hCYNovtSFCYFl+J4R45APBm6F1t1Nd1NCEVq8M3+54d3R2TdYzYdL1Dr3LcGKx+b1kIttbzmU+oDFQIFV1KoP0BWi4lIXR7mhFQaCSHmGnD7wkdhWj8TgbzE/BGGOcHcbWXnVzHcuIjxRbfA6FRtCtu5dpkrQwUzNQ8/BYZmd32z6sOHbmyV+Xu7/u1sKR98PJKfJDhfrEr81myyYRBGf3+2hsn9l+o5Q1OC7oyG9p+PQuvgFjgB7woDZ2n0vwq7HUfeNPjYk+BsbW1Fp4odWbFi/MRdAPtbKSxS0+vXj8B0sQbxqZXTnu7WBHbIE9rhBAkv3g59v1yV+w9HG0adI9UrtCBAat8tkZ8suKFKglIlkeaZQZgtYlFdDnW19d7d1TD2ehuQFChCEEleIW1YeYiEDSK/dLpp45pwwx02pda8EkcJ5ms5wPi7gA9WFoPilcgeM6fGbqbc1FAVsBLbX56sAGJN2Gp4uyTwAWn5NFkjK6m/c2i3r6jSSK+3fnmOu2GHCceEKPzgPg3CM3O8JvSLiGllTgNIzJ+IaNubrtIDSpCSobXrbjjrD6l5R54qMvK1Z4i59kvMQcV/miowzQlKdg9h6QiggxzR3/w0T5HCYE4pZzAXfFSiPqTsJj9CkMlWEB5ybv1fWj64WDeL+xd8/wrXeb3u0d+RwK/j1MoELZh2bqESmHoIMmxXnb2vnzqj1ZegxnBPRC2s5z9DT9YlxhEiAzpJkPYBhM4LpMVh23Y4WlXVmJf9wisizgWs1jL0xN6gwauz7j15ApuqZIGj1bWnzsjwnb/P1Qi9fGcfUmI+kqZx+Mj1fw70GGgMd8ntdsmnOdVTK0BdssvHa/7hp0YRgC7l5aJgcPNTYZAcFeSIHIdkPkN8n+yZj4eEk3RCV5UdltfA6ZioDfTRwvSC4dJgViuW/3bRh+thP0r7pEE2yu+mm4lysbpJYg1WUcIOJMrM7hQYVO2BxCLUGK/FGL6jb60p6GrkWrNP/DmrQETF3owZLU6pBTKgXzNp8y424HJoES5H40H4/5MAEG5ob8N8zpNOoVw6PTFjWDKY9VjnEVkAUn5/r9BZsi58Vfje7qPN8YCBv+NSJ2SxrsMip/DKQf9xNTK83Lch42fQwfFv2FMBoIVtshxXOCEvZkj30ifB3hc21bprsf4rFjv8tJhie4QaXXcHeQsRyDgUt7ObRllVWSIKGKqO+jxZ+Ykp/xhLUcz8wk1cUSFNK16PdlXEOXfYhrnmLFkra9clIjlkqjN7PkB1F/tJk1JsftAWMiI+Hltkzj+fkIRyQFY0rJMyjmgp1p6Yt+6NdPqAWJDUyfMPWl8U4v75zsznVHBHFghW8DFkzZ2t80+M7O38r7qAOUjioV6plvSdgH9gd9NL9R02iYOU+7D84puRDutYpdQuIbDn8MpXUT4vTDceAMjxVyIkAUEhDlnze8OBpieiOY9f+1lTy/Zg8aOWhNoSbP0mSQ1hopjsQJNit4rVylELVypIAli4Msl7y/dVqVZv2czGPpV2RDV/iLwmBbNJgBARGLIdugcDe9DuTQqFJ301KhrrwRPcEgenMFc0DbkfbCrpDuwslZqAdcQNN1pmSM8RzcIbfqSOopGJNnT6K0JfDM9FS9PRgEvOrjBof0nPDue2NC+eAHKZzu1p7tfEDh+LEG+y2hgZ6tO8e+o5glveVQmwyERRjPfXhmCM6cLYBrsTsq6wycGN8JzVnA9OvNW+RgiGFuzWQn9qJH0iStbpDry0eePZHbmaZ5g/CE4tsG7p0tDpd/tPh7iAp0HknyBJrvPOZNlHHzNZ3EOy7Rxo7mgGhWZphXgS8gyhEDUozRfBFODXTW0sdV9BkVABafu+IAlHMLaVGtle2HHXqou0mnURix9Nzsryvjc2Je7xaos0TXBGVzwD/LqOPxth/wdY40vpPzFtbRaZ4u+P7rr0znEQ+yISwa5r/Q4Mju04NIj74DoeC8iP/TiPNi07IimcyG1Au4CcyPGPd734/MFQzYhrzftamMtPdEovWZS7yNx1APEXDnS3MhQHpTUaZFDNAWI2SxG1EQeVqFc2tzt3udZY53lK4+FeKAaZymfTKRZp8WtklSu5kYWxYr3VBuO+RxMiBbmfYpnJ7pPv3DoRUQLiPZl/QVXPMW7YHusdo7tsZUTUscJBNrKcvwnyyM/beYcrv+bNO0wgs+Csy0uzA0jzCgXc7oprUN5kzsOKWomgDVRC7mPPE1AtfhM0jWzY4bd1ZJNHWZN3WfAeGt2OWvrfkELvGGMwebWFTDEjbgOe4LRF1UikNG2m/8tEUFrXymTmHaW9hQ+9ByuM+7h+H0WcHYcTcwO/3eYh6RgPuuryrDYcFnB/3JnW+oxmKM60eVc9T+i0hDES8bSeWSNYA71JeP5hFf10uzCUqGcMGxN6HtK++dk86Fnk/geuEYuIjNUW4mmTvVLmW6hZXKkUXNXwRK/dEJPF8ThXXywH4KsloC+C+tUEjFpiAMFvozGqW1/n1UggOS4mS5F7/jjDeCu/d2sGbXVyQMSVD7vzFZA5tK/w+g3lPF73eHHnlkObstrRCohcuAUo6Wx5SXcGQqqwoJkld8Wb3WEDTLxTVXDrAWODrGrMMnLsE5DHs7Om41hvumzeEe0wep7Ht46DrQmG7aGWKp41jznCM9T3CSemzA4DWBt33ESxKCTVIYu66TeM8JwjL3c1VShHPC342o3Ui9H+tlnRC1A26z9j44rZuYx4VlN7sDWqT4kTt2Wtpw+DAoVlAm1PSCEaI2D/gil23M/9BtaSQRN/b0h0S4nIutvWupFT6L4p64J6UhbVz3zd93uWDNBGkTjRWtmYvYjcu9pZB+Y7uyXx3jhrsq7O1ucx9RzOSoHxIs+s9CmgRhIwoJQGxfkIhsOaZgASLdpPQJ+ubClBvTPwTpZ/gWuTUwQako+xqZ+yBAYxCXNWQgeZYce5mvahWvKf5A6wEhdpskXIQp17VcCV5B8nT6szEGWFdYjAydLS1tFVord83+YUwFccKvFaWGHeCAoV88qnrVc0Xdoiydr9Z1bligIz/YR+GB3DT4IJWoRSJN0vM6kCo3ezTKU6kwaMF+NX6CFCeB84fekgRX8K15zEMIAQhlD6UDZZJlDTrO8kztw/rchKfDIwQrrS32NnC1YZcdfq1V/pjmZnNq3pl/TqUPpGpm/7VFekizWHJTAkYmXUkvQOwi6h7d8ipBkrCESyZfRvvEL2vrzJxDzClgBk3Pi0m2+F01BRL93+JC6sn1DXY+iBIW+4av8InJZp7zKFq2Jv+E09jE2I6tQ8RGXyfme15JXjuiMJ5/f3QNxysuJD6MrUa93GUpHVxNIbNesdL4/pMV32sCOhj1PmzXCCYKyZ5ZN4wLvZiwDDALPPtOmHl/8gR4I1m46QT0Dy2H+8oe7t1hyRKRBi+0EjWszgiCYbxuTXPfMc7VkX4DH5RJeVBPwHuAFkg2XswNc0dHZzzQiwPLhBdmK5uEBj42nZuHjmVo7D4RBYBLw9tr4k9ht0IALBM02f7DfJEJuUTsGLDLaEG1LgqySz3136JOi73No16UwHcWM99tXzTPZkgieX8IXZD6s5fGM9+7a6TyxlxD4yTNqZD9oAn14XWly8db7iujA1blgOAxV4v6SYag6L8XRxbV344PiehKwBsZF587a9CKzgcwsJbER2ZrOyV69pQMVh+C7Z0Y30YwOYmGP9WhjO3Vq5A56QoT4VP1qlt5szJY0HTrq7kX14CqGVA0Ab6kHv+UgKmL+FIug2C5r5uXJF4nyrdavfdiuxld4RaNO3o07P6u42p4F3/NRYZvRPkzQ9y9pv+rdzgCTPWqV9uHk8FRRYm21mUBUiq/lZkAxKxMJjAO6951CRodZbNDN8AswtYQUDgWQygQUaymaIIg8EDvU0dN88UKZ5jzCRgcwHzeZ7THq7AR0Rrby4z58NnuL8L8fRMlGtWPiM+stxMWVKZ/2pF95BOmLb9OV1l8QKtzOfhyGxlzI7ugDSeI3G0V0fgRCIXvEjjntePYsto5cqjkdlX3gr8yzrXbL1jDV2NVrqy562CtntBeHu4j72E9i+pIxPkiezzvc3Vk4bvAyefKbSlT+yCaFQFBmN787wIU7KEWruRE4ivIhjNsm8qSc7Dq3+mWkwEL1qyzCgg0wDen3qLd1YyyPZEUDVyeY7Qk4scVvLDFcXjrKr/0yeTI9rMd/aAx06uKPzFBx/owS1JM7YG2+6mcR64ULsr03UYSbZ6tvF0YBOhSfne6SyLfDdQIZaBwyNvcMewF0zQbbkXDSNM+DGrXpjXaM3G5P8T82eaEvdsQMJiWBcCfxuIjA2mAjEFl9X7w2QyTr9eU17N3H+Z7zljs9xPvUHM/Gmypoi1iCvp6o5QJRlpGn4fCmYg1VfhFZ/rufSP9uB7xhb3j6pP/SVva6aaOQ56IULxItTOkq/s/Pu1lXVHcfFbe69to20tBvWBGaAU9kERllXqibWbioHl8kpt3phOvUX6SzFFI7SEaFvjhi8TeXsknD5CFrY/fuLyVZMBRzi+tV3lP9Q/d/InMzRAcG4u4YgE9YP1+YLB1iPP827SnvHJTAWQkJIWeYAjN55n4z5zxD/YmXFi6UmGBdYdyI3CfMzbQKJbnL7Pxf+6QH0Wr8Y6yKp7IQ8EhMHHIad952TawcUxMCgU7iff4JSNV5MPfJXGkOkPaPZrT3LQvuXoFFM47AHWeoNKrvqCBjhkavERSgUvaCkmeN+HjHWLIuEDM9ALNL3L+7VEeUbDk3ngExrUNI8PKaIH0kA9V/Len+2X99IpOsrLpHff4dCYUVJYDRV6KfOaA2AiCm26l4xTiZRF8BFhEDM/xVcPjHgzMhJqGGF8TmUlLYaqia7y3QDcfeuEuMkAM4tFi+L5sdG0L5/6FFht610J+3I/rIkLeZDY5wa4SA18+KUdzwho3wm9EWOTpXbMOp4keQWi9Ky9vWu2ZMReE51z27wwTwu3bubLoXUqTCO2ffXHs9lNDzdkWRQc5akaKxDf2nA4SYdcdP0ESjkVEdNrPyOYm/0oVRLwRwFjHmfJAdZReE/WMohLc+bEvUC3qSEhZzye5uUCAKVejbmuDY6duMaf5+fto/xHjsW3A0Vecx3CpHBrwTPvyO4GmsxxhGvyLZpi5x6rL0q/Yls2MYSoc7pqjZgDgxxrFxJLZnhjT29ssLm36zgAAlTE++MqwnEsWqdjh2YdI3pAZJlrTdxUV9Td3j8TaRzH/+L5ZSolK3sxj8dWBpMmMkGQSve1ZLumvG2SP0zUSdNpCU/swcKBplDS2rXo1ydxcVy2G9s9v1/jRs5YJDcIF+IrgZXKF4YXog2FvPFrq35I1iOrOin9JSeHrKXuSRwkKQ3LC6/T+OZPn4DCiyuRE5rOfSq+R+ggKZ26o6v+WxjsnHkH+E/z9+KHff0af7vNut++WoX2UA2Sjd5LDCtwi5FjEczDT3B8ovUbgYVwl8Fyyux4pi8yCbtDvcDRcjIpo7Bt6Fnj7Gt4OBNxqE4bsHOucIZpjJJXoAx+tIPzvL3Xq/EyQgZcm9mKHewzrcfywJZas2bv3hb0+8rxFriGpf4DCYilZ9YVY32bT76ZS+odego93F8RNFyopNolzAVAf8INv1jlobMiBjst2TVxk5Z7j8CIMLhCosTUmrtZVepztxCnm2tpACkpX/NZOhnxGj7aNCDhyx6ZGz9k+LQrjBeOepYz3Pha9eWROgN+91r+95IpFh1DELYAlEx4a8AjUV0x9exuem3tJLVpnHjc/g49ZxrngN3ynjcUvTzYvCHckt7pyF3c9wGHotLhF2m7B/zeVkUVFgf3/uTwDN5X4O4ge1kzD8fb1blwQ4OcSB9c+42Brj2UIUf14rFnaiJCYRoPbBvfgwP551k9WoOuZrsa/xitlaCWRyYALGN73tzaHi8BUOoMo/igiPDHylRs7gIGgBA38eOvKRCxiCiMjPA/oxH5D48A4UTj/3/nWdlo0gkGGU2KtcDYFoyeCJBP4SBGc4hLQ+vJ/IOtKA9JeoB8RURARl0OU+114ZxTS3Yzt5rD8SxxXt8V160DLDXdVarQ7TDICDYfp7Nar+JHZBsNgft2O1vsaUriJZQYvZkiQhZk0PjApUGW5XjVkxUTHk71nr+t9vogCGygjaLCLOBxWYKY2czV2uxCpTLjc1Uw6Ip4LFcySsOAyIGmz77dXVX+RlXZheldNZPpXKvvDVTfmvCPIpHhlakkV0V7sWw04bNXoE3G8XPoIm4K7/0qx2XiICBkvxCGpZFTIfpXHGI7H957YK68fHA0hRqbXlSUWZ7mOIDsOq7PXWsbnh83fjqyAX98yarmkNwrvzzVFNLcAoSl36spsZxRKou2ioinrVZVilAdMTXDpitevx4Q0Fyg5cbHu3Pp4MPIjObclB7QJm8LuaOKQHW5Amps6WzyoPEV4iIwdoxwkc+qn0lyY6rk7O7QCdX5fp49VGrM5QhnwxuvPZvo54i+QsK0nbARCSVV8GRse2Psavo6jUUKnlBqVihWOaoKksGkNrtyIN05LyU2U32YzgzPhpQiElYNpB1mQFQdCzVEnL5Z9szGIBPd+Z/M1H64cgmflrMrJgA68Fc0uZB0by+heKVG9GqCOMsivgUSKKV5k5fQkD5Wjxmt/p8iOLKZ8TNm516zO0XuGr4iHl4gpy0NNeG6wgubes95PHWfkFNLjl3nRVakv/CYH2KMtpTkBwDk9x2O6xq53cweI7rQYVEeudWxXHcDn0LO8mePcZcr6ny4lVVqV3h+gctMJZJsiH+TFmamNvlfY9gvWZwAPV4UCJZ1p0A6lErDDY+QsXVE3njShReJx+saeJT2ip/L6gknIDpfwXho1t53dI28AIeniT4+P+hW1JdLB1QmERuSgZaBkq6rRQxOf+gBI6/Tw5QrGSaBelSHx7aZ6j41IshnO+T/6V3E4iTvgzGq7GH7cSdUCKVq+ld2iuEsmWcgrs7ciJ0gys7SQ4eVwQZ84kcbRc+iT05u4Doe1qPGTDQmG40fIMnuZPbufML8+1tYlUFQwXO9TgG5f6rB1nDuQ7ISG73Tec0jWfHvi/un9JrlZa0imK8Op1yB9ZHaq2FoTVCt9ple6/kqAJvBfFGPjrI5JFgvBNXxYQRrVu2k9XpEBPDTdX/4Q9WFrs3cJakpIN9Zp0DK7lL6+oZaOki5r1Ri2lNF3Jas0ipDZAsGs3tThLoAlnekjUOFzRAS9UhRU2+C+bvzYR9tAU4E9Kj/hIQqNlHygKcMsmfDI0X/VAYdhKtTSMcsUJ/9ZeKYpznFhP2kbasHXoalPZDB16I40c+X5+prvDTAObmKyuvVcMTpm1ra8d2UbWld6QOcIOF7rQcQiA9UP0f+9UhGFyO/WJ0FsaIPJaBfCKJOKWcS/vluPXLefaDzFefvB7kaQOTNAWadEegtPWYD2dQU4KRhMjh13Jey6lfWdnmidWtXoNtmRT6gihvcxfYHxZGfdfctgaouCrwXVec4we5TvCl4nEz4juDC7NaZNSDPL2vc5ViBgxNSCM1fD6LQixjVCJ/aA+vInVk2PyPPFqnzIrW9xUcfUuOR9J5ssIR89/0mgxKieSn9fRrBjN/Xpl/60dld7jdyz0x180vioQqtcwV5pd4a6cp5x/EmmIhNlBNisJbC7qMMLJVyo5brlWMVvi9cIL6wCj1OwYjEBSatVkH9skXe6T3V/W2luZfcBEAatfYJtw4T0JaDMSH+eiE/mcOQPMvmUsWkMDZo4W14T4SpUdt8jsXEmS2YY+LWheA4vhn+knrjQvJXxs46oJV0o4PXgOgVjs12oN0Zgoq0GVDaWT59F6nLZocU/KHc/lafq4KOE52dLmmXIjHN0Qaw03vv2XJF117QyjEbe932beo3DiX3ABLXEOBrvUuF0SaMz4iHP1k8Zkwx7ctiTKn+P9vx3j600oXhWdtFNotctUeza8Cmnd3PVRZHPGpuJZ2ZTNtVEjZSmkaSWG8X2S9w3EurGSi4+PuO04YrZabL6//beY3RJj0SduYqIP1j7AfgwpbDqFdrDbxH0lm14IOJWvyqVpVoqgNo4FKNlDbntabdCIqeJSXI/czbDhqVYFkGcaP4L6byOS3u/CeMKv4+WcNDCUE+8SF7X3I4wVbREg/Omm6/cg0svyFsae6whYyn4jo8kP33Q48tMDSt0a+Pbyt52981O3JhvmQEu5+gKdompmtEP39EPkatWkVZQ/TPluqHXwusANEvhk9MuxwLT9pLMCr3HnGP3RusavxH3vpNFx0daMmi7h8BPrBrm/Luo3bFJzgxN1C+BOuTOUNl25v+gTzpIVmM7tnJYV/xGCY/bcUFPWIhXG481SW5ot2LbNj7sOSPGlfpoCwVse4R56jakz6pzPF5+P0ZLPRLzWYE29sVX9UO0pN+wGnJnqRRRNk+0VAN6a8arSUsSDFZrtAgaUnLIkA3zgBx4lwNHV6fsRfE/MYijpUJ1NJad0LvfGf122qhC7f/L9EQWn+kxKEF1OPcnMPeTpUxmB8oUC4E2C8Bd0QAgC5uewZ4AjQtWOl1cNdvEXWRON3Rx6BxWn7sogBLmcsRXZAFm5inDJ2WZaH/9Vbv7/Tn5dz1mqee+yJHvRBjCQ4x0OQOD2TYYKqiOZzilnPG1MfuFhJ9m+xzey5AabQvzR500qlitz/0/Evl9oDsESGYNozoP/FG1jehuhiKyFH2z/BRR2Nx0fUGu/ju3ZbfwvauSqlcuQrB5GB1qRXOhN6AuYoHBAznV0p0pNC7shI5aSlooDtaCkY7bLTcHJm00VRa4Impsn8cycfFO7m9eaiop1i08WVFJzKKfweTTthRUIiS1zzUhay4sATYTHYE8cGYSl0D0OFDjoXndliLhsdMDbYYqF9yV09LwSRv16WWEQqfeZ5sGUwH4hOb6lJsfWlW/GDuPFm9oEinjqKaZkCe2Y9MMuD4d4QS5BgTarQ7aHPNUzty7TnLAKKI1zQM1UuWwIjrsdJwYLEANjvbtAzWPTv5VUc7T75Z6p4U44cVAY5p8BkvrYOM9wAtlnwgjWhO6+ukbrDOxuum/KnSVYB4MIKSI014Vke5ZM0FtUBUmSZ8O0RTOr21wFfMC0XL9ZhkFmSaElQjS9PbpO3fwE4DAyZ3HYJVWTc95vLo+yr5o6mq3j/XQHXNiD11xyiON5DX5txk1ba+2uD4hAojtVwKyx2wfzXQcvafojfZYJWxkuxteczhI6960xSECkDdVIhMYfB5LG7VGqaiJdUzLYWks7frt7WGlzg5QE3I6lXpWnP8uu1T4ZF2f9/vAH911GjOYHHjmIc1CSg0U2HRu+I6sxhTXTYfLBepn5QBkKVeHgSL8GXi8XYKs3Esw08WUEbPTDUS/283ns6fJpIINRzNsElPb29WuXl9PNEADDe55xitaSU2WsYeq0/rG2J0+Neqzou5tks6HgZh8vWrha2xffRPbV4FqxGBSlqaDq/mURrBCui/X8dQV/r5JauKSivehQD6vijir2cNe9XhtXMNWwoK5Z2hIF6mkMwl0xFmVdn98SXxNWm4VpHskqoErzZg6hZvLb4Xb2Vdka1NdWgWzFt1Q+lhlWLILnaCL398JasQ+plJ9zWsEmXPFxRErLx8S95u1X2iHjRSypYKZh5i53LZUSi1XRZda18QABRBb0cmfPV7kJ/RPmjwo3171wTDnLRJogR/m+WIYis1MAPTsAkrrSAsQDvxXLE0Yph0JvXIWoWC5fq6fl4hAvd+ZZfx2y+Q0zCE2aDhpHCbZUSsyFxL2XLoEF1UrzAUWvYVlKz0EvW1LNhxpVWcG5fqTIZv+wQ8XsmONtmEBXwciRP2rREgrTo5bvO7P6uqbkpZGBTm1fB90cpjizcnZaQL/Lh7384AWwbD/ij4CsUD76LZnTvV65nEDWFBAPPmIGjWVJUYR2b+qzHAkl+iToKItwFXtHEgDh57/hkMwXUA5h9L005Q0T/06RWExXBH2iiJqy1EyQQ/Q22LrbMYIzKEog4myt5lIav9/hrg4kql2qUIgrkgZwhCrI6eRd+0V+KYwxzWruBDyxVnZ/YAKwgpiJVUhMOn++NSagMx94n+gpcmFhGF8ZDYq+o1tLKch//i+IDg7dhfZ+pgHQYoB/647NVjq2DydVksx+M3gpMBGq1Yno36456GCWjYMtU20X5xQhOcwcG7JYMVpkcmB5DX/1OPAarS2U9PkOHcZc3mRHnqOYh4REr2qDSW2AJhK5KJaKH8cdISbOhrSgEqAcDGHpbspTOVr0IOZH4Thmz+sb4uAaQ+/ATe+ZPCQbacaYf44A4Tdgdo/oCt5mB3myS8w5krOdJEXXa1iDnBvuoiJ3RRnlgl5FxXLFZawNnyLqIN7h/wTxmDY3l4C0rAIKepw55BJwtprAqW+fcpkahboetaS+5H6QFP5U167aUIjBegQgkeoxkCK1zsfkIo99ZKTU0GUyqudTbMpyhYoZVQZx/NhQZCQizziHKtqSG/lVwDqZpBGjAFOXaW9Rt8E1oN6PjjWAGbWLbWO7lkGP7b4WZyY24Nj6Q3tMORQFhlSXZ0YveYrGRr6v/qHCmwHjXYJw5Lxb/HZioVFxLFn+yvhoNccShDmu2c55vZUtXnKHYrjATnIBG2YJBYlUoZwWfuCmtm637/I14zDBRZj08lAymm5hl3GAVZQRB2n4N+UTxlyzKFn13udLHi6zFALplOpsS9URjH6CjzC0qcYp2rtlblv9RNipayIbqp1sUe4tSPooBKXOsV3aPzYq1Ggwx2x9oGG491DXwB8iIfwad4A3RfpLEqKfo0m9w7L/q2TsA7VjbKPT1kWKC4O3rJdw0xIsjMPG/3M73q4Fwnb9CmtM7rtn1INwwy73f4AgO+ScWjBsr4viqCYz4SWOxRsBb9z0KsIo2I13O9NErO0b7A+TDZ+KDoCPFs3U+ClWXDeyVKJqD/O4i0AgdXlrOAknXdJYy/ehPqLsERIO6QymMmJWfOzYQqARtH7onnCo+V3ZUkmXV2EsWGz3DIEFGA5vSZpuABr3RlWgleZKbkOwFDu7r+o8zD5C90L5wj/X8ady5hcEWJhS6rH6xxSHRsWttTxBorwCpRwtcuF++iy6YfuTYPKJXAVNCvH+/GPLzwHvitvK0OldogUCH0wd5RSscSvWWakymZ3uZTQywXxhr5z50Qaz8oczsbPtzSUvbMfODzlhtYPQtwFGQjJ19SvM/FD+d5AwTujzeUXcSfFRMDWGfoUeXY/4Ypg727pjGMdenJls1sCHMP+RNyhKWatK2TIX8GaCCOrvjn7MZLeiEsz9BovRNt2D14Q+Y30XXbBkPf4qU6fQbmm7qmVN/Z5qx/uf3Z8Kqaxk5d4XbkxMyj1zSmo7As48MMr27OMgEAn38tPvK0Fy/Qy90HtENhklplEJouvLe0P+UdUmIZNB73/phodr6Hj58oTr4K4wOiZfYYHZNP+jawcEt6hSDjmdnuEfgcmDZdG7fe5dLZ1xeb2L1CMeFaH5zD9pDjkdheZZljlxs9OqY/TpKCbbgQ/ND+QwviUazh2W60WBG/7iHNLW+3xlxJl4/L8PI2k2uAclOZDIhKfEtZN3uFCUxlfxFj2+wAmSKeqpqVziyaqesy8jZ7bh1Xa2B7+zZbO4eHtSyLbl+bbXb05c+FiFqoByQYHuoAN/rzL5i1nhCBc4QHWHgd17U+SUxCcHzGAe49spSWhDh8s25n3R8u6JgLfvOxEc2dxzkGJzGR1LfQY0tL+Eio7zeuVUhAupjHvqk+DZc2P21F6L5xqVoBIgwrsJ4L64IdtYbWg2Z5aYOo4tQ+qWrlQwOyM/AntHEHBOOy2g68oFMiW3TL485SYnKLZMarBCtz5NVeDuUTBv8NTl/ww3E6w2M/nZYfgiPejV3aF8fPH9iFsirTzqjNbXExKRmDZ3uB8dTX9Nurfp8T6WB6/4tPVNxnQNBh5izqEFL2JewkZqD8Uh1zxfxoXoz9OBW3T9zgM3AxwZhjwrPyM0msCMIOUovttrv1nZLlIma00XMt646exR8yR5WKC2AiweFMdkh6Eh1+sZj8mshAdkMhnUXH7e1sX1M9d/LgBsryn88p2Ld0JfytLKTSjOt8w/qhPnQQpnv+UBPrZh/jKao5WuI4dlCER7Mz1fcFPaxYdV1JUBVjGxDr4vJQVJ26zVKxon/mpW/c3q7rrT4ybNSuUOmqxqu+xWaNuSaPf5fW8J31p6D877EbooZkUHYUotgsFy7cNfSqgT3QY3R2t92Vi+8Ml/m6GYQF1qzNYbCeqELK+Sr9paufo9n/geu8owxC60n/gz2XrXxtkWCeXW6Md6LH4feMHfWEWD1KCeVGoWlulsViyv83C2eWqqK8MEWQSkCB/7sDUh6yTbZSE9zq7y2haNzZaQ7XAMaotabShJmfoplSljzLfb0c8fTOO9GB3lNwOzvFsoToWhJwoXBcAx9FJ/jucUjj524G0wCs7M5HYZaZRr5Wi1obxY4k/pTjahtO4x++bJ6oycPc4UUIUkUdPTuyY4vYwPTDHJjN1/CUPR+UM3nM7k9szS2AZFUyztPgDCF5sI8XfptaKieHYv0gQjd9AGFHVOsaIit+IySOp9G0Kbi+H21xe7rRt3xatIYg+JApBmXTN0cE+B8eeN4jzz5SIlGaFG6+jVnv9+AItEb5izjIxqONdhMyZFdjXGAM7oCN3gG92SnsIFpBhC8jz6kGaozdGaEtNspoUnDPaodh/Xfyl19d0kClyh6Yekv0z0l8aEg4AYAPwfl3E7ajFvEa5Xh5kAfM0Cpv6UAF5/27RzDOeDM+LNQXX80qqDgh1sGs7aQUCcuNsCx20WZnj13uNKje2PtXvzg2wddAifGInA+xceXYSlzpGSAZ6VS+MiwiMO0I5IGNZBNzdEk9dq+OoohC8PW2F/i+oNnYTooA4JhmIjorG4qdUmVwi0/DB7tr6IKy0cX5hREjvAI5kiR3iZQIS6vRAHwO4AlI5K8Aqv/Y8Xn+xLScCz8cgal35sE4NdQmU+W0rWZRbGri53UMggarHTGTyFB1hexdsT0yWxDjOEscZNQ2MPoWHKHQzXRCBRP9Yma1C8C5menyh9n1aL+7E2YkFZ4wAWKBesXl5x097PEqNGU5nZzzkW8aZafwVzpnpPOtAruqzRXaWI6BAZLPCiXoHCT432RO2uLjvS8OiAQ7CfZ5cwv8AUFnC12nRXhBEXcH7kMcn5T9Nwv7+TPNaEmGHRkq/qtEsO+vipGADrerHxgd3+N/8ibmIcQSIo2fWa/Y4X5RA+68echGjm/3KtKbedsWojKEmPi+ngNJrJCU7NB59mSYFQH0NxE57P7C/n+vtoe5k6DwcqZfjF8Vq9khoa8nBFa0UrcqU4TB6plX4qgoBvVTNunDX2KwvBdtZ25Y/aUIPej/lEDDd4/klLV7N8LvQXgr68iynrUdHWjveZ6LnxV/cQZISZLhiIUzVgeOVX/qKXPR7u12QcT4iX7AYCTNiXXAiEm5ioojfeIvjWa+coEjIRAEbDNUmVWit0Yf3Q1Q9rnzOIgzcXnPMX8i2PyNUPDawwfg0uQLWoABAXYaM4BIr+oleLvQSxzyP/0OqMFVsWRbEBzY+56C7/WeU4MIPWpuzgILPSiIq4uQsvCoB/ExT628YwTA7Cb4UcGzkCcgrCCjiWV/5A5bbLVSanTRSuDSh27W0NfHKcaxqCRMVnFPFqOH9yfpgD8ugvqVJUiaCMTMq6fve+w7WkJYYhRt1AS34ZpgpCup4RHIYt47d6GZo9sjZJJX0Ja5XYvpO/+ffyBjpjQxtCzEf/nW2OKxh6Q6aCTgwxcHS8xRlvqgtXZX22VAiYl9GilznRSXK8Ui59xOWnoOu4IuD+X8Xg072wwRukprVY7fCJCE8OXPGwteSDQMCN+9zANJg4h932l7LEUgthuHxGMqpgaOVUDKU86AkkQbsd/0TqTKjXWIvfxx4pjpUEHxETTJMRJMsoSk4zXdf2U//LMhvmUYjHn9zFB6cK/4In/GGQVpRCyYKA+lVKX7+deGcibGW9GIr0WtDPnsC+ARqtnIVyF3k02k4Sn6wflAGV3STcXek4IcGF5vUpa8ofjWrRZ6yM6StEo6zUv/ibMCJdlxluhTm3OVtJ/J/kTKXyYDWR7z1NEM9vpFot3pysarkVz5LO+ptteoXR6IGs4RuTl4f/Etb3OaXI0K+4CRRhDATY/PoZXbuhd69U+/XXg1AUy69NZO3Vfy444ZbOIHii6vEcNMAad5EWCZuzyfNatBrB5n/38d9KL06cNrHsj8FC1kSM5+cfpVrBKGDEdW1acYtH76BizcHNuKPFo/4u0kVgMKXU8O+Li9UehQRKcQEPDNOmVjahzKDiR0Sf1XzzHVDnmtu1ie0KOphFHJJ5tLhvyhxzFEA9tbrmviQrD6Ss9dDSNjQh7nXCEr9a1QtkMRUemU8rYwfOIn+0L5kdHXdMcaOLJ8wnv1hNVFIWuokp1ZX2Z7/RZLtiTGskEK2QcuWqiuz/KZv9tJNIgT1gXy2smuwPw6gQUwOLi3mry6AdfJ0f/jbjhLGPJsR+Tedx3AJ2m68m1HVFjbuti34G2wmWue4PECb4uEaCVtXSReD3Si0m6jYPwIMUjBg0fZWHGugm7v0dI85DFHcSD5rmsgBHRxgxxFJ0PQ0wUNRaKihdGv31SZG8pR2tAzDc+IZCaRdpdysQ/L/G2ZUJ+VWQqKWQcuwtD9DPT14jAszKf5Nfp0e1XyjGkPwMsU7g1wE8FtyaBcietpSJ65q4c7Psd24hGcnZGZL5MqlEP6faeaX13xIy5mwB94GiSb/hb0/XWiCQ+2uGSGIAmIYDLAwRlxjpbqZ3rXbPB6RfHn2LKzXDDSew6A/LfaYN+9Bl5aRGHvtXRtOyosj5sR5RfthGTMiZ9uGWgKkc+UoU7P6VlMhXse13f7NKFOQlOVtRl8DGZxqpd4URJ6NCP5Ju74eCa9rWvmQTQ9yjqGxGlw6yzH6/+/l5KNNBia6kxvae59OpsqE5QscLlznz/Dp1wpKRkI+QYDS+MOTiXoAw2mS9KUAMNwPayJwRr0oenXLbd3xbBHj1Wg/jWsuLyNCBaKdcl6P7Qj2mm7jlszKrwIq1VGnWORgSDTTyvBgXM4WiyloPHSIQ7zBzH2hFAmGM5WVEB4AvCZduqhqjdRwSb2sXSwT9Fib4x+ks8UxFQXxlrMyUhW1CauxQjfqsCODeQnh+cXgHRBqAFgbeE2c+EpQoPZsILQnOd1pKlEXgvCtuAeBZILmV7ka8awLQai9eoyi1/7CAmauX/3D9C3Iea9ipdTrlBn+beTvYb86TMS+2020ej5kvJcOceM9yhiw2eobwuMOsvrXqpzbH/gQ1+dhDc7AUWVuJUCANEXMCEaV/OMXW4pGQXsewvvrh2nH2dn3iUx6vyFzYawNhSlYISJKkyzYl/C1wFVt1DI9gA+Qtc0Kz+AXaBy5XN6O7su4MfFS5RfkTzztm/IyjBzcJc0oK2lcg1HcV6YT41OK2VtG/3Awt07w0Ksp7cWS+eBtVmfBk0IpRNKYZfg7icxsDrdQAyFZ+MdfJDnQoNoiVBOukBJf0LTiIkMKj+zdib3g/s7eB4MfXpnyE0P1U3zrOPhXud8TsrUZhU3W++Xi/Y3521IhEU7QHLtpnW2y9I6404NCifF4ZY+V1vg+N0Wprno/YMEhQhUD1Ji4ODR8ell1nZK+TBnS3i/DJX8MLpcOjocxRXQlKWqVZDA6+tl+KlWMVK3wSvkJXotNmcz76jpLbPGf0hwKW4dEFtE43vHdFCiX8eNpKD50xCGCJxE4oOcnhJfiFhOscMStTkH3MU+JYcuScBqWb1/qoMR0pHTtfsnSa+dmsqoJry72jt3NtucrR0os3mBhnEAwJgB3yvdaAVMLGuNXfV826m6f0QJD8Xzo8lC1Ygd6DjvAfMStJEdf8Q4wHNgJS37KFACBMK86aUsJA4iwKz70GvASASjnUl+LrY/pl4pqeVV7yjJ7dk6y/YyPK8Gihjlx7AVUEOWsLGRvEdMFsn89TKJR0MBDZN2qiTKo1/QAipKRQO0P2NO3hiay4E92m7z3uRvH6811j46zvUExSjaLWV8Jc8IIoKGIHtJ8D299kBBiWCxtLggN7GWkqagIZgoIKlaZcHq8jlJneaCOicYms+zOSw1/3OUe0mUynhH1ZPg5jl0svKCAM+QMwb8oRm/T/Fv9awsn7QdD70nvzqBvJDLO5lk29sU9PrcxRz4gyV5csnKxgconMT7mBa0n4dIGHm6ykDvP/uQd78n4KgK5mVrg9y8Bvy/nc5jv41Q+Zd4i/B7+HYT5rZ+sKWW789bc/gfEP4zyvGqmDHase+FstZD4TTasS6JQMw+YLwNYh0OPJ3MtgoqicCBjKiWMP79jl9W2UJ/dYdyrU/Lqe0PjaGTVt4OR6x21RIMNCk1RBwsiV2aDtz/RUW9G/kbRFrs0/diM+XJjqdU3BLpr6j59MvP7bN26mv8MlMlyJM2WAMGb/RHuvcPabDdRPAO2WYLZn58btuTnXvWbfJZFf7ggJnI6LZqomwpw6Ak5Zy3tcqkh2LqNuK2n+FJiUX0iL0i5EnEzKZkifCKxv5nzfLJVgKDrbgr9AomhsEIeMp5BVkKJYEaoMccDlFaB6OpueCwPm/HtfOI3khzhm/gooH1NYMQM56YBotKCBZqqodFVBoKS1eL+fPeDj3MN6DCjfUHvOawtO+Kyq0rgpdZJaFqGE118WdJ2adXSo6lQcUNVmCQeR8Sl1UAAqX4B7AppnCjBwBot8nJredKaqAJG+h7kjGYJVIhZ7s+Lztzf4ohw9qjWFFBgaSv2cJejxQmyQ/NTKW7AdW+gEUh6HZTLWcioKy9ppKyQk6Lq8aLU3mCyqi4evPYBup/gqbXSmr3qgBR4CqbMlRGWIiwWqiOljjLT80l49cMIPt6DlWgKUaDYCq7to6KM/PzUxHeIxMjVWkRqKfOB0P0c5CdTnnzb7hB1rCNtFaBukS4qwk2tKIh63LthaPZrGTwPb0BX5nG50ekch4VWUCLhlk9cR/QIFe5NPWZWlB4t2A7hlO5H22DiYKjttcRxvLE/z0RRAOBI1H6o/7pfq13POOiEhxGQ3bPyEQiPr+434fP6ogfC77Ot/gi8mmromBRbUzaJaNkXxVuYEeCBTIZlNF28UIDrYqGYkNyPnEpEdAecXT7PPkKxTkiNjHabrkfUIo7xkodFV5c3AfqlLakeLPe2ARlJgA1Iiq13zmVognUTHxC3960DBmGSjz9zrlycolSG/IzIN4spl9q5GTcZRhmhyE0vQLKtHFunyJ5Tqt14ekEiJNe/1N97Tcg42vup7tuAiNq1xEVeg5lo16i8uucwSitOIJSL0kLkVRYRr++xEvU9N3deTDSdFuzcerZIu0/7nj/Ss1wVGcR9NahNzMIko0N98ViMYFw763R0V/M1skya2n6cL0EMXZRz1Uf8CX5y+iJBNDKjTS6S59Rj2vVhatnjrK+zNgO9g7Czra1OQ7IjFQ4sLmOCroBxsWkSWa/4EVXmxmQG/Lop43mW8nV4anjQAcWapA3MSzjRTIRp85B3omLg3Joc4tNKY2SbZ+BuiT2/GdP4dt9BDde5GACRlbNHiANeAnGk8DqHy7vh8ed7AfGavkZ/rZyC/pynoiwrP2B6WRzMOCc3m8UD8ybhnFvcWDs6Fz2EcnRCXsavqBgNQBdl79YYKPFZl20v8vxErLlpZPwe76buZD6sbb5VpjKQEQBKJzmCTaV3r2f7HQw7usrwF+LRXFoamUwt25o8JFhDkweRVI3/KvOZJpW1kpzMFNQ7Bj28BlznjMe3iVT/mt+HR6PXGlT1bhQm3icDfQsOVNd1f71BtkFXnh27RrAph5pCcOPfYz+ne/FwT2c3ryd29HiKwc81WdgunEreclXRynyN8Ud3Hu9bNCW9zDD9ihw51dBdRuijFvPjqf7f39pJq2wtehqeZo2qjPY8B0fxf/4pZm3h0smPtLxzK4asiDH/9aQXsNE3m9STZYRF71wahCZBGbrFayp7iPKH/tpFvS/i6CkV/usfNK2bS17zyRNlIJ3ZrswtFAYBDD1+U7ysEK9/U2ZpazIsJLUL6FrQE146FrMx/Xw/x7MYsptS5OxU8IOhJLkonstQNFaBA1EKw5Glf3dC7tYJ+BaX/D3138yPqaCDA129UtWZbv8yMSDgqkFBOSBddfKBZx5HAPeWDjAn5n8Yn3Ds4dtJdg5Ca0Cq2A53M5tRbvpUrWtvlR1vCJT9BzJcuEiyhm7MHQpmouEtC5mNHKOZ7cjAoTWKPyENFL3FLf9P3rxFxy2lYi2rbI+wausJHeu48ehTkgcsJkYu7xKzowp+z6nDcckna289NcYz+urM6ajRFdjq8+WTecfW3OECUeC0vVH7zq0zyfN3M23RDFouSHQbGZynFJ6lea4zDyDAZgh+ijDD+gUKBf8TZ+KTZIqfc8FmEX6A7PXrxAp2edNwx2AG9GdtB6Qv3yEEQZjsHjeR3QDmo/J1gnF6yFXORFLM2hvZnh82HoPG6WVEeYKhL8Gw33hKZz5OACyjdKdUx41hpKtpQomOmFyJACD1FPnLQF9HgzpcyRM4WufI7x9BXUr6JvXIcibbgWSTL442+DoipRhcXtM1NTu1Xcgr3I1L61tHFSwTPu/AjlD7FGmejSEdmqqfVGEROkqakVuNlkveCV1GM+w3WpMoH9+CPRmyV9YTzkO7AajVRcS6HclgLYuBGEBVl8RrCOE29GyLHXjIZEbHiM0nsUbfRm9Bu0Xt8C3VuNK+T7udF58mjMr8SK2hKUri43TzK3p85/ZY1vRbt+nrrUyuO3v6OBPeQH3F7eRL1aPT87EuMGo6S1PskAhGmDFSAZLszOMKY65l1lw8Pruk1p6Gog+YF+m7JebHvbFndRmDTZgeTi2al4KNO43nNyPn01xMCdGTrANk2IgZ4o/aGDZwbkFzUqouwW9B45LeV0AO93pW75bpUA8zn/9djIpkTCne6RCGaPlXbM7X/hFnnoGVhxO9bTcedmTRRKh7/cf0rUxjyn7cA+XyfHu8CIOuxZDVHV+2BHFepVEkMSJGCeD9HDzuflcwIZNOBolWYt1HNgoagh614BJ+zr1hQdzHDmy2uNZ2GMm6IV3gu9ULOwr9bv5IN0wOXADs9MzK4bE+/+3pJxUYQHEzSEiKu1kYbDKCOZ5n+DKqKDOINhZdacS7d3oBpsCcF8rIyf2qNb4VByBTdH6OcCdxpz7qSGQYBXDyZqLO53Tv3s0/5HUOFD1qtx2HfOMNFkDADaj0NEsQAL42MRpkryql4Tl4a03XyU4nuQ5PWytfE20zyHhWl/3h/f5K1EFbXPjCdIfzk+K7alCSok/NTf3cy0nI6fIpmYG08x0XQjPwf3HIrDqWNAn0akpsCbs9nCpEJTjZuxXXhK1mFlKpiyLZXOYU5lc84q4ijbgjoIz030U3HM9rzJx//uGS9pZbdhAoTLAmeqIG8yYKQ3tOhd2TaVM2J0MwMD59KMkGnq+krJ3UNalArg0mBaQnWh7Di3bKm9NSsouhTCwCskJ76Qv33MfhOu6BAuY9N5mB6URFKmGJdgaJEH2XlnU6KVODT6TE7ddse25Jo630nof4+4nGbYscQDC/LvNsa6zZihR4ZQSF23Sj+sSfYmwHI9gTlOzCiOPf8wWoPuev5e5+TltbdnuFL6q9bYh7KKvqH/ltkCOcWHGfr4ggqUNdjb6baLRTAJRaoa7yRpF6V4PgjK2wCxZB/FYFvWgLKCzT9TxD7oQ9F09FgidvzkYLpyhOZmSqX1u/oeuui/G0IMCu0GV3uvA5xRourqxYAf/3PRPRTHNNsRf+Ivy+5m5kxCMOCHmQCT/BhjmtyuVNY1ZENhXnG1zFKQSeP9Apv7EE4/2bfh3qQOdSkrmje+Zy74liUVrftkFbji4WllF1K0G0cK1J7qx/jiJLt5Lnx8ZavrJBOAVqGMR68WGOWWFcrUv76R9PrtdcBX0KhGYanQ+UlK7z2bha/krHwken4+2H5UKtIZa2GV3F+UA+I8mAeTmuwoT2BMUoXvb6g9WnSxzcLFs1/QRpGR6MUA4XN3KQXuUIsXmrxP4HydtCdsGQSRaNZEYk0g7LnaqX43Jb2sgsJo7dT6Q91lVpfBGEUvBP5nWlGFav9r6dxrxUrehpBWjU4ew8PGfOuAaZhtJHYAMYyxm3qdmCG+RSPSOL3icoDPPhY+0EiMb6gP/FI6DbAjyL/l6C6KGHNHKp1sAl722zsQOlQI1GIrnkk0Stc6LjtFduPmqv+NrtiqbgUHqW7CX34T6dfZu35IWmnvrJwILCvOKGf0A1zpvmHSnBrY8mL+XpX5R2onV+EMWeR96oMMf8vWFUUBpmy2pAIRdoA3IiOt0I6N6HXsiJUXSdolKW/w3uh1tbCtSOT8UFztsWfBpRvia0ncwmcGhWY2+5xYFdQhyHquqV512gY+q/KE4JeY7BShpK/3CbeSJDav2W+UzqGCDCayU1pS4P0rSCcGk8Bz/9jYRUueKxrTImSPSicufXpNqgqhlw8+OzxnVj05sDyvkfMujsj4TEHJyoRT2M+4rujpApshgZF089a0kP9UAbQkp4WK5TLEDCKP7MCEqzJYvisQbKBfGVbcIN0dCF/oolw9+SRlwCzpGT+8iss8dXKqF5oda0swCwUADYesbUvr/2tdePt/tVphGXgEfDet5FLIg0rZFYLTM4rvdJ3nGB7E8IYjaLIb7M/Y9t9UJl0Z+HewHbfGq+QW2VaTWyhP/ZwEyEi4cKwLDEwRRjGz1UZ5fbI20UExTX/TcoEOMzmYIUjrjYCmZroN+wfJUIVBuPZa7yEuUK0w6wYDSKUGdG2akKlJ+iji9dS+LLKpP1JzlxCbaFGi1iRqIIAtKYfLtazPu4e5wZRKo2vn/lkgGGQXzC22TVEwjw0kWOBSwNYxdlzRwmAtcdn2RQZ1mgqJ+Wu0ijpRcA8EGqQwRPmId7q2mfqDcOoBWOS57syWO7s7RBFZ7+kpk7//TONY3NiSeWRyPEm1lQLCrsSG7Nf4+/UNMvSUAKq+k1F2LWpLdteorKOEqCWPULLAF0xodlu7jSU7LUIde0W0/Z1DErBThGgtadvS1wGvqFOh4URaxGg/D97ktZ1iPlQAw6OLq7MU4+EhnE9WDn7dx5/rNUes3+hnNc3ppHLp4HeNsaRKsW5vrX8NQub3JGS5R1VMSKi5UyYG7TWxSNmWg2ETrI/Aax9CFi8lzaLjufeCNtpKOPYsRVx76V4TodTRYBiwAmhRWuI53cpmUMTprN+mCV9virg96OyFMBX1FU0/inqNf6MSS0HG9nkBhKR178olmeoJsohoHDoBnlM7wuDk/LHnJUIVBqZDrhfDr2hLbwxYGMk4NFe7T0TNUhdozIkTpF85c9c/IS1jjEGmbZ4TTuCSl2CjCZ95YrZKU77+LCW4Qcy5exq3Z5HyCe/nFNMeHbEX4bDRJqkHIFESjFd4+Dtc1I9zsVcERZmXRQ6x95XneeIai0Zjpf9gaeSdPsAp3dXGy/W3Anbaw0AZ13UxC1X8VmqTWdXHB3cWenoTB/6Aa8bM4ydVAxhWnHLQBEQEkdMqzMbqaJ6ytE+eIcCgnqwTUFCMC3NJrJrnSTRVWZEcape9b5yfg9PSiPZcGx3heZMlv9NGxu4agEd8i8oVmOadu2B+Wf5ZdIla8fPrJdeEJooC1gDRBw825TMrff0qPaaTv3c1HGJec2iVIJKm/VoFAeaSQ6GWPLp46Az4t5jZM1L3nyLLDH9T5f+mJDnscDNrLtlMxIDnHHib1k/UADpEvC+bXei7Q+6vEEBeJazz1sZewTpU7lPH1/sV66K0VtN2Sv6YFZmRPps2aIUek6aSAykP04EZ59jEwiS49qwXAeYeehi3TrTvgc3g9S2fg5SR2TMskAiAoKb35SOIjIbTNq4okMu88CgK2fC3uf9auHrU5eao3FK541dnailQ+565taA0EXFIevoWjyR53YX/Nka2aBFWkerbOVJl4iG4J4MjfRgjokUA25P1JTsNCI+E0NSAMgIalD211/RpS7kAex5a/8h2sMEAR+EEGtjGRjc+cm9X4KDg4ihCOrKHVh2cpZRr12uydlIMR42Sz9X0lA23h3kDn+2JN8C6Fp2q2hJ8EDPcDOG8p++uvI7rUJPdJ6rlyyrYBubWkpTpdCw9Uy0xaQ8zyl7g9N35yf4uaINmdH9pOd/w1Y0fC79z1lcTCLRj1k+Eh863px7zEpQ91v+dpuDr8g3fd7jK5q+ECr0GCni448Y0bTfbpWtVt2km/q8HIyEl6ZstIucIHdV6Hw9IwxHDnOwjaera7pLeFmlGfuvPEHChc1nlurY2o5Ku8BNPbJj+KcthNiHX90Xxr+oHbRh5KdNY8HLXic0Qr4jpmnqjMu8iWl3eRvM/ZOub86pI5DJOl8f/7K0sR29688YgpC78qcUmHa3CL4+//S7eZdrqJsYgSuYTqy5Vw4gvZOhtb/p2p+tiQhQKiAN3f1p0QnKOKFXb1Y7gFsYCZ8g2YL5xF+F9wdl9CJEYI2IeE3+Dx3zrj7RTwxU12x0Me8GS61ExM7//+kh67FoxKp4CjckyDOcoiwVYFRZtSLD2U08WzBPbil8vvF+128jlqGmU1VYurt+Ss7xC7rIeuVy4eBH73L0ISduZDjjjnFPMliRqNoEJ5gmh1H3LQrrw7mzHCE5jqxH5uOs+NAFa2ncf6Zv6yypjpwhHj7SDFX9Y93Zj4kcs377xUrxfwxWV4u+NbimmtbfuWlx6o8p6Z0G3xXNO+w3haNHT4alo3bprD26Q1W8/8o/dMn37BbMRMf7nMc7HXVm1Y+chqV41sMBwnQHiAJwbNJ6nHGU1dit+DvR/os69gUJAe7hbZ/6e9XrEjbD9b7c3t6hrgansmR1A8yFHzuhiaBqan9ZW26CWOUSAJVkkO2hzqaEVm5pRCXMpV0KXDqVxO6KdPpJ4ni33PTiY7uGmaioNrdjKbDvr5Wh7B/iYzVTIIrNtVDOdz6DQGniVlML76bMDkuVj6ryFzp8zcOm7q8vjOleZtTm0NPgINFaQweTNlwkMdc3Wok3Q1qok6jdiGI7ednvnJxpwlrPKiX49atxzUJ5upbKjVg4Pc/v76lsMSHba1BNl3LFVgohehqGSswceG9cwuPbveUXd05vl50V3zssS7jlgmEyoXce4yLDazeeYPzvyyU76RSUmvjyXJVJeZ/BD6TfjwG/LSRSR9UilaxBs2VtBZ3fyAilRsRicX31WcVwQCNYKx0zB3uC0HBDXO05rvvFQg+k2mtzreNcdgk+8NOclBZToKuXvjhrPPosyqX6T87B8ewVvrYBM+7rVEEXNieOCIQAO3qJbNAHbEohQ=="/>
  <p:tag name="MEKKOXMLTAGS" val="1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ItN+BdkIU6kSkys1oz4FTbg3IAHFZDQQIUI41CPkYeCkR+S8QFB2kPylUA3JsntOnMnXuTmmpeohPhgnOvWjiJahxbCEkKhcALAa4/g5rVRNUo4brP4JhiLsU+8O7v73AugP61KaL9V/ZMDFmIanld6KNo4Tnuo4CWlQ3Kec22FtIEqMisG3RMmj5wobwJmsj8l6v1JQfLZaoon24tS/ioy6j09oDLuh7RRZyxVpcRdzOJjmmHUa0qnMr5Uegu32pOZ7YDnLB2Kug8Z2k+gzN41szMpcTwsFOrnZvPaAzlsdFKar9I7xTBXyhuPu65sqsySYzv/TMR2o5avDQK3tAkwzTP5gMC67GjfB7vcNfWLHrawTs9BApP3rgdfsgUG4hx5y3YhUW8pSYX5Np15tpQi7oZ/nQRePxQ6d32NQhnddmqHdSMtojhYECD5/tOorHxi5r/z10JJlhaGgyckrIbWMkD4P2NQH80nsfr10dyz3KtZEh9KhHOIr1vI9Dh2pN5hQatsVhAVX5LgPsTJr+uG1fYIzLRhD0Vevryif4IF8GS4uBxV1b1mWL2Wd/tUCeoIHXN3ayGc8qHB6Zx+ZRci9dQi1VoJqLHFyoY2cVG0E1SU3nZlZPyUlyUoM/ATt7kwrX4Xb3Yomb6ITrUfiXKf762JJdFluQW1ODcnwxNuZ1j5xEwk7Yz+qjXkoTtRrnOfdlklIeHof+9Hqh9eorCwCC/QHQVsCuVYf1p6ackljKsZj+djFn4b2spEw+NHDaZk0LerNciqm0g0qXJZlv6ZMj3k7zNMHyzJTV/7eJ5Fdor5olnNRWsD+oFIar1V8Ty2IvxZv2BnU//x+HmuD74Laoo7OyKnlsAPstoTozWzZjMeQZnRRnN9rDDWXb4E+xNqDP0FTXQxf3nmZbvSDWX64uEPNcIANdv5PzlRN8b8CLjRbeZIdOLMylURNkIeZZ4X0cb2hALYkL61o2yX9G4Ir20PySTuVgTN54fxRGj1+cR6SzFnjgB9XkgIPhzTmsRrPvpWCLhV9fwJ7n5oz0ceniZujo+Yod1WE/0yK88W0S0p5GC9cBbsCBSLVqagml4qTYcZiMk9qeAN0L5CEA7oFsFl3BCHB6KmglNFQsCVLq+6ONZj+BVIQdfPu4QjyUocCaIFAjTXTrBW/kCiy84TbIkRZdN4jAOSIDaXK7EZs6rYRwUNjp12lkr4Cv8Dmug6/sgREQPQMJOia2jNV2Rbif65ueT/O0ohP51o8YyqvI3ELm8bGRox6ivi+panTpmwaIgG8i+xMy23Thszb98bi+jETIOlT6Z4t277PIkhYTcfjqia+mhFVNejXkH65fHP7VgulxAWErv4uvKWUkJH0TYqzJjwbz9Hvh5PmB0KJAGIAts5OKSFsyACzkgMZJAV6BlN70OcQAmw/vvxBYfJHsQmx4rrpp4EhU6VSQAIdXvsUffW8YNm6ES/Wfw33h8gRpZAuJt/pczbRQWaa+uelNNvphl1fVfAdUvSJ+w1ZzeHQb4DWXAy07dCTRYoTJbIL3od9cmvlrzLzBiIuIkvOQYAu5IMrecglHjmokAzlfWexafsMIJSi9GIy4S0fFIo5IEGaHgxKuYgKIOXgfEe1cK/hL6gyyNncHu/NRhWak22w2aUX8wdBYIfeTG10YQUD/IlQkvDu7eHzVyNCfcAxT5kJ7aKGdMMuEdCpbsdDCMOEh4l6hdr5mRPsRSCoprooplp2OCAmWPaxq6eSoIZb2W/fL5MhQ5YzCh3YGLdxhZbQF5bbqol6NKYB6mNexZmih4k0eAte7ambbRFPTCOKIALnpAvTJeubCXDArtSJsEXHB7uTVVB3FckRXpobmwzdxkqW77W7sRB1O5gdCo6f7GsZ0qgx/XP2dW29J/dXp3x9LdHYUTpLHHsL1Cw5Fi1JiIIUlUP+uSBEzYP9OmSVhd/vv71HGFzwgoQX48NkhiZiSU2dVwP1W1I1QleeyTE70bYalqrJljkg8uDTuZidKKBzVcc8ojYaPBjj+FBJYYR3FlgdN1QxitL4HdcQUdNa7twUDduOGFMMYbIHxEvQKSyM+Cqq7iZtLutrOLA+w6UhkaDg96UME/tJm2PgsGx7TJRwKyjCsYu/qM5GS+XBGe/HJySPiS5BH5R64lfd5aHdIsdksnLGfT0cdTfP2sxIEUxr01RxakXPEwldN3F3fpWuEL+qftHv9wgqqixlyw/NfRYLXVVrv7YsaHsO4QMqOAHAl2JqAMVY2JSwS/I0hHalCvo3v4DWSHLaMr9GNpeW+V81WL1funWHRmbnM1+I1YT3FU+Tcj6goJkKikszAErthuApj/QaB2MHGwwhWpu6C71YQZolUMFFyJYB0XgA04YrR0hshOpLfQzEdDltti22aQ+aaE2IxEfrL7eRbyv6NoBhV+2Wbf4pVZeBoC8QkwifeI9HPOqUy+BRa3M4M9o4sZBn3SRCtooqWmksrQLnYxb7gwKXfDMC0iQbin3alqY1EnsJBr41bG8XEMJdptuumWunQalQhJ6aIuaoB71Ioy5Q0FkTVcnYAnFa8v6YavhRhFAfgebfAe+7NVwBDs8HE+EBwk30wDegGigQ3G+wu2n6KlCxB39WW10dEba201IuW7uEqepIMEuco7QJrLFjcRBqMmcEbjM3BQmk2fU32LtJLdRAaL8EppvXa9DDPIcB/2VO0U4fIShyviM2bOGeEC8d+mzNW0qzbp3pNI1Qd8VwlE+uq4fvZxEIgmUeQBPZC+EZJipvT9mZ7M54MrH3mgRkaZd1aHGdEl23u/GKVqSytdveTS/e87vInM0UXc2TD1PzzCOHMqqhRu/hPpfJbw4phiJPNrpYmqQjBY3kg0pLrQT0R28bY7OxbPT8cx7536uoSVBsTz1zOReUIHefRspcjJ3gHYZ+wzA4QG648SHl4OO4riRiPLmDfMgJkBipYY8pDxw4GbRnPJXmxLbuD5hum7i4FSfMy3ZywqtlWMR0yZJte1QqLRqx4NdbpmWHKr3WLq8qPUeqnPuggl1uAI6TGKiWMGYDZGZ0sFoPbVsijiFY1uKDeJdPLz189Sn+qmu2LtMEUedax2ATSAx6C2JKX+6JYHWwZt4Y5Qw6Cdm+QzlRuBBOdZgLA8rEnB7VwIXRbyOd7QinUePRgmfTu62JdjJNAwCcr7fLO1pUupmALb1ZEGY4NEPWyObHHk1ZoES+uQJbL1qzUn+ukfexQiLb84U/VxGVSJTB6AnRw99kzP0eL6MQBa1LiXvfS9M+Vie4xL3i/ulttOYQqCeNToIa2/MfdBwVNNWtjh+R3VH4wl4/O4NVKnvWmzdOf7VfJLXuDXaEjA3vU31YUoBJPw7zrq5LwZ9jOpIBSDMjv/LD7n9/bqn6h6sBcMxGyRWrrGQ8V0wqHsRjs785xm+wcvtA8TxN9FVYohunJLeSjSa//nI0UFKMozCDiFyj1V7RCUh+ZxKZgCFCNzDQElLCTgWXqii+s5z4+ZopBJzzsvgKAHElfKWAQSmGVBSbcsnmdMxbyfNht/e9ZSv9fyv4lvAj0KqfnMTBmWtf/wPNz4jAAafiWrf5N9d3DzFyEZcBevoWkAZAcb+8UKxmplUtUS5Nj1LJEdD3TS4JSE2AfrXESWl1bNnQIMnbPhozJZRemu5nTAXshM0SRG6FApFMIhGyUw6mvH4bTQsd2/wCSjs82cv2zRRtmNhcL6FjrfO77vlBkBiT+AC7hE5B1ZQ6Ww5rzCTwTPenhzE+96Dxr33Gi7rQqdA3KISL4RUkG/r1PJG8uZ9mg6v2a8wbI9en2taOyYDWZ1l3voUVh1mnS7+OVVXQPjSBrwO4HKwsrFV8sPhVm0dDv5s+3CRC3WareS2kirtzgzAZms9DNrHuCE0DfJEraDjUB1x9+4JdfHmGdsXCQg3D8a5InWr0Pu0kwh7YsBFc+7wE5K8O3EJe5Tg52pXRdztujbOdhBhJ5ndEmQhmsQ+krFGsTDOckpbM5v1ctNU6zGbaZy9j/0ai9oZF9Yh/xZjvVdw4KY8cOlVdQ8ENiETauDTrAGH2P+lU4/PDR5MQy9kfyZ2nRss8Tdqewy714RsmN6RkdBOixpgGKQumkG1DxjzuDrD2JR9SzIrfZjiIjhF3XQrs1wmKIjPGHwzvO1Ydr96O3bq4/OZntq0vFoyvm26wRkE7sOSQSOMJvJekTK2HgAm96lJ+bn+X4JXKZ1vfUG6D/dApgidEK1Q1jiUCcsEoBcnk/tYgPZCiDp2Iw/CWYY69nzmsbxproBHAdAWC3c+A8ChWX0HbzG/zx6E/CU6r6TOV8KFo2upn1xuLp9BMRwRFBEiRuSMb2gpJ3jl5g/wN0Lunjp+yGXtJANZAc0SrKwc8+woGJGHKTMu1kKSfKriLFScN6vnXBV+0YsVk3fMOglY2BAhHqVgZ904Ja3ThTMFLJcKja6x9KnSsccY/aLwglY7Yll0hSw5DdDXjoImuXb5jTNmeyy0YP7LrqC0fG+wafxtY1tVqrgaT7dziiuSaNKSG7YzsuSaB6rLHoaylGDHe0XqxfVgpPS0mIbx56Uv11ZWu5Anr1xLj0pgxYMslTQcnmCvpW0iik5aLLjvsOlhtVjZn7H+YdeBUR+yZHm77aiFVOdNfYP9d3UcLJ9K6VntgS4uWx/Q+fZxXnbJoLD/jZil+2d00gpNs0RT/QEzzoGBEO5egDrDUDBg6QLD2u8O2pi2jApl/w8tlFJoLHa4Sp76d5r7xnkK+S42EIGyBV6dSiFEN1TskT/ysF8YMa1KG9KmcfW9SdOxEWaoyEssnin7N1EtcA4NftkMOkzSp/ug5cpPK6IzcdhWgyWRCFl+iY9p8S3zXATK9C39Wj6gI7QZUuWplItkJLevQpU5eSvFeQHyh4GHQrZyf7zj9tVQJjW6WP/StLvcincKf/5OmQ2aYRkQDG3dNIHVLlDo0r2nQYnbMC9ggtXYbJWq86wA8ogzMp7WAt/uE6SRPZMeIXdfclQ8ExuR4Lb3NkLUCUh4olwjqrNYA4DpwCpyvvND4v9fR3MklYefcuOjnUw5kwzUGR7msBFSTCNRxGo7jKekHzbz1Zwfkax8OAzSmfUtNU76DdXduHLkQwpfWDT3JvqgA0mfFsEPxV8DsPMR1wIDc1ijkEpkpRo2X3oNijj5beJg4J6CEVNYE4KslS4Rb1+dfRpxKUqxnvW8AmbaFgy3l2z1h7MlM3miLYLtgyJQ+3f0ijS/bMipC9KElAVKijBq8EvF5Evaf/5Qe9XKxe0xTE5gR26ws5o4n2toXaFCoHE1Ea2sHE6HzqxvUmULc7hyhx36XhnjWcPLcgEtYsR8WWikfXjptUu8nyInUTeW/+XU9ky7WKU5BU3hJbJ8P5/I3cNsr1ts6fL8i+/ycl5je6g7GKkIkmsKqD5C1se63FArWZO9+fncaJk/07DXcNBHbDjvPCtpY8k/lz2MC8KOdT1E/CSt8cfGej5wPqj4hRl5Btr8YhrmD7pG+9plygdLhfelTlkjzhQY6Gfu4WnlfUEqlv7Z05EptD5j8VQ9tUP4cEPRN3sp69mNCHMRQLphoK/bapgfXSGzJ1Z+yyGOXUHLKLaq5kxoXYkxwhsDr5zDzlYb9MrhH16eSfe102FtUzHipLPLh8xVcWWof6rHWuGFo778U2FJ4zmijB0yZuOLKyh/1KV9Rzz+ovRBGEtta+6M6cqKGOxdeBDw8f+I03nl822H+N9xfpxKJXYlWLJjb5uOAO2pODqcN+uSr79KYuiItyEhBgtU6zIGnUEB7dvyCQvocI2sM0yDH+eXWLy8AjTuglAUTAzkb81tVy/PfZnAHU0QDVc0l4qyMkZi9TjYr2pnSRLE3UAE3u7e/TXAAAeT1KbZ/7tLCmHbaAznQtRPnYAA/sXDM4AI6AZdddBT+FuNFTrc1NSPEaC4CwaqjzAbhHWhyWWvf53O+mV788eljwLJJCIgSaJr2Ii6hsZYvu32CY0qp5z2sEHVmxLwCqZzpuJmx0sf1z+n7mCGE6Uq7ytDhWswc+em4lJHivgIYmlwNHwMVtviwYVltpoagymdlXtl4/Enz2gZEDO1vz9QYKVJIMlh51zA3c067W8y+vzwMJcvGMWH8AVG1R1I+CzBhUr8U9RhvE5g77shTnjjEJgzevjnT24NycIYw0ziFzjctEm0tP/wyqG2GYbhKuoOQY5wPXnGceri8aOgi+aVWkprxTQYZjJKLBUG+K4ZPGAfL35zyaQhhWthhmwuYYYoqurVTSDr442XJVm12KmQW6oRrEmgb1L4RQhBftt4aGghH011ASCc6WUyQl5gektmSRwj1izf17nIt3/eJvnny+8wb4StiHvqktSDAA9B9wm2GZvyWSTWjRAkEW8ccxs1DfdhID4TRm+DwUevK1aa0YBHIVE0ksD1S8BtdmFpApky2TFyB0LAX9c2gNjzhWlTRcDMVzXqpqCZQIlkp/s6xLfcZzHKS/g0HWnT4Ztiqw1DRkxSup7dfxHS/aMgAsl9fCOZp+uHhBtaHlOT4GIdfyjxk3Al7mCnwWOChwDU8tgeJhQ/H2XkXJxk8sZ77hBrb7n59Gzvd7zmkWjwGEIPaYWljuBECXdY9rf29bq24lqdszXYAbrQBWSlLzO6mT0KVHUyRTJJpCzHq4AZAQOUBqa21S9tAVzAzEjGs2/epimU3DFhDPsczgI2CKT/nEPSyharLRWBycAs+HS3WG6ZdxnokWkEBtwpOFFO4JoiUo/hEmddsTGc5oNvOI6I7BpM4NQedPkgDZq1ZoF/kspFaGQwSjdHriNOXjiItpZgxJ5a05BOxGAE/UOMv0hCO1sRwxApPfm+hCfbj/V2jgJtmmL4ZypXhxKwj3bYnclwM3qHecxud+W7an8Gab0BLuaEAXEXRqKg+1u6VP8x0rIQchgk/MTLyv5+J7nAnRvxAPUM21igCtLayQ6z+EwZl9OIl8vjTe0jPwoHZ1DZxSWoCTP5W5cypcsqe8y2DtWyr0r5yPsf8ZAiTBg49puqKdzNKWwjXipunMYj/Hpt2zeiDEOtKCQ2fr3lZvaUoXnM71ZLf4IQuwAklGp3jNNVM9GJereMR4+nJX3/uprBHV36g5znUwvcbI/S77oVYMjr2x2thu8+FcHZ4r4iFFOjopl+JjT73eRQ3H3Bfiw+iHCyMtSf+iBuP62P64Fi6oqkK0x8HJbBxv48SWREmZm0GoQ5wFe7fzlhb/w5sSqnedg/MqEv2pV/j4FPojuaHFDbe9NCYtj+raYJ8ehrYARkt2xQWUchaEV0X36ZbeiN6t/Ugei6EKHEJqaPjURBptEJtLjOb2CRZkt5DCHJTo1ufEaGKF65yaU++oeqTzpLbq4CKSmIyCFrys8Lz1gP9zb6xsQd+6f0Lg22GHPQs3ntBVoZpxVXIzC6XECW7AsfoZa4rN+4n2Gk0VYttCL9dCCzbMrFNpIF9MpTf2G3dxJSsr2hwNiC+BzwSEUm/ApAVuLAMtXvvuvuKg/doE6ICcx6BydwZXcjvN8MFW75stYr1WqupSnukk65CAttt7VyYCM1ZwWjIZ8hOXfUMOnAykQtjIEikJveIQlFYZOz+fhuyNgerTa0H7rJecv5Y4BzCpTdn9HvPetIHMVVIroxiIYC1N7PvJmQpsD35pxj3xta0Xt/5riD7E8UjlCugQRYHr7XjCiJaEpjMgT8KtmdmMFYqshrqreBhlXzMomJBztguVHkZwfpKszSJzs7zI1zCoZC4EJbiCFZxSsWcSMhnD0QpuSaYDPmvSpDR197eoRHMAGh4w/oxT5H7r5LaMgtIrwJ87dz+CPIC+m2EJ3j2WAYMqqha8QIotezs9eIfL04qC3q4RHAvKwH3om9BCGARtHcyGfkdXeiB5B3qia55+l4BJjS5P/Xy+BCfC8mpaKSZYcUnD/kvXQnnHRA9yIARm2FzGF0DtfXRuyJlIrCAlX314Tu2R3qlAGA1o68B8t47it9DmOagg7XItnatWEowChK8GlMf8ZN2cL40jbKsoSJwhOJjtssAObgGnPIayuw6M3Q3JnqMmS2OyL+MHYSfcP6jcC92EBWqDt0zI4LsDh7I4UBOeBw3U1uUWQWaxPKKqTJw/rvkEemLtQf/xAkvqlw3QCVxn5m/uLqt6kvBpFVahv1MkLda8Qg6app2xngg3jewkQnvSqflSpN09fdl4OHcHI8s+mA9moS6mbpUnw+cXMBA41L1Fq7lKAdx952EoEUIRQZ6e9QBa2ABZkgBC/GVwDmcrKa85M3CL2nVDjd5wbUHDGqiWotwFKKW10MJSkr2gaBXPHc0HPvwTc5NIG3VvCCNm5istTfe52myqRikKzDDVI5ldl0o4clp8R57I6FRe+ruOJbnpTlNu48MvlIfBgSe2gEKIHguxqKrfPEDm1Ou6D4nn3PLHkXQIRDvMAtOnGDKUekRpcQTuvynMM5jY0wVzpgGwTTtc4DtR4vfw386NlIYuvBedETwQiXyDcscwzVaQRaggS+wnpg1hMVHKlxLBaR2aavchDtaf0CpdgPVBPPlG4e0feGQXTiG5Wn2l5HdkKnFlkhvQVhawhU41WGtikQJM6ae6c7NpEKb+8D3yJzAGxwebZqUfSfJtScDKjTKTwcd1vDdsCEvIJbDFhKzQGUkYYrmBSVp5QMHXhQokJdSmatEW9Pkr0BuKJZS7UY7A1HU5HHc2JW9JI9uQHZvabb83JL1cnsJZCkt5U9+/+XLsHNojeR3K9pke7Q1+xrU1iQxmeXVom+GyMokzyHkNfyyqJQ3NfjLg8+kIFZC9M1mJrB2trVedQ94Xwitg6TGGWvFA92LlrN9Bt1NOpose7Ez+p2KrkwQvWrlJIDWIGGUgvZPuk2YW/ur958wCMejD7XQ76qr21Zn9O/3qsYUlcfEvNY5j/jE7+ogOhRPBXzjfg1uhL8bK355qikVjc1xrg3srKI+B9tSXC3PrZ/BlywNsVAkkAZFlVwx73raubPAuf7Q3XV/Z/KoCGylnH3X219L1JS2G4A+Ov568HYvGULqhdpULpK4QVImlX/jmyRJygML1F4/OmEUUoOmEXDQCXekwShYB6aaUH4O6ThN6xnFx/xo9h/qST0HmMsi+Dl0XDdWDxb9y+Zab+LEnPQiM8xcTEusV1rD3WiOzC9ta/7YMQPFePW433KyCaa7bhTcVmJ6cBxGcwRO8F5rH8nuIh197OmU2jj/yjc/1j+5qIquEK6+6cqtfAw2tQgxND6+C3MAazQFeqmKYXBdVGJDIwNUYB0p0hlQ8X0g2eexndW+qKrxLL9PLhqKsNzgCUGAKl+ptyginJN44Z9qfGvas7o8WQkKkO+F6A3pYUhgWWUt1twhRLuU6QQF8TjyAYZBOZ7TEnBvPmAJ/BD8wfNGD/oxdGwEvDB6c0raOgyRhnYM0LuFDon+HsT+MuuGxXcYMiIJ3m02OxtVjF5II55ZjqmV9E0AsSWsPHX7qoORemMIiWmrv6X8tLT82h59i3rGFMLi84G/rvZjWHi2dGJdY9wX5RabJ8Jam0eE7EirQu7jZ5vBbqk8UjHIdP7MVMvclzwaPXK0Iz6GReGmBcWwvGuq75s8O8aTsbXfjtjoXhy2OwWTEYcul9pPHJcfyApbPmbvDw3gxgwsAp4sA4qmqPVbMy2g6owsuNCcu9eoKUgfiPUed20Earg6U79Kz/Z73bOQOvWk8Kbzpi6pKCqDG2+Mss68/hU2csBdtkkcuCLzJXYfs3W+d3+IcyRH7tZAesn4FU0i7bN2V8mQV7krwi1cZTddkUztoTp7oulMNEJRWqlak6E8UF8tb29vq4kQhFArxSPuSHOh6LSvDv1NhjQK7QMW9P24tX1C//0fdrlL5Rxx795be3iEJDLzUU2g+Z7AeQfZR7XsSY+e91KlbIqfR56f2NbYfczwURZTeSDe+KnYvHI20MFE/6hXvEVsrdpFohMNtypnvDO/E2gWJrDgNOC7HF3gM8QPnX10oGgpZSITITsNOaFY4047PmclyvDSiT610coE+y9H9jxjZbL5SUR7/Kbmd7MEmmbZc7UApT6ONbO4lLDq1Qg2AukgHRGGkYPveP1ZePtX29jEwOqV/RD+Ym8gBIHLJ34MQz8rc/oADL7Br4SKOMNm451OOYnonJtaNyrdsdqw+KKXkUmA+GrEgsjRakrHAKIIK2wrwKhHnjyWXU+envb3O4G80i38JVSpSF7++YC6aQaUqf5euCGZVQifW/iq/JEBhR5gdr/VruVi9c0QGeXjt0PsOvGzW9wwSTxCEsxpDj0/vqicDhR+2XWw+AgdhxCMc+F1F0W2yVeb9i/ZGwF108iXsZJvJiLFgD8KvYR8T1W0IcXIL2SL5NknOhHyN3zqUN4/WSsUVZ//oTrkvcuLA3sB0ZlF6+SyB+KR4mVh4JBHANIw7oDoKD7Nn5ZZ03/UHsf+8XTZrqa9g21f9F58DJY+MTgesQJDWKyxLrHHFKla7WZ7a/EuDzay0bbL5cvQg30OLHc1vXRT1VJjkWH+i3apU9g2JzzST5hKBlqBOkL0D6dbRkiCkpVYJXL+ovHQpgs4U/F8kfKcgyqxbEfTed5SatwNl1QHv0yTQYHimIELIPv5Swgz0Mh/kpZieAHbU7BlZj6g9qcP4MW5X/w/+6378NxlFJb2M7U3ithlzB1tvZHzklY9SVMaMg8IZMvIfJ6u5rKRlD35zEbk8qPPhhaVGTNkPvuFmXAsm8vhZsZmHkodsF+OdayOCf8vL8mLuuZ10FpYY/XjC7B+CP2Q19HLfBzWbL61AmWDi5lVeDvwXGnsy25vwXYxh5DVtObVmZM1TqUDENL2Gsankhmk4B8sQDhHxBWf9Oe10rgqihgvh02yMq1ZeqBzcRpOyMYEJmgPiMvJ7uIVIQqBpJ92kSIXX7qxpbM1a+Jokg4ZGpSd6pSxFyXE3wnvdx6y03fi66/0ImRAzK9wUTN7mGZIgEyIn9c7Ck1JpLrSW6GRs3wEdYcPzFO5d4PH7cOuxlrQHotqCxYJaCNaeR/IPQ38sB6dEn25cPLKzpERDyV06MB/EtoGttgcT0TS9Z8qGii0x0hl2MQsU7bNhg3DKt/VAKBPkgAq8s1ZH5qs8183iW3GBw9XUpYDhD1jSxHUsz6J101VVagyLp4Awf24ZKCINSr1pDpGVk93hPQt5wyGeCJOc74VFWMPHpaUlT9V+FuYexVET1qNJca21xWw5VHTFi/DGqm7MEdiNJ6kMX+iJgNBE9WrK6zbkNv8YMxvDuFOvkjZrFtaY14UtwAxnznAa6OxSMHq7vChXN6o5TC4c5xoKWAQLKq7cFBz9Xrcb5NPgQKeg1SZeo5RXy6y4tao1W6BNpYMI+EGdxB5xDlD7rvFVYGOualbhnIAMWcu8mu7th5RAoLSNwiT3ZFseyhzLenRc3iQ2hJ59j4xwMVavLVytuZ0TGSI2J81znbbwIDEy+k75GuQajqZPD5uwC5+oDjyEm6yGh+jDB0aj+W4GtId+YFyUK/B5UqAP9+2GvPNnNpBByKxNWBtsUIt9jtarZRl2dyeDWp6hXzzEBtpA9/kZ9hygfcwT5Uh+iDFrDCXXgbJxXRIUs5XYc+cKLcutsqb7+hQsbtVx2dibpNuY9OJjD80U8Y7P+xZSeqBKCfvP1nI1yMmC5Q9N7ofmHV+1wpHji+TG3R7AF4RoDxAudcTwSHL0RalpJhTOV3f5Ry4gL3SSHtGu67eXmtkqX25N+dJb2qtMva2cmvjAE34qwcAu8nZmha9P2+iX+d2nDtYRrjkox4xrs98T/QEOfZq5oU9CJwhl4NQ6bHjOpdxuTX9w+SaG5WLBl1Ki7920HeUPu2XsG4HgBHiACAcFTYdrDiJ5Wa1yzy8EFfZrjj/d5hOpRTmz99A+NMQ6aUmWo7fbMMsiBGjCE3cZS9rBqlfiBs67f+jNPXOGx25j7hYj5n0iI1qzmKrPeWjXXcV4mHtpdetcfglQEqtWmMCwj1fLt+L6VTLvDK4RXpWoTB396GeNDpS+gyggp6KiDtF2xi3RcF0O5qUp4zfdUYB/Pyz3d0rGoDpAmmo6Zfgb4wpKi1CF9Uox0vIlHwNh4v2Jh+VopFbjcoKNF0TIxxzwnk8ICoRl340/3JSdylYyFYxsADj5ryJON7lDVgnY+WfXuA7iHNmZl4vPRBovJf0QW4pfTCVycOzI9j2+IYNQ2YGubXSAavdEjidlmAO7IegrWvAmmRa3fhoSCcXUgnc9K1BOAxv0lYjObK+LLwEbHNOjyMFRXw6vpbIP/TzZRbRcN6C3E4c6vPcYsxwo1H7Z9T9WVRm6tKnnqta+99R5QsE23VGsLshDcj/u0ubSpb3fYuz055hnvi/cZtkKXSD4dQtheqrDRxZKDfXOj1PnOkZ6RxLgg+ZqBIewcxOUjoCq8VyP0pMMf04byOr/oePN0BQRyjdvP7fGOyQqdOpWJsb3qIz2nO78COcZj9ro3VQ+yYHdqo0s6y4AbYWRhvj7ySFk2Y5ZB52xptnGbf1m5NwhP2gNvsN1ZL/LMOnZUMHJK05qHcnD7mwMf96pGpueGQhn0Mn1sN3QCarPIt2b4oJfyiZ4naZRt076kUgFg6+wG8Uuqh4tl4xng1fg/g1Bwje8eJ/nnaO2sVb+5gdZA1IznadaCOsr1e3UobB0teHkujy7QM7N3NprbfJFA1vrLxvxTwNbPEWF7LGzK/ajTNYL+7UV+ZTJ6yeiupeH8H03OCiQkrMz62ubzfKtOgpgyr0briSnL3c/zZbVkF+0qBrI43o//1CdUV63PP0Po0tJypzzHcgXhDpP2eqbLjJ/xV3q8MpJUkV1mS0F0RRIfyOrt46+n5VznVF+EyRCLdyfLMEZF3xFV4PUZkjCJVVvLqToEEMA+z0RZ7AhcAr7WZZgw7Ey9gXy8ypmU/Uz7th0o5zRPcLbeK5TyBvqPz8l/GolnBlJ50zdY5/qwQTD+fO2jlwdVIa9tTkNssIZzpa9B7zDi5CCvfFZ6P3DUnGm8L81T4q3EdB3Y8yQTVjvUbYB+aYJd1SgiaGfTuFa2B9D1LhdlKCP/Uuk5pLo6AwVSycU6Az4JBnhpyfgIR4b3rXD9FwF0jZwS0AF6vF9jgdtTLJ1jUqs3ALuQMHd+J8hsJjIlqdTePZ0F5srTciv/b2//7tbnQT7rkjCAD44HrhKswt6d9a6N/MQwZVh14KxJLW80wKmzTPsoIZkPT1uodXsJ14RuZ1eqJlHh2IlJwb0TFuVJC5QLkJEZDWWv86n3TlScbdslMxLgUa+qDJtiDdhJmqz0bCD2ORzxSxkxvAe6zKlTUA62Vzb/CgPaZ3V0s1pGhznnrKQKByrIweKbN7xGX23zzFD/0Youvva6qyLXWwYltNlyiVZF72eeA/R8a0nAqZYibhqOD8c0u6ZITJlBVqM/ptaMjseUtqQ8pTGE8Gobd9JVfviq13K8/DJlgkS5v5/nB01cUl4stWl2ATsrUnhMncQIjw9f/5G0QiQMpfCxAqvNuFkqxvr/bpChPgx/lj1iE/zAqTy5LLtTUlk6P4f6KZJBla4P9Dkf37j+/rKz1QevADZdiQnyXntLQ4YlUEuZ/Syghg5z4fAM55Cd5aVpga7a0nJb8f/NQ+U0VE7ZCy1gEDGHGZ32dTJbUgl48JKtnod3yFcjVFPeNxx7dXCe0FFsYxUc2xCYA8DebgOfWqCFjnV1vYnGd8Z9b8wmbPUhMOmj6aeGvR63sp/5AqErvlmMlmY3vssG3LXxaUTkWHz4un5uFBzjBODOimqTzZhMjeuGNpmSrk5lLnbq+5m9lE/FFccEd+IODZZh6P+pM5gYSZYKr7/E3RDc7XHN81AJmDui4JaiV2uIkPC+bgRgkN2VF5XzDBCLCyBtj5nyFym5d+B6oye6LenJ4t07CjAkv9rUshFc0TRw5HydBsvj/qr+20OBnhe6kwOrKQb6GAj97eaUTPBnRP1geVbC+Ox1ePRCGaLGKiUsA7zd+kgLz4nfhJ9tbHPHCyC4G7QaWiOV58bPMZ02z+wewIDOmihEBHfUFONHK7ArYSYLflyo6wZXvgJwXP8NQ9Wm8rYZliq74kUE6FuFN5Ocxs5/UOljv5vY/CuzQD7NQfqHw7BfmqrmG22K2sbOHnrgDFBvbUUXxttcwtdrXkB2Gk+NjtdaQZB2dZuxoTWSI8dHQxnR/V20nRoJydFNIK9G8imKyiR996CCA0oGszhjrZgGIpXAA0eqlpzvwu+iK2B5rYdnnEoFbW0uhk11NCW2814eBRGf9gJRRjvEuwlPaczZibsaVF+m0g5sVI+LYzNtLKubd7qltFDPdNf0Rb46yQOj21zm6Kk4/snkhBBtW1iu+MIpP/0VdnTxU6K+hjkA304S8M6VTPHkTnD9OyKip9tS4DRYc9dvOCS9jIvAzEF3IPGCm/78bzUeO8C8ZOAgox1Y5B7/BHvvoXRU2tIKjK10EtXnfYL0M5wQUu758ie8j9yUUnlgzzzPFUq41lKDD/LnGvEqHC+fCWLD4kDBnVOkxfZSNkWzDNZa9qR1XlMXK+dtP5Q9XtSatiJI4aCNWcrD9U/VqxFabr0cUYv+M+h44bihCN6A+PzUAdhomh7XjqZndA08icPA+JzO8e6BNtRs0U/Uri1hsjVQlZm/Q5d5afoKA3paq61VDQr4ZPBkf7FW3dUQeRRfJpzadfsqxaJPvgzz3PnNbpHT3DdTxpm5Z4Lzpc6NPdqxS8U2xv1iivk3qTWJUIgoIhuqsb3i82MBPx6n3N2w8Kk3LJp1MXn1oz1NCnx82mQzLig4Gskur/OgAGsH9m8zJ4rXKbP2g3yCs/JNimvE844H9oO07M1EQ8DtWowJ9tTzJxqS/eG7/GfL8y/814cXStdJx5TMCxVPHWobqcfL5KCL8NONE5+0R5BOYit6fwqRWfeH/PMhK9HZUcRmk+WpR/ICldYcyXxQYexvWn5B+NklYk6edaNLMoHb9z5ITZ0QCYDBpKB870ki//pUqicbbqUpV3JELFl/R/kBTLERLRPV8X9D6LiLzLHJOdHg4HRQnBg9lELEmBZL1mNfER4wdu5JbffKipNO+u/96hyGw4U88cDwsIBB4itdVPqQub3jVzBNlD+gtfiKiHKC1qzgaU6uHfLcdOGPC8zHdtiGXE/ZLSI8tyKMocThOdMGSxQafuXzBbHhT+tRrKfHRJ+bpFy37PrAN3zDY2QOLR/8QjwGtV5sWVOdB6QxtmUQfjj/Db9JaKtOO4YyzjvUoXVrwx6ByuYGCTx1x6cupZ3lICbkN6iw2GlefHhd/IjGx8HkUBngyVuBSI+SWUAajFsxHGXZbiNvI67UMXyEYycxK4Kf7be0zwhYVugF9FGD0bSXinuXXDGbHhXYXYhfMCQKP9cT5e5D4YT3+LmPOLuDwTtEb3teYATYZvNrpx3zGBjokliDv2csM62Meeeh+ShvWTR3l2IF83WhVVTQUzuZATZ5lzIcC6DX4dnFIMbDmVrlDR9G7yPKEGYrGRdY9WnRf9qRzl8NzOhD59twTUb0On6qe93reKdlMDHZmcsoVexJqT33b4R4nHdP3jhtW4swoWT/HucWGfAsINhccWR7fZr+aA9bziPIfdFtjt9/g4s9NV2Wb4AURpdhHoD7F8+JJIg+0Yxbj42u9+3+3270ISzMhlf9zB59cTr1ihTmCf3bM038G5ZVOa9TvZxtCNhCt/IHY+UYN8yqmEZAMwxx55WlMqcHV0SAiQcboYb8TsXSiEz8vJhZd+Gr/nRdBaWdg6zSSx1gGDUnS7YhpJt3Ccnfi35/ESCPHlFaEC1nYqSHF2m9JHKtbkqqb2X7LFnKakoTXLJXcW9Mnssc7CaXV0ETQ/kJrTqnItoTIzlipA8q7R8DS6SeSvENna2aFWxRZPKSkizVig+V5NiLLYIuX/+CuSooYVqjSRcJ6GKfn6PJgryj8Q6oXhbgHup21Kqcf8vKgeZDbDBKXhQFIPimavKHz1+MGaRxFX/brLVzprkEPTFmkffJbFcRPni1bvW1e3PZv62et9A0fBW2pri0+TKRPx+2YZ7aPYCPoKn5bKu3d5j0EDfRWqjTunC2M2Ucr1fRA55Zgd52Dw2Ybi69FfM8j2SZ1M+4d/KCPgg1zjspEN9sT4pGoj93Bzrt+8dauZRMBRGS2m6gQNiSTIX1uHyaSjI2IDvpDZo0mUhCn9ZEeUX3MEYW5WtezHa/Im0MeJ9wq43ZZPz98n3HLhA3Rz/A315inMWl968cwHixRnpySnm2MB6F1V5dJc3uD7FhfaJ2NXJXHtythoLkEGq7f3GbEv5YQAuWYRTw6PUzZPgLaCspJjno56GvviQAHnSs+xP72+/YWi8MRwpOhqw/n4HtqEQqVINotgs9lc6xHo0cOE22IdcKkNo9KS2aTGmBbJcL+jdPvjvPq9SF4AnLdY5oSRXUrEjbExMwhz3ZmO1T80WlNJQhDHwan4akRtzeARFON/VJh607oBnsrrQNxzGRPJld0TIAQK+K0nQ9Pd7ZbphIB/XDg/NqkDNxddkhIx0/PqPIk2L8Dvk+5XXKzmMEmY1w3n4N6ZOtvnPtKZhJaL2PBYQUsukh5kkCIZFB/uc5NJUp/HZ7WU0lLsK6ANLbxYdkTZqf6YPKO0XpxMfUoWI0kq7GKbmXNcz9CyMqzdVK37t1loge+GSnCMtbz3M2d2r+Qgg/xcDN5JW9bgNa9xODMsi2McDOg05UXGKlxcY6EO1P2I+sDB4PUqsAoAl1Df+aPWJTgHp+8iUZGnWWNkSXTa/nE6cWvcsIEOwQz1DkUiGopRY6qsQ9H2hCsNkhu3dBTWbdb6N4zqvC1aD6JRXRJdJnyVXXoh1HPcMQUEf3qXplTVpCPx3ml50Z4w2bViOPHLIuheW9stp4BDDraucVsZEH74fVP5fKlZ3TqjyEGXtfhVqFz1/TFNfYhdiH3Vd4EGpLLAuCfiZ0MFZGW6hj4lRJX/Ya6EAS556l4kjD4btI/gc4xQUIozVvXAanqIp4n5WSCO7rnDOvbb3sQpKAD0ghlNp1xRI+Dnx2ud8nhOHLZvkLmx8aVbf3X0fhqknUHbDedohRVWiPoS3w590U9Z4qXbCM3Dl4DJmorVeK/5ES6/ta9r2KBIF3kpzjW+6ijig3ysZO1kaMWQ60lN7MbD8pGrz83b19SHOSCCwJkQQ7P74aM7hrooEAkaLU60LEem3+yu5b7l+TncXBSC+QOZa5bcrXaweFn6LACJan7T3j/ZAkQSf3uU7JaId2nWwTJDEoEJJLqiglgjqZVSBdnxkNWdLajqxD3R3IWH8vCWY3SL7PpxH4zmNryjSW6RMRbgwCxyKAi0RoW0K+WLIWs/a/zALSk8P+hOS9gaGSsfXOdAtxnM2KnQ4vQWZ2mTuN52nUqoMHiBDpXsyBcWtligHpaNrhYMfa3HVg/7kmULnvXQjtVKvNeniUcodyR4DYAVkVhfA3FRisOraAuAYONKMLOWXYod9KaDyWR4vNKiWz6LN/glstyT7SdoDTKjg/0qJvRCPS2A5sho87BhYYEdS0mFcrfCDvUELhXVK7ZfV+jf512kFj8rPyKfi3z8zAwRHVeUvr1Sf74gICLXplrWrMawFQJU45jPBUpA2GCQVqcECOzPlwvqpvpDOTRRRlNko7XG6+G3k6yFueSPcYOvPWVyRhuR+f7aZUowv0Uw301vGLLPuyOr7vc50bQP+kX2HNCju49Hf9QvOtLKaWKqYGSWCRcKw6Dh3AM8nSy0oHRmfGkogxMNrkPHwGFbz6+t/POTYbSGWN0kn0WJFdgC9UkFsrjpiRUn+jIlHwdKBp8giUkj0Q7hD8fCzb9tMbHl/tqOKzwQc8nB2qh3UC1jYE4oFQOMOQzD8DB05NiYkH1LOg4v7kqVtYqpEcoOtHP3PcyomAXvzzjjdJ/NBrvo98curdl+UVGkka7AdI8xWj7Exxj9JwRUyXWT2ytmE78s7eMzcwzOtl1i6PEm9pUxEk3e77TBKy3oHmyyKdP94KTb6q/vaOWA94qZ8YfKd31lEOms+XjDC6CfW9ymVO5IniI5fANv+0pmh/dSGaTxyO45zBS+x9lTzMR2ZwPXc39lrV+OpumLchHHFpzGro76TrIwt5oyQDvcFSNdJB15/f9R2zwLCefxJ3f6wZzCDvJvuwtOCUnd4S2JYPs70A0GQd2ioIBf3usONXTy4Hi7dHhBxp/vbkR/IwWuc8jcc7fikNPGtW04Xi13BXchjG7GxkpizkRIBg8xsGLJRJu1I8mNzH2+0jLD0abRLNrpg0KHzjpBp4kRvvwXoG3lzs5Gv/xt57VL7Ij/abAIIqydS112xguJPgpseh9ycVPSM4lfcYySlgKHvWi8iWMoLwZd3FQfi5ezqdsqA3mI5DN6iB6Ng1FmV9xkrFjEfG1KTqLoZFx6CWMCvckM6nBugLJQrHCZSn6dNtfu39mk1wZMM1yzqmxxXGGlp5yI1x9MbXILWQYD5/9cNq003+D29XtQU6Y47YXTA+baswVbHH+tW7aLfO52u0pYLeTFZjwkeSB2uVlj2kyqJpS+L5cmk/zeU2HSTEXlku/WN+wW6uInwm72CCVbp/GuCv4+VIrd2pzHjMlIPpTApy/DzdyUjX6SpAxbWCUS21E0hBqx35andsiwUZc1qDVMISZs+1jiS6xBZSeaQ1u1nF56O1qMFFDbsmtGUKghT9e2ThhU3Lh8gwbV1WeuqhEzFLUIkQc2PVlMi/c98r6NgeQVMAYnow+wZ2T3w8GMNpWkfL0vmhEoNs9nGKg36TzdOhucKpmzqchp5NKDMDmp1jHLWmhU4JZNIstOW0LzBqpBgyMAFwSe+eQImq3GVWI0CY/nuYO1Q0dD0R81OeGPCUaaJ7DRuDKbF2dF+pAStr1ysH2N/Fn+va12xhKfkvzSsGWhriFxl1k+87z8hJRrMohVvzELd1cMqtLSmJ1AizsL3qStFnpzdP67onTKSrviLKx0gUrcNWPFzr9xLpuMUyqk3Hmc356EdBkJjYNdErMANf+FC3ZA91Iir38N2VROTXMC0R+swKMIIICcvJddLSIFyNQu656FLSHlZ2cEhqcYacLKnPb4+fD82VX9sVo6FB4YHPojEBKZYJBX2PyCschhW+SPG0LdqbMVsli7aj27NHz1Q8G0T4hHwEwCO88vtS4tghNYROOA/KFIxj0ipE4lmB6Zg1dgMSvO+R9QiZVk8xUM2gPRU5G0SFapWV4kKEnO0lLLorjn2btGTa7CiTbk3L7ajZSxLfpBUj2p/4cRLlklTe/xg+g458dgml6vmbd441Gtme8NjSp3RqFPkEHNeqytXMFSV+VVPDhoiDSSyn9Ww4zXetjeqauTh1/0KkoXILB8wWfRxdpg16I6Kbrfz5KwOb5Kg2cHdsivek5aJ1g2iwANHgsXh4c2QJNBQ4TMOxqy8jpk/uwAxXeo++FkAFm/f578OWcKkHTtxQtjP1l8xG57zO6ITdGXZp7NlGSewLVIDDjiRVs9vkTY32nrEqoummBJ6C4dkBPZc3PSqXfOh/8/VR3EIlhDyRgeIXdS6a992IDrsE+ncd5Fo5uvcp7AlQO/rd+BQtFphTqK4Xfgn6oQKveVEp+MgcB79uV4gARw2T+OP4tE+3YGMTO9d4VYeR9HPh2vYrKsvhStIQnUqoaBdC66/AHdDgL3lLolzlkMerfQFO9KkYhu3iARPqlqKFe0zunRoKv7VAnSfQJCgYaQerNd5i7LUrXoRWF+7E6bnRvimmB72ZjNbUMrMRiaBxixWENmZ0cL870rozbNye0w8Oe3EPc/K3lQX/Vzj+6bxuyvzdfTwbErS+VCh0gvJLNaMXIRE+qTgpeRlSjACMLClNjOHW5hHEBvITUoPktfrg/EJdyYCh30+EOYBvuHfQQGrmOaTvZBkaEmJp5R3uMzwfGHOHHFZ9/sE1A2Yjpdf09l9KUzzMXNml7F+XRhW6cWnszNQrRExFVQkT2iMHJNZ2YMZiMK/p4iDIqV42+Bl8rP3hHbjKdA60KvHvBCfMDyaSpv1EMoO8lrqwhpE+2gmfhz1aIrjwSBcK+BQf5qRTHbWv0jl4cKEvpz7nU0G1QHekx1bhRVGNjere9veIOo9/RtvSclCfn3+t5p1FxxI1yExYkPtEft7PLthoAXmT8BsUsDa7BmyWdo+g7wEXv+06BobYwiMvUmo02leUThFV7EWhQM916nBX9X5oQ7YqMsAEN0+f1yhwknIdNEbkIG1SSz8wtUOh1bJ9o9HNcPbawoyw19TBcEfq6C5UvRshr82dB7yp9Il61L/dDSzeMZbNWdyqbGe2y+6mlqobQ4lpGgzcYCL/mY6E88a2NLt2ChaCIAPcpM8AksLuwG7NsVXfdSPScXC1n0o09OHB8eABV/CgJx2iJXZs41hnESo+3Q+kiZUCqfRqEugoKMoO1ebTSyJpmhV38I1PGR94YPLSJfzEVUW5VAQFl2x132DLapzrGgqNMK27p4LtCTQ3MwxnGxXgVx6dXpJtLpO5oJMI55MCdobNcXNulGy3zU7eU3HtAq7f9Xc9v49NhUw8zzcmPc/i+bEBB7zRKf0xGtcvbN7oDdQBp1Gl9ojdB1RPN3dF/PCVKJB7wnJyhz7kVGraqC8N4iUJDH015mv89LSNUEtWG1AY96zDEjtY7g6VtQWlzFALY4fKIck0jgm5dMHyiz49NyIssoqV+lGs6BwLMohX/j6Mr//dHWRMy8JugWOeZTgZLFIsugh4/vNpsMApWAnQQ0/MJIuZlQlKaxFV9nYV0fay38hbv3ma5tpvp4OxBGvOiCDu8aHOJBI6dITVJeraTprWUiDbgZ/EEP5cApMIwcI3K76oQT5cn+MGvaDrR73779TeXB6TURrcL9OsUOy+H+785SXKVpWGT/AvkwyFLuOMEIhLHeFILfuC9R9gxWM+cItij9uv5yuwPnCiB1W6OHGN/4XCLXeHRGccQZbJaNxtUC+acWpbzmavGl4vxzxrDIcDZb6ivAl/OzPbq/DJfDBf5MIbzSdSl2qcF0hWI+rH7QU3kANEDTREdEqS7FSqSKBKsM4/y6ci7X3hqh+1kGzl5UIx3LUsvBj84ZrQh8DfjHPlyf2dEldQn7U1AKguDoxkFfWxIHAeT1cPYpD0x58+lSyZl+EONi+D6Gm4Herpi6Le++SmF37sywjVpRypcq3nhJ9GN5uccWx/Y+c1cj9kPjQSNC5tezqmWpE8xkY8R842h/vUgzIqtXnifIn7QLx/tjRwVzm9rbNcD8nZrl31Qz+0+OrkP+Nz7WQZ744VsN7hOIgu635iDw0gH0eLqDbYHYExQBqI2U0tc15XH8yTKuXepkiu2H9wFDw2owZegez37sUah4w9kJWFDHey0s7o2Vbpf/2y+MHg0dWIBcxrIkfT3BrebvbzmG4nU9lEGpEB8LpYSxIWiL9dRlMAwPfIEPtJRy+OY0nOwiJOBh63HDSswvN63ofFa43bak1zlFX0wNiUA1xNjzVLIvMOx6if2bzomGmll7n5FxQ2iIsFPNZIhuRzkUZQsiAn9Tlus6hsIkAFvuHQzZvj7jKZTSLhFwSX6eKL7T7eqlOW3Phea7B24BoCyQ9GnCUs04qnMW5bVv7zetXXB30bAKESjAxiuJJtnYZbyOer4rDzVfsO7zPGcvwPuFQjKKEJQ1XZwgCLQIf+CC3zwIdXCTc2DSFGL3TxomV+vYcCCA5FqK5cJCALIwHDKNu5V+iOsZeC670hYjz3CpJRZfWj6fksnuDv45+/1QOjPZvyp4wfxF9G1NdgKR1pk2Qx1lSSfaUl4EvQYUe7/ka76/T11PWdkZ51Zw7A82dvb1djBIGOsL7AAJyRugOu8DTXJnoPKYJ6ryodnaRq3b2xnnhbvqiCeeO0D0q6RxJRkOwntx+F8NqAq22KtgRbuPiLC+u/VqIp9v0488o/m8FuhVQapTTlJ3hEd7a9jfGW1R4tN0LjhEsZSOi/fsD2LYa+0tAZgwGbaYixxfYbDH7ASflI9DhPFUlHFFqo4d27N018W/5E3RBVEVlDJkrmxReuYowVHU9/O++zAm9tKgVp/yj+tscuzoiAAls6a7u/rOhFOLZ48/RiMSl56tqDnyCrnRg/w834dcYt9wa9RHBNSdxoF3zsX09yoWLn0g5DViei8sve1j6wdfF2yYtQW0NJWfcPK2hJZ8D0DCinFY4MfBxOB0TavY/X+otN7UdO0XPASUSSHVYhNjZc6cqS+42llCvfmTMa44j/b6i7G3zK8da7kme4a6pR/F4a/rFuVBO5MB5LBtwbEhGHcmv+ydWYoYi34wAhpTH7dSmUpsDLc+6QsSAidXQo9asXETGh4vlUqP9jdsRGuTNHEkrNmuUCRbVnTGR6XNeKXAZQfqhQkRFJvnUD3mOd+fbXyPCA9CFx061RUgvH+fXNplV9iJPnVzVjtXZj6QNhpE/nqUdamnsGrQnqXcIsFdHFWS7+EMkD+nxleGAd7GGQpELXQjZ6UcOA0KBKU7W1d9gP4oVoK56uZOjgLNX4JeeMjZZof2TA4ru8AwDc5ibrWBqM/xuKkRlNDHC3uB0UIFEwkaDuRlNGCUCW/kTcc8xqT6zgtGK4ASIyiDW6nwguKWFVlI6O3CwtnelMX7YcFpFCoKxtWt7EQCUBCB+FZTGNBVNL6UFQNK/PAuvgwo5BebkCjPzDb+BEhsPAe45OdIjQFM9/Pzjj0m3Ebj87ZvK6t8RlZXMETnD8Dpmm/IVKD8E75FDIz9qWIqTXX9o2X1Dcr7cwqHIqFkJrb5Nyvndb+CNdE9iMhjcm+q3itnGXXHYfDIjSr5QDEnrvw+QGUGdipIY2dMZDSSSUTQJ99CgFuutnkyXoo4rM/fJczZw56YAGko155aTAKdBOzOTL2NKu3HrAZXPkVfDODnX4eZFFJscaDBrpCt0alCthNtRCRaYvWN+5/6ditAG8c8/rs0xPQGHS8pYmtRMiX5l2e8pHSmmUNz6X1Ds6CmXuHlfTo6OL4Tl9CTNjKEZ3eTCNbilOZU6QhExCUX/ZFXsf02Jh65D1JpazW9kfIhAMZxl4+4XDDz/9DPypeM8udn6KRsdmefQl72YIuhnpIdhRtvKd2LuYakPLPiRWHu0nzUenKP6dFc9sz9Hqk7coxUBYhSSpA6+1xCtU49oxvmtqaFnHXT1tpFawIklLtVPbD6cEZVckCdYx4UxZmyHKVIjl76+cgFKLnr1VgrB61o0/Mnl/w85dTesXLA42XZM5KLh3XEHUWLG/IbWGTrAJgyikHuGZsg1h3aCUjLv2SgMLIt/qgQEY6bylvc3XBIvksN2hTd61HQWBD6499iaoM1wXBE64eBSY/fs+PHBsfnIMf8A9KTzRAUV+yddS1nVnZ7Z5HdfCQoUifbXEAPycQFqLtufp8cW9ov++76RAOIxMa/x/e4pX2FSxvcKoUeGwRI8auXd4w4HJ/WdU0krZtzvQQAP5eCwO++gFHuH6WOwgfIRgIeQC4yMwFOGHkRjLPIsDBIen48917+9PlAdpgm61aBCOy4+PApmqNdUE7fn4IDqaz75jKV5yFDGK8IFscKNU4+iqTE4xjkTUY7L2uWB2ruWjlYBfTAebbNJIJABTP+DwX/s3dw8iEO0oaUAlowx9QEYd8Lcl7DvFrwiw39nftOozqZ/pt/54LdgRxEGcC2vGsn9DfXDNg+3V+zscS5bhJWfB1DB1vi+Gnvk0aA3ywd2bhCjDIsY7dv7j0nJbW++20JTrxqNPo5yIl2NSlCKMcJ6ue/jHIS4DFbPDs45hiUPrE1nI0uRQi9ZeYoxBEm3tWEDIN2zc38GLdn2RC+PtYVMy7chcNDonFnpCtNHcX3or81vD6D0xb4ws4DdNYioAWV2m44za6sCu5P4YYA2c/yLIpE9iJRNMeGSqdOIQwyBGGkaNuGfBrK4oYeodNQ95/Tae3F/34fxHEsCDjbKARfFuR1D3/602MeVPKIGUKjcoww5XtiI2HwiSBN1N054L8Y1ngLl0qsz4X1nCl8gRrvb12Fozveyfv2Jx7kblcAv6Grh1utEm7ZYyTbfCY9q+CHBqegkOGgqkYjf8mO5MeiowBJE9MTGS4Cbx3ysNleB78GjgSSJwI166yYwgdB1jubRInzBj3qxSr8Q2PnJ2QoI5fYvhHbsPwd20JTEqkEg1mcfHdH3h/orhqQXjoWJ5Wm8EEDnTjQm1zLIyaLMbjxvjbty3N2/O0Bmm0E0X130EFLwANKjKnLsPhuSn8ZEJ6L4N/91rWszwneLSGLwmeEtF6yTEb4teQK477vLcv/sBMLJdf19wcys5yh1KmP0rsaFqvrV89wlU9n1FjXUVtHcANqFyGRqADMp0wLbZ+HjZgWeeYjbpf6SGiRNL7duZkfm5ArNjYW5yoONf5N8QqZN4HArFvUX2aeUdxqGU5/gKU1EaF9It14hsd6RK44SUVkLqNSuNuXEIiqOcjAWnJKz+SplFD33wDaJ2I1T/S9M396JrTKo8fhhEp+u53XzcvIoo82qd9+y2np1e1bSJVK8zdIey5zGyabHMSj4I0FvDE9s568RAFXYRnYf9j1ZwYntPiNWduRooUqCJ2TvJ8URLAU+/hi8oz0o9bja7t1Wi8HqE0JiNvB0JZ0EnyqwrI4il6U7KvNkW6r6ZuDW6Uni+ffA0DncpxGV1XKyOvtOMq0bCqkgbHfLXdc6mgs2GK9rCv3nJPGONX1ezDQJDInrGJyfRzRmbrAAQwXS3Xcya3BIWDP9z6oR8cqb7FSiWSM5AFe2+Xzi+FSXvjNozwfE89zLOaMJgQ/dzKfFM7LOkfEyxfuYPKLDTartJacmM5mWr25iEeB0CM8kk2X3HB1YswnFVkoEfeftMWuUSR8dyITRB8f9XvoJP8bUcbtLHxRWnggyvYS5wpulTB+siXxyzKBmm/wHrsugQR64oAFl7KKU/IYZstRDrGWgwO0IXeyvMtnNJr4tYNEedNZqqWoTDVMD2RzTCvhzIGSGWIBAnxE0vFwntQYSTq8AAx4EzrihKsF7Zu9CiDvm6ViuIBbaQ9o84JclSzp+/UVZelL33OgtLEVzeWm5lXrzgOsWbdr7Zh3YofupCufu7TPpAp42X7+acOfwL9MP060Ae5D5AB4lhHi+ZeqbGv6nmITjjp/Ovv17DxUruGobvwN6c5jA+B/l6sS00MFVz5yFFO1aU3bvNNCmbVQzKqUpk1r2X/7Aay+0zCWqZQUKo763goxgLDJW62LWwQZLlriLVynwmvOJUG9DXBB0ZrFwgZwUTZCGpwbRSJ6PrZu3jOZ+F0DJG7DBypLkNbCz1abmI87QnHX+Of6VyGk6+jn3oPof2aUFHXBQCV/b2sFzXHeBTbMi5zkxifMoiOQdlk/7bh6+IwAH9HIFb9cWgfivWZBkELSFcUOM3EwZU/szDz1vJkvxLCxniaBZv39JCVecQzf1+5aRx+I6fzVw6ISFpTZUAIi+z1hIG0mqHuBfTHGmDwwvX2OwCuYTMmDAv6EgBXPekUdmsZPevEA8YQTmiOhJgQYeION3+3nrvAwmoG147FFXdu9u0lG82QLxLEBlKwAKUqG0mEM2N/Y1WmbPzWG2FN9TW+0p8eUfAk9ZuKtWGcWCLvenYcvSiE/IQ55vmRBMcUoC22/jyV/gPHpVA6W+qrlwKhSBcgR1HLKzbHRQlU9nTR0PheAGKO7nXJ05DfDQrRS3aC1e1sIxh/OQ0l+hQ5TZNiwkdVu01IZ5Ijj+mXesIxZ3vfWM8i4Jgy1uXNTTC+DOcJqIiLcRdmZzv8/EJaRLMKfF4WIw3EIsmCUQL/opnSLJ3w2DDvxOOpdW8Stl/92QVulM3AMK/RsAi6uFNHOEzXaduL9QZuw0RLrOfCHwVpkHwCdz3EmjPf3YH+MIwUaUEwrOHZAKADZkVIQGS2MU391vAH9DMMmvb37akbYqMDh2nSHcjM1cOACwZYrpYW5iWHZBd1iNUwfhvfautVjDSeu9DKILU16E9ZnADuZTWDSusqD/payTsW3Nsmzo/gXDDkCmdzRCfiUE0VT1CyWOqx0JygGX1D7gXpcUEe7ML628upQQv0iCPgEtZDW40oUqsdLXz3wFVFpvMQ2tmgWUF8sIkawMSX78WON3zw4i5ZRgVdxSx/QsKj7CGUXsRLPIGm0EcIWyLTnnArv47t+fpn7qrCuJU46NHaEFIy5UJKlYsbkiDqcAaxhtg5rfIWbRwyvuPG0gWLJ5NH3r+gLWu4SM/V2heRin59iGKaj5avWncecouaOHQA3bEdTECqbdenbn7+nOz3o9MdMaaIk+AeQJumGyLh0TDY0yDu2aocJ60h+wNKvWFAuO+nKDRfXMB+hld+uiEAGb7otZbDrXqqQgjDSPWddCp6hBeCBEQZV6QSh4eDoq+u1Z1U9IgQETAMvbdSzuJLxyhck7Mxcl824vON2LcnW1nuqNjOULNzaVMGWbi52Xn6bPrFsnsA0kLMQl4hCYNovtSFCYFl+J4R45APBm6F1t1Nd1NCEVq8M3+54d3R2TdYzYdL1Dr3LcGKx+b1kIttbzmU+oDFQIFV1KoP0BWi4lIXR7mhFQaCSHmGnD7wkdhWj8TgbzE/BGGOcHcbWXnVzHcuIjxRbfA6FRtCtu5dpkrQwUzNQ8/BYZmd32z6sOHbmyV+Xu7/u1sKR98PJKfJDhfrEr81myyYRBGf3+2hsn9l+o5Q1OC7oyG9p+PQuvgFjgB7woDZ2n0vwq7HUfeNPjYk+BsbW1Fp4odWbFi/MRdAPtbKSxS0+vXj8B0sQbxqZXTnu7WBHbIE9rhBAkv3g59v1yV+w9HG0adI9UrtCBAat8tkZ8suKFKglIlkeaZQZgtYlFdDnW19d7d1TD2ehuQFChCEEleIW1YeYiEDSK/dLpp45pwwx02pda8EkcJ5ms5wPi7gA9WFoPilcgeM6fGbqbc1FAVsBLbX56sAGJN2Gp4uyTwAWn5NFkjK6m/c2i3r6jSSK+3fnmOu2GHCceEKPzgPg3CM3O8JvSLiGllTgNIzJ+IaNubrtIDSpCSobXrbjjrD6l5R54qMvK1Z4i59kvMQcV/miowzQlKdg9h6QiggxzR3/w0T5HCYE4pZzAXfFSiPqTsJj9CkMlWEB5ybv1fWj64WDeL+xd8/wrXeb3u0d+RwK/j1MoELZh2bqESmHoIMmxXnb2vnzqj1ZegxnBPRC2s5z9DT9YlxhEiAzpJkPYBhM4LpMVh23Y4WlXVmJf9wisizgWs1jL0xN6gwauz7j15ApuqZIGj1bWnzsjwnb/P1Qi9fGcfUmI+kqZx+Mj1fw70GGgMd8ntdsmnOdVTK0BdssvHa/7hp0YRgC7l5aJgcPNTYZAcFeSIHIdkPkN8n+yZj4eEk3RCV5UdltfA6ZioDfTRwvSC4dJgViuW/3bRh+thP0r7pEE2yu+mm4lysbpJYg1WUcIOJMrM7hQYVO2BxCLUGK/FGL6jb60p6GrkWrNP/DmrQETF3owZLU6pBTKgXzNp8y424HJoES5H40H4/5MAEG5ob8N8zpNOoVw6PTFjWDKY9VjnEVkAUn5/r9BZsi58Vfje7qPN8YCBv+NSJ2SxrsMip/DKQf9xNTK83Lch42fQwfFv2FMBoIVtshxXOCEvZkj30ifB3hc21bprsf4rFjv8tJhie4QaXXcHeQsRyDgUt7ObRllVWSIKGKqO+jxZ+Ykp/xhLUcz8wk1cUSFNK16PdlXEOXfYhrnmLFkra9clIjlkqjN7PkB1F/tJk1JsftAWMiI+Hltkzj+fkIRyQFY0rJMyjmgp1p6Yt+6NdPqAWJDUyfMPWl8U4v75zsznVHBHFghW8DFkzZ2t80+M7O38r7qAOUjioV6plvSdgH9gd9NL9R02iYOU+7D84puRDutYpdQuIbDn8MpXUT4vTDceAMjxVyIkAUEhDlnze8OBpieiOY9f+1lTy/Zg8aOWhNoSbP0mSQ1hopjsQJNit4rVylELVypIAli4Msl7y/dVqVZv2czGPpV2RDV/iLwmBbNJgBARGLIdugcDe9DuTQqFJ301KhrrwRPcEgenMFc0DbkfbCrpDuwslZqAdcQNN1pmSM8RzcIbfqSOopGJNnT6K0JfDM9FS9PRgEvOrjBof0nPDue2NC+eAHKZzu1p7tfEDh+LEG+y2hgZ6tO8e+o5glveVQmwyERRjPfXhmCM6cLYBrsTsq6wycGN8JzVnA9OvNW+RgiGFuzWQn9qJH0iStbpDry0eePZHbmaZ5g/CE4tsG7p0tDpd/tPh7iAp0HknyBJrvPOZNlHHzNZ3EOy7Rxo7mgGhWZphXgS8gyhEDUozRfBFODXTW0sdV9BkVABafu+IAlHMLaVGtle2HHXqou0mnURix9Nzsryvjc2Je7xaos0TXBGVzwD/LqOPxth/wdY40vpPzFtbRaZ4u+P7rr0znEQ+yISwa5r/Q4Mju04NIj74DoeC8iP/TiPNi07IimcyG1Au4CcyPGPd734/MFQzYhrzftamMtPdEovWZS7yNx1APEXDnS3MhQHpTUaZFDNAWI2SxG1EQeVqFc2tzt3udZY53lK4+FeKAaZymfTKRZp8WtklSu5kYWxYr3VBuO+RxMiBbmfYpnJ7pPv3DoRUQLiPZl/QVXPMW7YHusdo7tsZUTUscJBNrKcvwnyyM/beYcrv+bNO0wgs+Csy0uzA0jzCgXc7oprUN5kzsOKWomgDVRC7mPPE1AtfhM0jWzY4bd1ZJNHWZN3WfAeGt2OWvrfkELvGGMwebWFTDEjbgOe4LRF1UikNG2m/8tEUFrXymTmHaW9hQ+9ByuM+7h+H0WcHYcTcwO/3eYh6RgPuuryrDYcFnB/3JnW+oxmKM60eVc9T+i0hDES8bSeWSNYA71JeP5hFf10uzCUqGcMGxN6HtK++dk86Fnk/geuEYuIjNUW4mmTvVLmW6hZXKkUXNXwRK/dEJPF8ThXXywH4KsloC+C+tUEjFpiAMFvozGqW1/n1UggOS4mS5F7/jjDeCu/d2sGbXVyQMSVD7vzFZA5tK/w+g3lPF73eHHnlkObstrRCohcuAUo6Wx5SXcGQqqwoJkld8Wb3WEDTLxTVXDrAWODrGrMMnLsE5DHs7Om41hvumzeEe0wep7Ht46DrQmG7aGWKp41jznCM9T3CSemzA4DWBt33ESxKCTVIYu66TeM8JwjL3c1VShHPC342o3Ui9H+tlnRC1A26z9j44rZuYx4VlN7sDWqT4kTt2Wtpw+DAoVlAm1PSCEaI2D/gil23M/9BtaSQRN/b0h0S4nIutvWupFT6L4p64J6UhbVz3zd93uWDNBGkTjRWtmYvYjcu9pZB+Y7uyXx3jhrsq7O1ucx9RzOSoHxIs+s9CmgRhIwoJQGxfkIhsOaZgASLdpPQJ+ubClBvTPwTpZ/gWuTUwQako+xqZ+yBAYxCXNWQgeZYce5mvahWvKf5A6wEhdpskXIQp17VcCV5B8nT6szEGWFdYjAydLS1tFVord83+YUwFccKvFaWGHeCAoV88qnrVc0Xdoiydr9Z1bligIz/YR+GB3DT4IJWoRSJN0vM6kCo3ezTKU6kwaMF+NX6CFCeB84fekgRX8K15zEMIAQhlD6UDZZJlDTrO8kztw/rchKfDIwQrrS32NnC1YZcdfq1V/pjmZnNq3pl/TqUPpGpm/7VFekizWHJTAkYmXUkvQOwi6h7d8ipBkrCESyZfRvvEL2vrzJxDzClgBk3Pi0m2+F01BRL93+JC6sn1DXY+iBIW+4av8InJZp7zKFq2Jv+E09jE2I6tQ8RGXyfme15JXjuiMJ5/f3QNxysuJD6MrUa93GUpHVxNIbNesdL4/pMV32sCOhj1PmzXCCYKyZ5ZN4wLvZiwDDALPPtOmHl/8gR4I1m46QT0Dy2H+8oe7t1hyRKRBi+0EjWszgiCYbxuTXPfMc7VkX4DH5RJeVBPwHuAFkg2XswNc0dHZzzQiwPLhBdmK5uEBj42nZuHjmVo7D4RBYBLw9tr4k9ht0IALBM02f7DfJEJuUTsGLDLaEG1LgqySz3136JOi73No16UwHcWM99tXzTPZkgieX8IXZD6s5fGM9+7a6TyxlxD4yTNqZD9oAn14XWly8db7iujA1blgOAxV4v6SYag6L8XRxbV344PiehKwBsZF587a9CKzgcwsJbER2ZrOyV69pQMVh+C7Z0Y30YwOYmGP9WhjO3Vq5A56QoT4VP1qlt5szJY0HTrq7kX14CqGVA0Ab6kHv+UgKmL+FIug2C5r5uXJF4nyrdavfdiuxld4RaNO3o07P6u42p4F3/NRYZvRPkzQ9y9pv+rdzgCTPWqV9uHk8FRRYm21mUBUiq/lZkAxKxMJjAO6951CRodZbNDN8AswtYQUDgWQygQUaymaIIg8EDvU0dN88UKZ5jzCRgcwHzeZ7THq7AR0Rrby4z58NnuL8L8fRMlGtWPiM+stxMWVKZ/2pF95BOmLb9OV1l8QKtzOfhyGxlzI7ugDSeI3G0V0fgRCIXvEjjntePYsto5cqjkdlX3gr8yzrXbL1jDV2NVrqy562CtntBeHu4j72E9i+pIxPkiezzvc3Vk4bvAyefKbSlT+yCaFQFBmN787wIU7KEWruRE4ivIhjNsm8qSc7Dq3+mWkwEL1qyzCgg0wDen3qLd1YyyPZEUDVyeY7Qk4scVvLDFcXjrKr/0yeTI9rMd/aAx06uKPzFBx/owS1JM7YG2+6mcR64ULsr03UYSbZ6tvF0YBOhSfne6SyLfDdQIZaBwyNvcMewF0zQbbkXDSNM+DGrXpjXaM3G5P8T82eaEvdsQMJiWBcCfxuIjA2mAjEFl9X7w2QyTr9eU17N3H+Z7zljs9xPvUHM/Gmypoi1iCvp6o5QJRlpGn4fCmYg1VfhFZ/rufSP9uB7xhb3j6pP/SVva6aaOQ56IULxItTOkq/s/Pu1lXVHcfFbe69to20tBvWBGaAU9kERllXqibWbioHl8kpt3phOvUX6SzFFI7SEaFvjhi8TeXsknD5CFrY/fuLyVZMBRzi+tV3lP9Q/d/InMzRAcG4u4YgE9YP1+YLB1iPP827SnvHJTAWQkJIWeYAjN55n4z5zxD/YmXFi6UmGBdYdyI3CfMzbQKJbnL7Pxf+6QH0Wr8Y6yKp7IQ8EhMHHIad952TawcUxMCgU7iff4JSNV5MPfJXGkOkPaPZrT3LQvuXoFFM47AHWeoNKrvqCBjhkavERSgUvaCkmeN+HjHWLIuEDM9ALNL3L+7VEeUbDk3ngExrUNI8PKaIH0kA9V/Len+2X99IpOsrLpHff4dCYUVJYDRV6KfOaA2AiCm26l4xTiZRF8BFhEDM/xVcPjHgzMhJqGGF8TmUlLYaqia7y3QDcfeuEuMkAM4tFi+L5sdG0L5/6FFht610J+3I/rIkLeZDY5wa4SA18+KUdzwho3wm9EWOTpXbMOp4keQWi9Ky9vWu2ZMReE51z27wwTwu3bubLoXUqTCO2ffXHs9lNDzdkWRQc5akaKxDf2nA4SYdcdP0ESjkVEdNrPyOYm/0oVRLwRwFjHmfJAdZReE/WMohLc+bEvUC3qSEhZzye5uUCAKVejbmuDY6duMaf5+fto/xHjsW3A0Vecx3CpHBrwTPvyO4GmsxxhGvyLZpi5x6rL0q/Yls2MYSoc7pqjZgDgxxrFxJLZnhjT29ssLm36zgAAlTE++MqwnEsWqdjh2YdI3pAZJlrTdxUV9Td3j8TaRzH/+L5ZSolK3sxj8dWBpMmMkGQSve1ZLumvG2SP0zUSdNpCU/swcKBplDS2rXo1ydxcVy2G9s9v1/jRs5YJDcIF+IrgZXKF4YXog2FvPFrq35I1iOrOin9JSeHrKXuSRwkKQ3LC6/T+OZPn4DCiyuRE5rOfSq+R+ggKZ26o6v+WxjsnHkH+E/z9+KHff0af7vNut++WoX2UA2Sjd5LDCtwi5FjEczDT3B8ovUbgYVwl8Fyyux4pi8yCbtDvcDRcjIpo7Bt6Fnj7Gt4OBNxqE4bsHOucIZpjJJXoAx+tIPzvL3Xq/EyQgZcm9mKHewzrcfywJZas2bv3hb0+8rxFriGpf4DCYilZ9YVY32bT76ZS+odego93F8RNFyopNolzAVAf8INv1jlobMiBjst2TVxk5Z7j8CIMLhCosTUmrtZVepztxCnm2tpACkpX/NZOhnxGj7aNCDhyx6ZGz9k+LQrjBeOepYz3Pha9eWROgN+91r+95IpFh1DELYAlEx4a8AjUV0x9exuem3tJLVpnHjc/g49ZxrngN3ynjcUvTzYvCHckt7pyF3c9wGHotLhF2m7B/zeVkUVFgf3/uTwDN5X4O4ge1kzD8fb1blwQ4OcSB9c+42Brj2UIUf14rFnaiJCYRoPbBvfgwP551k9WoOuZrsa/xitlaCWRyYALGN73tzaHi8BUOoMo/igiPDHylRs7gIGgBA38eOvKRCxiCiMjPA/oxH5D48A4UTj/3/nWdlo0gkGGU2KtcDYFoyeCJBP4SBGc4hLQ+vJ/IOtKA9JeoB8RURARl0OU+114ZxTS3Yzt5rD8SxxXt8V160DLDXdVarQ7TDICDYfp7Nar+JHZBsNgft2O1vsaUriJZQYvZkiQhZk0PjApUGW5XjVkxUTHk71nr+t9vogCGygjaLCLOBxWYKY2czV2uxCpTLjc1Uw6Ip4LFcySsOAyIGmz77dXVX+RlXZheldNZPpXKvvDVTfmvCPIpHhlakkV0V7sWw04bNXoE3G8XPoIm4K7/0qx2XiICBkvxCGpZFTIfpXHGI7H957YK68fHA0hRqbXlSUWZ7mOIDsOq7PXWsbnh83fjqyAX98yarmkNwrvzzVFNLcAoSl36spsZxRKou2ioinrVZVilAdMTXDpitevx4Q0Fyg5cbHu3Pp4MPIjObclB7QJm8LuaOKQHW5Amps6WzyoPEV4iIwdoxwkc+qn0lyY6rk7O7QCdX5fp49VGrM5QhnwxuvPZvo54i+QsK0nbARCSVV8GRse2Psavo6jUUKnlBqVihWOaoKksGkNrtyIN05LyU2U32YzgzPhpQiElYNpB1mQFQdCzVEnL5Z9szGIBPd+Z/M1H64cgmflrMrJgA68Fc0uZB0by+heKVG9GqCOMsivgUSKKV5k5fQkD5Wjxmt/p8iOLKZ8TNm516zO0XuGr4iHl4gpy0NNeG6wgubes95PHWfkFNLjl3nRVakv/CYH2KMtpTkBwDk9x2O6xq53cweI7rQYVEeudWxXHcDn0LO8mePcZcr6ny4lVVqV3h+gctMJZJsiH+TFmamNvlfY9gvWZwAPV4UCJZ1p0A6lErDDY+QsXVE3njShReJx+saeJT2ip/L6gknIDpfwXho1t53dI28AIeniT4+P+hW1JdLB1QmERuSgZaBkq6rRQxOf+gBI6/Tw5QrGSaBelSHx7aZ6j41IshnO+T/6V3E4iTvgzGq7GH7cSdUCKVq+ld2iuEsmWcgrs7ciJ0gys7SQ4eVwQZ84kcbRc+iT05u4Doe1qPGTDQmG40fIMnuZPbufML8+1tYlUFQwXO9TgG5f6rB1nDuQ7ISG73Tec0jWfHvi/un9JrlZa0imK8Op1yB9ZHaq2FoTVCt9ple6/kqAJvBfFGPjrI5JFgvBNXxYQRrVu2k9XpEBPDTdX/4Q9WFrs3cJakpIN9Zp0DK7lL6+oZaOki5r1Ri2lNF3Jas0ipDZAsGs3tThLoAlnekjUOFzRAS9UhRU2+C+bvzYR9tAU4E9Kj/hIQqNlHygKcMsmfDI0X/VAYdhKtTSMcsUJ/9ZeKYpznFhP2kbasHXoalPZDB16I40c+X5+prvDTAObmKyuvVcMTpm1ra8d2UbWld6QOcIOF7rQcQiA9UP0f+9UhGFyO/WJ0FsaIPJaBfCKJOKWcS/vluPXLefaDzFefvB7kaQOTNAWadEegtPWYD2dQU4KRhMjh13Jey6lfWdnmidWtXoNtmRT6gihvcxfYHxZGfdfctgaouCrwXVec4we5TvCl4nEz4juDC7NaZNSDPL2vc5ViBgxNSCM1fD6LQixjVCJ/aA+vInVk2PyPPFqnzIrW9xUcfUuOR9J5ssIR89/0mgxKieSn9fRrBjN/Xpl/60dld7jdyz0x180vioQqtcwV5pd4a6cp5x/EmmIhNlBNisJbC7qMMLJVyo5brlWMVvi9cIL6wCj1OwYjEBSatVkH9skXe6T3V/W2luZfcBEAatfYJtw4T0JaDMSH+eiE/mcOQPMvmUsWkMDZo4W14T4SpUdt8jsXEmS2YY+LWheA4vhn+knrjQvJXxs46oJV0o4PXgOgVjs12oN0Zgoq0GVDaWT59F6nLZocU/KHc/lafq4KOE52dLmmXIjHN0Qaw03vv2XJF117QyjEbe932beo3DiX3ABLXEOBrvUuF0SaMz4iHP1k8Zkwx7ctiTKn+P9vx3j600oXhWdtFNotctUeza8Cmnd3PVRZHPGpuJZ2ZTNtVEjZSmkaSWG8X2S9w3EurGSi4+PuO04YrZabL6//beY3RJj0SduYqIP1j7AfgwpbDqFdrDbxH0lm14IOJWvyqVpVoqgNo4FKNlDbntabdCIqeJSXI/czbDhqVYFkGcaP4L6byOS3u/CeMKv4+WcNDCUE+8SF7X3I4wVbREg/Omm6/cg0svyFsae6whYyn4jo8kP33Q48tMDSt0a+Pbyt52981O3JhvmQEu5+gKdompmtEP39EPkatWkVZQ/TPluqHXwusANEvhk9MuxwLT9pLMCr3HnGP3RusavxH3vpNFx0daMmi7h8BPrBrm/Luo3bFJzgxN1C+BOuTOUNl25v+gTzpIVmM7tnJYV/xGCY/bcUFPWIhXG481SW5ot2LbNj7sOSPGlfpoCwVse4R56jakz6pzPF5+P0ZLPRLzWYE29sVX9UO0pN+wGnJnqRRRNk+0VAN6a8arSUsSDFZrtAgaUnLIkA3zgBx4lwNHV6fsRfE/MYijpUJ1NJad0LvfGf122qhC7f/L9EQWn+kxKEF1OPcnMPeTpUxmB8oUC4E2C8Bd0QAgC5uewZ4AjQtWOl1cNdvEXWRON3Rx6BxWn7sogBLmcsRXZAFm5inDJ2WZaH/9Vbv7/Tn5dz1mqee+yJHvRBjCQ4x0OQOD2TYYKqiOZzilnPG1MfuFhJ9m+xzey5AabQvzR500qlitz/0/Evl9oDsESGYNozoP/FG1jehuhiKyFH2z/BRR2Nx0fUGu/ju3ZbfwvauSqlcuQrB5GB1qRXOhN6AuYoHBAznV0p0pNC7shI5aSlooDtaCkY7bLTcHJm00VRa4Impsn8cycfFO7m9eaiop1i08WVFJzKKfweTTthRUIiS1zzUhay4sATYTHYE8cGYSl0D0OFDjoXndliLhsdMDbYYqF9yV09LwSRv16WWEQqfeZ5sGUwH4hOb6lJsfWlW/GDuPFm9oEinjqKaZkCe2Y9MMuD4d4QS5BgTarQ7aHPNUzty7TnLAKKI1zQM1UuWwIjrsdJwYLEANjvbtAzWPTv5VUc7T75Z6p4U44cVAY5p8BkvrYOM9wAtlnwgjWhO6+ukbrDOxuum/KnSVYB4MIKSI014Vke5ZM0FtUBUmSZ8O0RTOr21wFfMC0XL9ZhkFmSaElQjS9PbpO3fwE4DAyZ3HYJVWTc95vLo+yr5o6mq3j/XQHXNiD11xyiON5DX5txk1ba+2uD4hAojtVwKyx2wfzXQcvafojfZYJWxkuxteczhI6960xSECkDdVIhMYfB5LG7VGqaiJdUzLYWks7frt7WGlzg5QE3I6lXpWnP8uu1T4ZF2f9/vAH911GjOYHHjmIc1CSg0U2HRu+I6sxhTXTYfLBepn5QBkKVeHgSL8GXi8XYKs3Esw08WUEbPTDUS/283ns6fJpIINRzNsElPb29WuXl9PNEADDe55xitaSU2WsYeq0/rG2J0+Neqzou5tks6HgZh8vWrha2xffRPbV4FqxGBSlqaDq/mURrBCui/X8dQV/r5JauKSivehQD6vijir2cNe9XhtXMNWwoK5Z2hIF6mkMwl0xFmVdn98SXxNWm4VpHskqoErzZg6hZvLb4Xb2Vdka1NdWgWzFt1Q+lhlWLILnaCL398JasQ+plJ9zWsEmXPFxRErLx8S95u1X2iHjRSypYKZh5i53LZUSi1XRZda18QABRBb0cmfPV7kJ/RPmjwo3171wTDnLRJogR/m+WIYis1MAPTsAkrrSAsQDvxXLE0Yph0JvXIWoWC5fq6fl4hAvd+ZZfx2y+Q0zCE2aDhpHCbZUSsyFxL2XLoEF1UrzAUWvYVlKz0EvW1LNhxpVWcG5fqTIZv+wQ8XsmONtmEBXwciRP2rREgrTo5bvO7P6uqbkpZGBTm1fB90cpjizcnZaQL/Lh7384AWwbD/ij4CsUD76LZnTvV65nEDWFBAPPmIGjWVJUYR2b+qzHAkl+iToKItwFXtHEgDh57/hkMwXUA5h9L005Q0T/06RWExXBH2iiJqy1EyQQ/Q22LrbMYIzKEog4myt5lIav9/hrg4kql2qUIgrkgZwhCrI6eRd+0V+KYwxzWruBDyxVnZ/YAKwgpiJVUhMOn++NSagMx94n+gpcmFhGF8ZDYq+o1tLKch//i+IDg7dhfZ+pgHQYoB/647NVjq2DydVksx+M3gpMBGq1Yno36456GCWjYMtU20X5xQhOcwcG7JYMVpkcmB5DX/1OPAarS2U9PkOHcZc3mRHnqOYh4REr2qDSW2AJhK5KJaKH8cdISbOhrSgEqAcDGHpbspTOVr0IOZH4Thmz+sb4uAaQ+/ATe+ZPCQbacaYf44A4Tdgdo/oCt5mB3myS8w5krOdJEXXa1iDnBvuoiJ3RRnlgl5FxXLFZawNnyLqIN7h/wTxmDY3l4C0rAIKepw55BJwtprAqW+fcpkahboetaS+5H6QFP5U167aUIjBegQgkeoxkCK1zsfkIo99ZKTU0GUyqudTbMpyhYoZVQZx/NhQZCQizziHKtqSG/lVwDqZpBGjAFOXaW9Rt8E1oN6PjjWAGbWLbWO7lkGP7b4WZyY24Nj6Q3tMORQFhlSXZ0YveYrGRr6v/qHCmwHjXYJw5Lxb/HZioVFxLFn+yvhoNccShDmu2c55vZUtXnKHYrjATnIBG2YJBYlUoZwWfuCmtm637/I14zDBRZj08lAymm5hl3GAVZQRB2n4N+UTxlyzKFn13udLHi6zFALplOpsS9URjH6CjzC0qcYp2rtlblv9RNipayIbqp1sUe4tSPooBKXOsV3aPzYq1Ggwx2x9oGG491DXwB8iIfwad4A3RfpLEqKfo0m9w7L/q2TsA7VjbKPT1kWKC4O3rJdw0xIsjMPG/3M73q4Fwnb9CmtM7rtn1INwwy73f4AgO+ScWjBsr4viqCYz4SWOxRsBb9z0KsIo2I13O9NErO0b7A+TDZ+KDoCPFs3U+ClWXDeyVKJqD/O4i0AgdXlrOAknXdJYy/ehPqLsERIO6QymMmJWfOzYQqARtH7onnCo+V3ZUkmXV2EsWGz3DIEFGA5vSZpuABr3RlWgleZKbkOwFDu7r+o8zD5C90L5wj/X8ady5hcEWJhS6rH6xxSHRsWttTxBorwCpRwtcuF++iy6YfuTYPKJXAVNCvH+/GPLzwHvitvK0OldogUCH0wd5RSscSvWWakymZ3uZTQywXxhr5z50Qaz8oczsbPtzSUvbMfODzlhtYPQtwFGQjJ19SvM/FD+d5AwTujzeUXcSfFRMDWGfoUeXY/4Ypg727pjGMdenJls1sCHMP+RNyhKWatK2TIX8GaCCOrvjn7MZLeiEsz9BovRNt2D14Q+Y30XXbBkPf4qU6fQbmm7qmVN/Z5qx/uf3Z8Kqaxk5d4XbkxMyj1zSmo7As48MMr27OMgEAn38tPvK0Fy/Qy90HtENhklplEJouvLe0P+UdUmIZNB73/phodr6Hj58oTr4K4wOiZfYYHZNP+jawcEt6hSDjmdnuEfgcmDZdG7fe5dLZ1xeb2L1CMeFaH5zD9pDjkdheZZljlxs9OqY/TpKCbbgQ/ND+QwviUazh2W60WBG/7iHNLW+3xlxJl4/L8PI2k2uAclOZDIhKfEtZN3uFCUxlfxFj2+wAmSKeqpqVziyaqesy8jZ7bh1Xa2B7+zZbO4eHtSyLbl+bbXb05c+FiFqoByQYHuoAN/rzL5i1nhCBc4QHWHgd17U+SUxCcHzGAe49spSWhDh8s25n3R8u6JgLfvOxEc2dxzkGJzGR1LfQY0tL+Eio7zeuVUhAupjHvqk+DZc2P21F6L5xqVoBIgwrsJ4L64IdtYbWg2Z5aYOo4tQ+qWrlQwOyM/AntHEHBOOy2g68oFMiW3TL485SYnKLZMarBCtz5NVeDuUTBv8NTl/ww3E6w2M/nZYfgiPejV3aF8fPH9iFsirTzqjNbXExKRmDZ3uB8dTX9Nurfp8T6WB6/4tPVNxnQNBh5izqEFL2JewkZqD8Uh1zxfxoXoz9OBW3T9zgM3AxwZhjwrPyM0msCMIOUovttrv1nZLlIma00XMt646exR8yR5WKC2AiweFMdkh6Eh1+sZj8mshAdkMhnUXH7e1sX1M9d/LgBsryn88p2Ld0JfytLKTSjOt8w/qhPnQQpnv+UBPrZh/jKao5WuI4dlCER7Mz1fcFPaxYdV1JUBVjGxDr4vJQVJ26zVKxon/mpW/c3q7rrT4ybNSuUOmqxqu+xWaNuSaPf5fW8J31p6D877EbooZkUHYUotgsFy7cNfSqgT3QY3R2t92Vi+8Ml/m6GYQF1qzNYbCeqELK+Sr9paufo9n/geu8owxC60n/gz2XrXxtkWCeXW6Md6LH4feMHfWEWD1KCeVGoWlulsViyv83C2eWqqK8MEWQSkCB/7sDUh6yTbZSE9zq7y2haNzZaQ7XAMaotabShJmfoplSljzLfb0c8fTOO9GB3lNwOzvFsoToWhJwoXBcAx9FJ/jucUjj524G0wCs7M5HYZaZRr5Wi1obxY4k/pTjahtO4x++bJ6oycPc4UUIUkUdPTuyY4vYwPTDHJjN1/CUPR+UM3nM7k9szS2AZFUyztPgDCF5sI8XfptaKieHYv0gQjd9AGFHVOsaIit+IySOp9G0Kbi+H21xe7rRt3xatIYg+JApBmXTN0cE+B8eeN4jzz5SIlGaFG6+jVnv9+AItEb5izjIxqONdhMyZFdjXGAM7oCN3gG92SnsIFpBhC8jz6kGaozdGaEtNspoUnDPaodh/Xfyl19d0kClyh6Yekv0z0l8aEg4AYAPwfl3E7ajFvEa5Xh5kAfM0Cpv6UAF5/27RzDOeDM+LNQXX80qqDgh1sGs7aQUCcuNsCx20WZnj13uNKje2PtXvzg2wddAifGInA+xceXYSlzpGSAZ6VS+MiwiMO0I5IGNZBNzdEk9dq+OoohC8PW2F/i+oNnYTooA4JhmIjorG4qdUmVwi0/DB7tr6IKy0cX5hREjvAI5kiR3iZQIS6vRAHwO4AlI5K8Aqv/Y8Xn+xLScCz8cgal35sE4NdQmU+W0rWZRbGri53UMggarHTGTyFB1hexdsT0yWxDjOEscZNQ2MPoWHKHQzXRCBRP9Yma1C8C5menyh9n1aL+7E2YkFZ4wAWKBesXl5x097PEqNGU5nZzzkW8aZafwVzpnpPOtAruqzRXaWI6BAZLPCiXoHCT432RO2uLjvS8OiAQ7CfZ5cwv8AUFnC12nRXhBEXcH7kMcn5T9Nwv7+TPNaEmGHRkq/qtEsO+vipGADrerHxgd3+N/8ibmIcQSIo2fWa/Y4X5RA+68echGjm/3KtKbedsWojKEmPi+ngNJrJCU7NB59mSYFQH0NxE57P7C/n+vtoe5k6DwcqZfjF8Vq9khoa8nBFa0UrcqU4TB6plX4qgoBvVTNunDX2KwvBdtZ25Y/aUIPej/lEDDd4/klLV7N8LvQXgr68iynrUdHWjveZ6LnxV/cQZISZLhiIUzVgeOVX/qKXPR7u12QcT4iX7AYCTNiXXAiEm5ioojfeIvjWa+coEjIRAEbDNUmVWit0Yf3Q1Q9rnzOIgzcXnPMX8i2PyNUPDawwfg0uQLWoABAXYaM4BIr+oleLvQSxzyP/0OqMFVsWRbEBzY+56C7/WeU4MIPWpuzgILPSiIq4uQsvCoB/ExT628YwTA7Cb4UcGzkCcgrCCjiWV/5A5bbLVSanTRSuDSh27W0NfHKcaxqCRMVnFPFqOH9yfpgD8ugvqVJUiaCMTMq6fve+w7WkJYYhRt1AS34ZpgpCup4RHIYt47d6GZo9sjZJJX0Ja5XYvpO/+ffyBjpjQxtCzEf/nW2OKxh6Q6aCTgwxcHS8xRlvqgtXZX22VAiYl9GilznRSXK8Ui59xOWnoOu4IuD+X8Xg072wwRukprVY7fCJCE8OXPGwteSDQMCN+9zANJg4h932l7LEUgthuHxGMqpgaOVUDKU86AkkQbsd/0TqTKjXWIvfxx4pjpUEHxETTJMRJMsoSk4zXdf2U//LMhvmUYjHn9zFB6cK/4In/GGQVpRCyYKA+lVKX7+deGcibGW9GIr0WtDPnsC+ARqtnIVyF3k02k4Sn6wflAGV3STcXek4IcGF5vUpa8ofjWrRZ6yM6StEo6zUv/ibMCJdlxluhTm3OVtJ/J/kTKXyYDWR7z1NEM9vpFot3pysarkVz5LO+ptteoXR6IGs4RuTl4f/Etb3OaXI0K+4CRRhDATY/PoZXbuhd69U+/XXg1AUy69NZO3Vfy444ZbOIHii6vEcNMAad5EWCZuzyfNatBrB5n/38d9KL06cNrHsj8FC1kSM5+cfpVrBKGDEdW1acYtH76BizcHNuKPFo/4u0kVgMKXU8O+Li9UehQRKcQEPDNOmVjahzKDiR0Sf1XzzHVDnmtu1ie0KOphFHJJ5tLhvyhxzFEA9tbrmviQrD6Ss9dDSNjQh7nXCEr9a1QtkMRUemU8rYwfOIn+0L5kdHXdMcaOLJ8wnv1hNVFIWuokp1ZX2Z7/RZLtiTGskEK2QcuWqiuz/KZv9tJNIgT1gXy2smuwPw6gQUwOLi3mry6AdfJ0f/jbjhLGPJsR+Tedx3AJ2m68m1HVFjbuti34G2wmWue4PECb4uEaCVtXSReD3Si0m6jYPwIMUjBg0fZWHGugm7v0dI85DFHcSD5rmsgBHRxgxxFJ0PQ0wUNRaKihdGv31SZG8pR2tAzDc+IZCaRdpdysQ/L/G2ZUJ+VWQqKWQcuwtD9DPT14jAszKf5Nfp0e1XyjGkPwMsU7g1wE8FtyaBcietpSJ65q4c7Psd24hGcnZGZL5MqlEP6faeaX13xIy5mwB94GiSb/hb0/XWiCQ+2uGSGIAmIYDLAwRlxjpbqZ3rXbPB6RfHn2LKzXDDSew6A/LfaYN+9Bl5aRGHvtXRtOyosj5sR5RfthGTMiZ9uGWgKkc+UoU7P6VlMhXse13f7NKFOQlOVtRl8DGZxqpd4URJ6NCP5Ju74eCa9rWvmQTQ9yjqGxGlw6yzH6/+/l5KNNBia6kxvae59OpsqE5QscLlznz/Dp1wpKRkI+QYDS+MOTiXoAw2mS9KUAMNwPayJwRr0oenXLbd3xbBHj1Wg/jWsuLyNCBaKdcl6P7Qj2mm7jlszKrwIq1VGnWORgSDTTyvBgXM4WiyloPHSIQ7zBzH2hFAmGM5WVEB4AvCZduqhqjdRwSb2sXSwT9Fib4x+ks8UxFQXxlrMyUhW1CauxQjfqsCODeQnh+cXgHRBqAFgbeE2c+EpQoPZsILQnOd1pKlEXgvCtuAeBZILmV7ka8awLQai9eoyi1/7CAmauX/3D9C3Iea9ipdTrlBn+beTvYb86TMS+2020ej5kvJcOceM9yhiw2eobwuMOsvrXqpzbH/gQ1+dhDc7AUWVuJUCANEXMCEaV/OMXW4pGQXsewvvrh2nH2dn3iUx6vyFzYawNhSlYISJKkyzYl/C1wFVt1DI9gA+Qtc0Kz+AXaBy5XN6O7su4MfFS5RfkTzztm/IyjBzcJc0oK2lcg1HcV6YT41OK2VtG/3Awt07w0Ksp7cWS+eBtVmfBk0IpRNKYZfg7icxsDrdQAyFZ+MdfJDnQoNoiVBOukBJf0LTiIkMKj+zdib3g/s7eB4MfXpnyE0P1U3zrOPhXud8TsrUZhU3W++Xi/Y3521IhEU7QHLtpnW2y9I6404NCifF4ZY+V1vg+N0Wprno/YMEhQhUD1Ji4ODR8ell1nZK+TBnS3i/DJX8MLpcOjocxRXQlKWqVZDA6+tl+KlWMVK3wSvkJXotNmcz76jpLbPGf0hwKW4dEFtE43vHdFCiX8eNpKD50xCGCJxE4oOcnhJfiFhOscMStTkH3MU+JYcuScBqWb1/qoMR0pHTtfsnSa+dmsqoJry72jt3NtucrR0os3mBhnEAwJgB3yvdaAVMLGuNXfV826m6f0QJD8Xzo8lC1Ygd6DjvAfMStJEdf8Q4wHNgJS37KFACBMK86aUsJA4iwKz70GvASASjnUl+LrY/pl4pqeVV7yjJ7dk6y/YyPK8Gihjlx7AVUEOWsLGRvEdMFsn89TKJR0MBDZN2qiTKo1/QAipKRQO0P2NO3hiay4E92m7z3uRvH6811j46zvUExSjaLWV8Jc8IIoKGIHtJ8D299kBBiWCxtLggN7GWkqagIZgoIKlaZcHq8jlJneaCOicYms+zOSw1/3OUe0mUynhH1ZPg5jl0svKCAM+QMwb8oRm/T/Fv9awsn7QdD70nvzqBvJDLO5lk29sU9PrcxRz4gyV5csnKxgconMT7mBa0n4dIGHm6ykDvP/uQd78n4KgK5mVrg9y8Bvy/nc5jv41Q+Zd4i/B7+HYT5rZ+sKWW789bc/gfEP4zyvGqmDHase+FstZD4TTasS6JQMw+YLwNYh0OPJ3MtgoqicCBjKiWMP79jl9W2UJ/dYdyrU/Lqe0PjaGTVt4OR6x21RIMNCk1RBwsiV2aDtz/RUW9G/kbRFrs0/diM+XJjqdU3BLpr6j59MvP7bN26mv8MlMlyJM2WAMGb/RHuvcPabDdRPAO2WYLZn58btuTnXvWbfJZFf7ggJnI6LZqomwpw6Ak5Zy3tcqkh2LqNuK2n+FJiUX0iL0i5EnEzKZkifCKxv5nzfLJVgKDrbgr9AomhsEIeMp5BVkKJYEaoMccDlFaB6OpueCwPm/HtfOI3khzhm/gooH1NYMQM56YBotKCBZqqodFVBoKS1eL+fPeDj3MN6DCjfUHvOawtO+Kyq0rgpdZJaFqGE118WdJ2adXSo6lQcUNVmCQeR8Sl1UAAqX4B7AppnCjBwBot8nJredKaqAJG+h7kjGYJVIhZ7s+Lztzf4ohw9qjWFFBgaSv2cJejxQmyQ/NTKW7AdW+gEUh6HZTLWcioKy9ppKyQk6Lq8aLU3mCyqi4evPYBup/gqbXSmr3qgBR4CqbMlRGWIiwWqiOljjLT80l49cMIPt6DlWgKUaDYCq7to6KM/PzUxHeIxMjVWkRqKfOB0P0c5CdTnnzb7hB1rCNtFaBukS4qwk2tKIh63LthaPZrGTwPb0BX5nG50ekch4VWUCLhlk9cR/QIFe5NPWZWlB4t2A7hlO5H22DiYKjttcRxvLE/z0RRAOBI1H6o/7pfq13POOiEhxGQ3bPyEQiPr+434fP6ogfC77Ot/gi8mmromBRbUzaJaNkXxVuYEeCBTIZlNF28UIDrYqGYkNyPnEpEdAecXT7PPkKxTkiNjHabrkfUIo7xkodFV5c3AfqlLakeLPe2ARlJgA1Iiq13zmVognUTHxC3960DBmGSjz9zrlycolSG/IzIN4spl9q5GTcZRhmhyE0vQLKtHFunyJ5Tqt14ekEiJNe/1N97Tcg42vup7tuAiNq1xEVeg5lo16i8uucwSitOIJSL0kLkVRYRr++xEvU9N3deTDSdFuzcerZIu0/7nj/Ss1wVGcR9NahNzMIko0N98ViMYFw763R0V/M1skya2n6cL0EMXZRz1Uf8CX5y+iJBNDKjTS6S59Rj2vVhatnjrK+zNgO9g7Czra1OQ7IjFQ4sLmOCroBxsWkSWa/4EVXmxmQG/Lop43mW8nV4anjQAcWapA3MSzjRTIRp85B3omLg3Joc4tNKY2SbZ+BuiT2/GdP4dt9BDde5GACRlbNHiANeAnGk8DqHy7vh8ed7AfGavkZ/rZyC/pynoiwrP2B6WRzMOCc3m8UD8ybhnFvcWDs6Fz2EcnRCXsavqBgNQBdl79YYKPFZl20v8vxErLlpZPwe76buZD6sbb5VpjKQEQBKJzmCTaV3r2f7HQw7usrwF+LRXFoamUwt25o8JFhDkweRVI3/KvOZJpW1kpzMFNQ7Bj28BlznjMe3iVT/mt+HR6PXGlT1bhQm3icDfQsOVNd1f71BtkFXnh27RrAph5pCcOPfYz+ne/FwT2c3ryd29HiKwc81WdgunEreclXRynyN8Ud3Hu9bNCW9zDD9ihw51dBdRuijFvPjqf7f39pJq2wtehqeZo2qjPY8B0fxf/4pZm3h0smPtLxzK4asiDH/9aQXsNE3m9STZYRF71wahCZBGbrFayp7iPKH/tpFvS/i6CkV/usfNK2bS17zyRNlIJ3ZrswtFAYBDD1+U7ysEK9/U2ZpazIsJLUL6FrQE146FrMx/Xw/x7MYsptS5OxU8IOhJLkonstQNFaBA1EKw5Glf3dC7tYJ+BaX/D3138yPqaCDA129UtWZbv8yMSDgqkFBOSBddfKBZx5HAPeWDjAn5n8Yn3Ds4dtJdg5Ca0Cq2A53M5tRbvpUrWtvlR1vCJT9BzJcuEiyhm7MHQpmouEtC5mNHKOZ7cjAoTWKPyENFL3FLf9P3rxFxy2lYi2rbI+wausJHeu48ehTkgcsJkYu7xKzowp+z6nDcckna289NcYz+urM6ajRFdjq8+WTecfW3OECUeC0vVH7zq0zyfN3M23RDFouSHQbGZynFJ6lea4zDyDAZgh+ijDD+gUKBf8TZ+KTZIqfc8FmEX6A7PXrxAp2edNwx2AG9GdtB6Qv3yEEQZjsHjeR3QDmo/J1gnF6yFXORFLM2hvZnh82HoPG6WVEeYKhL8Gw33hKZz5OACyjdKdUx41hpKtpQomOmFyJACD1FPnLQF9HgzpcyRM4WufI7x9BXUr6JvXIcibbgWSTL442+DoipRhcXtM1NTu1Xcgr3I1L61tHFSwTPu/AjlD7FGmejSEdmqqfVGEROkqakVuNlkveCV1GM+w3WpMoH9+CPRmyV9YTzkO7AajVRcS6HclgLYuBGEBVl8RrCOE29GyLHXjIZEbHiM0nsUbfRm9Bu0Xt8C3VuNK+T7udF58mjMr8SK2hKUri43TzK3p85/ZY1vRbt+nrrUyuO3v6OBPeQH3F7eRL1aPT87EuMGo6S1PskAhGmDFSAZLszOMKY65l1lw8Pruk1p6Gog+YF+m7JebHvbFndRmDTZgeTi2al4KNO43nNyPn01xMCdGTrANk2IgZ4o/aGDZwbkFzUqouwW9B45LeV0AO93pW75bpUA8zn/9djIpkTCne6RCGaPlXbM7X/hFnnoGVhxO9bTcedmTRRKh7/cf0rUxjyn7cA+XyfHu8CIOuxZDVHV+2BHFepVEkMSJGCeD9HDzuflcwIZNOBolWYt1HNgoagh614BJ+zr1hQdzHDmy2uNZ2GMm6IV3gu9ULOwr9bv5IN0wOXADs9MzK4bE+/+3pJxUYQHEzSEiKu1kYbDKCOZ5n+DKqKDOINhZdacS7d3oBpsCcF8rIyf2qNb4VByBTdH6OcCdxpz7qSGQYBXDyZqLO53Tv3s0/5HUOFD1qtx2HfOMNFkDADaj0NEsQAL42MRpkryql4Tl4a03XyU4nuQ5PWytfE20zyHhWl/3h/f5K1EFbXPjCdIfzk+K7alCSok/NTf3cy0nI6fIpmYG08x0XQjPwf3HIrDqWNAn0akpsCbs9nCpEJTjZuxXXhK1mFlKpiyLZXOYU5lc84q4ijbgjoIz030U3HM9rzJx//uGS9pZbdhAoTLAmeqIG8yYKQ3tOhd2TaVM2J0MwMD59KMkGnq+krJ3UNalArg0mBaQnWh7Di3bKm9NSsouhTCwCskJ76Qv33MfhOu6BAuY9N5mB6URFKmGJdgaJEH2XlnU6KVODT6TE7ddse25Jo630nof4+4nGbYscQDC/LvNsa6zZihR4ZQSF23Sj+sSfYmwHI9gTlOzCiOPf8wWoPuev5e5+TltbdnuFL6q9bYh7KKvqH/ltkCOcWHGfr4ggqUNdjb6baLRTAJRaoa7yRpF6V4PgjK2wCxZB/FYFvWgLKCzT9TxD7oQ9F09FgidvzkYLpyhOZmSqX1u/oeuui/G0IMCu0GV3uvA5xRourqxYAf/3PRPRTHNNsRf+Ivy+5m5kxCMOCHmQCT/BhjmtyuVNY1ZENhXnG1zFKQSeP9Apv7EE4/2bfh3qQOdSkrmje+Zy74liUVrftkFbji4WllF1K0G0cK1J7qx/jiJLt5Lnx8ZavrJBOAVqGMR68WGOWWFcrUv76R9PrtdcBX0KhGYanQ+UlK7z2bha/krHwken4+2H5UKtIZa2GV3F+UA+I8mAeTmuwoT2BMUoXvb6g9WnSxzcLFs1/QRpGR6MUA4XN3KQXuUIsXmrxP4HydtCdsGQSRaNZEYk0g7LnaqX43Jb2sgsJo7dT6Q91lVpfBGEUvBP5nWlGFav9r6dxrxUrehpBWjU4ew8PGfOuAaZhtJHYAMYyxm3qdmCG+RSPSOL3icoDPPhY+0EiMb6gP/FI6DbAjyL/l6C6KGHNHKp1sAl722zsQOlQI1GIrnkk0Stc6LjtFduPmqv+NrtiqbgUHqW7CX34T6dfZu35IWmnvrJwILCvOKGf0A1zpvmHSnBrY8mL+XpX5R2onV+EMWeR96oMMf8vWFUUBpmy2pAIRdoA3IiOt0I6N6HXsiJUXSdolKW/w3uh1tbCtSOT8UFztsWfBpRvia0ncwmcGhWY2+5xYFdQhyHquqV512gY+q/KE4JeY7BShpK/3CbeSJDav2W+UzqGCDCayU1pS4P0rSCcGk8Bz/9jYRUueKxrTImSPSicufXpNqgqhlw8+OzxnVj05sDyvkfMujsj4TEHJyoRT2M+4rujpApshgZF089a0kP9UAbQkp4WK5TLEDCKP7MCEqzJYvisQbKBfGVbcIN0dCF/oolw9+SRlwCzpGT+8iss8dXKqF5oda0swCwUADYesbUvr/2tdePt/tVphGXgEfDet5FLIg0rZFYLTM4rvdJ3nGB7E8IYjaLIb7M/Y9t9UJl0Z+HewHbfGq+QW2VaTWyhP/ZwEyEi4cKwLDEwRRjGz1UZ5fbI20UExTX/TcoEOMzmYIUjrjYCmZroN+wfJUIVBuPZa7yEuUK0w6wYDSKUGdG2akKlJ+iji9dS+LLKpP1JzlxCbaFGi1iRqIIAtKYfLtazPu4e5wZRKo2vn/lkgGGQXzC22TVEwjw0kWOBSwNYxdlzRwmAtcdn2RQZ1mgqJ+Wu0ijpRcA8EGqQwRPmId7q2mfqDcOoBWOS57syWO7s7RBFZ7+kpk7//TONY3NiSeWRyPEm1lQLCrsSG7Nf4+/UNMvSUAKq+k1F2LWpLdteorKOEqCWPULLAF0xodlu7jSU7LUIde0W0/Z1DErBThGgtadvS1wGvqFOh4URaxGg/D97ktZ1iPlQAw6OLq7MU4+EhnE9WDn7dx5/rNUes3+hnNc3ppHLp4HeNsaRKsW5vrX8NQub3JGS5R1VMSKi5UyYG7TWxSNmWg2ETrI/Aax9CFi8lzaLjufeCNtpKOPYsRVx76V4TodTRYBiwAmhRWuI53cpmUMTprN+mCV9virg96OyFMBX1FU0/inqNf6MSS0HG9nkBhKR178olmeoJsohoHDoBnlM7wuDk/LHnJUIVBqZDrhfDr2hLbwxYGMk4NFe7T0TNUhdozIkTpF85c9c/IS1jjEGmbZ4TTuCSl2CjCZ95YrZKU77+LCW4Qcy5exq3Z5HyCe/nFNMeHbEX4bDRJqkHIFESjFd4+Dtc1I9zsVcERZmXRQ6x95XneeIai0Zjpf9gaeSdPsAp3dXGy/W3Anbaw0AZ13UxC1X8VmqTWdXHB3cWenoTB/6Aa8bM4ydVAxhWnHLQBEQEkdMqzMbqaJ6ytE+eIcCgnqwTUFCMC3NJrJrnSTRVWZEcape9b5yfg9PSiPZcGx3heZMlv9NGxu4agEd8i8oVmOadu2B+Wf5ZdIla8fPrJdeEJooC1gDRBw825TMrff0qPaaTv3c1HGJec2iVIJKm/VoFAeaSQ6GWPLp46Az4t5jZM1L3nyLLDH9T5f+mJDnscDNrLtlMxIDnHHib1k/UADpEvC+bXei7Q+6vEEBeJazz1sZewTpU7lPH1/sV66K0VtN2Sv6YFZmRPps2aIUek6aSAykP04EZ59jEwiS49qwXAeYeehi3TrTvgc3g9S2fg5SR2TMskAiAoKb35SOIjIbTNq4okMu88CgK2fC3uf9auHrU5eao3FK541dnailQ+565taA0EXFIevoWjyR53YX/Nka2aBFWkerbOVJl4iG4J4MjfRgjokUA25P1JTsNCI+E0NSAMgIalD211/RpS7kAex5a/8h2sMEAR+EEGtjGRjc+cm9X4KDg4ihCOrKHVh2cpZRr12uydlIMR42Sz9X0lA23h3kDn+2JN8C6Fp2q2hJ8EDPcDOG8p++uvI7rUJPdJ6rlyyrYBubWkpTpdCw9Uy0xaQ8zyl7g9N35yf4uaINmdH9pOd/w1Y0fC79z1lcTCLRj1k+Eh863px7zEpQ91v+dpuDr8g3fd7jK5q+ECr0GCni448Y0bTfbpWtVt2km/q8HIyEl6ZstIucIHdV6Hw9IwxHDnOwjaera7pLeFmlGfuvPEHChc1nlurY2o5Ku8BNPbJj+KcthNiHX90Xxr+oHbRh5KdNY8HLXic0Qr4jpmnqjMu8iWl3eRvM/ZOub86pI5DJOl8f/7K0sR29688YgpC78qcUmHa3CL4+//S7eZdrqJsYgSuYTqy5Vw4gvZOhtb/p2p+tiQhQKiAN3f1p0QnKOKFXb1Y7gFsYCZ8g2YL5xF+F9wdl9CJEYI2IeE3+Dx3zrj7RTwxU12x0Me8GS61ExM7//+kh67FoxKp4CjckyDOcoiwVYFRZtSLD2U08WzBPbil8vvF+128jlqGmU1VYurt+Ss7xC7rIeuVy4eBH73L0ISduZDjjjnFPMliRqNoEJ5gmh1H3LQrrw7mzHCE5jqxH5uOs+NAFa2ncf6Zv6yypjpwhHj7SDFX9Y93Zj4kcs377xUrxfwxWV4u+NbimmtbfuWlx6o8p6Z0G3xXNO+w3haNHT4alo3bprD26Q1W8/8o/dMn37BbMRMf7nMc7HXVm1Y+chqV41sMBwnQHiAJwbNJ6nHGU1dit+DvR/os69gUJAe7hbZ/6e9XrEjbD9b7c3t6hrgansmR1A8yFHzuhiaBqan9ZW26CWOUSAJVkkO2hzqaEVm5pRCXMpV0KXDqVxO6KdPpJ4ni33PTiY7uGmaioNrdjKbDvr5Wh7B/iYzVTIIrNtVDOdz6DQGniVlML76bMDkuVj6ryFzp8zcOm7q8vjOleZtTm0NPgINFaQweTNlwkMdc3Wok3Q1qok6jdiGI7ednvnJxpwlrPKiX49atxzUJ5upbKjVg4Pc/v76lsMSHba1BNl3LFVgohehqGSswceG9cwuPbveUXd05vl50V3zssS7jlgmEyoXce4yLDazeeYPzvyyU76RSUmvjyXJVJeZ/BD6TfjwG/LSRSR9UilaxBs2VtBZ3fyAilRsRicX31WcVwQCNYKx0zB3uC0HBDXO05rvvFQg+k2mtzreNcdgk+8NOclBZToKuXvjhrPPosyqX6T87B8ewVvrYBM+7rVEEXNieOCIQAO3qJbNAHbEohQ=="/>
  <p:tag name="MEKKOXMLTAGS" val="1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ItN+BdkIU6kSkys1oz4FTbg3IAHFZDQQIUI41CPkYeCkR+S8QFB2kPylUA3JsntOnMnXuTmmpeohPhgnOvWjiJahxbCEkKhcALAa4/g5rVRNUo4brP4JhiLsU+8O7v73AugP61KaL9V/ZMDFmIanld6KNo4Tnuo4CWlQ3Kec22FtIEqMisG3RMmj5wobwJmsj8l6v1JQfLZaoon24tS/ioy6j09oDLuh7RRZyxVpcRdzOJjmmHUa0qnMr5Uegu32pOZ7YDnLB2Kug8Z2k+gzN41szMpcTwsFOrnZvPaAzlsdFKar9I7xTBXyhuPu65sqsySYzv/TMR2o5avDQK3tAkwzTP5gMC67GjfB7vcNfWLHrawTs9BApP3rgdfsgUG4hx5y3YhUW8pSYX5Np15tpQi7oZ/nQRePxQ6d32NQhnddmqHdSMtojhYECD5/tOorHxi5r/z10JJlhaGgyckrIbWMkD4P2NQH80nsfr10dyz3KtZEh9KhHOIr1vI9Dh2pN5hQatsVhAVX5LgPsTJr+uG1fYIzLRhD0Vevryif4IF8GS4uBxV1b1mWL2Wd/tUCeoIHXN3ayGc8qHB6Zx+ZRci9dQi1VoJqLHFyoY2cVG0E1SU3nZlZPyUlyUoM/ATt7kwrX4Xb3Yomb6ITrUfiXKf762JJdFluQW1ODcnwxNuZ1j5xEwk7Yz+qjXkoTtRrnOfdlklIeHof+9Hqh9eorCwCC/QHQVsCuVYf1p6ackljKsZj+djFn4b2spEw+NHDaZk0LerNciqm0g0qXJZlv6ZMj3k7zNMHyzJTV/7eJ5Fdor5olnNRWsD+oFIar1V8Ty2IvxZv2BnU//x+HmuD74Laoo7OyKnlsAPstoTozWzZjMeQZnRRnN9rDDWXb4E+xNqDP0FTXQxf3nmZbvSDWX64uEPNcIANdv5PzlRN8b8CLjRbeZIdOLMylURNkIeZZ4X0cb2hALYkL61o2yX9G4Ir20PySTuVgTN54fxRGj1+cR6SzFnjgB9XkgIPhzTmsRrPvpWCLhV9fwJ7n5oz0ceniZujo+Yod1WE/0yK88W0S0p5GC9cBbsCBSLVqagml4qTYcZiMk9qeAN0L5CEA7oFsFl3BCHB6KmglNFQsCVLq+6ONZj+BVIQdfPu4QjyUocCaIFAjTXTrBW/kCiy84TbIkRZdN4jAOSIDaXK7EZs6rYRwUNjp12lkr4Cv8Dmug6/sgREQPQMJOia2jNV2Rbif65ueT/O0ohP51o8YyqvI3ELm8bGRox6ivi+panTpmwaIgG8i+xMy23Thszb98bi+jETIOlT6Z4t277PIkhYTcfjqia+mhFVNejXkH65fHP7VgulxAWErv4uvKWUkJH0TYqzJjwbz9Hvh5PmB0KJAGIAts5OKSFsyACzkgMZJAV6BlN70OcQAmw/vvxBYfJHsQmx4rrpp4EhU6VSQAIdXvsUffW8YNm6ES/Wfw33h8gRpZAuJt/pczbRQWaa+uelNNvphl1fVfAdUvSJ+w1ZzeHQb4DWXAy07dCTRYoTJbIL3od9cmvlrzLzBiIuIkvOQYAu5IMrecglHjmokAzlfWexafsMIJSi9GIy4S0fFIo5IEGaHgxKuYgKIOXgfEe1cK/hL6gyyNncHu/NRhWak22w2aUX8wdBYIfeTG10YQUD/IlQkvDu7eHzVyNCfcAxT5kJ7aKGdMMuEdCpbsdDCMOEh4l6hdr5mRPsRSCoprooplp2OCAmWPaxq6eSoIZb2W/fL5MhQ5YzCh3YGLdxhZbQF5bbqol6NKYB6mNexZmih4k0eAte7ambbRFPTCOKIALnpAvTJeubCXDArtSJsEXHB7uTVVB3FckRXpobmwzdxkqW77W7sRB1O5gdCo6f7GsZ0qgx/XP2dW29J/dXp3x9LdHYUTpLHHsL1Cw5Fi1JiIIUlUP+uSBEzYP9OmSVhd/vv71HGFzwgoQX48NkhiZiSU2dVwP1W1I1QleeyTE70bYalqrJljkg8uDTuZidKKBzVcc8ojYaPBjj+FBJYYR3FlgdN1QxitL4HdcQUdNa7twUDduOGFMMYbIHxEvQKSyM+Cqq7iZtLutrOLA+w6UhkaDg96UME/tJm2PgsGx7TJRwKyjCsYu/qM5GS+XBGe/HJySPiS5BH5R64lfd5aHdIsdksnLGfT0cdTfP2sxIEUxr01RxakXPEwldN3F3fpWuEL+qftHv9wgqqixlyw/NfRYLXVVrv7YsaHsO4QMqOAHAl2JqAMVY2JSwS/I0hHalCvo3v4DWSHLaMr9GNpeW+V81WL1funWHRmbnM1+I1YT3FU+Tcj6goJkKikszAErthuApj/QaB2MHGwwhWpu6C71YQZolUMFFyJYB0XgA04YrR0hshOpLfQzEdDltti22aQ+aaE2IxEfrL7eRbyv6NoBhV+2Wbf4pVZeBoC8QkwifeI9HPOqUy+BRa3M4M9o4sZBn3SRCtooqWmksrQLnYxb7gwKXfDMC0iQbin3alqY1EnsJBr41bG8XEMJdptuumWunQalQhJ6aIuaoB71Ioy5Q0FkTVcnYAnFa8v6YavhRhFAfgebfAe+7NVwBDs8HE+EBwk30wDegGigQ3G+wu2n6KlCxB39WW10dEba201IuW7uEqepIMEuco7QJrLFjcRBqMmcEbjM3BQmk2fU32LtJLdRAaL8EppvXa9DDPIcB/2VO0U4fIShyviM2bOGeEC8d+mzNW0qzbp3pNI1Qd8VwlE+uq4fvZxEIgmUeQBPZC+EZJipvT9mZ7M54MrH3mgRkaZd1aHGdEl23u/GKVqSytdveTS/e87vInM0UXc2TD1PzzCOHMqqhRu/hPpfJbw4phiJPNrpYmqQjBY3kg0pLrQT0R28bY7OxbPT8cx7536uoSVBsTz1zOReUIHefRspcjJ3gHYZ+wzA4QG648SHl4OO4riRiPLmDfMgJkBipYY8pDxw4GbRnPJXmxLbuD5hum7i4FSfMy3ZywqtlWMR0yZJte1QqLRqx4NdbpmWHKr3WLq8qPUeqnPuggl1uAI6TGKiWMGYDZGZ0sFoPbVsijiFY1uKDeJdPLz189Sn+qmu2LtMEUedax2ATSAx6C2JKX+6JYHWwZt4Y5Qw6Cdm+QzlRuBBOdZgLA8rEnB7VwIXRbyOd7QinUePRgmfTu62JdjJNAwCcr7fLO1pUupmALb1ZEGY4NEPWyObHHk1ZoES+uQJbL1qzUn+ukfexQiLb84U/VxGVSJTB6AnRw99kzP0eL6MQBa1LiXvfS9M+Vie4xL3i/ulttOYQqCeNToIa2/MfdBwVNNWtjh+R3VH4wl4/O4NVKnvWmzdOf7VfJLXuDXaEjA3vU31YUoBJPw7zrq5LwZ9jOpIBSDMjv/LD7n9/bqn6h6sBcMxGyRWrrGQ8V0wqHsRjs785xm+wcvtA8TxN9FVYohunJLeSjSa//nI0UFKMozCDiFyj1V7RCUh+ZxKZgCFCNzDQElLCTgWXqii+s5z4+ZopBJzzsvgKAHElfKWAQSmGVBSbcsnmdMxbyfNht/e9ZSv9fyv4lvAj0KqfnMTBmWtf/wPNz4jAAafiWrf5N9d3DzFyEZcBevoWkAZAcb+8UKxmplUtUS5Nj1LJEdD3TS4JSE2AfrXESWl1bNnQIMnbPhozJZRemu5nTAXshM0SRG6FApFMIhGyUw6mvH4bTQsd2/wCSjs82cv2zRRtmNhcL6FjrfO77vlBkBiT+AC7hE5B1ZQ6Ww5rzCTwTPenhzE+96Dxr33Gi7rQqdA3KISL4RUkG/r1PJG8uZ9mg6v2a8wbI9en2taOyYDWZ1l3voUVh1mnS7+OVVXQPjSBrwO4HKwsrFV8sPhVm0dDv5s+3CRC3WareS2kirtzgzAZms9DNrHuCE0DfJEraDjUB1x9+4JdfHmGdsXCQg3D8a5InWr0Pu0kwh7YsBFc+7wE5K8O3EJe5Tg52pXRdztujbOdhBhJ5ndEmQhmsQ+krFGsTDOckpbM5v1ctNU6zGbaZy9j/0ai9oZF9Yh/xZjvVdw4KY8cOlVdQ8ENiETauDTrAGH2P+lU4/PDR5MQy9kfyZ2nRss8Tdqewy714RsmN6RkdBOixpgGKQumkG1DxjzuDrD2JR9SzIrfZjiIjhF3XQrs1wmKIjPGHwzvO1Ydr96O3bq4/OZntq0vFoyvm26wRkE7sOSQSOMJvJekTK2HgAm96lJ+bn+X4JXKZ1vfUG6D/dApgidEK1Q1jiUCcsEoBcnk/tYgPZCiDp2Iw/CWYY69nzmsbxproBHAdAWC3c+A8ChWX0HbzG/zx6E/CU6r6TOV8KFo2upn1xuLp9BMRwRFBEiRuSMb2gpJ3jl5g/wN0Lunjp+yGXtJANZAc0SrKwc8+woGJGHKTMu1kKSfKriLFScN6vnXBV+0YsVk3fMOglY2BAhHqVgZ904Ja3ThTMFLJcKja6x9KnSsccY/aLwglY7Yll0hSw5DdDXjoImuXb5jTNmeyy0YP7LrqC0fG+wafxtY1tVqrgaT7dziiuSaNKSG7YzsuSaB6rLHoaylGDHe0XqxfVgpPS0mIbx56Uv11ZWu5Anr1xLj0pgxYMslTQcnmCvpW0iik5aLLjvsOlhtVjZn7H+YdeBUR+yZHm77aiFVOdNfYP9d3UcLJ9K6VntgS4uWx/Q+fZxXnbJoLD/jZil+2d00gpNs0RT/QEzzoGBEO5egDrDUDBg6QLD2u8O2pi2jApl/w8tlFJoLHa4Sp76d5r7xnkK+S42EIGyBV6dSiFEN1TskT/ysF8YMa1KG9KmcfW9SdOxEWaoyEssnin7N1EtcA4NftkMOkzSp/ug5cpPK6IzcdhWgyWRCFl+iY9p8S3zXATK9C39Wj6gI7QZUuWplItkJLevQpU5eSvFeQHyh4GHQrZyf7zj9tVQJjW6WP/StLvcincKf/5OmQ2aYRkQDG3dNIHVLlDo0r2nQYnbMC9ggtXYbJWq86wA8ogzMp7WAt/uE6SRPZMeIXdfclQ8ExuR4Lb3NkLUCUh4olwjqrNYA4DpwCpyvvND4v9fR3MklYefcuOjnUw5kwzUGR7msBFSTCNRxGo7jKekHzbz1Zwfkax8OAzSmfUtNU76DdXduHLkQwpfWDT3JvqgA0mfFsEPxV8DsPMR1wIDc1ijkEpkpRo2X3oNijj5beJg4J6CEVNYE4KslS4Rb1+dfRpxKUqxnvW8AmbaFgy3l2z1h7MlM3miLYLtgyJQ+3f0ijS/bMipC9KElAVKijBq8EvF5Evaf/5Qe9XKxe0xTE5gR26ws5o4n2toXaFCoHE1Ea2sHE6HzqxvUmULc7hyhx36XhnjWcPLcgEtYsR8WWikfXjptUu8nyInUTeW/+XU9ky7WKU5BU3hJbJ8P5/I3cNsr1ts6fL8i+/ycl5je6g7GKkIkmsKqD5C1se63FArWZO9+fncaJk/07DXcNBHbDjvPCtpY8k/lz2MC8KOdT1E/CSt8cfGej5wPqj4hRl5Btr8YhrmD7pG+9plygdLhfelTlkjzhQY6Gfu4WnlfUEqlv7Z05EptD5j8VQ9tUP4cEPRN3sp69mNCHMRQLphoK/bapgfXSGzJ1Z+yyGOXUHLKLaq5kxoXYkxwhsDr5zDzlYb9MrhH16eSfe102FtUzHipLPLh8xVcWWof6rHWuGFo778U2FJ4zmijB0yZuOLKyh/1KV9Rzz+ovRBGEtta+6M6cqKGOxdeBDw8f+I03nl822H+N9xfpxKJXYlWLJjb5uOAO2pODqcN+uSr79KYuiItyEhBgtU6zIGnUEB7dvyCQvocI2sM0yDH+eXWLy8AjTuglAUTAzkb81tVy/PfZnAHU0QDVc0l4qyMkZi9TjYr2pnSRLE3UAE3u7e/TXAAAeT1KbZ/7tLCmHbaAznQtRPnYAA/sXDM4AI6AZdddBT+FuNFTrc1NSPEaC4CwaqjzAbhHWhyWWvf53O+mV788eljwLJJCIgSaJr2Ii6hsZYvu32CY0qp5z2sEHVmxLwCqZzpuJmx0sf1z+n7mCGE6Uq7ytDhWswc+em4lJHivgIYmlwNHwMVtviwYVltpoagymdlXtl4/Enz2gZEDO1vz9QYKVJIMlh51zA3c067W8y+vzwMJcvGMWH8AVG1R1I+CzBhUr8U9RhvE5g77shTnjjEJgzevjnT24NycIYw0ziFzjctEm0tP/wyqG2GYbhKuoOQY5wPXnGceri8aOgi+aVWkprxTQYZjJKLBUG+K4ZPGAfL35zyaQhhWthhmwuYYYoqurVTSDr442XJVm12KmQW6oRrEmgb1L4RQhBftt4aGghH011ASCc6WUyQl5gektmSRwj1izf17nIt3/eJvnny+8wb4StiHvqktSDAA9B9wm2GZvyWSTWjRAkEW8ccxs1DfdhID4TRm+DwUevK1aa0YBHIVE0ksD1S8BtdmFpApky2TFyB0LAX9c2gNjzhWlTRcDMVzXqpqCZQIlkp/s6xLfcZzHKS/g0HWnT4Ztiqw1DRkxSup7dfxHS/aMgAsl9fCOZp+uHhBtaHlOT4GIdfyjxk3Al7mCnwWOChwDU8tgeJhQ/H2XkXJxk8sZ77hBrb7n59Gzvd7zmkWjwGEIPaYWljuBECXdY9rf29bq24lqdszXYAbrQBWSlLzO6mT0KVHUyRTJJpCzHq4AZAQOUBqa21S9tAVzAzEjGs2/epimU3DFhDPsczgI2CKT/nEPSyharLRWBycAs+HS3WG6ZdxnokWkEBtwpOFFO4JoiUo/hEmddsTGc5oNvOI6I7BpM4NQedPkgDZq1ZoF/kspFaGQwSjdHriNOXjiItpZgxJ5a05BOxGAE/UOMv0hCO1sRwxApPfm+hCfbj/V2jgJtmmL4ZypXhxKwj3bYnclwM3qHecxud+W7an8Gab0BLuaEAXEXRqKg+1u6VP8x0rIQchgk/MTLyv5+J7nAnRvxAPUM21igCtLayQ6z+EwZl9OIl8vjTe0jPwoHZ1DZxSWoCTP5W5cypcsqe8y2DtWyr0r5yPsf8ZAiTBg49puqKdzNKWwjXipunMYj/Hpt2zeiDEOtKCQ2fr3lZvaUoXnM71ZLf4IQuwAklGp3jNNVM9GJereMR4+nJX3/uprBHV36g5znUwvcbI/S77oVYMjr2x2thu8+FcHZ4r4iFFOjopl+JjT73eRQ3H3Bfiw+iHCyMtSf+iBuP62P64Fi6oqkK0x8HJbBxv48SWREmZm0GoQ5wFe7fzlhb/w5sSqnedg/MqEv2pV/j4FPojuaHFDbe9NCYtj+raYJ8ehrYARkt2xQWUchaEV0X36ZbeiN6t/Ugei6EKHEJqaPjURBptEJtLjOb2CRZkt5DCHJTo1ufEaGKF65yaU++oeqTzpLbq4CKSmIyCFrys8Lz1gP9zb6xsQd+6f0Lg22GHPQs3ntBVoZpxVXIzC6XECW7AsfoZa4rN+4n2Gk0VYttCL9dCCzbMrFNpIF9MpTf2G3dxJSsr2hwNiC+BzwSEUm/ApAVuLAMtXvvuvuKg/doE6ICcx6BydwZXcjvN8MFW75stYr1WqupSnukk65CAttt7VyYCM1ZwWjIZ8hOXfUMOnAykQtjIEikJveIQlFYZOz+fhuyNgerTa0H7rJecv5Y4BzCpTdn9HvPetIHMVVIroxiIYC1N7PvJmQpsD35pxj3xta0Xt/5riD7E8UjlCugQRYHr7XjCiJaEpjMgT8KtmdmMFYqshrqreBhlXzMomJBztguVHkZwfpKszSJzs7zI1zCoZC4EJbiCFZxSsWcSMhnD0QpuSaYDPmvSpDR197eoRHMAGh4w/oxT5H7r5LaMgtIrwJ87dz+CPIC+m2EJ3j2WAYMqqha8QIotezs9eIfL04qC3q4RHAvKwH3om9BCGARtHcyGfkdXeiB5B3qia55+l4BJjS5P/Xy+BCfC8mpaKSZYcUnD/kvXQnnHRA9yIARm2FzGF0DtfXRuyJlIrCAlX314Tu2R3qlAGA1o68B8t47it9DmOagg7XItnatWEowChK8GlMf8ZN2cL40jbKsoSJwhOJjtssAObgGnPIayuw6M3Q3JnqMmS2OyL+MHYSfcP6jcC92EBWqDt0zI4LsDh7I4UBOeBw3U1uUWQWaxPKKqTJw/rvkEemLtQf/xAkvqlw3QCVxn5m/uLqt6kvBpFVahv1MkLda8Qg6app2xngg3jewkQnvSqflSpN09fdl4OHcHI8s+mA9moS6mbpUnw+cXMBA41L1Fq7lKAdx952EoEUIRQZ6e9QBa2ABZkgBC/GVwDmcrKa85M3CL2nVDjd5wbUHDGqiWotwFKKW10MJSkr2gaBXPHc0HPvwTc5NIG3VvCCNm5istTfe52myqRikKzDDVI5ldl0o4clp8R57I6FRe+ruOJbnpTlNu48MvlIfBgSe2gEKIHguxqKrfPEDm1Ou6D4nn3PLHkXQIRDvMAtOnGDKUekRpcQTuvynMM5jY0wVzpgGwTTtc4DtR4vfw386NlIYuvBedETwQiXyDcscwzVaQRaggS+wnpg1hMVHKlxLBaR2aavchDtaf0CpdgPVBPPlG4e0feGQXTiG5Wn2l5HdkKnFlkhvQVhawhU41WGtikQJM6ae6c7NpEKb+8D3yJzAGxwebZqUfSfJtScDKjTKTwcd1vDdsCEvIJbDFhKzQGUkYYrmBSVp5QMHXhQokJdSmatEW9Pkr0BuKJZS7UY7A1HU5HHc2JW9JI9uQHZvabb83JL1cnsJZCkt5U9+/+XLsHNojeR3K9pke7Q1+xrU1iQxmeXVom+GyMokzyHkNfyyqJQ3NfjLg8+kIFZC9M1mJrB2trVedQ94Xwitg6TGGWvFA92LlrN9Bt1NOpose7Ez+p2KrkwQvWrlJIDWIGGUgvZPuk2YW/ur958wCMejD7XQ76qr21Zn9O/3qsYUlcfEvNY5j/jE7+ogOhRPBXzjfg1uhL8bK355qikVjc1xrg3srKI+B9tSXC3PrZ/BlywNsVAkkAZFlVwx73raubPAuf7Q3XV/Z/KoCGylnH3X219L1JS2G4A+Ov568HYvGULqhdpULpK4QVImlX/jmyRJygML1F4/OmEUUoOmEXDQCXekwShYB6aaUH4O6ThN6xnFx/xo9h/qST0HmMsi+Dl0XDdWDxb9y+Zab+LEnPQiM8xcTEusV1rD3WiOzC9ta/7YMQPFePW433KyCaa7bhTcVmJ6cBxGcwRO8F5rH8nuIh197OmU2jj/yjc/1j+5qIquEK6+6cqtfAw2tQgxND6+C3MAazQFeqmKYXBdVGJDIwNUYB0p0hlQ8X0g2eexndW+qKrxLL9PLhqKsNzgCUGAKl+ptyginJN44Z9qfGvas7o8WQkKkO+F6A3pYUhgWWUt1twhRLuU6QQF8TjyAYZBOZ7TEnBvPmAJ/BD8wfNGD/oxdGwEvDB6c0raOgyRhnYM0LuFDon+HsT+MuuGxXcYMiIJ3m02OxtVjF5II55ZjqmV9E0AsSWsPHX7qoORemMIiWmrv6X8tLT82h59i3rGFMLi84G/rvZjWHi2dGJdY9wX5RabJ8Jam0eE7EirQu7jZ5vBbqk8UjHIdP7MVMvclzwaPXK0Iz6GReGmBcWwvGuq75s8O8aTsbXfjtjoXhy2OwWTEYcul9pPHJcfyApbPmbvDw3gxgwsAp4sA4qmqPVbMy2g6owsuNCcu9eoKUgfiPUed20Earg6U79Kz/Z73bOQOvWk8Kbzpi6pKCqDG2+Mss68/hU2csBdtkkcuCLzJXYfs3W+d3+IcyRH7tZAesn4FU0i7bN2V8mQV7krwi1cZTddkUztoTp7oulMNEJRWqlak6E8UF8tb29vq4kQhFArxSPuSHOh6LSvDv1NhjQK7QMW9P24tX1C//0fdrlL5Rxx795be3iEJDLzUU2g+Z7AeQfZR7XsSY+e91KlbIqfR56f2NbYfczwURZTeSDe+KnYvHI20MFE/6hXvEVsrdpFohMNtypnvDO/E2gWJrDgNOC7HF3gM8QPnX10oGgpZSITITsNOaFY4047PmclyvDSiT610coE+y9H9jxjZbL5SUR7/Kbmd7MEmmbZc7UApT6ONbO4lLDq1Qg2AukgHRGGkYPveP1ZePtX29jEwOqV/RD+Ym8gBIHLJ34MQz8rc/oADL7Br4SKOMNm451OOYnonJtaNyrdsdqw+KKXkUmA+GrEgsjRakrHAKIIK2wrwKhHnjyWXU+envb3O4G80i38JVSpSF7++YC6aQaUqf5euCGZVQifW/iq/JEBhR5gdr/VruVi9c0QGeXjt0PsOvGzW9wwSTxCEsxpDj0/vqicDhR+2XWw+AgdhxCMc+F1F0W2yVeb9i/ZGwF108iXsZJvJiLFgD8KvYR8T1W0IcXIL2SL5NknOhHyN3zqUN4/WSsUVZ//oTrkvcuLA3sB0ZlF6+SyB+KR4mVh4JBHANIw7oDoKD7Nn5ZZ03/UHsf+8XTZrqa9g21f9F58DJY+MTgesQJDWKyxLrHHFKla7WZ7a/EuDzay0bbL5cvQg30OLHc1vXRT1VJjkWH+i3apU9g2JzzST5hKBlqBOkL0D6dbRkiCkpVYJXL+ovHQpgs4U/F8kfKcgyqxbEfTed5SatwNl1QHv0yTQYHimIELIPv5Swgz0Mh/kpZieAHbU7BlZj6g9qcP4MW5X/w/+6378NxlFJb2M7U3ithlzB1tvZHzklY9SVMaMg8IZMvIfJ6u5rKRlD35zEbk8qPPhhaVGTNkPvuFmXAsm8vhZsZmHkodsF+OdayOCf8vL8mLuuZ10FpYY/XjC7B+CP2Q19HLfBzWbL61AmWDi5lVeDvwXGnsy25vwXYxh5DVtObVmZM1TqUDENL2Gsankhmk4B8sQDhHxBWf9Oe10rgqihgvh02yMq1ZeqBzcRpOyMYEJmgPiMvJ7uIVIQqBpJ92kSIXX7qxpbM1a+Jokg4ZGpSd6pSxFyXE3wnvdx6y03fi66/0ImRAzK9wUTN7mGZIgEyIn9c7Ck1JpLrSW6GRs3wEdYcPzFO5d4PH7cOuxlrQHotqCxYJaCNaeR/IPQ38sB6dEn25cPLKzpERDyV06MB/EtoGttgcT0TS9Z8qGii0x0hl2MQsU7bNhg3DKt/VAKBPkgAq8s1ZH5qs8183iW3GBw9XUpYDhD1jSxHUsz6J101VVagyLp4Awf24ZKCINSr1pDpGVk93hPQt5wyGeCJOc74VFWMPHpaUlT9V+FuYexVET1qNJca21xWw5VHTFi/DGqm7MEdiNJ6kMX+iJgNBE9WrK6zbkNv8YMxvDuFOvkjZrFtaY14UtwAxnznAa6OxSMHq7vChXN6o5TC4c5xoKWAQLKq7cFBz9Xrcb5NPgQKeg1SZeo5RXy6y4tao1W6BNpYMI+EGdxB5xDlD7rvFVYGOualbhnIAMWcu8mu7th5RAoLSNwiT3ZFseyhzLenRc3iQ2hJ59j4xwMVavLVytuZ0TGSI2J81znbbwIDEy+k75GuQajqZPD5uwC5+oDjyEm6yGh+jDB0aj+W4GtId+YFyUK/B5UqAP9+2GvPNnNpBByKxNWBtsUIt9jtarZRl2dyeDWp6hXzzEBtpA9/kZ9hygfcwT5Uh+iDFrDCXXgbJxXRIUs5XYc+cKLcutsqb7+hQsbtVx2dibpNuY9OJjD80U8Y7P+xZSeqBKCfvP1nI1yMmC5Q9N7ofmHV+1wpHji+TG3R7AF4RoDxAudcTwSHL0RalpJhTOV3f5Ry4gL3SSHtGu67eXmtkqX25N+dJb2qtMva2cmvjAE34qwcAu8nZmha9P2+iX+d2nDtYRrjkox4xrs98T/QEOfZq5oU9CJwhl4NQ6bHjOpdxuTX9w+SaG5WLBl1Ki7920HeUPu2XsG4HgBHiACAcFTYdrDiJ5Wa1yzy8EFfZrjj/d5hOpRTmz99A+NMQ6aUmWo7fbMMsiBGjCE3cZS9rBqlfiBs67f+jNPXOGx25j7hYj5n0iI1qzmKrPeWjXXcV4mHtpdetcfglQEqtWmMCwj1fLt+L6VTLvDK4RXpWoTB396GeNDpS+gyggp6KiDtF2xi3RcF0O5qUp4zfdUYB/Pyz3d0rGoDpAmmo6Zfgb4wpKi1CF9Uox0vIlHwNh4v2Jh+VopFbjcoKNF0TIxxzwnk8ICoRl340/3JSdylYyFYxsADj5ryJON7lDVgnY+WfXuA7iHNmZl4vPRBovJf0QW4pfTCVycOzI9j2+IYNQ2YGubXSAavdEjidlmAO7IegrWvAmmRa3fhoSCcXUgnc9K1BOAxv0lYjObK+LLwEbHNOjyMFRXw6vpbIP/TzZRbRcN6C3E4c6vPcYsxwo1H7Z9T9WVRm6tKnnqta+99R5QsE23VGsLshDcj/u0ubSpb3fYuz055hnvi/cZtkKXSD4dQtheqrDRxZKDfXOj1PnOkZ6RxLgg+ZqBIewcxOUjoCq8VyP0pMMf04byOr/oePN0BQRyjdvP7fGOyQqdOpWJsb3qIz2nO78COcZj9ro3VQ+yYHdqo0s6y4AbYWRhvj7ySFk2Y5ZB52xptnGbf1m5NwhP2gNvsN1ZL/LMOnZUMHJK05qHcnD7mwMf96pGpueGQhn0Mn1sN3QCarPIt2b4oJfyiZ4naZRt076kUgFg6+wG8Uuqh4tl4xng1fg/g1Bwje8eJ/nnaO2sVb+5gdZA1IznadaCOsr1e3UobB0teHkujy7QM7N3NprbfJFA1vrLxvxTwNbPEWF7LGzK/ajTNYL+7UV+ZTJ6yeiupeH8H03OCiQkrMz62ubzfKtOgpgyr0briSnL3c/zZbVkF+0qBrI43o//1CdUV63PP0Po0tJypzzHcgXhDpP2eqbLjJ/xV3q8MpJUkV1mS0F0RRIfyOrt46+n5VznVF+EyRCLdyfLMEZF3xFV4PUZkjCJVVvLqToEEMA+z0RZ7AhcAr7WZZgw7Ey9gXy8ypmU/Uz7th0o5zRPcLbeK5TyBvqPz8l/GolnBlJ50zdY5/qwQTD+fO2jlwdVIa9tTkNssIZzpa9B7zDi5CCvfFZ6P3DUnGm8L81T4q3EdB3Y8yQTVjvUbYB+aYJd1SgiaGfTuFa2B9D1LhdlKCP/Uuk5pLo6AwVSycU6Az4JBnhpyfgIR4b3rXD9FwF0jZwS0AF6vF9jgdtTLJ1jUqs3ALuQMHd+J8hsJjIlqdTePZ0F5srTciv/b2//7tbnQT7rkjCAD44HrhKswt6d9a6N/MQwZVh14KxJLW80wKmzTPsoIZkPT1uodXsJ14RuZ1eqJlHh2IlJwb0TFuVJC5QLkJEZDWWv86n3TlScbdslMxLgUa+qDJtiDdhJmqz0bCD2ORzxSxkxvAe6zKlTUA62Vzb/CgPaZ3V0s1pGhznnrKQKByrIweKbN7xGX23zzFD/0Youvva6qyLXWwYltNlyiVZF72eeA/R8a0nAqZYibhqOD8c0u6ZITJlBVqM/ptaMjseUtqQ8pTGE8Gobd9JVfviq13K8/DJlgkS5v5/nB01cUl4stWl2ATsrUnhMncQIjw9f/5G0QiQMpfCxAqvNuFkqxvr/bpChPgx/lj1iE/zAqTy5LLtTUlk6P4f6KZJBla4P9Dkf37j+/rKz1QevADZdiQnyXntLQ4YlUEuZ/Syghg5z4fAM55Cd5aVpga7a0nJb8f/NQ+U0VE7ZCy1gEDGHGZ32dTJbUgl48JKtnod3yFcjVFPeNxx7dXCe0FFsYxUc2xCYA8DebgOfWqCFjnV1vYnGd8Z9b8wmbPUhMOmj6aeGvR63sp/5AqErvlmMlmY3vssG3LXxaUTkWHz4un5uFBzjBODOimqTzZhMjeuGNpmSrk5lLnbq+5m9lE/FFccEd+IODZZh6P+pM5gYSZYKr7/E3RDc7XHN81AJmDui4JaiV2uIkPC+bgRgkN2VF5XzDBCLCyBtj5nyFym5d+B6oye6LenJ4t07CjAkv9rUshFc0TRw5HydBsvj/qr+20OBnhe6kwOrKQb6GAj97eaUTPBnRP1geVbC+Ox1ePRCGaLGKiUsA7zd+kgLz4nfhJ9tbHPHCyC4G7QaWiOV58bPMZ02z+wewIDOmihEBHfUFONHK7ArYSYLflyo6wZXvgJwXP8NQ9Wm8rYZliq74kUE6FuFN5Ocxs5/UOljv5vY/CuzQD7NQfqHw7BfmqrmG22K2sbOHnrgDFBvbUUXxttcwtdrXkB2Gk+NjtdaQZB2dZuxoTWSI8dHQxnR/V20nRoJydFNIK9G8imKyiR996CCA0oGszhjrZgGIpXAA0eqlpzvwu+iK2B5rYdnnEoFbW0uhk11NCW2814eBRGf9gJRRjvEuwlPaczZibsaVF+m0g5sVI+LYzNtLKubd7qltFDPdNf0Rb46yQOj21zm6Kk4/snkhBBtW1iu+MIpP/0VdnTxU6K+hjkA304S8M6VTPHkTnD9OyKip9tS4DRYc9dvOCS9jIvAzEF3IPGCm/78bzUeO8C8ZOAgox1Y5B7/BHvvoXRU2tIKjK10EtXnfYL0M5wQUu758ie8j9yUUnlgzzzPFUq41lKDD/LnGvEqHC+fCWLD4kDBnVOkxfZSNkWzDNZa9qR1XlMXK+dtP5Q9XtSatiJI4aCNWcrD9U/VqxFabr0cUYv+M+h44bihCN6A+PzUAdhomh7XjqZndA08icPA+JzO8e6BNtRs0U/Uri1hsjVQlZm/Q5d5afoKA3paq61VDQr4ZPBkf7FW3dUQeRRfJpzadfsqxaJPvgzz3PnNbpHT3DdTxpm5Z4Lzpc6NPdqxS8U2xv1iivk3qTWJUIgoIhuqsb3i82MBPx6n3N2w8Kk3LJp1MXn1oz1NCnx82mQzLig4Gskur/OgAGsH9m8zJ4rXKbP2g3yCs/JNimvE844H9oO07M1EQ8DtWowJ9tTzJxqS/eG7/GfL8y/814cXStdJx5TMCxVPHWobqcfL5KCL8NONE5+0R5BOYit6fwqRWfeH/PMhK9HZUcRmk+WpR/ICldYcyXxQYexvWn5B+NklYk6edaNLMoHb9z5ITZ0QCYDBpKB870ki//pUqicbbqUpV3JELFl/R/kBTLERLRPV8X9D6LiLzLHJOdHg4HRQnBg9lELEmBZL1mNfER4wdu5JbffKipNO+u/96hyGw4U88cDwsIBB4itdVPqQub3jVzBNlD+gtfiKiHKC1qzgaU6uHfLcdOGPC8zHdtiGXE/ZLSI8tyKMocThOdMGSxQafuXzBbHhT+tRrKfHRJ+bpFy37PrAN3zDY2QOLR/8QjwGtV5sWVOdB6QxtmUQfjj/Db9JaKtOO4YyzjvUoXVrwx6ByuYGCTx1x6cupZ3lICbkN6iw2GlefHhd/IjGx8HkUBngyVuBSI+SWUAajFsxHGXZbiNvI67UMXyEYycxK4Kf7be0zwhYVugF9FGD0bSXinuXXDGbHhXYXYhfMCQKP9cT5e5D4YT3+LmPOLuDwTtEb3teYATYZvNrpx3zGBjokliDv2csM62Meeeh+ShvWTR3l2IF83WhVVTQUzuZATZ5lzIcC6DX4dnFIMbDmVrlDR9G7yPKEGYrGRdY9WnRf9qRzl8NzOhD59twTUb0On6qe93reKdlMDHZmcsoVexJqT33b4R4nHdP3jhtW4swoWT/HucWGfAsINhccWR7fZr+aA9bziPIfdFtjt9/g4s9NV2Wb4AURpdhHoD7F8+JJIg+0Yxbj42u9+3+3270ISzMhlf9zB59cTr1ihTmCf3bM038G5ZVOa9TvZxtCNhCt/IHY+UYN8yqmEZAMwxx55WlMqcHV0SAiQcboYb8TsXSiEz8vJhZd+Gr/nRdBaWdg6zSSx1gGDUnS7YhpJt3Ccnfi35/ESCPHlFaEC1nYqSHF2m9JHKtbkqqb2X7LFnKakoTXLJXcW9Mnssc7CaXV0ETQ/kJrTqnItoTIzlipA8q7R8DS6SeSvENna2aFWxRZPKSkizVig+V5NiLLYIuX/+CuSooYVqjSRcJ6GKfn6PJgryj8Q6oXhbgHup21Kqcf8vKgeZDbDBKXhQFIPimavKHz1+MGaRxFX/brLVzprkEPTFmkffJbFcRPni1bvW1e3PZv62et9A0fBW2pri0+TKRPx+2YZ7aPYCPoKn5bKu3d5j0EDfRWqjTunC2M2Ucr1fRA55Zgd52Dw2Ybi69FfM8j2SZ1M+4d/KCPgg1zjspEN9sT4pGoj93Bzrt+8dauZRMBRGS2m6gQNiSTIX1uHyaSjI2IDvpDZo0mUhCn9ZEeUX3MEYW5WtezHa/Im0MeJ9wq43ZZPz98n3HLhA3Rz/A315inMWl968cwHixRnpySnm2MB6F1V5dJc3uD7FhfaJ2NXJXHtythoLkEGq7f3GbEv5YQAuWYRTw6PUzZPgLaCspJjno56GvviQAHnSs+xP72+/YWi8MRwpOhqw/n4HtqEQqVINotgs9lc6xHo0cOE22IdcKkNo9KS2aTGmBbJcL+jdPvjvPq9SF4AnLdY5oSRXUrEjbExMwhz3ZmO1T80WlNJQhDHwan4akRtzeARFON/VJh607oBnsrrQNxzGRPJld0TIAQK+K0nQ9Pd7ZbphIB/XDg/NqkDNxddkhIx0/PqPIk2L8Dvk+5XXKzmMEmY1w3n4N6ZOtvnPtKZhJaL2PBYQUsukh5kkCIZFB/uc5NJUp/HZ7WU0lLsK6ANLbxYdkTZqf6YPKO0XpxMfUoWI0kq7GKbmXNcz9CyMqzdVK37t1loge+GSnCMtbz3M2d2r+Qgg/xcDN5JW9bgNa9xODMsi2McDOg05UXGKlxcY6EO1P2I+sDB4PUqsAoAl1Df+aPWJTgHp+8iUZGnWWNkSXTa/nE6cWvcsIEOwQz1DkUiGopRY6qsQ9H2hCsNkhu3dBTWbdb6N4zqvC1aD6JRXRJdJnyVXXoh1HPcMQUEf3qXplTVpCPx3ml50Z4w2bViOPHLIuheW9stp4BDDraucVsZEH74fVP5fKlZ3TqjyEGXtfhVqFz1/TFNfYhdiH3Vd4EGpLLAuCfiZ0MFZGW6hj4lRJX/Ya6EAS556l4kjD4btI/gc4xQUIozVvXAanqIp4n5WSCO7rnDOvbb3sQpKAD0ghlNp1xRI+Dnx2ud8nhOHLZvkLmx8aVbf3X0fhqknUHbDedohRVWiPoS3w590U9Z4qXbCM3Dl4DJmorVeK/5ES6/ta9r2KBIF3kpzjW+6ijig3ysZO1kaMWQ60lN7MbD8pGrz83b19SHOSCCwJkQQ7P74aM7hrooEAkaLU60LEem3+yu5b7l+TncXBSC+QOZa5bcrXaweFn6LACJan7T3j/ZAkQSf3uU7JaId2nWwTJDEoEJJLqiglgjqZVSBdnxkNWdLajqxD3R3IWH8vCWY3SL7PpxH4zmNryjSW6RMRbgwCxyKAi0RoW0K+WLIWs/a/zALSk8P+hOS9gaGSsfXOdAtxnM2KnQ4vQWZ2mTuN52nUqoMHiBDpXsyBcWtligHpaNrhYMfa3HVg/7kmULnvXQjtVKvNeniUcodyR4DYAVkVhfA3FRisOraAuAYONKMLOWXYod9KaDyWR4vNKiWz6LN/glstyT7SdoDTKjg/0qJvRCPS2A5sho87BhYYEdS0mFcrfCDvUELhXVK7ZfV+jf512kFj8rPyKfi3z8zAwRHVeUvr1Sf74gICLXplrWrMawFQJU45jPBUpA2GCQVqcECOzPlwvqpvpDOTRRRlNko7XG6+G3k6yFueSPcYOvPWVyRhuR+f7aZUowv0Uw301vGLLPuyOr7vc50bQP+kX2HNCju49Hf9QvOtLKaWKqYGSWCRcKw6Dh3AM8nSy0oHRmfGkogxMNrkPHwGFbz6+t/POTYbSGWN0kn0WJFdgC9UkFsrjpiRUn+jIlHwdKBp8giUkj0Q7hD8fCzb9tMbHl/tqOKzwQc8nB2qh3UC1jYE4oFQOMOQzD8DB05NiYkH1LOg4v7kqVtYqpEcoOtHP3PcyomAXvzzjjdJ/NBrvo98curdl+UVGkka7AdI8xWj7Exxj9JwRUyXWT2ytmE78s7eMzcwzOtl1i6PEm9pUxEk3e77TBKy3oHmyyKdP94KTb6q/vaOWA94qZ8YfKd31lEOms+XjDC6CfW9ymVO5IniI5fANv+0pmh/dSGaTxyO45zBS+x9lTzMR2ZwPXc39lrV+OpumLchHHFpzGro76TrIwt5oyQDvcFSNdJB15/f9R2zwLCefxJ3f6wZzCDvJvuwtOCUnd4S2JYPs70A0GQd2ioIBf3usONXTy4Hi7dHhBxp/vbkR/IwWuc8jcc7fikNPGtW04Xi13BXchjG7GxkpizkRIBg8xsGLJRJu1I8mNzH2+0jLD0abRLNrpg0KHzjpBp4kRvvwXoG3lzs5Gv/xt57VL7Ij/abAIIqydS112xguJPgpseh9ycVPSM4lfcYySlgKHvWi8iWMoLwZd3FQfi5ezqdsqA3mI5DN6iB6Ng1FmV9xkrFjEfG1KTqLoZFx6CWMCvckM6nBugLJQrHCZSn6dNtfu39mk1wZMM1yzqmxxXGGlp5yI1x9MbXILWQYD5/9cNq003+D29XtQU6Y47YXTA+baswVbHH+tW7aLfO52u0pYLeTFZjwkeSB2uVlj2kyqJpS+L5cmk/zeU2HSTEXlku/WN+wW6uInwm72CCVbp/GuCv4+VIrd2pzHjMlIPpTApy/DzdyUjX6SpAxbWCUS21E0hBqx35andsiwUZc1qDVMISZs+1jiS6xBZSeaQ1u1nF56O1qMFFDbsmtGUKghT9e2ThhU3Lh8gwbV1WeuqhEzFLUIkQc2PVlMi/c98r6NgeQVMAYnow+wZ2T3w8GMNpWkfL0vmhEoNs9nGKg36TzdOhucKpmzqchp5NKDMDmp1jHLWmhU4JZNIstOW0LzBqpBgyMAFwSe+eQImq3GVWI0CY/nuYO1Q0dD0R81OeGPCUaaJ7DRuDKbF2dF+pAStr1ysH2N/Fn+va12xhKfkvzSsGWhriFxl1k+87z8hJRrMohVvzELd1cMqtLSmJ1AizsL3qStFnpzdP67onTKSrviLKx0gUrcNWPFzr9xLpuMUyqk3Hmc356EdBkJjYNdErMANf+FC3ZA91Iir38N2VROTXMC0R+swKMIIICcvJddLSIFyNQu656FLSHlZ2cEhqcYacLKnPb4+fD82VX9sVo6FB4YHPojEBKZYJBX2PyCschhW+SPG0LdqbMVsli7aj27NHz1Q8G0T4hHwEwCO88vtS4tghNYROOA/KFIxj0ipE4lmB6Zg1dgMSvO+R9QiZVk8xUM2gPRU5G0SFapWV4kKEnO0lLLorjn2btGTa7CiTbk3L7ajZSxLfpBUj2p/4cRLlklTe/xg+g458dgml6vmbd441Gtme8NjSp3RqFPkEHNeqytXMFSV+VVPDhoiDSSyn9Ww4zXetjeqauTh1/0KkoXILB8wWfRxdpg16I6Kbrfz5KwOb5Kg2cHdsivek5aJ1g2iwANHgsXh4c2QJNBQ4TMOxqy8jpk/uwAxXeo++FkAFm/f578OWcKkHTtxQtjP1l8xG57zO6ITdGXZp7NlGSewLVIDDjiRVs9vkTY32nrEqoummBJ6C4dkBPZc3PSqXfOh/8/VR3EIlhDyRgeIXdS6a992IDrsE+ncd5Fo5uvcp7AlQO/rd+BQtFphTqK4Xfgn6oQKveVEp+MgcB79uV4gARw2T+OP4tE+3YGMTO9d4VYeR9HPh2vYrKsvhStIQnUqoaBdC66/AHdDgL3lLolzlkMerfQFO9KkYhu3iARPqlqKFe0zunRoKv7VAnSfQJCgYaQerNd5i7LUrXoRWF+7E6bnRvimmB72ZjNbUMrMRiaBxixWENmZ0cL870rozbNye0w8Oe3EPc/K3lQX/Vzj+6bxuyvzdfTwbErS+VCh0gvJLNaMXIRE+qTgpeRlSjACMLClNjOHW5hHEBvITUoPktfrg/EJdyYCh30+EOYBvuHfQQGrmOaTvZBkaEmJp5R3uMzwfGHOHHFZ9/sE1A2Yjpdf09l9KUzzMXNml7F+XRhW6cWnszNQrRExFVQkT2iMHJNZ2YMZiMK/p4iDIqV42+Bl8rP3hHbjKdA60KvHvBCfMDyaSpv1EMoO8lrqwhpE+2gmfhz1aIrjwSBcK+BQf5qRTHbWv0jl4cKEvpz7nU0G1QHekx1bhRVGNjere9veIOo9/RtvSclCfn3+t5p1FxxI1yExYkPtEft7PLthoAXmT8BsUsDa7BmyWdo+g7wEXv+06BobYwiMvUmo02leUThFV7EWhQM916nBX9X5oQ7YqMsAEN0+f1yhwknIdNEbkIG1SSz8wtUOh1bJ9o9HNcPbawoyw19TBcEfq6C5UvRshr82dB7yp9Il61L/dDSzeMZbNWdyqbGe2y+6mlqobQ4lpGgzcYCL/mY6E88a2NLt2ChaCIAPcpM8AksLuwG7NsVXfdSPScXC1n0o09OHB8eABV/CgJx2iJXZs41hnESo+3Q+kiZUCqfRqEugoKMoO1ebTSyJpmhV38I1PGR94YPLSJfzEVUW5VAQFl2x132DLapzrGgqNMK27p4LtCTQ3MwxnGxXgVx6dXpJtLpO5oJMI55MCdobNcXNulGy3zU7eU3HtAq7f9Xc9v49NhUw8zzcmPc/i+bEBB7zRKf0xGtcvbN7oDdQBp1Gl9ojdB1RPN3dF/PCVKJB7wnJyhz7kVGraqC8N4iUJDH015mv89LSNUEtWG1AY96zDEjtY7g6VtQWlzFALY4fKIck0jgm5dMHyiz49NyIssoqV+lGs6BwLMohX/j6Mr//dHWRMy8JugWOeZTgZLFIsugh4/vNpsMApWAnQQ0/MJIuZlQlKaxFV9nYV0fay38hbv3ma5tpvp4OxBGvOiCDu8aHOJBI6dITVJeraTprWUiDbgZ/EEP5cApMIwcI3K76oQT5cn+MGvaDrR73779TeXB6TURrcL9OsUOy+H+785SXKVpWGT/AvkwyFLuOMEIhLHeFILfuC9R9gxWM+cItij9uv5yuwPnCiB1W6OHGN/4XCLXeHRGccQZbJaNxtUC+acWpbzmavGl4vxzxrDIcDZb6ivAl/OzPbq/DJfDBf5MIbzSdSl2qcF0hWI+rH7QU3kANEDTREdEqS7FSqSKBKsM4/y6ci7X3hqh+1kGzl5UIx3LUsvBj84ZrQh8DfjHPlyf2dEldQn7U1AKguDoxkFfWxIHAeT1cPYpD0x58+lSyZl+EONi+D6Gm4Herpi6Le++SmF37sywjVpRypcq3nhJ9GN5uccWx/Y+c1cj9kPjQSNC5tezqmWpE8xkY8R842h/vUgzIqtXnifIn7QLx/tjRwVzm9rbNcD8nZrl31Qz+0+OrkP+Nz7WQZ744VsN7hOIgu635iDw0gH0eLqDbYHYExQBqI2U0tc15XH8yTKuXepkiu2H9wFDw2owZegez37sUah4w9kJWFDHey0s7o2Vbpf/2y+MHg0dWIBcxrIkfT3BrebvbzmG4nU9lEGpEB8LpYSxIWiL9dRlMAwPfIEPtJRy+OY0nOwiJOBh63HDSswvN63ofFa43bak1zlFX0wNiUA1xNjzVLIvMOx6if2bzomGmll7n5FxQ2iIsFPNZIhuRzkUZQsiAn9Tlus6hsIkAFvuHQzZvj7jKZTSLhFwSX6eKL7T7eqlOW3Phea7B24BoCyQ9GnCUs04qnMW5bVv7zetXXB30bAKESjAxiuJJtnYZbyOer4rDzVfsO7zPGcvwPuFQjKKEJQ1XZwgCLQIf+CC3zwIdXCTc2DSFGL3TxomV+vYcCCA5FqK5cJCALIwHDKNu5V+iOsZeC670hYjz3CpJRZfWj6fksnuDv45+/1QOjPZvyp4wfxF9G1NdgKR1pk2Qx1lSSfaUl4EvQYUe7/ka76/T11PWdkZ51Zw7A82dvb1djBIGOsL7AAJyRugOu8DTXJnoPKYJ6ryodnaRq3b2xnnhbvqiCeeO0D0q6RxJRkOwntx+F8NqAq22KtgRbuPiLC+u/VqIp9v0488o/m8FuhVQapTTlJ3hEd7a9jfGW1R4tN0LjhEsZSOi/fsD2LYa+0tAZgwGbaYixxfYbDH7ASflI9DhPFUlHFFqo4d27N018W/5E3RBVEVlDJkrmxReuYowVHU9/O++zAm9tKgVp/yj+tscuzoiAAls6a7u/rOhFOLZ48/RiMSl56tqDnyCrnRg/w834dcYt9wa9RHBNSdxoF3zsX09yoWLn0g5DViei8sve1j6wdfF2yYtQW0NJWfcPK2hJZ8D0DCinFY4MfBxOB0TavY/X+otN7UdO0XPASUSSHVYhNjZc6cqS+42llCvfmTMa44j/b6i7G3zK8da7kme4a6pR/F4a/rFuVBO5MB5LBtwbEhGHcmv+ydWYoYi34wAhpTH7dSmUpsDLc+6QsSAidXQo9asXETGh4vlUqP9jdsRGuTNHEkrNmuUCRbVnTGR6XNeKXAZQfqhQkRFJvnUD3mOd+fbXyPCA9CFx061RUgvH+fXNplV9iJPnVzVjtXZj6QNhpE/nqUdamnsGrQnqXcIsFdHFWS7+EMkD+nxleGAd7GGQpELXQjZ6UcOA0KBKU7W1d9gP4oVoK56uZOjgLNX4JeeMjZZof2TA4ru8AwDc5ibrWBqM/xuKkRlNDHC3uB0UIFEwkaDuRlNGCUCW/kTcc8xqT6zgtGK4ASIyiDW6nwguKWFVlI6O3CwtnelMX7YcFpFCoKxtWt7EQCUBCB+FZTGNBVNL6UFQNK/PAuvgwo5BebkCjPzDb+BEhsPAe45OdIjQFM9/Pzjj0m3Ebj87ZvK6t8RlZXMETnD8Dpmm/IVKD8E75FDIz9qWIqTXX9o2X1Dcr7cwqHIqFkJrb5Nyvndb+CNdE9iMhjcm+q3itnGXXHYfDIjSr5QDEnrvw+QGUGdipIY2dMZDSSSUTQJ99CgFuutnkyXoo4rM/fJczZw56YAGko155aTAKdBOzOTL2NKu3HrAZXPkVfDODnX4eZFFJscaDBrpCt0alCthNtRCRaYvWN+5/6ditAG8c8/rs0xPQGHS8pYmtRMiX5l2e8pHSmmUNz6X1Ds6CmXuHlfTo6OL4Tl9CTNjKEZ3eTCNbilOZU6QhExCUX/ZFXsf02Jh65D1JpazW9kfIhAMZxl4+4XDDz/9DPypeM8udn6KRsdmefQl72YIuhnpIdhRtvKd2LuYakPLPiRWHu0nzUenKP6dFc9sz9Hqk7coxUBYhSSpA6+1xCtU49oxvmtqaFnHXT1tpFawIklLtVPbD6cEZVckCdYx4UxZmyHKVIjl76+cgFKLnr1VgrB61o0/Mnl/w85dTesXLA42XZM5KLh3XEHUWLG/IbWGTrAJgyikHuGZsg1h3aCUjLv2SgMLIt/qgQEY6bylvc3XBIvksN2hTd61HQWBD6499iaoM1wXBE64eBSY/fs+PHBsfnIMf8A9KTzRAUV+yddS1nVnZ7Z5HdfCQoUifbXEAPycQFqLtufp8cW9ov++76RAOIxMa/x/e4pX2FSxvcKoUeGwRI8auXd4w4HJ/WdU0krZtzvQQAP5eCwO++gFHuH6WOwgfIRgIeQC4yMwFOGHkRjLPIsDBIen48917+9PlAdpgm61aBCOy4+PApmqNdUE7fn4IDqaz75jKV5yFDGK8IFscKNU4+iqTE4xjkTUY7L2uWB2ruWjlYBfTAebbNJIJABTP+DwX/s3dw8iEO0oaUAlowx9QEYd8Lcl7DvFrwiw39nftOozqZ/pt/54LdgRxEGcC2vGsn9DfXDNg+3V+zscS5bhJWfB1DB1vi+Gnvk0aA3ywd2bhCjDIsY7dv7j0nJbW++20JTrxqNPo5yIl2NSlCKMcJ6ue/jHIS4DFbPDs45hiUPrE1nI0uRQi9ZeYoxBEm3tWEDIN2zc38GLdn2RC+PtYVMy7chcNDonFnpCtNHcX3or81vD6D0xb4ws4DdNYioAWV2m44za6sCu5P4YYA2c/yLIpE9iJRNMeGSqdOIQwyBGGkaNuGfBrK4oYeodNQ95/Tae3F/34fxHEsCDjbKARfFuR1D3/602MeVPKIGUKjcoww5XtiI2HwiSBN1N054L8Y1ngLl0qsz4X1nCl8gRrvb12Fozveyfv2Jx7kblcAv6Grh1utEm7ZYyTbfCY9q+CHBqegkOGgqkYjf8mO5MeiowBJE9MTGS4Cbx3ysNleB78GjgSSJwI166yYwgdB1jubRInzBj3qxSr8Q2PnJ2QoI5fYvhHbsPwd20JTEqkEg1mcfHdH3h/orhqQXjoWJ5Wm8EEDnTjQm1zLIyaLMbjxvjbty3N2/O0Bmm0E0X130EFLwANKjKnLsPhuSn8ZEJ6L4N/91rWszwneLSGLwmeEtF6yTEb4teQK477vLcv/sBMLJdf19wcys5yh1KmP0rsaFqvrV89wlU9n1FjXUVtHcANqFyGRqADMp0wLbZ+HjZgWeeYjbpf6SGiRNL7duZkfm5ArNjYW5yoONf5N8QqZN4HArFvUX2aeUdxqGU5/gKU1EaF9It14hsd6RK44SUVkLqNSuNuXEIiqOcjAWnJKz+SplFD33wDaJ2I1T/S9M396JrTKo8fhhEp+u53XzcvIoo82qd9+y2np1e1bSJVK8zdIey5zGyabHMSj4I0FvDE9s568RAFXYRnYf9j1ZwYntPiNWduRooUqCJ2TvJ8URLAU+/hi8oz0o9bja7t1Wi8HqE0JiNvB0JZ0EnyqwrI4il6U7KvNkW6r6ZuDW6Uni+ffA0DncpxGV1XKyOvtOMq0bCqkgbHfLXdc6mgs2GK9rCv3nJPGONX1ezDQJDInrGJyfRzRmbrAAQwXS3Xcya3BIWDP9z6oR8cqb7FSiWSM5AFe2+Xzi+FSXvjNozwfE89zLOaMJgQ/dzKfFM7LOkfEyxfuYPKLDTartJacmM5mWr25iEeB0CM8kk2X3HB1YswnFVkoEfeftMWuUSR8dyITRB8f9XvoJP8bUcbtLHxRWnggyvYS5wpulTB+siXxyzKBmm/wHrsugQR64oAFl7KKU/IYZstRDrGWgwO0IXeyvMtnNJr4tYNEedNZqqWoTDVMD2RzTCvhzIGSGWIBAnxE0vFwntQYSTq8AAx4EzrihKsF7Zu9CiDvm6ViuIBbaQ9o84JclSzp+/UVZelL33OgtLEVzeWm5lXrzgOsWbdr7Zh3YofupCufu7TPpAp42X7+acOfwL9MP060Ae5D5AB4lhHi+ZeqbGv6nmITjjp/Ovv17DxUruGobvwN6c5jA+B/l6sS00MFVz5yFFO1aU3bvNNCmbVQzKqUpk1r2X/7Aay+0zCWqZQUKo763goxgLDJW62LWwQZLlriLVynwmvOJUG9DXBB0ZrFwgZwUTZCGpwbRSJ6PrZu3jOZ+F0DJG7DBypLkNbCz1abmI87QnHX+Of6VyGk6+jn3oPof2aUFHXBQCV/b2sFzXHeBTbMi5zkxifMoiOQdlk/7bh6+IwAH9HIFb9cWgfivWZBkELSFcUOM3EwZU/szDz1vJkvxLCxniaBZv39JCVecQzf1+5aRx+I6fzVw6ISFpTZUAIi+z1hIG0mqHuBfTHGmDwwvX2OwCuYTMmDAv6EgBXPekUdmsZPevEA8YQTmiOhJgQYeION3+3nrvAwmoG147FFXdu9u0lG82QLxLEBlKwAKUqG0mEM2N/Y1WmbPzWG2FN9TW+0p8eUfAk9ZuKtWGcWCLvenYcvSiE/IQ55vmRBMcUoC22/jyV/gPHpVA6W+qrlwKhSBcgR1HLKzbHRQlU9nTR0PheAGKO7nXJ05DfDQrRS3aC1e1sIxh/OQ0l+hQ5TZNiwkdVu01IZ5Ijj+mXesIxZ3vfWM8i4Jgy1uXNTTC+DOcJqIiLcRdmZzv8/EJaRLMKfF4WIw3EIsmCUQL/opnSLJ3w2DDvxOOpdW8Stl/92QVulM3AMK/RsAi6uFNHOEzXaduL9QZuw0RLrOfCHwVpkHwCdz3EmjPf3YH+MIwUaUEwrOHZAKADZkVIQGS2MU391vAH9DMMmvb37akbYqMDh2nSHcjM1cOACwZYrpYW5iWHZBd1iNUwfhvfautVjDSeu9DKILU16E9ZnADuZTWDSusqD/payTsW3Nsmzo/gXDDkCmdzRCfiUE0VT1CyWOqx0JygGX1D7gXpcUEe7ML628upQQv0iCPgEtZDW40oUqsdLXz3wFVFpvMQ2tmgWUF8sIkawMSX78WON3zw4i5ZRgVdxSx/QsKj7CGUXsRLPIGm0EcIWyLTnnArv47t+fpn7qrCuJU46NHaEFIy5UJKlYsbkiDqcAaxhtg5rfIWbRwyvuPG0gWLJ5NH3r+gLWu4SM/V2heRin59iGKaj5avWncecouaOHQA3bEdTECqbdenbn7+nOz3o9MdMaaIk+AeQJumGyLh0TDY0yDu2aocJ60h+wNKvWFAuO+nKDRfXMB+hld+uiEAGb7otZbDrXqqQgjDSPWddCp6hBeCBEQZV6QSh4eDoq+u1Z1U9IgQETAMvbdSzuJLxyhck7Mxcl824vON2LcnW1nuqNjOULNzaVMGWbi52Xn6bPrFsnsA0kLMQl4hCYNovtSFCYFl+J4R45APBm6F1t1Nd1NCEVq8M3+54d3R2TdYzYdL1Dr3LcGKx+b1kIttbzmU+oDFQIFV1KoP0BWi4lIXR7mhFQaCSHmGnD7wkdhWj8TgbzE/BGGOcHcbWXnVzHcuIjxRbfA6FRtCtu5dpkrQwUzNQ8/BYZmd32z6sOHbmyV+Xu7/u1sKR98PJKfJDhfrEr81myyYRBGf3+2hsn9l+o5Q1OC7oyG9p+PQuvgFjgB7woDZ2n0vwq7HUfeNPjYk+BsbW1Fp4odWbFi/MRdAPtbKSxS0+vXj8B0sQbxqZXTnu7WBHbIE9rhBAkv3g59v1yV+w9HG0adI9UrtCBAat8tkZ8suKFKglIlkeaZQZgtYlFdDnW19d7d1TD2ehuQFChCEEleIW1YeYiEDSK/dLpp45pwwx02pda8EkcJ5ms5wPi7gA9WFoPilcgeM6fGbqbc1FAVsBLbX56sAGJN2Gp4uyTwAWn5NFkjK6m/c2i3r6jSSK+3fnmOu2GHCceEKPzgPg3CM3O8JvSLiGllTgNIzJ+IaNubrtIDSpCSobXrbjjrD6l5R54qMvK1Z4i59kvMQcV/miowzQlKdg9h6QiggxzR3/w0T5HCYE4pZzAXfFSiPqTsJj9CkMlWEB5ybv1fWj64WDeL+xd8/wrXeb3u0d+RwK/j1MoELZh2bqESmHoIMmxXnb2vnzqj1ZegxnBPRC2s5z9DT9YlxhEiAzpJkPYBhM4LpMVh23Y4WlXVmJf9wisizgWs1jL0xN6gwauz7j15ApuqZIGj1bWnzsjwnb/P1Qi9fGcfUmI+kqZx+Mj1fw70GGgMd8ntdsmnOdVTK0BdssvHa/7hp0YRgC7l5aJgcPNTYZAcFeSIHIdkPkN8n+yZj4eEk3RCV5UdltfA6ZioDfTRwvSC4dJgViuW/3bRh+thP0r7pEE2yu+mm4lysbpJYg1WUcIOJMrM7hQYVO2BxCLUGK/FGL6jb60p6GrkWrNP/DmrQETF3owZLU6pBTKgXzNp8y424HJoES5H40H4/5MAEG5ob8N8zpNOoVw6PTFjWDKY9VjnEVkAUn5/r9BZsi58Vfje7qPN8YCBv+NSJ2SxrsMip/DKQf9xNTK83Lch42fQwfFv2FMBoIVtshxXOCEvZkj30ifB3hc21bprsf4rFjv8tJhie4QaXXcHeQsRyDgUt7ObRllVWSIKGKqO+jxZ+Ykp/xhLUcz8wk1cUSFNK16PdlXEOXfYhrnmLFkra9clIjlkqjN7PkB1F/tJk1JsftAWMiI+Hltkzj+fkIRyQFY0rJMyjmgp1p6Yt+6NdPqAWJDUyfMPWl8U4v75zsznVHBHFghW8DFkzZ2t80+M7O38r7qAOUjioV6plvSdgH9gd9NL9R02iYOU+7D84puRDutYpdQuIbDn8MpXUT4vTDceAMjxVyIkAUEhDlnze8OBpieiOY9f+1lTy/Zg8aOWhNoSbP0mSQ1hopjsQJNit4rVylELVypIAli4Msl7y/dVqVZv2czGPpV2RDV/iLwmBbNJgBARGLIdugcDe9DuTQqFJ301KhrrwRPcEgenMFc0DbkfbCrpDuwslZqAdcQNN1pmSM8RzcIbfqSOopGJNnT6K0JfDM9FS9PRgEvOrjBof0nPDue2NC+eAHKZzu1p7tfEDh+LEG+y2hgZ6tO8e+o5glveVQmwyERRjPfXhmCM6cLYBrsTsq6wycGN8JzVnA9OvNW+RgiGFuzWQn9qJH0iStbpDry0eePZHbmaZ5g/CE4tsG7p0tDpd/tPh7iAp0HknyBJrvPOZNlHHzNZ3EOy7Rxo7mgGhWZphXgS8gyhEDUozRfBFODXTW0sdV9BkVABafu+IAlHMLaVGtle2HHXqou0mnURix9Nzsryvjc2Je7xaos0TXBGVzwD/LqOPxth/wdY40vpPzFtbRaZ4u+P7rr0znEQ+yISwa5r/Q4Mju04NIj74DoeC8iP/TiPNi07IimcyG1Au4CcyPGPd734/MFQzYhrzftamMtPdEovWZS7yNx1APEXDnS3MhQHpTUaZFDNAWI2SxG1EQeVqFc2tzt3udZY53lK4+FeKAaZymfTKRZp8WtklSu5kYWxYr3VBuO+RxMiBbmfYpnJ7pPv3DoRUQLiPZl/QVXPMW7YHusdo7tsZUTUscJBNrKcvwnyyM/beYcrv+bNO0wgs+Csy0uzA0jzCgXc7oprUN5kzsOKWomgDVRC7mPPE1AtfhM0jWzY4bd1ZJNHWZN3WfAeGt2OWvrfkELvGGMwebWFTDEjbgOe4LRF1UikNG2m/8tEUFrXymTmHaW9hQ+9ByuM+7h+H0WcHYcTcwO/3eYh6RgPuuryrDYcFnB/3JnW+oxmKM60eVc9T+i0hDES8bSeWSNYA71JeP5hFf10uzCUqGcMGxN6HtK++dk86Fnk/geuEYuIjNUW4mmTvVLmW6hZXKkUXNXwRK/dEJPF8ThXXywH4KsloC+C+tUEjFpiAMFvozGqW1/n1UggOS4mS5F7/jjDeCu/d2sGbXVyQMSVD7vzFZA5tK/w+g3lPF73eHHnlkObstrRCohcuAUo6Wx5SXcGQqqwoJkld8Wb3WEDTLxTVXDrAWODrGrMMnLsE5DHs7Om41hvumzeEe0wep7Ht46DrQmG7aGWKp41jznCM9T3CSemzA4DWBt33ESxKCTVIYu66TeM8JwjL3c1VShHPC342o3Ui9H+tlnRC1A26z9j44rZuYx4VlN7sDWqT4kTt2Wtpw+DAoVlAm1PSCEaI2D/gil23M/9BtaSQRN/b0h0S4nIutvWupFT6L4p64J6UhbVz3zd93uWDNBGkTjRWtmYvYjcu9pZB+Y7uyXx3jhrsq7O1ucx9RzOSoHxIs+s9CmgRhIwoJQGxfkIhsOaZgASLdpPQJ+ubClBvTPwTpZ/gWuTUwQako+xqZ+yBAYxCXNWQgeZYce5mvahWvKf5A6wEhdpskXIQp17VcCV5B8nT6szEGWFdYjAydLS1tFVord83+YUwFccKvFaWGHeCAoV88qnrVc0Xdoiydr9Z1bligIz/YR+GB3DT4IJWoRSJN0vM6kCo3ezTKU6kwaMF+NX6CFCeB84fekgRX8K15zEMIAQhlD6UDZZJlDTrO8kztw/rchKfDIwQrrS32NnC1YZcdfq1V/pjmZnNq3pl/TqUPpGpm/7VFekizWHJTAkYmXUkvQOwi6h7d8ipBkrCESyZfRvvEL2vrzJxDzClgBk3Pi0m2+F01BRL93+JC6sn1DXY+iBIW+4av8InJZp7zKFq2Jv+E09jE2I6tQ8RGXyfme15JXjuiMJ5/f3QNxysuJD6MrUa93GUpHVxNIbNesdL4/pMV32sCOhj1PmzXCCYKyZ5ZN4wLvZiwDDALPPtOmHl/8gR4I1m46QT0Dy2H+8oe7t1hyRKRBi+0EjWszgiCYbxuTXPfMc7VkX4DH5RJeVBPwHuAFkg2XswNc0dHZzzQiwPLhBdmK5uEBj42nZuHjmVo7D4RBYBLw9tr4k9ht0IALBM02f7DfJEJuUTsGLDLaEG1LgqySz3136JOi73No16UwHcWM99tXzTPZkgieX8IXZD6s5fGM9+7a6TyxlxD4yTNqZD9oAn14XWly8db7iujA1blgOAxV4v6SYag6L8XRxbV344PiehKwBsZF587a9CKzgcwsJbER2ZrOyV69pQMVh+C7Z0Y30YwOYmGP9WhjO3Vq5A56QoT4VP1qlt5szJY0HTrq7kX14CqGVA0Ab6kHv+UgKmL+FIug2C5r5uXJF4nyrdavfdiuxld4RaNO3o07P6u42p4F3/NRYZvRPkzQ9y9pv+rdzgCTPWqV9uHk8FRRYm21mUBUiq/lZkAxKxMJjAO6951CRodZbNDN8AswtYQUDgWQygQUaymaIIg8EDvU0dN88UKZ5jzCRgcwHzeZ7THq7AR0Rrby4z58NnuL8L8fRMlGtWPiM+stxMWVKZ/2pF95BOmLb9OV1l8QKtzOfhyGxlzI7ugDSeI3G0V0fgRCIXvEjjntePYsto5cqjkdlX3gr8yzrXbL1jDV2NVrqy562CtntBeHu4j72E9i+pIxPkiezzvc3Vk4bvAyefKbSlT+yCaFQFBmN787wIU7KEWruRE4ivIhjNsm8qSc7Dq3+mWkwEL1qyzCgg0wDen3qLd1YyyPZEUDVyeY7Qk4scVvLDFcXjrKr/0yeTI9rMd/aAx06uKPzFBx/owS1JM7YG2+6mcR64ULsr03UYSbZ6tvF0YBOhSfne6SyLfDdQIZaBwyNvcMewF0zQbbkXDSNM+DGrXpjXaM3G5P8T82eaEvdsQMJiWBcCfxuIjA2mAjEFl9X7w2QyTr9eU17N3H+Z7zljs9xPvUHM/Gmypoi1iCvp6o5QJRlpGn4fCmYg1VfhFZ/rufSP9uB7xhb3j6pP/SVva6aaOQ56IULxItTOkq/s/Pu1lXVHcfFbe69to20tBvWBGaAU9kERllXqibWbioHl8kpt3phOvUX6SzFFI7SEaFvjhi8TeXsknD5CFrY/fuLyVZMBRzi+tV3lP9Q/d/InMzRAcG4u4YgE9YP1+YLB1iPP827SnvHJTAWQkJIWeYAjN55n4z5zxD/YmXFi6UmGBdYdyI3CfMzbQKJbnL7Pxf+6QH0Wr8Y6yKp7IQ8EhMHHIad952TawcUxMCgU7iff4JSNV5MPfJXGkOkPaPZrT3LQvuXoFFM47AHWeoNKrvqCBjhkavERSgUvaCkmeN+HjHWLIuEDM9ALNL3L+7VEeUbDk3ngExrUNI8PKaIH0kA9V/Len+2X99IpOsrLpHff4dCYUVJYDRV6KfOaA2AiCm26l4xTiZRF8BFhEDM/xVcPjHgzMhJqGGF8TmUlLYaqia7y3QDcfeuEuMkAM4tFi+L5sdG0L5/6FFht610J+3I/rIkLeZDY5wa4SA18+KUdzwho3wm9EWOTpXbMOp4keQWi9Ky9vWu2ZMReE51z27wwTwu3bubLoXUqTCO2ffXHs9lNDzdkWRQc5akaKxDf2nA4SYdcdP0ESjkVEdNrPyOYm/0oVRLwRwFjHmfJAdZReE/WMohLc+bEvUC3qSEhZzye5uUCAKVejbmuDY6duMaf5+fto/xHjsW3A0Vecx3CpHBrwTPvyO4GmsxxhGvyLZpi5x6rL0q/Yls2MYSoc7pqjZgDgxxrFxJLZnhjT29ssLm36zgAAlTE++MqwnEsWqdjh2YdI3pAZJlrTdxUV9Td3j8TaRzH/+L5ZSolK3sxj8dWBpMmMkGQSve1ZLumvG2SP0zUSdNpCU/swcKBplDS2rXo1ydxcVy2G9s9v1/jRs5YJDcIF+IrgZXKF4YXog2FvPFrq35I1iOrOin9JSeHrKXuSRwkKQ3LC6/T+OZPn4DCiyuRE5rOfSq+R+ggKZ26o6v+WxjsnHkH+E/z9+KHff0af7vNut++WoX2UA2Sjd5LDCtwi5FjEczDT3B8ovUbgYVwl8Fyyux4pi8yCbtDvcDRcjIpo7Bt6Fnj7Gt4OBNxqE4bsHOucIZpjJJXoAx+tIPzvL3Xq/EyQgZcm9mKHewzrcfywJZas2bv3hb0+8rxFriGpf4DCYilZ9YVY32bT76ZS+odego93F8RNFyopNolzAVAf8INv1jlobMiBjst2TVxk5Z7j8CIMLhCosTUmrtZVepztxCnm2tpACkpX/NZOhnxGj7aNCDhyx6ZGz9k+LQrjBeOepYz3Pha9eWROgN+91r+95IpFh1DELYAlEx4a8AjUV0x9exuem3tJLVpnHjc/g49ZxrngN3ynjcUvTzYvCHckt7pyF3c9wGHotLhF2m7B/zeVkUVFgf3/uTwDN5X4O4ge1kzD8fb1blwQ4OcSB9c+42Brj2UIUf14rFnaiJCYRoPbBvfgwP551k9WoOuZrsa/xitlaCWRyYALGN73tzaHi8BUOoMo/igiPDHylRs7gIGgBA38eOvKRCxiCiMjPA/oxH5D48A4UTj/3/nWdlo0gkGGU2KtcDYFoyeCJBP4SBGc4hLQ+vJ/IOtKA9JeoB8RURARl0OU+114ZxTS3Yzt5rD8SxxXt8V160DLDXdVarQ7TDICDYfp7Nar+JHZBsNgft2O1vsaUriJZQYvZkiQhZk0PjApUGW5XjVkxUTHk71nr+t9vogCGygjaLCLOBxWYKY2czV2uxCpTLjc1Uw6Ip4LFcySsOAyIGmz77dXVX+RlXZheldNZPpXKvvDVTfmvCPIpHhlakkV0V7sWw04bNXoE3G8XPoIm4K7/0qx2XiICBkvxCGpZFTIfpXHGI7H957YK68fHA0hRqbXlSUWZ7mOIDsOq7PXWsbnh83fjqyAX98yarmkNwrvzzVFNLcAoSl36spsZxRKou2ioinrVZVilAdMTXDpitevx4Q0Fyg5cbHu3Pp4MPIjObclB7QJm8LuaOKQHW5Amps6WzyoPEV4iIwdoxwkc+qn0lyY6rk7O7QCdX5fp49VGrM5QhnwxuvPZvo54i+QsK0nbARCSVV8GRse2Psavo6jUUKnlBqVihWOaoKksGkNrtyIN05LyU2U32YzgzPhpQiElYNpB1mQFQdCzVEnL5Z9szGIBPd+Z/M1H64cgmflrMrJgA68Fc0uZB0by+heKVG9GqCOMsivgUSKKV5k5fQkD5Wjxmt/p8iOLKZ8TNm516zO0XuGr4iHl4gpy0NNeG6wgubes95PHWfkFNLjl3nRVakv/CYH2KMtpTkBwDk9x2O6xq53cweI7rQYVEeudWxXHcDn0LO8mePcZcr6ny4lVVqV3h+gctMJZJsiH+TFmamNvlfY9gvWZwAPV4UCJZ1p0A6lErDDY+QsXVE3njShReJx+saeJT2ip/L6gknIDpfwXho1t53dI28AIeniT4+P+hW1JdLB1QmERuSgZaBkq6rRQxOf+gBI6/Tw5QrGSaBelSHx7aZ6j41IshnO+T/6V3E4iTvgzGq7GH7cSdUCKVq+ld2iuEsmWcgrs7ciJ0gys7SQ4eVwQZ84kcbRc+iT05u4Doe1qPGTDQmG40fIMnuZPbufML8+1tYlUFQwXO9TgG5f6rB1nDuQ7ISG73Tec0jWfHvi/un9JrlZa0imK8Op1yB9ZHaq2FoTVCt9ple6/kqAJvBfFGPjrI5JFgvBNXxYQRrVu2k9XpEBPDTdX/4Q9WFrs3cJakpIN9Zp0DK7lL6+oZaOki5r1Ri2lNF3Jas0ipDZAsGs3tThLoAlnekjUOFzRAS9UhRU2+C+bvzYR9tAU4E9Kj/hIQqNlHygKcMsmfDI0X/VAYdhKtTSMcsUJ/9ZeKYpznFhP2kbasHXoalPZDB16I40c+X5+prvDTAObmKyuvVcMTpm1ra8d2UbWld6QOcIOF7rQcQiA9UP0f+9UhGFyO/WJ0FsaIPJaBfCKJOKWcS/vluPXLefaDzFefvB7kaQOTNAWadEegtPWYD2dQU4KRhMjh13Jey6lfWdnmidWtXoNtmRT6gihvcxfYHxZGfdfctgaouCrwXVec4we5TvCl4nEz4juDC7NaZNSDPL2vc5ViBgxNSCM1fD6LQixjVCJ/aA+vInVk2PyPPFqnzIrW9xUcfUuOR9J5ssIR89/0mgxKieSn9fRrBjN/Xpl/60dld7jdyz0x180vioQqtcwV5pd4a6cp5x/EmmIhNlBNisJbC7qMMLJVyo5brlWMVvi9cIL6wCj1OwYjEBSatVkH9skXe6T3V/W2luZfcBEAatfYJtw4T0JaDMSH+eiE/mcOQPMvmUsWkMDZo4W14T4SpUdt8jsXEmS2YY+LWheA4vhn+knrjQvJXxs46oJV0o4PXgOgVjs12oN0Zgoq0GVDaWT59F6nLZocU/KHc/lafq4KOE52dLmmXIjHN0Qaw03vv2XJF117QyjEbe932beo3DiX3ABLXEOBrvUuF0SaMz4iHP1k8Zkwx7ctiTKn+P9vx3j600oXhWdtFNotctUeza8Cmnd3PVRZHPGpuJZ2ZTNtVEjZSmkaSWG8X2S9w3EurGSi4+PuO04YrZabL6//beY3RJj0SduYqIP1j7AfgwpbDqFdrDbxH0lm14IOJWvyqVpVoqgNo4FKNlDbntabdCIqeJSXI/czbDhqVYFkGcaP4L6byOS3u/CeMKv4+WcNDCUE+8SF7X3I4wVbREg/Omm6/cg0svyFsae6whYyn4jo8kP33Q48tMDSt0a+Pbyt52981O3JhvmQEu5+gKdompmtEP39EPkatWkVZQ/TPluqHXwusANEvhk9MuxwLT9pLMCr3HnGP3RusavxH3vpNFx0daMmi7h8BPrBrm/Luo3bFJzgxN1C+BOuTOUNl25v+gTzpIVmM7tnJYV/xGCY/bcUFPWIhXG481SW5ot2LbNj7sOSPGlfpoCwVse4R56jakz6pzPF5+P0ZLPRLzWYE29sVX9UO0pN+wGnJnqRRRNk+0VAN6a8arSUsSDFZrtAgaUnLIkA3zgBx4lwNHV6fsRfE/MYijpUJ1NJad0LvfGf122qhC7f/L9EQWn+kxKEF1OPcnMPeTpUxmB8oUC4E2C8Bd0QAgC5uewZ4AjQtWOl1cNdvEXWRON3Rx6BxWn7sogBLmcsRXZAFm5inDJ2WZaH/9Vbv7/Tn5dz1mqee+yJHvRBjCQ4x0OQOD2TYYKqiOZzilnPG1MfuFhJ9m+xzey5AabQvzR500qlitz/0/Evl9oDsESGYNozoP/FG1jehuhiKyFH2z/BRR2Nx0fUGu/ju3ZbfwvauSqlcuQrB5GB1qRXOhN6AuYoHBAznV0p0pNC7shI5aSlooDtaCkY7bLTcHJm00VRa4Impsn8cycfFO7m9eaiop1i08WVFJzKKfweTTthRUIiS1zzUhay4sATYTHYE8cGYSl0D0OFDjoXndliLhsdMDbYYqF9yV09LwSRv16WWEQqfeZ5sGUwH4hOb6lJsfWlW/GDuPFm9oEinjqKaZkCe2Y9MMuD4d4QS5BgTarQ7aHPNUzty7TnLAKKI1zQM1UuWwIjrsdJwYLEANjvbtAzWPTv5VUc7T75Z6p4U44cVAY5p8BkvrYOM9wAtlnwgjWhO6+ukbrDOxuum/KnSVYB4MIKSI014Vke5ZM0FtUBUmSZ8O0RTOr21wFfMC0XL9ZhkFmSaElQjS9PbpO3fwE4DAyZ3HYJVWTc95vLo+yr5o6mq3j/XQHXNiD11xyiON5DX5txk1ba+2uD4hAojtVwKyx2wfzXQcvafojfZYJWxkuxteczhI6960xSECkDdVIhMYfB5LG7VGqaiJdUzLYWks7frt7WGlzg5QE3I6lXpWnP8uu1T4ZF2f9/vAH911GjOYHHjmIc1CSg0U2HRu+I6sxhTXTYfLBepn5QBkKVeHgSL8GXi8XYKs3Esw08WUEbPTDUS/283ns6fJpIINRzNsElPb29WuXl9PNEADDe55xitaSU2WsYeq0/rG2J0+Neqzou5tks6HgZh8vWrha2xffRPbV4FqxGBSlqaDq/mURrBCui/X8dQV/r5JauKSivehQD6vijir2cNe9XhtXMNWwoK5Z2hIF6mkMwl0xFmVdn98SXxNWm4VpHskqoErzZg6hZvLb4Xb2Vdka1NdWgWzFt1Q+lhlWLILnaCL398JasQ+plJ9zWsEmXPFxRErLx8S95u1X2iHjRSypYKZh5i53LZUSi1XRZda18QABRBb0cmfPV7kJ/RPmjwo3171wTDnLRJogR/m+WIYis1MAPTsAkrrSAsQDvxXLE0Yph0JvXIWoWC5fq6fl4hAvd+ZZfx2y+Q0zCE2aDhpHCbZUSsyFxL2XLoEF1UrzAUWvYVlKz0EvW1LNhxpVWcG5fqTIZv+wQ8XsmONtmEBXwciRP2rREgrTo5bvO7P6uqbkpZGBTm1fB90cpjizcnZaQL/Lh7384AWwbD/ij4CsUD76LZnTvV65nEDWFBAPPmIGjWVJUYR2b+qzHAkl+iToKItwFXtHEgDh57/hkMwXUA5h9L005Q0T/06RWExXBH2iiJqy1EyQQ/Q22LrbMYIzKEog4myt5lIav9/hrg4kql2qUIgrkgZwhCrI6eRd+0V+KYwxzWruBDyxVnZ/YAKwgpiJVUhMOn++NSagMx94n+gpcmFhGF8ZDYq+o1tLKch//i+IDg7dhfZ+pgHQYoB/647NVjq2DydVksx+M3gpMBGq1Yno36456GCWjYMtU20X5xQhOcwcG7JYMVpkcmB5DX/1OPAarS2U9PkOHcZc3mRHnqOYh4REr2qDSW2AJhK5KJaKH8cdISbOhrSgEqAcDGHpbspTOVr0IOZH4Thmz+sb4uAaQ+/ATe+ZPCQbacaYf44A4Tdgdo/oCt5mB3myS8w5krOdJEXXa1iDnBvuoiJ3RRnlgl5FxXLFZawNnyLqIN7h/wTxmDY3l4C0rAIKepw55BJwtprAqW+fcpkahboetaS+5H6QFP5U167aUIjBegQgkeoxkCK1zsfkIo99ZKTU0GUyqudTbMpyhYoZVQZx/NhQZCQizziHKtqSG/lVwDqZpBGjAFOXaW9Rt8E1oN6PjjWAGbWLbWO7lkGP7b4WZyY24Nj6Q3tMORQFhlSXZ0YveYrGRr6v/qHCmwHjXYJw5Lxb/HZioVFxLFn+yvhoNccShDmu2c55vZUtXnKHYrjATnIBG2YJBYlUoZwWfuCmtm637/I14zDBRZj08lAymm5hl3GAVZQRB2n4N+UTxlyzKFn13udLHi6zFALplOpsS9URjH6CjzC0qcYp2rtlblv9RNipayIbqp1sUe4tSPooBKXOsV3aPzYq1Ggwx2x9oGG491DXwB8iIfwad4A3RfpLEqKfo0m9w7L/q2TsA7VjbKPT1kWKC4O3rJdw0xIsjMPG/3M73q4Fwnb9CmtM7rtn1INwwy73f4AgO+ScWjBsr4viqCYz4SWOxRsBb9z0KsIo2I13O9NErO0b7A+TDZ+KDoCPFs3U+ClWXDeyVKJqD/O4i0AgdXlrOAknXdJYy/ehPqLsERIO6QymMmJWfOzYQqARtH7onnCo+V3ZUkmXV2EsWGz3DIEFGA5vSZpuABr3RlWgleZKbkOwFDu7r+o8zD5C90L5wj/X8ady5hcEWJhS6rH6xxSHRsWttTxBorwCpRwtcuF++iy6YfuTYPKJXAVNCvH+/GPLzwHvitvK0OldogUCH0wd5RSscSvWWakymZ3uZTQywXxhr5z50Qaz8oczsbPtzSUvbMfODzlhtYPQtwFGQjJ19SvM/FD+d5AwTujzeUXcSfFRMDWGfoUeXY/4Ypg727pjGMdenJls1sCHMP+RNyhKWatK2TIX8GaCCOrvjn7MZLeiEsz9BovRNt2D14Q+Y30XXbBkPf4qU6fQbmm7qmVN/Z5qx/uf3Z8Kqaxk5d4XbkxMyj1zSmo7As48MMr27OMgEAn38tPvK0Fy/Qy90HtENhklplEJouvLe0P+UdUmIZNB73/phodr6Hj58oTr4K4wOiZfYYHZNP+jawcEt6hSDjmdnuEfgcmDZdG7fe5dLZ1xeb2L1CMeFaH5zD9pDjkdheZZljlxs9OqY/TpKCbbgQ/ND+QwviUazh2W60WBG/7iHNLW+3xlxJl4/L8PI2k2uAclOZDIhKfEtZN3uFCUxlfxFj2+wAmSKeqpqVziyaqesy8jZ7bh1Xa2B7+zZbO4eHtSyLbl+bbXb05c+FiFqoByQYHuoAN/rzL5i1nhCBc4QHWHgd17U+SUxCcHzGAe49spSWhDh8s25n3R8u6JgLfvOxEc2dxzkGJzGR1LfQY0tL+Eio7zeuVUhAupjHvqk+DZc2P21F6L5xqVoBIgwrsJ4L64IdtYbWg2Z5aYOo4tQ+qWrlQwOyM/AntHEHBOOy2g68oFMiW3TL485SYnKLZMarBCtz5NVeDuUTBv8NTl/ww3E6w2M/nZYfgiPejV3aF8fPH9iFsirTzqjNbXExKRmDZ3uB8dTX9Nurfp8T6WB6/4tPVNxnQNBh5izqEFL2JewkZqD8Uh1zxfxoXoz9OBW3T9zgM3AxwZhjwrPyM0msCMIOUovttrv1nZLlIma00XMt646exR8yR5WKC2AiweFMdkh6Eh1+sZj8mshAdkMhnUXH7e1sX1M9d/LgBsryn88p2Ld0JfytLKTSjOt8w/qhPnQQpnv+UBPrZh/jKao5WuI4dlCER7Mz1fcFPaxYdV1JUBVjGxDr4vJQVJ26zVKxon/mpW/c3q7rrT4ybNSuUOmqxqu+xWaNuSaPf5fW8J31p6D877EbooZkUHYUotgsFy7cNfSqgT3QY3R2t92Vi+8Ml/m6GYQF1qzNYbCeqELK+Sr9paufo9n/geu8owxC60n/gz2XrXxtkWCeXW6Md6LH4feMHfWEWD1KCeVGoWlulsViyv83C2eWqqK8MEWQSkCB/7sDUh6yTbZSE9zq7y2haNzZaQ7XAMaotabShJmfoplSljzLfb0c8fTOO9GB3lNwOzvFsoToWhJwoXBcAx9FJ/jucUjj524G0wCs7M5HYZaZRr5Wi1obxY4k/pTjahtO4x++bJ6oycPc4UUIUkUdPTuyY4vYwPTDHJjN1/CUPR+UM3nM7k9szS2AZFUyztPgDCF5sI8XfptaKieHYv0gQjd9AGFHVOsaIit+IySOp9G0Kbi+H21xe7rRt3xatIYg+JApBmXTN0cE+B8eeN4jzz5SIlGaFG6+jVnv9+AItEb5izjIxqONdhMyZFdjXGAM7oCN3gG92SnsIFpBhC8jz6kGaozdGaEtNspoUnDPaodh/Xfyl19d0kClyh6Yekv0z0l8aEg4AYAPwfl3E7ajFvEa5Xh5kAfM0Cpv6UAF5/27RzDOeDM+LNQXX80qqDgh1sGs7aQUCcuNsCx20WZnj13uNKje2PtXvzg2wddAifGInA+xceXYSlzpGSAZ6VS+MiwiMO0I5IGNZBNzdEk9dq+OoohC8PW2F/i+oNnYTooA4JhmIjorG4qdUmVwi0/DB7tr6IKy0cX5hREjvAI5kiR3iZQIS6vRAHwO4AlI5K8Aqv/Y8Xn+xLScCz8cgal35sE4NdQmU+W0rWZRbGri53UMggarHTGTyFB1hexdsT0yWxDjOEscZNQ2MPoWHKHQzXRCBRP9Yma1C8C5menyh9n1aL+7E2YkFZ4wAWKBesXl5x097PEqNGU5nZzzkW8aZafwVzpnpPOtAruqzRXaWI6BAZLPCiXoHCT432RO2uLjvS8OiAQ7CfZ5cwv8AUFnC12nRXhBEXcH7kMcn5T9Nwv7+TPNaEmGHRkq/qtEsO+vipGADrerHxgd3+N/8ibmIcQSIo2fWa/Y4X5RA+68echGjm/3KtKbedsWojKEmPi+ngNJrJCU7NB59mSYFQH0NxE57P7C/n+vtoe5k6DwcqZfjF8Vq9khoa8nBFa0UrcqU4TB6plX4qgoBvVTNunDX2KwvBdtZ25Y/aUIPej/lEDDd4/klLV7N8LvQXgr68iynrUdHWjveZ6LnxV/cQZISZLhiIUzVgeOVX/qKXPR7u12QcT4iX7AYCTNiXXAiEm5ioojfeIvjWa+coEjIRAEbDNUmVWit0Yf3Q1Q9rnzOIgzcXnPMX8i2PyNUPDawwfg0uQLWoABAXYaM4BIr+oleLvQSxzyP/0OqMFVsWRbEBzY+56C7/WeU4MIPWpuzgILPSiIq4uQsvCoB/ExT628YwTA7Cb4UcGzkCcgrCCjiWV/5A5bbLVSanTRSuDSh27W0NfHKcaxqCRMVnFPFqOH9yfpgD8ugvqVJUiaCMTMq6fve+w7WkJYYhRt1AS34ZpgpCup4RHIYt47d6GZo9sjZJJX0Ja5XYvpO/+ffyBjpjQxtCzEf/nW2OKxh6Q6aCTgwxcHS8xRlvqgtXZX22VAiYl9GilznRSXK8Ui59xOWnoOu4IuD+X8Xg072wwRukprVY7fCJCE8OXPGwteSDQMCN+9zANJg4h932l7LEUgthuHxGMqpgaOVUDKU86AkkQbsd/0TqTKjXWIvfxx4pjpUEHxETTJMRJMsoSk4zXdf2U//LMhvmUYjHn9zFB6cK/4In/GGQVpRCyYKA+lVKX7+deGcibGW9GIr0WtDPnsC+ARqtnIVyF3k02k4Sn6wflAGV3STcXek4IcGF5vUpa8ofjWrRZ6yM6StEo6zUv/ibMCJdlxluhTm3OVtJ/J/kTKXyYDWR7z1NEM9vpFot3pysarkVz5LO+ptteoXR6IGs4RuTl4f/Etb3OaXI0K+4CRRhDATY/PoZXbuhd69U+/XXg1AUy69NZO3Vfy444ZbOIHii6vEcNMAad5EWCZuzyfNatBrB5n/38d9KL06cNrHsj8FC1kSM5+cfpVrBKGDEdW1acYtH76BizcHNuKPFo/4u0kVgMKXU8O+Li9UehQRKcQEPDNOmVjahzKDiR0Sf1XzzHVDnmtu1ie0KOphFHJJ5tLhvyhxzFEA9tbrmviQrD6Ss9dDSNjQh7nXCEr9a1QtkMRUemU8rYwfOIn+0L5kdHXdMcaOLJ8wnv1hNVFIWuokp1ZX2Z7/RZLtiTGskEK2QcuWqiuz/KZv9tJNIgT1gXy2smuwPw6gQUwOLi3mry6AdfJ0f/jbjhLGPJsR+Tedx3AJ2m68m1HVFjbuti34G2wmWue4PECb4uEaCVtXSReD3Si0m6jYPwIMUjBg0fZWHGugm7v0dI85DFHcSD5rmsgBHRxgxxFJ0PQ0wUNRaKihdGv31SZG8pR2tAzDc+IZCaRdpdysQ/L/G2ZUJ+VWQqKWQcuwtD9DPT14jAszKf5Nfp0e1XyjGkPwMsU7g1wE8FtyaBcietpSJ65q4c7Psd24hGcnZGZL5MqlEP6faeaX13xIy5mwB94GiSb/hb0/XWiCQ+2uGSGIAmIYDLAwRlxjpbqZ3rXbPB6RfHn2LKzXDDSew6A/LfaYN+9Bl5aRGHvtXRtOyosj5sR5RfthGTMiZ9uGWgKkc+UoU7P6VlMhXse13f7NKFOQlOVtRl8DGZxqpd4URJ6NCP5Ju74eCa9rWvmQTQ9yjqGxGlw6yzH6/+/l5KNNBia6kxvae59OpsqE5QscLlznz/Dp1wpKRkI+QYDS+MOTiXoAw2mS9KUAMNwPayJwRr0oenXLbd3xbBHj1Wg/jWsuLyNCBaKdcl6P7Qj2mm7jlszKrwIq1VGnWORgSDTTyvBgXM4WiyloPHSIQ7zBzH2hFAmGM5WVEB4AvCZduqhqjdRwSb2sXSwT9Fib4x+ks8UxFQXxlrMyUhW1CauxQjfqsCODeQnh+cXgHRBqAFgbeE2c+EpQoPZsILQnOd1pKlEXgvCtuAeBZILmV7ka8awLQai9eoyi1/7CAmauX/3D9C3Iea9ipdTrlBn+beTvYb86TMS+2020ej5kvJcOceM9yhiw2eobwuMOsvrXqpzbH/gQ1+dhDc7AUWVuJUCANEXMCEaV/OMXW4pGQXsewvvrh2nH2dn3iUx6vyFzYawNhSlYISJKkyzYl/C1wFVt1DI9gA+Qtc0Kz+AXaBy5XN6O7su4MfFS5RfkTzztm/IyjBzcJc0oK2lcg1HcV6YT41OK2VtG/3Awt07w0Ksp7cWS+eBtVmfBk0IpRNKYZfg7icxsDrdQAyFZ+MdfJDnQoNoiVBOukBJf0LTiIkMKj+zdib3g/s7eB4MfXpnyE0P1U3zrOPhXud8TsrUZhU3W++Xi/Y3521IhEU7QHLtpnW2y9I6404NCifF4ZY+V1vg+N0Wprno/YMEhQhUD1Ji4ODR8ell1nZK+TBnS3i/DJX8MLpcOjocxRXQlKWqVZDA6+tl+KlWMVK3wSvkJXotNmcz76jpLbPGf0hwKW4dEFtE43vHdFCiX8eNpKD50xCGCJxE4oOcnhJfiFhOscMStTkH3MU+JYcuScBqWb1/qoMR0pHTtfsnSa+dmsqoJry72jt3NtucrR0os3mBhnEAwJgB3yvdaAVMLGuNXfV826m6f0QJD8Xzo8lC1Ygd6DjvAfMStJEdf8Q4wHNgJS37KFACBMK86aUsJA4iwKz70GvASASjnUl+LrY/pl4pqeVV7yjJ7dk6y/YyPK8Gihjlx7AVUEOWsLGRvEdMFsn89TKJR0MBDZN2qiTKo1/QAipKRQO0P2NO3hiay4E92m7z3uRvH6811j46zvUExSjaLWV8Jc8IIoKGIHtJ8D299kBBiWCxtLggN7GWkqagIZgoIKlaZcHq8jlJneaCOicYms+zOSw1/3OUe0mUynhH1ZPg5jl0svKCAM+QMwb8oRm/T/Fv9awsn7QdD70nvzqBvJDLO5lk29sU9PrcxRz4gyV5csnKxgconMT7mBa0n4dIGHm6ykDvP/uQd78n4KgK5mVrg9y8Bvy/nc5jv41Q+Zd4i/B7+HYT5rZ+sKWW789bc/gfEP4zyvGqmDHase+FstZD4TTasS6JQMw+YLwNYh0OPJ3MtgoqicCBjKiWMP79jl9W2UJ/dYdyrU/Lqe0PjaGTVt4OR6x21RIMNCk1RBwsiV2aDtz/RUW9G/kbRFrs0/diM+XJjqdU3BLpr6j59MvP7bN26mv8MlMlyJM2WAMGb/RHuvcPabDdRPAO2WYLZn58btuTnXvWbfJZFf7ggJnI6LZqomwpw6Ak5Zy3tcqkh2LqNuK2n+FJiUX0iL0i5EnEzKZkifCKxv5nzfLJVgKDrbgr9AomhsEIeMp5BVkKJYEaoMccDlFaB6OpueCwPm/HtfOI3khzhm/gooH1NYMQM56YBotKCBZqqodFVBoKS1eL+fPeDj3MN6DCjfUHvOawtO+Kyq0rgpdZJaFqGE118WdJ2adXSo6lQcUNVmCQeR8Sl1UAAqX4B7AppnCjBwBot8nJredKaqAJG+h7kjGYJVIhZ7s+Lztzf4ohw9qjWFFBgaSv2cJejxQmyQ/NTKW7AdW+gEUh6HZTLWcioKy9ppKyQk6Lq8aLU3mCyqi4evPYBup/gqbXSmr3qgBR4CqbMlRGWIiwWqiOljjLT80l49cMIPt6DlWgKUaDYCq7to6KM/PzUxHeIxMjVWkRqKfOB0P0c5CdTnnzb7hB1rCNtFaBukS4qwk2tKIh63LthaPZrGTwPb0BX5nG50ekch4VWUCLhlk9cR/QIFe5NPWZWlB4t2A7hlO5H22DiYKjttcRxvLE/z0RRAOBI1H6o/7pfq13POOiEhxGQ3bPyEQiPr+434fP6ogfC77Ot/gi8mmromBRbUzaJaNkXxVuYEeCBTIZlNF28UIDrYqGYkNyPnEpEdAecXT7PPkKxTkiNjHabrkfUIo7xkodFV5c3AfqlLakeLPe2ARlJgA1Iiq13zmVognUTHxC3960DBmGSjz9zrlycolSG/IzIN4spl9q5GTcZRhmhyE0vQLKtHFunyJ5Tqt14ekEiJNe/1N97Tcg42vup7tuAiNq1xEVeg5lo16i8uucwSitOIJSL0kLkVRYRr++xEvU9N3deTDSdFuzcerZIu0/7nj/Ss1wVGcR9NahNzMIko0N98ViMYFw763R0V/M1skya2n6cL0EMXZRz1Uf8CX5y+iJBNDKjTS6S59Rj2vVhatnjrK+zNgO9g7Czra1OQ7IjFQ4sLmOCroBxsWkSWa/4EVXmxmQG/Lop43mW8nV4anjQAcWapA3MSzjRTIRp85B3omLg3Joc4tNKY2SbZ+BuiT2/GdP4dt9BDde5GACRlbNHiANeAnGk8DqHy7vh8ed7AfGavkZ/rZyC/pynoiwrP2B6WRzMOCc3m8UD8ybhnFvcWDs6Fz2EcnRCXsavqBgNQBdl79YYKPFZl20v8vxErLlpZPwe76buZD6sbb5VpjKQEQBKJzmCTaV3r2f7HQw7usrwF+LRXFoamUwt25o8JFhDkweRVI3/KvOZJpW1kpzMFNQ7Bj28BlznjMe3iVT/mt+HR6PXGlT1bhQm3icDfQsOVNd1f71BtkFXnh27RrAph5pCcOPfYz+ne/FwT2c3ryd29HiKwc81WdgunEreclXRynyN8Ud3Hu9bNCW9zDD9ihw51dBdRuijFvPjqf7f39pJq2wtehqeZo2qjPY8B0fxf/4pZm3h0smPtLxzK4asiDH/9aQXsNE3m9STZYRF71wahCZBGbrFayp7iPKH/tpFvS/i6CkV/usfNK2bS17zyRNlIJ3ZrswtFAYBDD1+U7ysEK9/U2ZpazIsJLUL6FrQE146FrMx/Xw/x7MYsptS5OxU8IOhJLkonstQNFaBA1EKw5Glf3dC7tYJ+BaX/D3138yPqaCDA129UtWZbv8yMSDgqkFBOSBddfKBZx5HAPeWDjAn5n8Yn3Ds4dtJdg5Ca0Cq2A53M5tRbvpUrWtvlR1vCJT9BzJcuEiyhm7MHQpmouEtC5mNHKOZ7cjAoTWKPyENFL3FLf9P3rxFxy2lYi2rbI+wausJHeu48ehTkgcsJkYu7xKzowp+z6nDcckna289NcYz+urM6ajRFdjq8+WTecfW3OECUeC0vVH7zq0zyfN3M23RDFouSHQbGZynFJ6lea4zDyDAZgh+ijDD+gUKBf8TZ+KTZIqfc8FmEX6A7PXrxAp2edNwx2AG9GdtB6Qv3yEEQZjsHjeR3QDmo/J1gnF6yFXORFLM2hvZnh82HoPG6WVEeYKhL8Gw33hKZz5OACyjdKdUx41hpKtpQomOmFyJACD1FPnLQF9HgzpcyRM4WufI7x9BXUr6JvXIcibbgWSTL442+DoipRhcXtM1NTu1Xcgr3I1L61tHFSwTPu/AjlD7FGmejSEdmqqfVGEROkqakVuNlkveCV1GM+w3WpMoH9+CPRmyV9YTzkO7AajVRcS6HclgLYuBGEBVl8RrCOE29GyLHXjIZEbHiM0nsUbfRm9Bu0Xt8C3VuNK+T7udF58mjMr8SK2hKUri43TzK3p85/ZY1vRbt+nrrUyuO3v6OBPeQH3F7eRL1aPT87EuMGo6S1PskAhGmDFSAZLszOMKY65l1lw8Pruk1p6Gog+YF+m7JebHvbFndRmDTZgeTi2al4KNO43nNyPn01xMCdGTrANk2IgZ4o/aGDZwbkFzUqouwW9B45LeV0AO93pW75bpUA8zn/9djIpkTCne6RCGaPlXbM7X/hFnnoGVhxO9bTcedmTRRKh7/cf0rUxjyn7cA+XyfHu8CIOuxZDVHV+2BHFepVEkMSJGCeD9HDzuflcwIZNOBolWYt1HNgoagh614BJ+zr1hQdzHDmy2uNZ2GMm6IV3gu9ULOwr9bv5IN0wOXADs9MzK4bE+/+3pJxUYQHEzSEiKu1kYbDKCOZ5n+DKqKDOINhZdacS7d3oBpsCcF8rIyf2qNb4VByBTdH6OcCdxpz7qSGQYBXDyZqLO53Tv3s0/5HUOFD1qtx2HfOMNFkDADaj0NEsQAL42MRpkryql4Tl4a03XyU4nuQ5PWytfE20zyHhWl/3h/f5K1EFbXPjCdIfzk+K7alCSok/NTf3cy0nI6fIpmYG08x0XQjPwf3HIrDqWNAn0akpsCbs9nCpEJTjZuxXXhK1mFlKpiyLZXOYU5lc84q4ijbgjoIz030U3HM9rzJx//uGS9pZbdhAoTLAmeqIG8yYKQ3tOhd2TaVM2J0MwMD59KMkGnq+krJ3UNalArg0mBaQnWh7Di3bKm9NSsouhTCwCskJ76Qv33MfhOu6BAuY9N5mB6URFKmGJdgaJEH2XlnU6KVODT6TE7ddse25Jo630nof4+4nGbYscQDC/LvNsa6zZihR4ZQSF23Sj+sSfYmwHI9gTlOzCiOPf8wWoPuev5e5+TltbdnuFL6q9bYh7KKvqH/ltkCOcWHGfr4ggqUNdjb6baLRTAJRaoa7yRpF6V4PgjK2wCxZB/FYFvWgLKCzT9TxD7oQ9F09FgidvzkYLpyhOZmSqX1u/oeuui/G0IMCu0GV3uvA5xRourqxYAf/3PRPRTHNNsRf+Ivy+5m5kxCMOCHmQCT/BhjmtyuVNY1ZENhXnG1zFKQSeP9Apv7EE4/2bfh3qQOdSkrmje+Zy74liUVrftkFbji4WllF1K0G0cK1J7qx/jiJLt5Lnx8ZavrJBOAVqGMR68WGOWWFcrUv76R9PrtdcBX0KhGYanQ+UlK7z2bha/krHwken4+2H5UKtIZa2GV3F+UA+I8mAeTmuwoT2BMUoXvb6g9WnSxzcLFs1/QRpGR6MUA4XN3KQXuUIsXmrxP4HydtCdsGQSRaNZEYk0g7LnaqX43Jb2sgsJo7dT6Q91lVpfBGEUvBP5nWlGFav9r6dxrxUrehpBWjU4ew8PGfOuAaZhtJHYAMYyxm3qdmCG+RSPSOL3icoDPPhY+0EiMb6gP/FI6DbAjyL/l6C6KGHNHKp1sAl722zsQOlQI1GIrnkk0Stc6LjtFduPmqv+NrtiqbgUHqW7CX34T6dfZu35IWmnvrJwILCvOKGf0A1zpvmHSnBrY8mL+XpX5R2onV+EMWeR96oMMf8vWFUUBpmy2pAIRdoA3IiOt0I6N6HXsiJUXSdolKW/w3uh1tbCtSOT8UFztsWfBpRvia0ncwmcGhWY2+5xYFdQhyHquqV512gY+q/KE4JeY7BShpK/3CbeSJDav2W+UzqGCDCayU1pS4P0rSCcGk8Bz/9jYRUueKxrTImSPSicufXpNqgqhlw8+OzxnVj05sDyvkfMujsj4TEHJyoRT2M+4rujpApshgZF089a0kP9UAbQkp4WK5TLEDCKP7MCEqzJYvisQbKBfGVbcIN0dCF/oolw9+SRlwCzpGT+8iss8dXKqF5oda0swCwUADYesbUvr/2tdePt/tVphGXgEfDet5FLIg0rZFYLTM4rvdJ3nGB7E8IYjaLIb7M/Y9t9UJl0Z+HewHbfGq+QW2VaTWyhP/ZwEyEi4cKwLDEwRRjGz1UZ5fbI20UExTX/TcoEOMzmYIUjrjYCmZroN+wfJUIVBuPZa7yEuUK0w6wYDSKUGdG2akKlJ+iji9dS+LLKpP1JzlxCbaFGi1iRqIIAtKYfLtazPu4e5wZRKo2vn/lkgGGQXzC22TVEwjw0kWOBSwNYxdlzRwmAtcdn2RQZ1mgqJ+Wu0ijpRcA8EGqQwRPmId7q2mfqDcOoBWOS57syWO7s7RBFZ7+kpk7//TONY3NiSeWRyPEm1lQLCrsSG7Nf4+/UNMvSUAKq+k1F2LWpLdteorKOEqCWPULLAF0xodlu7jSU7LUIde0W0/Z1DErBThGgtadvS1wGvqFOh4URaxGg/D97ktZ1iPlQAw6OLq7MU4+EhnE9WDn7dx5/rNUes3+hnNc3ppHLp4HeNsaRKsW5vrX8NQub3JGS5R1VMSKi5UyYG7TWxSNmWg2ETrI/Aax9CFi8lzaLjufeCNtpKOPYsRVx76V4TodTRYBiwAmhRWuI53cpmUMTprN+mCV9virg96OyFMBX1FU0/inqNf6MSS0HG9nkBhKR178olmeoJsohoHDoBnlM7wuDk/LHnJUIVBqZDrhfDr2hLbwxYGMk4NFe7T0TNUhdozIkTpF85c9c/IS1jjEGmbZ4TTuCSl2CjCZ95YrZKU77+LCW4Qcy5exq3Z5HyCe/nFNMeHbEX4bDRJqkHIFESjFd4+Dtc1I9zsVcERZmXRQ6x95XneeIai0Zjpf9gaeSdPsAp3dXGy/W3Anbaw0AZ13UxC1X8VmqTWdXHB3cWenoTB/6Aa8bM4ydVAxhWnHLQBEQEkdMqzMbqaJ6ytE+eIcCgnqwTUFCMC3NJrJrnSTRVWZEcape9b5yfg9PSiPZcGx3heZMlv9NGxu4agEd8i8oVmOadu2B+Wf5ZdIla8fPrJdeEJooC1gDRBw825TMrff0qPaaTv3c1HGJec2iVIJKm/VoFAeaSQ6GWPLp46Az4t5jZM1L3nyLLDH9T5f+mJDnscDNrLtlMxIDnHHib1k/UADpEvC+bXei7Q+6vEEBeJazz1sZewTpU7lPH1/sV66K0VtN2Sv6YFZmRPps2aIUek6aSAykP04EZ59jEwiS49qwXAeYeehi3TrTvgc3g9S2fg5SR2TMskAiAoKb35SOIjIbTNq4okMu88CgK2fC3uf9auHrU5eao3FK541dnailQ+565taA0EXFIevoWjyR53YX/Nka2aBFWkerbOVJl4iG4J4MjfRgjokUA25P1JTsNCI+E0NSAMgIalD211/RpS7kAex5a/8h2sMEAR+EEGtjGRjc+cm9X4KDg4ihCOrKHVh2cpZRr12uydlIMR42Sz9X0lA23h3kDn+2JN8C6Fp2q2hJ8EDPcDOG8p++uvI7rUJPdJ6rlyyrYBubWkpTpdCw9Uy0xaQ8zyl7g9N35yf4uaINmdH9pOd/w1Y0fC79z1lcTCLRj1k+Eh863px7zEpQ91v+dpuDr8g3fd7jK5q+ECr0GCni448Y0bTfbpWtVt2km/q8HIyEl6ZstIucIHdV6Hw9IwxHDnOwjaera7pLeFmlGfuvPEHChc1nlurY2o5Ku8BNPbJj+KcthNiHX90Xxr+oHbRh5KdNY8HLXic0Qr4jpmnqjMu8iWl3eRvM/ZOub86pI5DJOl8f/7K0sR29688YgpC78qcUmHa3CL4+//S7eZdrqJsYgSuYTqy5Vw4gvZOhtb/p2p+tiQhQKiAN3f1p0QnKOKFXb1Y7gFsYCZ8g2YL5xF+F9wdl9CJEYI2IeE3+Dx3zrj7RTwxU12x0Me8GS61ExM7//+kh67FoxKp4CjckyDOcoiwVYFRZtSLD2U08WzBPbil8vvF+128jlqGmU1VYurt+Ss7xC7rIeuVy4eBH73L0ISduZDjjjnFPMliRqNoEJ5gmh1H3LQrrw7mzHCE5jqxH5uOs+NAFa2ncf6Zv6yypjpwhHj7SDFX9Y93Zj4kcs377xUrxfwxWV4u+NbimmtbfuWlx6o8p6Z0G3xXNO+w3haNHT4alo3bprD26Q1W8/8o/dMn37BbMRMf7nMc7HXVm1Y+chqV41sMBwnQHiAJwbNJ6nHGU1dit+DvR/os69gUJAe7hbZ/6e9XrEjbD9b7c3t6hrgansmR1A8yFHzuhiaBqan9ZW26CWOUSAJVkkO2hzqaEVm5pRCXMpV0KXDqVxO6KdPpJ4ni33PTiY7uGmaioNrdjKbDvr5Wh7B/iYzVTIIrNtVDOdz6DQGniVlML76bMDkuVj6ryFzp8zcOm7q8vjOleZtTm0NPgINFaQweTNlwkMdc3Wok3Q1qok6jdiGI7ednvnJxpwlrPKiX49atxzUJ5upbKjVg4Pc/v76lsMSHba1BNl3LFVgohehqGSswceG9cwuPbveUXd05vl50V3zssS7jlgmEyoXce4yLDazeeYPzvyyU76RSUmvjyXJVJeZ/BD6TfjwG/LSRSR9UilaxBs2VtBZ3fyAilRsRicX31WcVwQCNYKx0zB3uC0HBDXO05rvvFQg+k2mtzreNcdgk+8NOclBZToKuXvjhrPPosyqX6T87B8ewVvrYBM+7rVEEXNieOCIQAO3qJbNAHbEohQ=="/>
  <p:tag name="MEKKOXMLTAGS" val="1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ItN+BdkIU6kSkys1oz4FTbg3IAHFZDQQIUI41CPkYeCkR+S8QFB2kPylUA3JsntOnMnXuTmmpeohPhgnOvWjiJahxbCEkKhcALAa4/g5rVRNUo4brP4JhiLsU+8O7v73AugP61KaL9V/ZMDFmIanld6KNo4Tnuo4CWlQ3Kec22FtIEqMisG3RMmj5wobwJmsj8l6v1JQfLZaoon24tS/ioy6j09oDLuh7RRZyxVpcRdzOJjmmHUa0qnMr5Uegu32pOZ7YDnLB2Kug8Z2k+gzN41szMpcTwsFOrnZvPaAzlsdFKar9I7xTBXyhuPu65sqsySYzv/TMR2o5avDQK3tAkwzTP5gMC67GjfB7vcNfWLHrawTs9BApP3rgdfsgUG4hx5y3YhUW8pSYX5Np15tpQi7oZ/nQRePxQ6d32NQhnddmqHdSMtojhYECD5/tOorHxi5r/z10JJlhaGgyckrIbWMkD4P2NQH80nsfr10dyz3KtZEh9KhHOIr1vI9Dh2pN5hQatsVhAVX5LgPsTJr+uG1fYIzLRhD0Vevryif4IF8GS4uBxV1b1mWL2Wd/tUCeoIHXN3ayGc8qHB6Zx+ZRci9dQi1VoJqLHFyoY2cVG0E1SU3nZlZPyUlyUoM/ATt7kwrX4Xb3Yomb6ITrUfiXKf762JJdFluQW1ODcnwxNuZ1j5xEwk7Yz+qjXkoTtRrnOfdlklIeHof+9Hqh9eorCwCC/QHQVsCuVYf1p6ackljKsZj+djFn4b2spEw+NHDaZk0LerNciqm0g0qXJZlv6ZMj3k7zNMHyzJTV/7eJ5Fdor5olnNRWsD+oFIar1V8Ty2IvxZv2BnU//x+HmuD74Laoo7OyKnlsAPstoTozWzZjMeQZnRRnN9rDDWXb4E+xNqDP0FTXQxf3nmZbvSDWX64uEPNcIANdv5PzlRN8b8CLjRbeZIdOLMylURNkIeZZ4X0cb2hALYkL61o2yX9G4Ir20PySTuVgTN54fxRGj1+cR6SzFnjgB9XkgIPhzTmsRrPvpWCLhV9fwJ7n5oz0ceniZujo+Yod1WE/0yK88W0S0p5GC9cBbsCBSLVqagml4qTYcZiMk9qeAN0L5CEA7oFsFl3BCHB6KmglNFQsCVLq+6ONZj+BVIQdfPu4QjyUocCaIFAjTXTrBW/kCiy84TbIkRZdN4jAOSIDaXK7EZs6rYRwUNjp12lkr4Cv8Dmug6/sgREQPQMJOia2jNV2Rbif65ueT/O0ohP51o8YyqvI3ELm8bGRox6ivi+panTpmwaIgG8i+xMy23Thszb98bi+jETIOlT6Z4t277PIkhYTcfjqia+mhFVNejXkH65fHP7VgulxAWErv4uvKWUkJH0TYqzJjwbz9Hvh5PmB0KJAGIAts5OKSFsyACzkgMZJAV6BlN70OcQAmw/vvxBYfJHsQmx4rrpp4EhU6VSQAIdXvsUffW8YNm6ES/Wfw33h8gRpZAuJt/pczbRQWaa+uelNNvphl1fVfAdUvSJ+w1ZzeHQb4DWXAy07dCTRYoTJbIL3od9cmvlrzLzBiIuIkvOQYAu5IMrecglHjmokAzlfWexafsMIJSi9GIy4S0fFIo5IEGaHgxKuYgKIOXgfEe1cK/hL6gyyNncHu/NRhWak22w2aUX8wdBYIfeTG10YQUD/IlQkvDu7eHzVyNCfcAxT5kJ7aKGdMMuEdCpbsdDCMOEh4l6hdr5mRPsRSCoprooplp2OCAmWPaxq6eSoIZb2W/fL5MhQ5YzCh3YGLdxhZbQF5bbqol6NKYB6mNexZmih4k0eAte7ambbRFPTCOKIALnpAvTJeubCXDArtSJsEXHB7uTVVB3FckRXpobmwzdxkqW77W7sRB1O5gdCo6f7GsZ0qgx/XP2dW29J/dXp3x9LdHYUTpLHHsL1Cw5Fi1JiIIUlUP+uSBEzYP9OmSVhd/vv71HGFzwgoQX48NkhiZiSU2dVwP1W1I1QleeyTE70bYalqrJljkg8uDTuZidKKBzVcc8ojYaPBjj+FBJYYR3FlgdN1QxitL4HdcQUdNa7twUDduOGFMMYbIHxEvQKSyM+Cqq7iZtLutrOLA+w6UhkaDg96UME/tJm2PgsGx7TJRwKyjCsYu/qM5GS+XBGe/HJySPiS5BH5R64lfd5aHdIsdksnLGfT0cdTfP2sxIEUxr01RxakXPEwldN3F3fpWuEL+qftHv9wgqqixlyw/NfRYLXVVrv7YsaHsO4QMqOAHAl2JqAMVY2JSwS/I0hHalCvo3v4DWSHLaMr9GNpeW+V81WL1funWHRmbnM1+I1YT3FU+Tcj6goJkKikszAErthuApj/QaB2MHGwwhWpu6C71YQZolUMFFyJYB0XgA04YrR0hshOpLfQzEdDltti22aQ+aaE2IxEfrL7eRbyv6NoBhV+2Wbf4pVZeBoC8QkwifeI9HPOqUy+BRa3M4M9o4sZBn3SRCtooqWmksrQLnYxb7gwKXfDMC0iQbin3alqY1EnsJBr41bG8XEMJdptuumWunQalQhJ6aIuaoB71Ioy5Q0FkTVcnYAnFa8v6YavhRhFAfgebfAe+7NVwBDs8HE+EBwk30wDegGigQ3G+wu2n6KlCxB39WW10dEba201IuW7uEqepIMEuco7QJrLFjcRBqMmcEbjM3BQmk2fU32LtJLdRAaL8EppvXa9DDPIcB/2VO0U4fIShyviM2bOGeEC8d+mzNW0qzbp3pNI1Qd8VwlE+uq4fvZxEIgmUeQBPZC+EZJipvT9mZ7M54MrH3mgRkaZd1aHGdEl23u/GKVqSytdveTS/e87vInM0UXc2TD1PzzCOHMqqhRu/hPpfJbw4phiJPNrpYmqQjBY3kg0pLrQT0R28bY7OxbPT8cx7536uoSVBsTz1zOReUIHefRspcjJ3gHYZ+wzA4QG648SHl4OO4riRiPLmDfMgJkBipYY8pDxw4GbRnPJXmxLbuD5hum7i4FSfMy3ZywqtlWMR0yZJte1QqLRqx4NdbpmWHKr3WLq8qPUeqnPuggl1uAI6TGKiWMGYDZGZ0sFoPbVsijiFY1uKDeJdPLz189Sn+qmu2LtMEUedax2ATSAx6C2JKX+6JYHWwZt4Y5Qw6Cdm+QzlRuBBOdZgLA8rEnB7VwIXRbyOd7QinUePRgmfTu62JdjJNAwCcr7fLO1pUupmALb1ZEGY4NEPWyObHHk1ZoES+uQJbL1qzUn+ukfexQiLb84U/VxGVSJTB6AnRw99kzP0eL6MQBa1LiXvfS9M+Vie4xL3i/ulttOYQqCeNToIa2/MfdBwVNNWtjh+R3VH4wl4/O4NVKnvWmzdOf7VfJLXuDXaEjA3vU31YUoBJPw7zrq5LwZ9jOpIBSDMjv/LD7n9/bqn6h6sBcMxGyRWrrGQ8V0wqHsRjs785xm+wcvtA8TxN9FVYohunJLeSjSa//nI0UFKMozCDiFyj1V7RCUh+ZxKZgCFCNzDQElLCTgWXqii+s5z4+ZopBJzzsvgKAHElfKWAQSmGVBSbcsnmdMxbyfNht/e9ZSv9fyv4lvAj0KqfnMTBmWtf/wPNz4jAAafiWrf5N9d3DzFyEZcBevoWkAZAcb+8UKxmplUtUS5Nj1LJEdD3TS4JSE2AfrXESWl1bNnQIMnbPhozJZRemu5nTAXshM0SRG6FApFMIhGyUw6mvH4bTQsd2/wCSjs82cv2zRRtmNhcL6FjrfO77vlBkBiT+AC7hE5B1ZQ6Ww5rzCTwTPenhzE+96Dxr33Gi7rQqdA3KISL4RUkG/r1PJG8uZ9mg6v2a8wbI9en2taOyYDWZ1l3voUVh1mnS7+OVVXQPjSBrwO4HKwsrFV8sPhVm0dDv5s+3CRC3WareS2kirtzgzAZms9DNrHuCE0DfJEraDjUB1x9+4JdfHmGdsXCQg3D8a5InWr0Pu0kwh7YsBFc+7wE5K8O3EJe5Tg52pXRdztujbOdhBhJ5ndEmQhmsQ+krFGsTDOckpbM5v1ctNU6zGbaZy9j/0ai9oZF9Yh/xZjvVdw4KY8cOlVdQ8ENiETauDTrAGH2P+lU4/PDR5MQy9kfyZ2nRss8Tdqewy714RsmN6RkdBOixpgGKQumkG1DxjzuDrD2JR9SzIrfZjiIjhF3XQrs1wmKIjPGHwzvO1Ydr96O3bq4/OZntq0vFoyvm26wRkE7sOSQSOMJvJekTK2HgAm96lJ+bn+X4JXKZ1vfUG6D/dApgidEK1Q1jiUCcsEoBcnk/tYgPZCiDp2Iw/CWYY69nzmsbxproBHAdAWC3c+A8ChWX0HbzG/zx6E/CU6r6TOV8KFo2upn1xuLp9BMRwRFBEiRuSMb2gpJ3jl5g/wN0Lunjp+yGXtJANZAc0SrKwc8+woGJGHKTMu1kKSfKriLFScN6vnXBV+0YsVk3fMOglY2BAhHqVgZ904Ja3ThTMFLJcKja6x9KnSsccY/aLwglY7Yll0hSw5DdDXjoImuXb5jTNmeyy0YP7LrqC0fG+wafxtY1tVqrgaT7dziiuSaNKSG7YzsuSaB6rLHoaylGDHe0XqxfVgpPS0mIbx56Uv11ZWu5Anr1xLj0pgxYMslTQcnmCvpW0iik5aLLjvsOlhtVjZn7H+YdeBUR+yZHm77aiFVOdNfYP9d3UcLJ9K6VntgS4uWx/Q+fZxXnbJoLD/jZil+2d00gpNs0RT/QEzzoGBEO5egDrDUDBg6QLD2u8O2pi2jApl/w8tlFJoLHa4Sp76d5r7xnkK+S42EIGyBV6dSiFEN1TskT/ysF8YMa1KG9KmcfW9SdOxEWaoyEssnin7N1EtcA4NftkMOkzSp/ug5cpPK6IzcdhWgyWRCFl+iY9p8S3zXATK9C39Wj6gI7QZUuWplItkJLevQpU5eSvFeQHyh4GHQrZyf7zj9tVQJjW6WP/StLvcincKf/5OmQ2aYRkQDG3dNIHVLlDo0r2nQYnbMC9ggtXYbJWq86wA8ogzMp7WAt/uE6SRPZMeIXdfclQ8ExuR4Lb3NkLUCUh4olwjqrNYA4DpwCpyvvND4v9fR3MklYefcuOjnUw5kwzUGR7msBFSTCNRxGo7jKekHzbz1Zwfkax8OAzSmfUtNU76DdXduHLkQwpfWDT3JvqgA0mfFsEPxV8DsPMR1wIDc1ijkEpkpRo2X3oNijj5beJg4J6CEVNYE4KslS4Rb1+dfRpxKUqxnvW8AmbaFgy3l2z1h7MlM3miLYLtgyJQ+3f0ijS/bMipC9KElAVKijBq8EvF5Evaf/5Qe9XKxe0xTE5gR26ws5o4n2toXaFCoHE1Ea2sHE6HzqxvUmULc7hyhx36XhnjWcPLcgEtYsR8WWikfXjptUu8nyInUTeW/+XU9ky7WKU5BU3hJbJ8P5/I3cNsr1ts6fL8i+/ycl5je6g7GKkIkmsKqD5C1se63FArWZO9+fncaJk/07DXcNBHbDjvPCtpY8k/lz2MC8KOdT1E/CSt8cfGej5wPqj4hRl5Btr8YhrmD7pG+9plygdLhfelTlkjzhQY6Gfu4WnlfUEqlv7Z05EptD5j8VQ9tUP4cEPRN3sp69mNCHMRQLphoK/bapgfXSGzJ1Z+yyGOXUHLKLaq5kxoXYkxwhsDr5zDzlYb9MrhH16eSfe102FtUzHipLPLh8xVcWWof6rHWuGFo778U2FJ4zmijB0yZuOLKyh/1KV9Rzz+ovRBGEtta+6M6cqKGOxdeBDw8f+I03nl822H+N9xfpxKJXYlWLJjb5uOAO2pODqcN+uSr79KYuiItyEhBgtU6zIGnUEB7dvyCQvocI2sM0yDH+eXWLy8AjTuglAUTAzkb81tVy/PfZnAHU0QDVc0l4qyMkZi9TjYr2pnSRLE3UAE3u7e/TXAAAeT1KbZ/7tLCmHbaAznQtRPnYAA/sXDM4AI6AZdddBT+FuNFTrc1NSPEaC4CwaqjzAbhHWhyWWvf53O+mV788eljwLJJCIgSaJr2Ii6hsZYvu32CY0qp5z2sEHVmxLwCqZzpuJmx0sf1z+n7mCGE6Uq7ytDhWswc+em4lJHivgIYmlwNHwMVtviwYVltpoagymdlXtl4/Enz2gZEDO1vz9QYKVJIMlh51zA3c067W8y+vzwMJcvGMWH8AVG1R1I+CzBhUr8U9RhvE5g77shTnjjEJgzevjnT24NycIYw0ziFzjctEm0tP/wyqG2GYbhKuoOQY5wPXnGceri8aOgi+aVWkprxTQYZjJKLBUG+K4ZPGAfL35zyaQhhWthhmwuYYYoqurVTSDr442XJVm12KmQW6oRrEmgb1L4RQhBftt4aGghH011ASCc6WUyQl5gektmSRwj1izf17nIt3/eJvnny+8wb4StiHvqktSDAA9B9wm2GZvyWSTWjRAkEW8ccxs1DfdhID4TRm+DwUevK1aa0YBHIVE0ksD1S8BtdmFpApky2TFyB0LAX9c2gNjzhWlTRcDMVzXqpqCZQIlkp/s6xLfcZzHKS/g0HWnT4Ztiqw1DRkxSup7dfxHS/aMgAsl9fCOZp+uHhBtaHlOT4GIdfyjxk3Al7mCnwWOChwDU8tgeJhQ/H2XkXJxk8sZ77hBrb7n59Gzvd7zmkWjwGEIPaYWljuBECXdY9rf29bq24lqdszXYAbrQBWSlLzO6mT0KVHUyRTJJpCzHq4AZAQOUBqa21S9tAVzAzEjGs2/epimU3DFhDPsczgI2CKT/nEPSyharLRWBycAs+HS3WG6ZdxnokWkEBtwpOFFO4JoiUo/hEmddsTGc5oNvOI6I7BpM4NQedPkgDZq1ZoF/kspFaGQwSjdHriNOXjiItpZgxJ5a05BOxGAE/UOMv0hCO1sRwxApPfm+hCfbj/V2jgJtmmL4ZypXhxKwj3bYnclwM3qHecxud+W7an8Gab0BLuaEAXEXRqKg+1u6VP8x0rIQchgk/MTLyv5+J7nAnRvxAPUM21igCtLayQ6z+EwZl9OIl8vjTe0jPwoHZ1DZxSWoCTP5W5cypcsqe8y2DtWyr0r5yPsf8ZAiTBg49puqKdzNKWwjXipunMYj/Hpt2zeiDEOtKCQ2fr3lZvaUoXnM71ZLf4IQuwAklGp3jNNVM9GJereMR4+nJX3/uprBHV36g5znUwvcbI/S77oVYMjr2x2thu8+FcHZ4r4iFFOjopl+JjT73eRQ3H3Bfiw+iHCyMtSf+iBuP62P64Fi6oqkK0x8HJbBxv48SWREmZm0GoQ5wFe7fzlhb/w5sSqnedg/MqEv2pV/j4FPojuaHFDbe9NCYtj+raYJ8ehrYARkt2xQWUchaEV0X36ZbeiN6t/Ugei6EKHEJqaPjURBptEJtLjOb2CRZkt5DCHJTo1ufEaGKF65yaU++oeqTzpLbq4CKSmIyCFrys8Lz1gP9zb6xsQd+6f0Lg22GHPQs3ntBVoZpxVXIzC6XECW7AsfoZa4rN+4n2Gk0VYttCL9dCCzbMrFNpIF9MpTf2G3dxJSsr2hwNiC+BzwSEUm/ApAVuLAMtXvvuvuKg/doE6ICcx6BydwZXcjvN8MFW75stYr1WqupSnukk65CAttt7VyYCM1ZwWjIZ8hOXfUMOnAykQtjIEikJveIQlFYZOz+fhuyNgerTa0H7rJecv5Y4BzCpTdn9HvPetIHMVVIroxiIYC1N7PvJmQpsD35pxj3xta0Xt/5riD7E8UjlCugQRYHr7XjCiJaEpjMgT8KtmdmMFYqshrqreBhlXzMomJBztguVHkZwfpKszSJzs7zI1zCoZC4EJbiCFZxSsWcSMhnD0QpuSaYDPmvSpDR197eoRHMAGh4w/oxT5H7r5LaMgtIrwJ87dz+CPIC+m2EJ3j2WAYMqqha8QIotezs9eIfL04qC3q4RHAvKwH3om9BCGARtHcyGfkdXeiB5B3qia55+l4BJjS5P/Xy+BCfC8mpaKSZYcUnD/kvXQnnHRA9yIARm2FzGF0DtfXRuyJlIrCAlX314Tu2R3qlAGA1o68B8t47it9DmOagg7XItnatWEowChK8GlMf8ZN2cL40jbKsoSJwhOJjtssAObgGnPIayuw6M3Q3JnqMmS2OyL+MHYSfcP6jcC92EBWqDt0zI4LsDh7I4UBOeBw3U1uUWQWaxPKKqTJw/rvkEemLtQf/xAkvqlw3QCVxn5m/uLqt6kvBpFVahv1MkLda8Qg6app2xngg3jewkQnvSqflSpN09fdl4OHcHI8s+mA9moS6mbpUnw+cXMBA41L1Fq7lKAdx952EoEUIRQZ6e9QBa2ABZkgBC/GVwDmcrKa85M3CL2nVDjd5wbUHDGqiWotwFKKW10MJSkr2gaBXPHc0HPvwTc5NIG3VvCCNm5istTfe52myqRikKzDDVI5ldl0o4clp8R57I6FRe+ruOJbnpTlNu48MvlIfBgSe2gEKIHguxqKrfPEDm1Ou6D4nn3PLHkXQIRDvMAtOnGDKUekRpcQTuvynMM5jY0wVzpgGwTTtc4DtR4vfw386NlIYuvBedETwQiXyDcscwzVaQRaggS+wnpg1hMVHKlxLBaR2aavchDtaf0CpdgPVBPPlG4e0feGQXTiG5Wn2l5HdkKnFlkhvQVhawhU41WGtikQJM6ae6c7NpEKb+8D3yJzAGxwebZqUfSfJtScDKjTKTwcd1vDdsCEvIJbDFhKzQGUkYYrmBSVp5QMHXhQokJdSmatEW9Pkr0BuKJZS7UY7A1HU5HHc2JW9JI9uQHZvabb83JL1cnsJZCkt5U9+/+XLsHNojeR3K9pke7Q1+xrU1iQxmeXVom+GyMokzyHkNfyyqJQ3NfjLg8+kIFZC9M1mJrB2trVedQ94Xwitg6TGGWvFA92LlrN9Bt1NOpose7Ez+p2KrkwQvWrlJIDWIGGUgvZPuk2YW/ur958wCMejD7XQ76qr21Zn9O/3qsYUlcfEvNY5j/jE7+ogOhRPBXzjfg1uhL8bK355qikVjc1xrg3srKI+B9tSXC3PrZ/BlywNsVAkkAZFlVwx73raubPAuf7Q3XV/Z/KoCGylnH3X219L1JS2G4A+Ov568HYvGULqhdpULpK4QVImlX/jmyRJygML1F4/OmEUUoOmEXDQCXekwShYB6aaUH4O6ThN6xnFx/xo9h/qST0HmMsi+Dl0XDdWDxb9y+Zab+LEnPQiM8xcTEusV1rD3WiOzC9ta/7YMQPFePW433KyCaa7bhTcVmJ6cBxGcwRO8F5rH8nuIh197OmU2jj/yjc/1j+5qIquEK6+6cqtfAw2tQgxND6+C3MAazQFeqmKYXBdVGJDIwNUYB0p0hlQ8X0g2eexndW+qKrxLL9PLhqKsNzgCUGAKl+ptyginJN44Z9qfGvas7o8WQkKkO+F6A3pYUhgWWUt1twhRLuU6QQF8TjyAYZBOZ7TEnBvPmAJ/BD8wfNGD/oxdGwEvDB6c0raOgyRhnYM0LuFDon+HsT+MuuGxXcYMiIJ3m02OxtVjF5II55ZjqmV9E0AsSWsPHX7qoORemMIiWmrv6X8tLT82h59i3rGFMLi84G/rvZjWHi2dGJdY9wX5RabJ8Jam0eE7EirQu7jZ5vBbqk8UjHIdP7MVMvclzwaPXK0Iz6GReGmBcWwvGuq75s8O8aTsbXfjtjoXhy2OwWTEYcul9pPHJcfyApbPmbvDw3gxgwsAp4sA4qmqPVbMy2g6owsuNCcu9eoKUgfiPUed20Earg6U79Kz/Z73bOQOvWk8Kbzpi6pKCqDG2+Mss68/hU2csBdtkkcuCLzJXYfs3W+d3+IcyRH7tZAesn4FU0i7bN2V8mQV7krwi1cZTddkUztoTp7oulMNEJRWqlak6E8UF8tb29vq4kQhFArxSPuSHOh6LSvDv1NhjQK7QMW9P24tX1C//0fdrlL5Rxx795be3iEJDLzUU2g+Z7AeQfZR7XsSY+e91KlbIqfR56f2NbYfczwURZTeSDe+KnYvHI20MFE/6hXvEVsrdpFohMNtypnvDO/E2gWJrDgNOC7HF3gM8QPnX10oGgpZSITITsNOaFY4047PmclyvDSiT610coE+y9H9jxjZbL5SUR7/Kbmd7MEmmbZc7UApT6ONbO4lLDq1Qg2AukgHRGGkYPveP1ZePtX29jEwOqV/RD+Ym8gBIHLJ34MQz8rc/oADL7Br4SKOMNm451OOYnonJtaNyrdsdqw+KKXkUmA+GrEgsjRakrHAKIIK2wrwKhHnjyWXU+envb3O4G80i38JVSpSF7++YC6aQaUqf5euCGZVQifW/iq/JEBhR5gdr/VruVi9c0QGeXjt0PsOvGzW9wwSTxCEsxpDj0/vqicDhR+2XWw+AgdhxCMc+F1F0W2yVeb9i/ZGwF108iXsZJvJiLFgD8KvYR8T1W0IcXIL2SL5NknOhHyN3zqUN4/WSsUVZ//oTrkvcuLA3sB0ZlF6+SyB+KR4mVh4JBHANIw7oDoKD7Nn5ZZ03/UHsf+8XTZrqa9g21f9F58DJY+MTgesQJDWKyxLrHHFKla7WZ7a/EuDzay0bbL5cvQg30OLHc1vXRT1VJjkWH+i3apU9g2JzzST5hKBlqBOkL0D6dbRkiCkpVYJXL+ovHQpgs4U/F8kfKcgyqxbEfTed5SatwNl1QHv0yTQYHimIELIPv5Swgz0Mh/kpZieAHbU7BlZj6g9qcP4MW5X/w/+6378NxlFJb2M7U3ithlzB1tvZHzklY9SVMaMg8IZMvIfJ6u5rKRlD35zEbk8qPPhhaVGTNkPvuFmXAsm8vhZsZmHkodsF+OdayOCf8vL8mLuuZ10FpYY/XjC7B+CP2Q19HLfBzWbL61AmWDi5lVeDvwXGnsy25vwXYxh5DVtObVmZM1TqUDENL2Gsankhmk4B8sQDhHxBWf9Oe10rgqihgvh02yMq1ZeqBzcRpOyMYEJmgPiMvJ7uIVIQqBpJ92kSIXX7qxpbM1a+Jokg4ZGpSd6pSxFyXE3wnvdx6y03fi66/0ImRAzK9wUTN7mGZIgEyIn9c7Ck1JpLrSW6GRs3wEdYcPzFO5d4PH7cOuxlrQHotqCxYJaCNaeR/IPQ38sB6dEn25cPLKzpERDyV06MB/EtoGttgcT0TS9Z8qGii0x0hl2MQsU7bNhg3DKt/VAKBPkgAq8s1ZH5qs8183iW3GBw9XUpYDhD1jSxHUsz6J101VVagyLp4Awf24ZKCINSr1pDpGVk93hPQt5wyGeCJOc74VFWMPHpaUlT9V+FuYexVET1qNJca21xWw5VHTFi/DGqm7MEdiNJ6kMX+iJgNBE9WrK6zbkNv8YMxvDuFOvkjZrFtaY14UtwAxnznAa6OxSMHq7vChXN6o5TC4c5xoKWAQLKq7cFBz9Xrcb5NPgQKeg1SZeo5RXy6y4tao1W6BNpYMI+EGdxB5xDlD7rvFVYGOualbhnIAMWcu8mu7th5RAoLSNwiT3ZFseyhzLenRc3iQ2hJ59j4xwMVavLVytuZ0TGSI2J81znbbwIDEy+k75GuQajqZPD5uwC5+oDjyEm6yGh+jDB0aj+W4GtId+YFyUK/B5UqAP9+2GvPNnNpBByKxNWBtsUIt9jtarZRl2dyeDWp6hXzzEBtpA9/kZ9hygfcwT5Uh+iDFrDCXXgbJxXRIUs5XYc+cKLcutsqb7+hQsbtVx2dibpNuY9OJjD80U8Y7P+xZSeqBKCfvP1nI1yMmC5Q9N7ofmHV+1wpHji+TG3R7AF4RoDxAudcTwSHL0RalpJhTOV3f5Ry4gL3SSHtGu67eXmtkqX25N+dJb2qtMva2cmvjAE34qwcAu8nZmha9P2+iX+d2nDtYRrjkox4xrs98T/QEOfZq5oU9CJwhl4NQ6bHjOpdxuTX9w+SaG5WLBl1Ki7920HeUPu2XsG4HgBHiACAcFTYdrDiJ5Wa1yzy8EFfZrjj/d5hOpRTmz99A+NMQ6aUmWo7fbMMsiBGjCE3cZS9rBqlfiBs67f+jNPXOGx25j7hYj5n0iI1qzmKrPeWjXXcV4mHtpdetcfglQEqtWmMCwj1fLt+L6VTLvDK4RXpWoTB396GeNDpS+gyggp6KiDtF2xi3RcF0O5qUp4zfdUYB/Pyz3d0rGoDpAmmo6Zfgb4wpKi1CF9Uox0vIlHwNh4v2Jh+VopFbjcoKNF0TIxxzwnk8ICoRl340/3JSdylYyFYxsADj5ryJON7lDVgnY+WfXuA7iHNmZl4vPRBovJf0QW4pfTCVycOzI9j2+IYNQ2YGubXSAavdEjidlmAO7IegrWvAmmRa3fhoSCcXUgnc9K1BOAxv0lYjObK+LLwEbHNOjyMFRXw6vpbIP/TzZRbRcN6C3E4c6vPcYsxwo1H7Z9T9WVRm6tKnnqta+99R5QsE23VGsLshDcj/u0ubSpb3fYuz055hnvi/cZtkKXSD4dQtheqrDRxZKDfXOj1PnOkZ6RxLgg+ZqBIewcxOUjoCq8VyP0pMMf04byOr/oePN0BQRyjdvP7fGOyQqdOpWJsb3qIz2nO78COcZj9ro3VQ+yYHdqo0s6y4AbYWRhvj7ySFk2Y5ZB52xptnGbf1m5NwhP2gNvsN1ZL/LMOnZUMHJK05qHcnD7mwMf96pGpueGQhn0Mn1sN3QCarPIt2b4oJfyiZ4naZRt076kUgFg6+wG8Uuqh4tl4xng1fg/g1Bwje8eJ/nnaO2sVb+5gdZA1IznadaCOsr1e3UobB0teHkujy7QM7N3NprbfJFA1vrLxvxTwNbPEWF7LGzK/ajTNYL+7UV+ZTJ6yeiupeH8H03OCiQkrMz62ubzfKtOgpgyr0briSnL3c/zZbVkF+0qBrI43o//1CdUV63PP0Po0tJypzzHcgXhDpP2eqbLjJ/xV3q8MpJUkV1mS0F0RRIfyOrt46+n5VznVF+EyRCLdyfLMEZF3xFV4PUZkjCJVVvLqToEEMA+z0RZ7AhcAr7WZZgw7Ey9gXy8ypmU/Uz7th0o5zRPcLbeK5TyBvqPz8l/GolnBlJ50zdY5/qwQTD+fO2jlwdVIa9tTkNssIZzpa9B7zDi5CCvfFZ6P3DUnGm8L81T4q3EdB3Y8yQTVjvUbYB+aYJd1SgiaGfTuFa2B9D1LhdlKCP/Uuk5pLo6AwVSycU6Az4JBnhpyfgIR4b3rXD9FwF0jZwS0AF6vF9jgdtTLJ1jUqs3ALuQMHd+J8hsJjIlqdTePZ0F5srTciv/b2//7tbnQT7rkjCAD44HrhKswt6d9a6N/MQwZVh14KxJLW80wKmzTPsoIZkPT1uodXsJ14RuZ1eqJlHh2IlJwb0TFuVJC5QLkJEZDWWv86n3TlScbdslMxLgUa+qDJtiDdhJmqz0bCD2ORzxSxkxvAe6zKlTUA62Vzb/CgPaZ3V0s1pGhznnrKQKByrIweKbN7xGX23zzFD/0Youvva6qyLXWwYltNlyiVZF72eeA/R8a0nAqZYibhqOD8c0u6ZITJlBVqM/ptaMjseUtqQ8pTGE8Gobd9JVfviq13K8/DJlgkS5v5/nB01cUl4stWl2ATsrUnhMncQIjw9f/5G0QiQMpfCxAqvNuFkqxvr/bpChPgx/lj1iE/zAqTy5LLtTUlk6P4f6KZJBla4P9Dkf37j+/rKz1QevADZdiQnyXntLQ4YlUEuZ/Syghg5z4fAM55Cd5aVpga7a0nJb8f/NQ+U0VE7ZCy1gEDGHGZ32dTJbUgl48JKtnod3yFcjVFPeNxx7dXCe0FFsYxUc2xCYA8DebgOfWqCFjnV1vYnGd8Z9b8wmbPUhMOmj6aeGvR63sp/5AqErvlmMlmY3vssG3LXxaUTkWHz4un5uFBzjBODOimqTzZhMjeuGNpmSrk5lLnbq+5m9lE/FFccEd+IODZZh6P+pM5gYSZYKr7/E3RDc7XHN81AJmDui4JaiV2uIkPC+bgRgkN2VF5XzDBCLCyBtj5nyFym5d+B6oye6LenJ4t07CjAkv9rUshFc0TRw5HydBsvj/qr+20OBnhe6kwOrKQb6GAj97eaUTPBnRP1geVbC+Ox1ePRCGaLGKiUsA7zd+kgLz4nfhJ9tbHPHCyC4G7QaWiOV58bPMZ02z+wewIDOmihEBHfUFONHK7ArYSYLflyo6wZXvgJwXP8NQ9Wm8rYZliq74kUE6FuFN5Ocxs5/UOljv5vY/CuzQD7NQfqHw7BfmqrmG22K2sbOHnrgDFBvbUUXxttcwtdrXkB2Gk+NjtdaQZB2dZuxoTWSI8dHQxnR/V20nRoJydFNIK9G8imKyiR996CCA0oGszhjrZgGIpXAA0eqlpzvwu+iK2B5rYdnnEoFbW0uhk11NCW2814eBRGf9gJRRjvEuwlPaczZibsaVF+m0g5sVI+LYzNtLKubd7qltFDPdNf0Rb46yQOj21zm6Kk4/snkhBBtW1iu+MIpP/0VdnTxU6K+hjkA304S8M6VTPHkTnD9OyKip9tS4DRYc9dvOCS9jIvAzEF3IPGCm/78bzUeO8C8ZOAgox1Y5B7/BHvvoXRU2tIKjK10EtXnfYL0M5wQUu758ie8j9yUUnlgzzzPFUq41lKDD/LnGvEqHC+fCWLD4kDBnVOkxfZSNkWzDNZa9qR1XlMXK+dtP5Q9XtSatiJI4aCNWcrD9U/VqxFabr0cUYv+M+h44bihCN6A+PzUAdhomh7XjqZndA08icPA+JzO8e6BNtRs0U/Uri1hsjVQlZm/Q5d5afoKA3paq61VDQr4ZPBkf7FW3dUQeRRfJpzadfsqxaJPvgzz3PnNbpHT3DdTxpm5Z4Lzpc6NPdqxS8U2xv1iivk3qTWJUIgoIhuqsb3i82MBPx6n3N2w8Kk3LJp1MXn1oz1NCnx82mQzLig4Gskur/OgAGsH9m8zJ4rXKbP2g3yCs/JNimvE844H9oO07M1EQ8DtWowJ9tTzJxqS/eG7/GfL8y/814cXStdJx5TMCxVPHWobqcfL5KCL8NONE5+0R5BOYit6fwqRWfeH/PMhK9HZUcRmk+WpR/ICldYcyXxQYexvWn5B+NklYk6edaNLMoHb9z5ITZ0QCYDBpKB870ki//pUqicbbqUpV3JELFl/R/kBTLERLRPV8X9D6LiLzLHJOdHg4HRQnBg9lELEmBZL1mNfER4wdu5JbffKipNO+u/96hyGw4U88cDwsIBB4itdVPqQub3jVzBNlD+gtfiKiHKC1qzgaU6uHfLcdOGPC8zHdtiGXE/ZLSI8tyKMocThOdMGSxQafuXzBbHhT+tRrKfHRJ+bpFy37PrAN3zDY2QOLR/8QjwGtV5sWVOdB6QxtmUQfjj/Db9JaKtOO4YyzjvUoXVrwx6ByuYGCTx1x6cupZ3lICbkN6iw2GlefHhd/IjGx8HkUBngyVuBSI+SWUAajFsxHGXZbiNvI67UMXyEYycxK4Kf7be0zwhYVugF9FGD0bSXinuXXDGbHhXYXYhfMCQKP9cT5e5D4YT3+LmPOLuDwTtEb3teYATYZvNrpx3zGBjokliDv2csM62Meeeh+ShvWTR3l2IF83WhVVTQUzuZATZ5lzIcC6DX4dnFIMbDmVrlDR9G7yPKEGYrGRdY9WnRf9qRzl8NzOhD59twTUb0On6qe93reKdlMDHZmcsoVexJqT33b4R4nHdP3jhtW4swoWT/HucWGfAsINhccWR7fZr+aA9bziPIfdFtjt9/g4s9NV2Wb4AURpdhHoD7F8+JJIg+0Yxbj42u9+3+3270ISzMhlf9zB59cTr1ihTmCf3bM038G5ZVOa9TvZxtCNhCt/IHY+UYN8yqmEZAMwxx55WlMqcHV0SAiQcboYb8TsXSiEz8vJhZd+Gr/nRdBaWdg6zSSx1gGDUnS7YhpJt3Ccnfi35/ESCPHlFaEC1nYqSHF2m9JHKtbkqqb2X7LFnKakoTXLJXcW9Mnssc7CaXV0ETQ/kJrTqnItoTIzlipA8q7R8DS6SeSvENna2aFWxRZPKSkizVig+V5NiLLYIuX/+CuSooYVqjSRcJ6GKfn6PJgryj8Q6oXhbgHup21Kqcf8vKgeZDbDBKXhQFIPimavKHz1+MGaRxFX/brLVzprkEPTFmkffJbFcRPni1bvW1e3PZv62et9A0fBW2pri0+TKRPx+2YZ7aPYCPoKn5bKu3d5j0EDfRWqjTunC2M2Ucr1fRA55Zgd52Dw2Ybi69FfM8j2SZ1M+4d/KCPgg1zjspEN9sT4pGoj93Bzrt+8dauZRMBRGS2m6gQNiSTIX1uHyaSjI2IDvpDZo0mUhCn9ZEeUX3MEYW5WtezHa/Im0MeJ9wq43ZZPz98n3HLhA3Rz/A315inMWl968cwHixRnpySnm2MB6F1V5dJc3uD7FhfaJ2NXJXHtythoLkEGq7f3GbEv5YQAuWYRTw6PUzZPgLaCspJjno56GvviQAHnSs+xP72+/YWi8MRwpOhqw/n4HtqEQqVINotgs9lc6xHo0cOE22IdcKkNo9KS2aTGmBbJcL+jdPvjvPq9SF4AnLdY5oSRXUrEjbExMwhz3ZmO1T80WlNJQhDHwan4akRtzeARFON/VJh607oBnsrrQNxzGRPJld0TIAQK+K0nQ9Pd7ZbphIB/XDg/NqkDNxddkhIx0/PqPIk2L8Dvk+5XXKzmMEmY1w3n4N6ZOtvnPtKZhJaL2PBYQUsukh5kkCIZFB/uc5NJUp/HZ7WU0lLsK6ANLbxYdkTZqf6YPKO0XpxMfUoWI0kq7GKbmXNcz9CyMqzdVK37t1loge+GSnCMtbz3M2d2r+Qgg/xcDN5JW9bgNa9xODMsi2McDOg05UXGKlxcY6EO1P2I+sDB4PUqsAoAl1Df+aPWJTgHp+8iUZGnWWNkSXTa/nE6cWvcsIEOwQz1DkUiGopRY6qsQ9H2hCsNkhu3dBTWbdb6N4zqvC1aD6JRXRJdJnyVXXoh1HPcMQUEf3qXplTVpCPx3ml50Z4w2bViOPHLIuheW9stp4BDDraucVsZEH74fVP5fKlZ3TqjyEGXtfhVqFz1/TFNfYhdiH3Vd4EGpLLAuCfiZ0MFZGW6hj4lRJX/Ya6EAS556l4kjD4btI/gc4xQUIozVvXAanqIp4n5WSCO7rnDOvbb3sQpKAD0ghlNp1xRI+Dnx2ud8nhOHLZvkLmx8aVbf3X0fhqknUHbDedohRVWiPoS3w590U9Z4qXbCM3Dl4DJmorVeK/5ES6/ta9r2KBIF3kpzjW+6ijig3ysZO1kaMWQ60lN7MbD8pGrz83b19SHOSCCwJkQQ7P74aM7hrooEAkaLU60LEem3+yu5b7l+TncXBSC+QOZa5bcrXaweFn6LACJan7T3j/ZAkQSf3uU7JaId2nWwTJDEoEJJLqiglgjqZVSBdnxkNWdLajqxD3R3IWH8vCWY3SL7PpxH4zmNryjSW6RMRbgwCxyKAi0RoW0K+WLIWs/a/zALSk8P+hOS9gaGSsfXOdAtxnM2KnQ4vQWZ2mTuN52nUqoMHiBDpXsyBcWtligHpaNrhYMfa3HVg/7kmULnvXQjtVKvNeniUcodyR4DYAVkVhfA3FRisOraAuAYONKMLOWXYod9KaDyWR4vNKiWz6LN/glstyT7SdoDTKjg/0qJvRCPS2A5sho87BhYYEdS0mFcrfCDvUELhXVK7ZfV+jf512kFj8rPyKfi3z8zAwRHVeUvr1Sf74gICLXplrWrMawFQJU45jPBUpA2GCQVqcECOzPlwvqpvpDOTRRRlNko7XG6+G3k6yFueSPcYOvPWVyRhuR+f7aZUowv0Uw301vGLLPuyOr7vc50bQP+kX2HNCju49Hf9QvOtLKaWKqYGSWCRcKw6Dh3AM8nSy0oHRmfGkogxMNrkPHwGFbz6+t/POTYbSGWN0kn0WJFdgC9UkFsrjpiRUn+jIlHwdKBp8giUkj0Q7hD8fCzb9tMbHl/tqOKzwQc8nB2qh3UC1jYE4oFQOMOQzD8DB05NiYkH1LOg4v7kqVtYqpEcoOtHP3PcyomAXvzzjjdJ/NBrvo98curdl+UVGkka7AdI8xWj7Exxj9JwRUyXWT2ytmE78s7eMzcwzOtl1i6PEm9pUxEk3e77TBKy3oHmyyKdP94KTb6q/vaOWA94qZ8YfKd31lEOms+XjDC6CfW9ymVO5IniI5fANv+0pmh/dSGaTxyO45zBS+x9lTzMR2ZwPXc39lrV+OpumLchHHFpzGro76TrIwt5oyQDvcFSNdJB15/f9R2zwLCefxJ3f6wZzCDvJvuwtOCUnd4S2JYPs70A0GQd2ioIBf3usONXTy4Hi7dHhBxp/vbkR/IwWuc8jcc7fikNPGtW04Xi13BXchjG7GxkpizkRIBg8xsGLJRJu1I8mNzH2+0jLD0abRLNrpg0KHzjpBp4kRvvwXoG3lzs5Gv/xt57VL7Ij/abAIIqydS112xguJPgpseh9ycVPSM4lfcYySlgKHvWi8iWMoLwZd3FQfi5ezqdsqA3mI5DN6iB6Ng1FmV9xkrFjEfG1KTqLoZFx6CWMCvckM6nBugLJQrHCZSn6dNtfu39mk1wZMM1yzqmxxXGGlp5yI1x9MbXILWQYD5/9cNq003+D29XtQU6Y47YXTA+baswVbHH+tW7aLfO52u0pYLeTFZjwkeSB2uVlj2kyqJpS+L5cmk/zeU2HSTEXlku/WN+wW6uInwm72CCVbp/GuCv4+VIrd2pzHjMlIPpTApy/DzdyUjX6SpAxbWCUS21E0hBqx35andsiwUZc1qDVMISZs+1jiS6xBZSeaQ1u1nF56O1qMFFDbsmtGUKghT9e2ThhU3Lh8gwbV1WeuqhEzFLUIkQc2PVlMi/c98r6NgeQVMAYnow+wZ2T3w8GMNpWkfL0vmhEoNs9nGKg36TzdOhucKpmzqchp5NKDMDmp1jHLWmhU4JZNIstOW0LzBqpBgyMAFwSe+eQImq3GVWI0CY/nuYO1Q0dD0R81OeGPCUaaJ7DRuDKbF2dF+pAStr1ysH2N/Fn+va12xhKfkvzSsGWhriFxl1k+87z8hJRrMohVvzELd1cMqtLSmJ1AizsL3qStFnpzdP67onTKSrviLKx0gUrcNWPFzr9xLpuMUyqk3Hmc356EdBkJjYNdErMANf+FC3ZA91Iir38N2VROTXMC0R+swKMIIICcvJddLSIFyNQu656FLSHlZ2cEhqcYacLKnPb4+fD82VX9sVo6FB4YHPojEBKZYJBX2PyCschhW+SPG0LdqbMVsli7aj27NHz1Q8G0T4hHwEwCO88vtS4tghNYROOA/KFIxj0ipE4lmB6Zg1dgMSvO+R9QiZVk8xUM2gPRU5G0SFapWV4kKEnO0lLLorjn2btGTa7CiTbk3L7ajZSxLfpBUj2p/4cRLlklTe/xg+g458dgml6vmbd441Gtme8NjSp3RqFPkEHNeqytXMFSV+VVPDhoiDSSyn9Ww4zXetjeqauTh1/0KkoXILB8wWfRxdpg16I6Kbrfz5KwOb5Kg2cHdsivek5aJ1g2iwANHgsXh4c2QJNBQ4TMOxqy8jpk/uwAxXeo++FkAFm/f578OWcKkHTtxQtjP1l8xG57zO6ITdGXZp7NlGSewLVIDDjiRVs9vkTY32nrEqoummBJ6C4dkBPZc3PSqXfOh/8/VR3EIlhDyRgeIXdS6a992IDrsE+ncd5Fo5uvcp7AlQO/rd+BQtFphTqK4Xfgn6oQKveVEp+MgcB79uV4gARw2T+OP4tE+3YGMTO9d4VYeR9HPh2vYrKsvhStIQnUqoaBdC66/AHdDgL3lLolzlkMerfQFO9KkYhu3iARPqlqKFe0zunRoKv7VAnSfQJCgYaQerNd5i7LUrXoRWF+7E6bnRvimmB72ZjNbUMrMRiaBxixWENmZ0cL870rozbNye0w8Oe3EPc/K3lQX/Vzj+6bxuyvzdfTwbErS+VCh0gvJLNaMXIRE+qTgpeRlSjACMLClNjOHW5hHEBvITUoPktfrg/EJdyYCh30+EOYBvuHfQQGrmOaTvZBkaEmJp5R3uMzwfGHOHHFZ9/sE1A2Yjpdf09l9KUzzMXNml7F+XRhW6cWnszNQrRExFVQkT2iMHJNZ2YMZiMK/p4iDIqV42+Bl8rP3hHbjKdA60KvHvBCfMDyaSpv1EMoO8lrqwhpE+2gmfhz1aIrjwSBcK+BQf5qRTHbWv0jl4cKEvpz7nU0G1QHekx1bhRVGNjere9veIOo9/RtvSclCfn3+t5p1FxxI1yExYkPtEft7PLthoAXmT8BsUsDa7BmyWdo+g7wEXv+06BobYwiMvUmo02leUThFV7EWhQM916nBX9X5oQ7YqMsAEN0+f1yhwknIdNEbkIG1SSz8wtUOh1bJ9o9HNcPbawoyw19TBcEfq6C5UvRshr82dB7yp9Il61L/dDSzeMZbNWdyqbGe2y+6mlqobQ4lpGgzcYCL/mY6E88a2NLt2ChaCIAPcpM8AksLuwG7NsVXfdSPScXC1n0o09OHB8eABV/CgJx2iJXZs41hnESo+3Q+kiZUCqfRqEugoKMoO1ebTSyJpmhV38I1PGR94YPLSJfzEVUW5VAQFl2x132DLapzrGgqNMK27p4LtCTQ3MwxnGxXgVx6dXpJtLpO5oJMI55MCdobNcXNulGy3zU7eU3HtAq7f9Xc9v49NhUw8zzcmPc/i+bEBB7zRKf0xGtcvbN7oDdQBp1Gl9ojdB1RPN3dF/PCVKJB7wnJyhz7kVGraqC8N4iUJDH015mv89LSNUEtWG1AY96zDEjtY7g6VtQWlzFALY4fKIck0jgm5dMHyiz49NyIssoqV+lGs6BwLMohX/j6Mr//dHWRMy8JugWOeZTgZLFIsugh4/vNpsMApWAnQQ0/MJIuZlQlKaxFV9nYV0fay38hbv3ma5tpvp4OxBGvOiCDu8aHOJBI6dITVJeraTprWUiDbgZ/EEP5cApMIwcI3K76oQT5cn+MGvaDrR73779TeXB6TURrcL9OsUOy+H+785SXKVpWGT/AvkwyFLuOMEIhLHeFILfuC9R9gxWM+cItij9uv5yuwPnCiB1W6OHGN/4XCLXeHRGccQZbJaNxtUC+acWpbzmavGl4vxzxrDIcDZb6ivAl/OzPbq/DJfDBf5MIbzSdSl2qcF0hWI+rH7QU3kANEDTREdEqS7FSqSKBKsM4/y6ci7X3hqh+1kGzl5UIx3LUsvBj84ZrQh8DfjHPlyf2dEldQn7U1AKguDoxkFfWxIHAeT1cPYpD0x58+lSyZl+EONi+D6Gm4Herpi6Le++SmF37sywjVpRypcq3nhJ9GN5uccWx/Y+c1cj9kPjQSNC5tezqmWpE8xkY8R842h/vUgzIqtXnifIn7QLx/tjRwVzm9rbNcD8nZrl31Qz+0+OrkP+Nz7WQZ744VsN7hOIgu635iDw0gH0eLqDbYHYExQBqI2U0tc15XH8yTKuXepkiu2H9wFDw2owZegez37sUah4w9kJWFDHey0s7o2Vbpf/2y+MHg0dWIBcxrIkfT3BrebvbzmG4nU9lEGpEB8LpYSxIWiL9dRlMAwPfIEPtJRy+OY0nOwiJOBh63HDSswvN63ofFa43bak1zlFX0wNiUA1xNjzVLIvMOx6if2bzomGmll7n5FxQ2iIsFPNZIhuRzkUZQsiAn9Tlus6hsIkAFvuHQzZvj7jKZTSLhFwSX6eKL7T7eqlOW3Phea7B24BoCyQ9GnCUs04qnMW5bVv7zetXXB30bAKESjAxiuJJtnYZbyOer4rDzVfsO7zPGcvwPuFQjKKEJQ1XZwgCLQIf+CC3zwIdXCTc2DSFGL3TxomV+vYcCCA5FqK5cJCALIwHDKNu5V+iOsZeC670hYjz3CpJRZfWj6fksnuDv45+/1QOjPZvyp4wfxF9G1NdgKR1pk2Qx1lSSfaUl4EvQYUe7/ka76/T11PWdkZ51Zw7A82dvb1djBIGOsL7AAJyRugOu8DTXJnoPKYJ6ryodnaRq3b2xnnhbvqiCeeO0D0q6RxJRkOwntx+F8NqAq22KtgRbuPiLC+u/VqIp9v0488o/m8FuhVQapTTlJ3hEd7a9jfGW1R4tN0LjhEsZSOi/fsD2LYa+0tAZgwGbaYixxfYbDH7ASflI9DhPFUlHFFqo4d27N018W/5E3RBVEVlDJkrmxReuYowVHU9/O++zAm9tKgVp/yj+tscuzoiAAls6a7u/rOhFOLZ48/RiMSl56tqDnyCrnRg/w834dcYt9wa9RHBNSdxoF3zsX09yoWLn0g5DViei8sve1j6wdfF2yYtQW0NJWfcPK2hJZ8D0DCinFY4MfBxOB0TavY/X+otN7UdO0XPASUSSHVYhNjZc6cqS+42llCvfmTMa44j/b6i7G3zK8da7kme4a6pR/F4a/rFuVBO5MB5LBtwbEhGHcmv+ydWYoYi34wAhpTH7dSmUpsDLc+6QsSAidXQo9asXETGh4vlUqP9jdsRGuTNHEkrNmuUCRbVnTGR6XNeKXAZQfqhQkRFJvnUD3mOd+fbXyPCA9CFx061RUgvH+fXNplV9iJPnVzVjtXZj6QNhpE/nqUdamnsGrQnqXcIsFdHFWS7+EMkD+nxleGAd7GGQpELXQjZ6UcOA0KBKU7W1d9gP4oVoK56uZOjgLNX4JeeMjZZof2TA4ru8AwDc5ibrWBqM/xuKkRlNDHC3uB0UIFEwkaDuRlNGCUCW/kTcc8xqT6zgtGK4ASIyiDW6nwguKWFVlI6O3CwtnelMX7YcFpFCoKxtWt7EQCUBCB+FZTGNBVNL6UFQNK/PAuvgwo5BebkCjPzDb+BEhsPAe45OdIjQFM9/Pzjj0m3Ebj87ZvK6t8RlZXMETnD8Dpmm/IVKD8E75FDIz9qWIqTXX9o2X1Dcr7cwqHIqFkJrb5Nyvndb+CNdE9iMhjcm+q3itnGXXHYfDIjSr5QDEnrvw+QGUGdipIY2dMZDSSSUTQJ99CgFuutnkyXoo4rM/fJczZw56YAGko155aTAKdBOzOTL2NKu3HrAZXPkVfDODnX4eZFFJscaDBrpCt0alCthNtRCRaYvWN+5/6ditAG8c8/rs0xPQGHS8pYmtRMiX5l2e8pHSmmUNz6X1Ds6CmXuHlfTo6OL4Tl9CTNjKEZ3eTCNbilOZU6QhExCUX/ZFXsf02Jh65D1JpazW9kfIhAMZxl4+4XDDz/9DPypeM8udn6KRsdmefQl72YIuhnpIdhRtvKd2LuYakPLPiRWHu0nzUenKP6dFc9sz9Hqk7coxUBYhSSpA6+1xCtU49oxvmtqaFnHXT1tpFawIklLtVPbD6cEZVckCdYx4UxZmyHKVIjl76+cgFKLnr1VgrB61o0/Mnl/w85dTesXLA42XZM5KLh3XEHUWLG/IbWGTrAJgyikHuGZsg1h3aCUjLv2SgMLIt/qgQEY6bylvc3XBIvksN2hTd61HQWBD6499iaoM1wXBE64eBSY/fs+PHBsfnIMf8A9KTzRAUV+yddS1nVnZ7Z5HdfCQoUifbXEAPycQFqLtufp8cW9ov++76RAOIxMa/x/e4pX2FSxvcKoUeGwRI8auXd4w4HJ/WdU0krZtzvQQAP5eCwO++gFHuH6WOwgfIRgIeQC4yMwFOGHkRjLPIsDBIen48917+9PlAdpgm61aBCOy4+PApmqNdUE7fn4IDqaz75jKV5yFDGK8IFscKNU4+iqTE4xjkTUY7L2uWB2ruWjlYBfTAebbNJIJABTP+DwX/s3dw8iEO0oaUAlowx9QEYd8Lcl7DvFrwiw39nftOozqZ/pt/54LdgRxEGcC2vGsn9DfXDNg+3V+zscS5bhJWfB1DB1vi+Gnvk0aA3ywd2bhCjDIsY7dv7j0nJbW++20JTrxqNPo5yIl2NSlCKMcJ6ue/jHIS4DFbPDs45hiUPrE1nI0uRQi9ZeYoxBEm3tWEDIN2zc38GLdn2RC+PtYVMy7chcNDonFnpCtNHcX3or81vD6D0xb4ws4DdNYioAWV2m44za6sCu5P4YYA2c/yLIpE9iJRNMeGSqdOIQwyBGGkaNuGfBrK4oYeodNQ95/Tae3F/34fxHEsCDjbKARfFuR1D3/602MeVPKIGUKjcoww5XtiI2HwiSBN1N054L8Y1ngLl0qsz4X1nCl8gRrvb12Fozveyfv2Jx7kblcAv6Grh1utEm7ZYyTbfCY9q+CHBqegkOGgqkYjf8mO5MeiowBJE9MTGS4Cbx3ysNleB78GjgSSJwI166yYwgdB1jubRInzBj3qxSr8Q2PnJ2QoI5fYvhHbsPwd20JTEqkEg1mcfHdH3h/orhqQXjoWJ5Wm8EEDnTjQm1zLIyaLMbjxvjbty3N2/O0Bmm0E0X130EFLwANKjKnLsPhuSn8ZEJ6L4N/91rWszwneLSGLwmeEtF6yTEb4teQK477vLcv/sBMLJdf19wcys5yh1KmP0rsaFqvrV89wlU9n1FjXUVtHcANqFyGRqADMp0wLbZ+HjZgWeeYjbpf6SGiRNL7duZkfm5ArNjYW5yoONf5N8QqZN4HArFvUX2aeUdxqGU5/gKU1EaF9It14hsd6RK44SUVkLqNSuNuXEIiqOcjAWnJKz+SplFD33wDaJ2I1T/S9M396JrTKo8fhhEp+u53XzcvIoo82qd9+y2np1e1bSJVK8zdIey5zGyabHMSj4I0FvDE9s568RAFXYRnYf9j1ZwYntPiNWduRooUqCJ2TvJ8URLAU+/hi8oz0o9bja7t1Wi8HqE0JiNvB0JZ0EnyqwrI4il6U7KvNkW6r6ZuDW6Uni+ffA0DncpxGV1XKyOvtOMq0bCqkgbHfLXdc6mgs2GK9rCv3nJPGONX1ezDQJDInrGJyfRzRmbrAAQwXS3Xcya3BIWDP9z6oR8cqb7FSiWSM5AFe2+Xzi+FSXvjNozwfE89zLOaMJgQ/dzKfFM7LOkfEyxfuYPKLDTartJacmM5mWr25iEeB0CM8kk2X3HB1YswnFVkoEfeftMWuUSR8dyITRB8f9XvoJP8bUcbtLHxRWnggyvYS5wpulTB+siXxyzKBmm/wHrsugQR64oAFl7KKU/IYZstRDrGWgwO0IXeyvMtnNJr4tYNEedNZqqWoTDVMD2RzTCvhzIGSGWIBAnxE0vFwntQYSTq8AAx4EzrihKsF7Zu9CiDvm6ViuIBbaQ9o84JclSzp+/UVZelL33OgtLEVzeWm5lXrzgOsWbdr7Zh3YofupCufu7TPpAp42X7+acOfwL9MP060Ae5D5AB4lhHi+ZeqbGv6nmITjjp/Ovv17DxUruGobvwN6c5jA+B/l6sS00MFVz5yFFO1aU3bvNNCmbVQzKqUpk1r2X/7Aay+0zCWqZQUKo763goxgLDJW62LWwQZLlriLVynwmvOJUG9DXBB0ZrFwgZwUTZCGpwbRSJ6PrZu3jOZ+F0DJG7DBypLkNbCz1abmI87QnHX+Of6VyGk6+jn3oPof2aUFHXBQCV/b2sFzXHeBTbMi5zkxifMoiOQdlk/7bh6+IwAH9HIFb9cWgfivWZBkELSFcUOM3EwZU/szDz1vJkvxLCxniaBZv39JCVecQzf1+5aRx+I6fzVw6ISFpTZUAIi+z1hIG0mqHuBfTHGmDwwvX2OwCuYTMmDAv6EgBXPekUdmsZPevEA8YQTmiOhJgQYeION3+3nrvAwmoG147FFXdu9u0lG82QLxLEBlKwAKUqG0mEM2N/Y1WmbPzWG2FN9TW+0p8eUfAk9ZuKtWGcWCLvenYcvSiE/IQ55vmRBMcUoC22/jyV/gPHpVA6W+qrlwKhSBcgR1HLKzbHRQlU9nTR0PheAGKO7nXJ05DfDQrRS3aC1e1sIxh/OQ0l+hQ5TZNiwkdVu01IZ5Ijj+mXesIxZ3vfWM8i4Jgy1uXNTTC+DOcJqIiLcRdmZzv8/EJaRLMKfF4WIw3EIsmCUQL/opnSLJ3w2DDvxOOpdW8Stl/92QVulM3AMK/RsAi6uFNHOEzXaduL9QZuw0RLrOfCHwVpkHwCdz3EmjPf3YH+MIwUaUEwrOHZAKADZkVIQGS2MU391vAH9DMMmvb37akbYqMDh2nSHcjM1cOACwZYrpYW5iWHZBd1iNUwfhvfautVjDSeu9DKILU16E9ZnADuZTWDSusqD/payTsW3Nsmzo/gXDDkCmdzRCfiUE0VT1CyWOqx0JygGX1D7gXpcUEe7ML628upQQv0iCPgEtZDW40oUqsdLXz3wFVFpvMQ2tmgWUF8sIkawMSX78WON3zw4i5ZRgVdxSx/QsKj7CGUXsRLPIGm0EcIWyLTnnArv47t+fpn7qrCuJU46NHaEFIy5UJKlYsbkiDqcAaxhtg5rfIWbRwyvuPG0gWLJ5NH3r+gLWu4SM/V2heRin59iGKaj5avWncecouaOHQA3bEdTECqbdenbn7+nOz3o9MdMaaIk+AeQJumGyLh0TDY0yDu2aocJ60h+wNKvWFAuO+nKDRfXMB+hld+uiEAGb7otZbDrXqqQgjDSPWddCp6hBeCBEQZV6QSh4eDoq+u1Z1U9IgQETAMvbdSzuJLxyhck7Mxcl824vON2LcnW1nuqNjOULNzaVMGWbi52Xn6bPrFsnsA0kLMQl4hCYNovtSFCYFl+J4R45APBm6F1t1Nd1NCEVq8M3+54d3R2TdYzYdL1Dr3LcGKx+b1kIttbzmU+oDFQIFV1KoP0BWi4lIXR7mhFQaCSHmGnD7wkdhWj8TgbzE/BGGOcHcbWXnVzHcuIjxRbfA6FRtCtu5dpkrQwUzNQ8/BYZmd32z6sOHbmyV+Xu7/u1sKR98PJKfJDhfrEr81myyYRBGf3+2hsn9l+o5Q1OC7oyG9p+PQuvgFjgB7woDZ2n0vwq7HUfeNPjYk+BsbW1Fp4odWbFi/MRdAPtbKSxS0+vXj8B0sQbxqZXTnu7WBHbIE9rhBAkv3g59v1yV+w9HG0adI9UrtCBAat8tkZ8suKFKglIlkeaZQZgtYlFdDnW19d7d1TD2ehuQFChCEEleIW1YeYiEDSK/dLpp45pwwx02pda8EkcJ5ms5wPi7gA9WFoPilcgeM6fGbqbc1FAVsBLbX56sAGJN2Gp4uyTwAWn5NFkjK6m/c2i3r6jSSK+3fnmOu2GHCceEKPzgPg3CM3O8JvSLiGllTgNIzJ+IaNubrtIDSpCSobXrbjjrD6l5R54qMvK1Z4i59kvMQcV/miowzQlKdg9h6QiggxzR3/w0T5HCYE4pZzAXfFSiPqTsJj9CkMlWEB5ybv1fWj64WDeL+xd8/wrXeb3u0d+RwK/j1MoELZh2bqESmHoIMmxXnb2vnzqj1ZegxnBPRC2s5z9DT9YlxhEiAzpJkPYBhM4LpMVh23Y4WlXVmJf9wisizgWs1jL0xN6gwauz7j15ApuqZIGj1bWnzsjwnb/P1Qi9fGcfUmI+kqZx+Mj1fw70GGgMd8ntdsmnOdVTK0BdssvHa/7hp0YRgC7l5aJgcPNTYZAcFeSIHIdkPkN8n+yZj4eEk3RCV5UdltfA6ZioDfTRwvSC4dJgViuW/3bRh+thP0r7pEE2yu+mm4lysbpJYg1WUcIOJMrM7hQYVO2BxCLUGK/FGL6jb60p6GrkWrNP/DmrQETF3owZLU6pBTKgXzNp8y424HJoES5H40H4/5MAEG5ob8N8zpNOoVw6PTFjWDKY9VjnEVkAUn5/r9BZsi58Vfje7qPN8YCBv+NSJ2SxrsMip/DKQf9xNTK83Lch42fQwfFv2FMBoIVtshxXOCEvZkj30ifB3hc21bprsf4rFjv8tJhie4QaXXcHeQsRyDgUt7ObRllVWSIKGKqO+jxZ+Ykp/xhLUcz8wk1cUSFNK16PdlXEOXfYhrnmLFkra9clIjlkqjN7PkB1F/tJk1JsftAWMiI+Hltkzj+fkIRyQFY0rJMyjmgp1p6Yt+6NdPqAWJDUyfMPWl8U4v75zsznVHBHFghW8DFkzZ2t80+M7O38r7qAOUjioV6plvSdgH9gd9NL9R02iYOU+7D84puRDutYpdQuIbDn8MpXUT4vTDceAMjxVyIkAUEhDlnze8OBpieiOY9f+1lTy/Zg8aOWhNoSbP0mSQ1hopjsQJNit4rVylELVypIAli4Msl7y/dVqVZv2czGPpV2RDV/iLwmBbNJgBARGLIdugcDe9DuTQqFJ301KhrrwRPcEgenMFc0DbkfbCrpDuwslZqAdcQNN1pmSM8RzcIbfqSOopGJNnT6K0JfDM9FS9PRgEvOrjBof0nPDue2NC+eAHKZzu1p7tfEDh+LEG+y2hgZ6tO8e+o5glveVQmwyERRjPfXhmCM6cLYBrsTsq6wycGN8JzVnA9OvNW+RgiGFuzWQn9qJH0iStbpDry0eePZHbmaZ5g/CE4tsG7p0tDpd/tPh7iAp0HknyBJrvPOZNlHHzNZ3EOy7Rxo7mgGhWZphXgS8gyhEDUozRfBFODXTW0sdV9BkVABafu+IAlHMLaVGtle2HHXqou0mnURix9Nzsryvjc2Je7xaos0TXBGVzwD/LqOPxth/wdY40vpPzFtbRaZ4u+P7rr0znEQ+yISwa5r/Q4Mju04NIj74DoeC8iP/TiPNi07IimcyG1Au4CcyPGPd734/MFQzYhrzftamMtPdEovWZS7yNx1APEXDnS3MhQHpTUaZFDNAWI2SxG1EQeVqFc2tzt3udZY53lK4+FeKAaZymfTKRZp8WtklSu5kYWxYr3VBuO+RxMiBbmfYpnJ7pPv3DoRUQLiPZl/QVXPMW7YHusdo7tsZUTUscJBNrKcvwnyyM/beYcrv+bNO0wgs+Csy0uzA0jzCgXc7oprUN5kzsOKWomgDVRC7mPPE1AtfhM0jWzY4bd1ZJNHWZN3WfAeGt2OWvrfkELvGGMwebWFTDEjbgOe4LRF1UikNG2m/8tEUFrXymTmHaW9hQ+9ByuM+7h+H0WcHYcTcwO/3eYh6RgPuuryrDYcFnB/3JnW+oxmKM60eVc9T+i0hDES8bSeWSNYA71JeP5hFf10uzCUqGcMGxN6HtK++dk86Fnk/geuEYuIjNUW4mmTvVLmW6hZXKkUXNXwRK/dEJPF8ThXXywH4KsloC+C+tUEjFpiAMFvozGqW1/n1UggOS4mS5F7/jjDeCu/d2sGbXVyQMSVD7vzFZA5tK/w+g3lPF73eHHnlkObstrRCohcuAUo6Wx5SXcGQqqwoJkld8Wb3WEDTLxTVXDrAWODrGrMMnLsE5DHs7Om41hvumzeEe0wep7Ht46DrQmG7aGWKp41jznCM9T3CSemzA4DWBt33ESxKCTVIYu66TeM8JwjL3c1VShHPC342o3Ui9H+tlnRC1A26z9j44rZuYx4VlN7sDWqT4kTt2Wtpw+DAoVlAm1PSCEaI2D/gil23M/9BtaSQRN/b0h0S4nIutvWupFT6L4p64J6UhbVz3zd93uWDNBGkTjRWtmYvYjcu9pZB+Y7uyXx3jhrsq7O1ucx9RzOSoHxIs+s9CmgRhIwoJQGxfkIhsOaZgASLdpPQJ+ubClBvTPwTpZ/gWuTUwQako+xqZ+yBAYxCXNWQgeZYce5mvahWvKf5A6wEhdpskXIQp17VcCV5B8nT6szEGWFdYjAydLS1tFVord83+YUwFccKvFaWGHeCAoV88qnrVc0Xdoiydr9Z1bligIz/YR+GB3DT4IJWoRSJN0vM6kCo3ezTKU6kwaMF+NX6CFCeB84fekgRX8K15zEMIAQhlD6UDZZJlDTrO8kztw/rchKfDIwQrrS32NnC1YZcdfq1V/pjmZnNq3pl/TqUPpGpm/7VFekizWHJTAkYmXUkvQOwi6h7d8ipBkrCESyZfRvvEL2vrzJxDzClgBk3Pi0m2+F01BRL93+JC6sn1DXY+iBIW+4av8InJZp7zKFq2Jv+E09jE2I6tQ8RGXyfme15JXjuiMJ5/f3QNxysuJD6MrUa93GUpHVxNIbNesdL4/pMV32sCOhj1PmzXCCYKyZ5ZN4wLvZiwDDALPPtOmHl/8gR4I1m46QT0Dy2H+8oe7t1hyRKRBi+0EjWszgiCYbxuTXPfMc7VkX4DH5RJeVBPwHuAFkg2XswNc0dHZzzQiwPLhBdmK5uEBj42nZuHjmVo7D4RBYBLw9tr4k9ht0IALBM02f7DfJEJuUTsGLDLaEG1LgqySz3136JOi73No16UwHcWM99tXzTPZkgieX8IXZD6s5fGM9+7a6TyxlxD4yTNqZD9oAn14XWly8db7iujA1blgOAxV4v6SYag6L8XRxbV344PiehKwBsZF587a9CKzgcwsJbER2ZrOyV69pQMVh+C7Z0Y30YwOYmGP9WhjO3Vq5A56QoT4VP1qlt5szJY0HTrq7kX14CqGVA0Ab6kHv+UgKmL+FIug2C5r5uXJF4nyrdavfdiuxld4RaNO3o07P6u42p4F3/NRYZvRPkzQ9y9pv+rdzgCTPWqV9uHk8FRRYm21mUBUiq/lZkAxKxMJjAO6951CRodZbNDN8AswtYQUDgWQygQUaymaIIg8EDvU0dN88UKZ5jzCRgcwHzeZ7THq7AR0Rrby4z58NnuL8L8fRMlGtWPiM+stxMWVKZ/2pF95BOmLb9OV1l8QKtzOfhyGxlzI7ugDSeI3G0V0fgRCIXvEjjntePYsto5cqjkdlX3gr8yzrXbL1jDV2NVrqy562CtntBeHu4j72E9i+pIxPkiezzvc3Vk4bvAyefKbSlT+yCaFQFBmN787wIU7KEWruRE4ivIhjNsm8qSc7Dq3+mWkwEL1qyzCgg0wDen3qLd1YyyPZEUDVyeY7Qk4scVvLDFcXjrKr/0yeTI9rMd/aAx06uKPzFBx/owS1JM7YG2+6mcR64ULsr03UYSbZ6tvF0YBOhSfne6SyLfDdQIZaBwyNvcMewF0zQbbkXDSNM+DGrXpjXaM3G5P8T82eaEvdsQMJiWBcCfxuIjA2mAjEFl9X7w2QyTr9eU17N3H+Z7zljs9xPvUHM/Gmypoi1iCvp6o5QJRlpGn4fCmYg1VfhFZ/rufSP9uB7xhb3j6pP/SVva6aaOQ56IULxItTOkq/s/Pu1lXVHcfFbe69to20tBvWBGaAU9kERllXqibWbioHl8kpt3phOvUX6SzFFI7SEaFvjhi8TeXsknD5CFrY/fuLyVZMBRzi+tV3lP9Q/d/InMzRAcG4u4YgE9YP1+YLB1iPP827SnvHJTAWQkJIWeYAjN55n4z5zxD/YmXFi6UmGBdYdyI3CfMzbQKJbnL7Pxf+6QH0Wr8Y6yKp7IQ8EhMHHIad952TawcUxMCgU7iff4JSNV5MPfJXGkOkPaPZrT3LQvuXoFFM47AHWeoNKrvqCBjhkavERSgUvaCkmeN+HjHWLIuEDM9ALNL3L+7VEeUbDk3ngExrUNI8PKaIH0kA9V/Len+2X99IpOsrLpHff4dCYUVJYDRV6KfOaA2AiCm26l4xTiZRF8BFhEDM/xVcPjHgzMhJqGGF8TmUlLYaqia7y3QDcfeuEuMkAM4tFi+L5sdG0L5/6FFht610J+3I/rIkLeZDY5wa4SA18+KUdzwho3wm9EWOTpXbMOp4keQWi9Ky9vWu2ZMReE51z27wwTwu3bubLoXUqTCO2ffXHs9lNDzdkWRQc5akaKxDf2nA4SYdcdP0ESjkVEdNrPyOYm/0oVRLwRwFjHmfJAdZReE/WMohLc+bEvUC3qSEhZzye5uUCAKVejbmuDY6duMaf5+fto/xHjsW3A0Vecx3CpHBrwTPvyO4GmsxxhGvyLZpi5x6rL0q/Yls2MYSoc7pqjZgDgxxrFxJLZnhjT29ssLm36zgAAlTE++MqwnEsWqdjh2YdI3pAZJlrTdxUV9Td3j8TaRzH/+L5ZSolK3sxj8dWBpMmMkGQSve1ZLumvG2SP0zUSdNpCU/swcKBplDS2rXo1ydxcVy2G9s9v1/jRs5YJDcIF+IrgZXKF4YXog2FvPFrq35I1iOrOin9JSeHrKXuSRwkKQ3LC6/T+OZPn4DCiyuRE5rOfSq+R+ggKZ26o6v+WxjsnHkH+E/z9+KHff0af7vNut++WoX2UA2Sjd5LDCtwi5FjEczDT3B8ovUbgYVwl8Fyyux4pi8yCbtDvcDRcjIpo7Bt6Fnj7Gt4OBNxqE4bsHOucIZpjJJXoAx+tIPzvL3Xq/EyQgZcm9mKHewzrcfywJZas2bv3hb0+8rxFriGpf4DCYilZ9YVY32bT76ZS+odego93F8RNFyopNolzAVAf8INv1jlobMiBjst2TVxk5Z7j8CIMLhCosTUmrtZVepztxCnm2tpACkpX/NZOhnxGj7aNCDhyx6ZGz9k+LQrjBeOepYz3Pha9eWROgN+91r+95IpFh1DELYAlEx4a8AjUV0x9exuem3tJLVpnHjc/g49ZxrngN3ynjcUvTzYvCHckt7pyF3c9wGHotLhF2m7B/zeVkUVFgf3/uTwDN5X4O4ge1kzD8fb1blwQ4OcSB9c+42Brj2UIUf14rFnaiJCYRoPbBvfgwP551k9WoOuZrsa/xitlaCWRyYALGN73tzaHi8BUOoMo/igiPDHylRs7gIGgBA38eOvKRCxiCiMjPA/oxH5D48A4UTj/3/nWdlo0gkGGU2KtcDYFoyeCJBP4SBGc4hLQ+vJ/IOtKA9JeoB8RURARl0OU+114ZxTS3Yzt5rD8SxxXt8V160DLDXdVarQ7TDICDYfp7Nar+JHZBsNgft2O1vsaUriJZQYvZkiQhZk0PjApUGW5XjVkxUTHk71nr+t9vogCGygjaLCLOBxWYKY2czV2uxCpTLjc1Uw6Ip4LFcySsOAyIGmz77dXVX+RlXZheldNZPpXKvvDVTfmvCPIpHhlakkV0V7sWw04bNXoE3G8XPoIm4K7/0qx2XiICBkvxCGpZFTIfpXHGI7H957YK68fHA0hRqbXlSUWZ7mOIDsOq7PXWsbnh83fjqyAX98yarmkNwrvzzVFNLcAoSl36spsZxRKou2ioinrVZVilAdMTXDpitevx4Q0Fyg5cbHu3Pp4MPIjObclB7QJm8LuaOKQHW5Amps6WzyoPEV4iIwdoxwkc+qn0lyY6rk7O7QCdX5fp49VGrM5QhnwxuvPZvo54i+QsK0nbARCSVV8GRse2Psavo6jUUKnlBqVihWOaoKksGkNrtyIN05LyU2U32YzgzPhpQiElYNpB1mQFQdCzVEnL5Z9szGIBPd+Z/M1H64cgmflrMrJgA68Fc0uZB0by+heKVG9GqCOMsivgUSKKV5k5fQkD5Wjxmt/p8iOLKZ8TNm516zO0XuGr4iHl4gpy0NNeG6wgubes95PHWfkFNLjl3nRVakv/CYH2KMtpTkBwDk9x2O6xq53cweI7rQYVEeudWxXHcDn0LO8mePcZcr6ny4lVVqV3h+gctMJZJsiH+TFmamNvlfY9gvWZwAPV4UCJZ1p0A6lErDDY+QsXVE3njShReJx+saeJT2ip/L6gknIDpfwXho1t53dI28AIeniT4+P+hW1JdLB1QmERuSgZaBkq6rRQxOf+gBI6/Tw5QrGSaBelSHx7aZ6j41IshnO+T/6V3E4iTvgzGq7GH7cSdUCKVq+ld2iuEsmWcgrs7ciJ0gys7SQ4eVwQZ84kcbRc+iT05u4Doe1qPGTDQmG40fIMnuZPbufML8+1tYlUFQwXO9TgG5f6rB1nDuQ7ISG73Tec0jWfHvi/un9JrlZa0imK8Op1yB9ZHaq2FoTVCt9ple6/kqAJvBfFGPjrI5JFgvBNXxYQRrVu2k9XpEBPDTdX/4Q9WFrs3cJakpIN9Zp0DK7lL6+oZaOki5r1Ri2lNF3Jas0ipDZAsGs3tThLoAlnekjUOFzRAS9UhRU2+C+bvzYR9tAU4E9Kj/hIQqNlHygKcMsmfDI0X/VAYdhKtTSMcsUJ/9ZeKYpznFhP2kbasHXoalPZDB16I40c+X5+prvDTAObmKyuvVcMTpm1ra8d2UbWld6QOcIOF7rQcQiA9UP0f+9UhGFyO/WJ0FsaIPJaBfCKJOKWcS/vluPXLefaDzFefvB7kaQOTNAWadEegtPWYD2dQU4KRhMjh13Jey6lfWdnmidWtXoNtmRT6gihvcxfYHxZGfdfctgaouCrwXVec4we5TvCl4nEz4juDC7NaZNSDPL2vc5ViBgxNSCM1fD6LQixjVCJ/aA+vInVk2PyPPFqnzIrW9xUcfUuOR9J5ssIR89/0mgxKieSn9fRrBjN/Xpl/60dld7jdyz0x180vioQqtcwV5pd4a6cp5x/EmmIhNlBNisJbC7qMMLJVyo5brlWMVvi9cIL6wCj1OwYjEBSatVkH9skXe6T3V/W2luZfcBEAatfYJtw4T0JaDMSH+eiE/mcOQPMvmUsWkMDZo4W14T4SpUdt8jsXEmS2YY+LWheA4vhn+knrjQvJXxs46oJV0o4PXgOgVjs12oN0Zgoq0GVDaWT59F6nLZocU/KHc/lafq4KOE52dLmmXIjHN0Qaw03vv2XJF117QyjEbe932beo3DiX3ABLXEOBrvUuF0SaMz4iHP1k8Zkwx7ctiTKn+P9vx3j600oXhWdtFNotctUeza8Cmnd3PVRZHPGpuJZ2ZTNtVEjZSmkaSWG8X2S9w3EurGSi4+PuO04YrZabL6//beY3RJj0SduYqIP1j7AfgwpbDqFdrDbxH0lm14IOJWvyqVpVoqgNo4FKNlDbntabdCIqeJSXI/czbDhqVYFkGcaP4L6byOS3u/CeMKv4+WcNDCUE+8SF7X3I4wVbREg/Omm6/cg0svyFsae6whYyn4jo8kP33Q48tMDSt0a+Pbyt52981O3JhvmQEu5+gKdompmtEP39EPkatWkVZQ/TPluqHXwusANEvhk9MuxwLT9pLMCr3HnGP3RusavxH3vpNFx0daMmi7h8BPrBrm/Luo3bFJzgxN1C+BOuTOUNl25v+gTzpIVmM7tnJYV/xGCY/bcUFPWIhXG481SW5ot2LbNj7sOSPGlfpoCwVse4R56jakz6pzPF5+P0ZLPRLzWYE29sVX9UO0pN+wGnJnqRRRNk+0VAN6a8arSUsSDFZrtAgaUnLIkA3zgBx4lwNHV6fsRfE/MYijpUJ1NJad0LvfGf122qhC7f/L9EQWn+kxKEF1OPcnMPeTpUxmB8oUC4E2C8Bd0QAgC5uewZ4AjQtWOl1cNdvEXWRON3Rx6BxWn7sogBLmcsRXZAFm5inDJ2WZaH/9Vbv7/Tn5dz1mqee+yJHvRBjCQ4x0OQOD2TYYKqiOZzilnPG1MfuFhJ9m+xzey5AabQvzR500qlitz/0/Evl9oDsESGYNozoP/FG1jehuhiKyFH2z/BRR2Nx0fUGu/ju3ZbfwvauSqlcuQrB5GB1qRXOhN6AuYoHBAznV0p0pNC7shI5aSlooDtaCkY7bLTcHJm00VRa4Impsn8cycfFO7m9eaiop1i08WVFJzKKfweTTthRUIiS1zzUhay4sATYTHYE8cGYSl0D0OFDjoXndliLhsdMDbYYqF9yV09LwSRv16WWEQqfeZ5sGUwH4hOb6lJsfWlW/GDuPFm9oEinjqKaZkCe2Y9MMuD4d4QS5BgTarQ7aHPNUzty7TnLAKKI1zQM1UuWwIjrsdJwYLEANjvbtAzWPTv5VUc7T75Z6p4U44cVAY5p8BkvrYOM9wAtlnwgjWhO6+ukbrDOxuum/KnSVYB4MIKSI014Vke5ZM0FtUBUmSZ8O0RTOr21wFfMC0XL9ZhkFmSaElQjS9PbpO3fwE4DAyZ3HYJVWTc95vLo+yr5o6mq3j/XQHXNiD11xyiON5DX5txk1ba+2uD4hAojtVwKyx2wfzXQcvafojfZYJWxkuxteczhI6960xSECkDdVIhMYfB5LG7VGqaiJdUzLYWks7frt7WGlzg5QE3I6lXpWnP8uu1T4ZF2f9/vAH911GjOYHHjmIc1CSg0U2HRu+I6sxhTXTYfLBepn5QBkKVeHgSL8GXi8XYKs3Esw08WUEbPTDUS/283ns6fJpIINRzNsElPb29WuXl9PNEADDe55xitaSU2WsYeq0/rG2J0+Neqzou5tks6HgZh8vWrha2xffRPbV4FqxGBSlqaDq/mURrBCui/X8dQV/r5JauKSivehQD6vijir2cNe9XhtXMNWwoK5Z2hIF6mkMwl0xFmVdn98SXxNWm4VpHskqoErzZg6hZvLb4Xb2Vdka1NdWgWzFt1Q+lhlWLILnaCL398JasQ+plJ9zWsEmXPFxRErLx8S95u1X2iHjRSypYKZh5i53LZUSi1XRZda18QABRBb0cmfPV7kJ/RPmjwo3171wTDnLRJogR/m+WIYis1MAPTsAkrrSAsQDvxXLE0Yph0JvXIWoWC5fq6fl4hAvd+ZZfx2y+Q0zCE2aDhpHCbZUSsyFxL2XLoEF1UrzAUWvYVlKz0EvW1LNhxpVWcG5fqTIZv+wQ8XsmONtmEBXwciRP2rREgrTo5bvO7P6uqbkpZGBTm1fB90cpjizcnZaQL/Lh7384AWwbD/ij4CsUD76LZnTvV65nEDWFBAPPmIGjWVJUYR2b+qzHAkl+iToKItwFXtHEgDh57/hkMwXUA5h9L005Q0T/06RWExXBH2iiJqy1EyQQ/Q22LrbMYIzKEog4myt5lIav9/hrg4kql2qUIgrkgZwhCrI6eRd+0V+KYwxzWruBDyxVnZ/YAKwgpiJVUhMOn++NSagMx94n+gpcmFhGF8ZDYq+o1tLKch//i+IDg7dhfZ+pgHQYoB/647NVjq2DydVksx+M3gpMBGq1Yno36456GCWjYMtU20X5xQhOcwcG7JYMVpkcmB5DX/1OPAarS2U9PkOHcZc3mRHnqOYh4REr2qDSW2AJhK5KJaKH8cdISbOhrSgEqAcDGHpbspTOVr0IOZH4Thmz+sb4uAaQ+/ATe+ZPCQbacaYf44A4Tdgdo/oCt5mB3myS8w5krOdJEXXa1iDnBvuoiJ3RRnlgl5FxXLFZawNnyLqIN7h/wTxmDY3l4C0rAIKepw55BJwtprAqW+fcpkahboetaS+5H6QFP5U167aUIjBegQgkeoxkCK1zsfkIo99ZKTU0GUyqudTbMpyhYoZVQZx/NhQZCQizziHKtqSG/lVwDqZpBGjAFOXaW9Rt8E1oN6PjjWAGbWLbWO7lkGP7b4WZyY24Nj6Q3tMORQFhlSXZ0YveYrGRr6v/qHCmwHjXYJw5Lxb/HZioVFxLFn+yvhoNccShDmu2c55vZUtXnKHYrjATnIBG2YJBYlUoZwWfuCmtm637/I14zDBRZj08lAymm5hl3GAVZQRB2n4N+UTxlyzKFn13udLHi6zFALplOpsS9URjH6CjzC0qcYp2rtlblv9RNipayIbqp1sUe4tSPooBKXOsV3aPzYq1Ggwx2x9oGG491DXwB8iIfwad4A3RfpLEqKfo0m9w7L/q2TsA7VjbKPT1kWKC4O3rJdw0xIsjMPG/3M73q4Fwnb9CmtM7rtn1INwwy73f4AgO+ScWjBsr4viqCYz4SWOxRsBb9z0KsIo2I13O9NErO0b7A+TDZ+KDoCPFs3U+ClWXDeyVKJqD/O4i0AgdXlrOAknXdJYy/ehPqLsERIO6QymMmJWfOzYQqARtH7onnCo+V3ZUkmXV2EsWGz3DIEFGA5vSZpuABr3RlWgleZKbkOwFDu7r+o8zD5C90L5wj/X8ady5hcEWJhS6rH6xxSHRsWttTxBorwCpRwtcuF++iy6YfuTYPKJXAVNCvH+/GPLzwHvitvK0OldogUCH0wd5RSscSvWWakymZ3uZTQywXxhr5z50Qaz8oczsbPtzSUvbMfODzlhtYPQtwFGQjJ19SvM/FD+d5AwTujzeUXcSfFRMDWGfoUeXY/4Ypg727pjGMdenJls1sCHMP+RNyhKWatK2TIX8GaCCOrvjn7MZLeiEsz9BovRNt2D14Q+Y30XXbBkPf4qU6fQbmm7qmVN/Z5qx/uf3Z8Kqaxk5d4XbkxMyj1zSmo7As48MMr27OMgEAn38tPvK0Fy/Qy90HtENhklplEJouvLe0P+UdUmIZNB73/phodr6Hj58oTr4K4wOiZfYYHZNP+jawcEt6hSDjmdnuEfgcmDZdG7fe5dLZ1xeb2L1CMeFaH5zD9pDjkdheZZljlxs9OqY/TpKCbbgQ/ND+QwviUazh2W60WBG/7iHNLW+3xlxJl4/L8PI2k2uAclOZDIhKfEtZN3uFCUxlfxFj2+wAmSKeqpqVziyaqesy8jZ7bh1Xa2B7+zZbO4eHtSyLbl+bbXb05c+FiFqoByQYHuoAN/rzL5i1nhCBc4QHWHgd17U+SUxCcHzGAe49spSWhDh8s25n3R8u6JgLfvOxEc2dxzkGJzGR1LfQY0tL+Eio7zeuVUhAupjHvqk+DZc2P21F6L5xqVoBIgwrsJ4L64IdtYbWg2Z5aYOo4tQ+qWrlQwOyM/AntHEHBOOy2g68oFMiW3TL485SYnKLZMarBCtz5NVeDuUTBv8NTl/ww3E6w2M/nZYfgiPejV3aF8fPH9iFsirTzqjNbXExKRmDZ3uB8dTX9Nurfp8T6WB6/4tPVNxnQNBh5izqEFL2JewkZqD8Uh1zxfxoXoz9OBW3T9zgM3AxwZhjwrPyM0msCMIOUovttrv1nZLlIma00XMt646exR8yR5WKC2AiweFMdkh6Eh1+sZj8mshAdkMhnUXH7e1sX1M9d/LgBsryn88p2Ld0JfytLKTSjOt8w/qhPnQQpnv+UBPrZh/jKao5WuI4dlCER7Mz1fcFPaxYdV1JUBVjGxDr4vJQVJ26zVKxon/mpW/c3q7rrT4ybNSuUOmqxqu+xWaNuSaPf5fW8J31p6D877EbooZkUHYUotgsFy7cNfSqgT3QY3R2t92Vi+8Ml/m6GYQF1qzNYbCeqELK+Sr9paufo9n/geu8owxC60n/gz2XrXxtkWCeXW6Md6LH4feMHfWEWD1KCeVGoWlulsViyv83C2eWqqK8MEWQSkCB/7sDUh6yTbZSE9zq7y2haNzZaQ7XAMaotabShJmfoplSljzLfb0c8fTOO9GB3lNwOzvFsoToWhJwoXBcAx9FJ/jucUjj524G0wCs7M5HYZaZRr5Wi1obxY4k/pTjahtO4x++bJ6oycPc4UUIUkUdPTuyY4vYwPTDHJjN1/CUPR+UM3nM7k9szS2AZFUyztPgDCF5sI8XfptaKieHYv0gQjd9AGFHVOsaIit+IySOp9G0Kbi+H21xe7rRt3xatIYg+JApBmXTN0cE+B8eeN4jzz5SIlGaFG6+jVnv9+AItEb5izjIxqONdhMyZFdjXGAM7oCN3gG92SnsIFpBhC8jz6kGaozdGaEtNspoUnDPaodh/Xfyl19d0kClyh6Yekv0z0l8aEg4AYAPwfl3E7ajFvEa5Xh5kAfM0Cpv6UAF5/27RzDOeDM+LNQXX80qqDgh1sGs7aQUCcuNsCx20WZnj13uNKje2PtXvzg2wddAifGInA+xceXYSlzpGSAZ6VS+MiwiMO0I5IGNZBNzdEk9dq+OoohC8PW2F/i+oNnYTooA4JhmIjorG4qdUmVwi0/DB7tr6IKy0cX5hREjvAI5kiR3iZQIS6vRAHwO4AlI5K8Aqv/Y8Xn+xLScCz8cgal35sE4NdQmU+W0rWZRbGri53UMggarHTGTyFB1hexdsT0yWxDjOEscZNQ2MPoWHKHQzXRCBRP9Yma1C8C5menyh9n1aL+7E2YkFZ4wAWKBesXl5x097PEqNGU5nZzzkW8aZafwVzpnpPOtAruqzRXaWI6BAZLPCiXoHCT432RO2uLjvS8OiAQ7CfZ5cwv8AUFnC12nRXhBEXcH7kMcn5T9Nwv7+TPNaEmGHRkq/qtEsO+vipGADrerHxgd3+N/8ibmIcQSIo2fWa/Y4X5RA+68echGjm/3KtKbedsWojKEmPi+ngNJrJCU7NB59mSYFQH0NxE57P7C/n+vtoe5k6DwcqZfjF8Vq9khoa8nBFa0UrcqU4TB6plX4qgoBvVTNunDX2KwvBdtZ25Y/aUIPej/lEDDd4/klLV7N8LvQXgr68iynrUdHWjveZ6LnxV/cQZISZLhiIUzVgeOVX/qKXPR7u12QcT4iX7AYCTNiXXAiEm5ioojfeIvjWa+coEjIRAEbDNUmVWit0Yf3Q1Q9rnzOIgzcXnPMX8i2PyNUPDawwfg0uQLWoABAXYaM4BIr+oleLvQSxzyP/0OqMFVsWRbEBzY+56C7/WeU4MIPWpuzgILPSiIq4uQsvCoB/ExT628YwTA7Cb4UcGzkCcgrCCjiWV/5A5bbLVSanTRSuDSh27W0NfHKcaxqCRMVnFPFqOH9yfpgD8ugvqVJUiaCMTMq6fve+w7WkJYYhRt1AS34ZpgpCup4RHIYt47d6GZo9sjZJJX0Ja5XYvpO/+ffyBjpjQxtCzEf/nW2OKxh6Q6aCTgwxcHS8xRlvqgtXZX22VAiYl9GilznRSXK8Ui59xOWnoOu4IuD+X8Xg072wwRukprVY7fCJCE8OXPGwteSDQMCN+9zANJg4h932l7LEUgthuHxGMqpgaOVUDKU86AkkQbsd/0TqTKjXWIvfxx4pjpUEHxETTJMRJMsoSk4zXdf2U//LMhvmUYjHn9zFB6cK/4In/GGQVpRCyYKA+lVKX7+deGcibGW9GIr0WtDPnsC+ARqtnIVyF3k02k4Sn6wflAGV3STcXek4IcGF5vUpa8ofjWrRZ6yM6StEo6zUv/ibMCJdlxluhTm3OVtJ/J/kTKXyYDWR7z1NEM9vpFot3pysarkVz5LO+ptteoXR6IGs4RuTl4f/Etb3OaXI0K+4CRRhDATY/PoZXbuhd69U+/XXg1AUy69NZO3Vfy444ZbOIHii6vEcNMAad5EWCZuzyfNatBrB5n/38d9KL06cNrHsj8FC1kSM5+cfpVrBKGDEdW1acYtH76BizcHNuKPFo/4u0kVgMKXU8O+Li9UehQRKcQEPDNOmVjahzKDiR0Sf1XzzHVDnmtu1ie0KOphFHJJ5tLhvyhxzFEA9tbrmviQrD6Ss9dDSNjQh7nXCEr9a1QtkMRUemU8rYwfOIn+0L5kdHXdMcaOLJ8wnv1hNVFIWuokp1ZX2Z7/RZLtiTGskEK2QcuWqiuz/KZv9tJNIgT1gXy2smuwPw6gQUwOLi3mry6AdfJ0f/jbjhLGPJsR+Tedx3AJ2m68m1HVFjbuti34G2wmWue4PECb4uEaCVtXSReD3Si0m6jYPwIMUjBg0fZWHGugm7v0dI85DFHcSD5rmsgBHRxgxxFJ0PQ0wUNRaKihdGv31SZG8pR2tAzDc+IZCaRdpdysQ/L/G2ZUJ+VWQqKWQcuwtD9DPT14jAszKf5Nfp0e1XyjGkPwMsU7g1wE8FtyaBcietpSJ65q4c7Psd24hGcnZGZL5MqlEP6faeaX13xIy5mwB94GiSb/hb0/XWiCQ+2uGSGIAmIYDLAwRlxjpbqZ3rXbPB6RfHn2LKzXDDSew6A/LfaYN+9Bl5aRGHvtXRtOyosj5sR5RfthGTMiZ9uGWgKkc+UoU7P6VlMhXse13f7NKFOQlOVtRl8DGZxqpd4URJ6NCP5Ju74eCa9rWvmQTQ9yjqGxGlw6yzH6/+/l5KNNBia6kxvae59OpsqE5QscLlznz/Dp1wpKRkI+QYDS+MOTiXoAw2mS9KUAMNwPayJwRr0oenXLbd3xbBHj1Wg/jWsuLyNCBaKdcl6P7Qj2mm7jlszKrwIq1VGnWORgSDTTyvBgXM4WiyloPHSIQ7zBzH2hFAmGM5WVEB4AvCZduqhqjdRwSb2sXSwT9Fib4x+ks8UxFQXxlrMyUhW1CauxQjfqsCODeQnh+cXgHRBqAFgbeE2c+EpQoPZsILQnOd1pKlEXgvCtuAeBZILmV7ka8awLQai9eoyi1/7CAmauX/3D9C3Iea9ipdTrlBn+beTvYb86TMS+2020ej5kvJcOceM9yhiw2eobwuMOsvrXqpzbH/gQ1+dhDc7AUWVuJUCANEXMCEaV/OMXW4pGQXsewvvrh2nH2dn3iUx6vyFzYawNhSlYISJKkyzYl/C1wFVt1DI9gA+Qtc0Kz+AXaBy5XN6O7su4MfFS5RfkTzztm/IyjBzcJc0oK2lcg1HcV6YT41OK2VtG/3Awt07w0Ksp7cWS+eBtVmfBk0IpRNKYZfg7icxsDrdQAyFZ+MdfJDnQoNoiVBOukBJf0LTiIkMKj+zdib3g/s7eB4MfXpnyE0P1U3zrOPhXud8TsrUZhU3W++Xi/Y3521IhEU7QHLtpnW2y9I6404NCifF4ZY+V1vg+N0Wprno/YMEhQhUD1Ji4ODR8ell1nZK+TBnS3i/DJX8MLpcOjocxRXQlKWqVZDA6+tl+KlWMVK3wSvkJXotNmcz76jpLbPGf0hwKW4dEFtE43vHdFCiX8eNpKD50xCGCJxE4oOcnhJfiFhOscMStTkH3MU+JYcuScBqWb1/qoMR0pHTtfsnSa+dmsqoJry72jt3NtucrR0os3mBhnEAwJgB3yvdaAVMLGuNXfV826m6f0QJD8Xzo8lC1Ygd6DjvAfMStJEdf8Q4wHNgJS37KFACBMK86aUsJA4iwKz70GvASASjnUl+LrY/pl4pqeVV7yjJ7dk6y/YyPK8Gihjlx7AVUEOWsLGRvEdMFsn89TKJR0MBDZN2qiTKo1/QAipKRQO0P2NO3hiay4E92m7z3uRvH6811j46zvUExSjaLWV8Jc8IIoKGIHtJ8D299kBBiWCxtLggN7GWkqagIZgoIKlaZcHq8jlJneaCOicYms+zOSw1/3OUe0mUynhH1ZPg5jl0svKCAM+QMwb8oRm/T/Fv9awsn7QdD70nvzqBvJDLO5lk29sU9PrcxRz4gyV5csnKxgconMT7mBa0n4dIGHm6ykDvP/uQd78n4KgK5mVrg9y8Bvy/nc5jv41Q+Zd4i/B7+HYT5rZ+sKWW789bc/gfEP4zyvGqmDHase+FstZD4TTasS6JQMw+YLwNYh0OPJ3MtgoqicCBjKiWMP79jl9W2UJ/dYdyrU/Lqe0PjaGTVt4OR6x21RIMNCk1RBwsiV2aDtz/RUW9G/kbRFrs0/diM+XJjqdU3BLpr6j59MvP7bN26mv8MlMlyJM2WAMGb/RHuvcPabDdRPAO2WYLZn58btuTnXvWbfJZFf7ggJnI6LZqomwpw6Ak5Zy3tcqkh2LqNuK2n+FJiUX0iL0i5EnEzKZkifCKxv5nzfLJVgKDrbgr9AomhsEIeMp5BVkKJYEaoMccDlFaB6OpueCwPm/HtfOI3khzhm/gooH1NYMQM56YBotKCBZqqodFVBoKS1eL+fPeDj3MN6DCjfUHvOawtO+Kyq0rgpdZJaFqGE118WdJ2adXSo6lQcUNVmCQeR8Sl1UAAqX4B7AppnCjBwBot8nJredKaqAJG+h7kjGYJVIhZ7s+Lztzf4ohw9qjWFFBgaSv2cJejxQmyQ/NTKW7AdW+gEUh6HZTLWcioKy9ppKyQk6Lq8aLU3mCyqi4evPYBup/gqbXSmr3qgBR4CqbMlRGWIiwWqiOljjLT80l49cMIPt6DlWgKUaDYCq7to6KM/PzUxHeIxMjVWkRqKfOB0P0c5CdTnnzb7hB1rCNtFaBukS4qwk2tKIh63LthaPZrGTwPb0BX5nG50ekch4VWUCLhlk9cR/QIFe5NPWZWlB4t2A7hlO5H22DiYKjttcRxvLE/z0RRAOBI1H6o/7pfq13POOiEhxGQ3bPyEQiPr+434fP6ogfC77Ot/gi8mmromBRbUzaJaNkXxVuYEeCBTIZlNF28UIDrYqGYkNyPnEpEdAecXT7PPkKxTkiNjHabrkfUIo7xkodFV5c3AfqlLakeLPe2ARlJgA1Iiq13zmVognUTHxC3960DBmGSjz9zrlycolSG/IzIN4spl9q5GTcZRhmhyE0vQLKtHFunyJ5Tqt14ekEiJNe/1N97Tcg42vup7tuAiNq1xEVeg5lo16i8uucwSitOIJSL0kLkVRYRr++xEvU9N3deTDSdFuzcerZIu0/7nj/Ss1wVGcR9NahNzMIko0N98ViMYFw763R0V/M1skya2n6cL0EMXZRz1Uf8CX5y+iJBNDKjTS6S59Rj2vVhatnjrK+zNgO9g7Czra1OQ7IjFQ4sLmOCroBxsWkSWa/4EVXmxmQG/Lop43mW8nV4anjQAcWapA3MSzjRTIRp85B3omLg3Joc4tNKY2SbZ+BuiT2/GdP4dt9BDde5GACRlbNHiANeAnGk8DqHy7vh8ed7AfGavkZ/rZyC/pynoiwrP2B6WRzMOCc3m8UD8ybhnFvcWDs6Fz2EcnRCXsavqBgNQBdl79YYKPFZl20v8vxErLlpZPwe76buZD6sbb5VpjKQEQBKJzmCTaV3r2f7HQw7usrwF+LRXFoamUwt25o8JFhDkweRVI3/KvOZJpW1kpzMFNQ7Bj28BlznjMe3iVT/mt+HR6PXGlT1bhQm3icDfQsOVNd1f71BtkFXnh27RrAph5pCcOPfYz+ne/FwT2c3ryd29HiKwc81WdgunEreclXRynyN8Ud3Hu9bNCW9zDD9ihw51dBdRuijFvPjqf7f39pJq2wtehqeZo2qjPY8B0fxf/4pZm3h0smPtLxzK4asiDH/9aQXsNE3m9STZYRF71wahCZBGbrFayp7iPKH/tpFvS/i6CkV/usfNK2bS17zyRNlIJ3ZrswtFAYBDD1+U7ysEK9/U2ZpazIsJLUL6FrQE146FrMx/Xw/x7MYsptS5OxU8IOhJLkonstQNFaBA1EKw5Glf3dC7tYJ+BaX/D3138yPqaCDA129UtWZbv8yMSDgqkFBOSBddfKBZx5HAPeWDjAn5n8Yn3Ds4dtJdg5Ca0Cq2A53M5tRbvpUrWtvlR1vCJT9BzJcuEiyhm7MHQpmouEtC5mNHKOZ7cjAoTWKPyENFL3FLf9P3rxFxy2lYi2rbI+wausJHeu48ehTkgcsJkYu7xKzowp+z6nDcckna289NcYz+urM6ajRFdjq8+WTecfW3OECUeC0vVH7zq0zyfN3M23RDFouSHQbGZynFJ6lea4zDyDAZgh+ijDD+gUKBf8TZ+KTZIqfc8FmEX6A7PXrxAp2edNwx2AG9GdtB6Qv3yEEQZjsHjeR3QDmo/J1gnF6yFXORFLM2hvZnh82HoPG6WVEeYKhL8Gw33hKZz5OACyjdKdUx41hpKtpQomOmFyJACD1FPnLQF9HgzpcyRM4WufI7x9BXUr6JvXIcibbgWSTL442+DoipRhcXtM1NTu1Xcgr3I1L61tHFSwTPu/AjlD7FGmejSEdmqqfVGEROkqakVuNlkveCV1GM+w3WpMoH9+CPRmyV9YTzkO7AajVRcS6HclgLYuBGEBVl8RrCOE29GyLHXjIZEbHiM0nsUbfRm9Bu0Xt8C3VuNK+T7udF58mjMr8SK2hKUri43TzK3p85/ZY1vRbt+nrrUyuO3v6OBPeQH3F7eRL1aPT87EuMGo6S1PskAhGmDFSAZLszOMKY65l1lw8Pruk1p6Gog+YF+m7JebHvbFndRmDTZgeTi2al4KNO43nNyPn01xMCdGTrANk2IgZ4o/aGDZwbkFzUqouwW9B45LeV0AO93pW75bpUA8zn/9djIpkTCne6RCGaPlXbM7X/hFnnoGVhxO9bTcedmTRRKh7/cf0rUxjyn7cA+XyfHu8CIOuxZDVHV+2BHFepVEkMSJGCeD9HDzuflcwIZNOBolWYt1HNgoagh614BJ+zr1hQdzHDmy2uNZ2GMm6IV3gu9ULOwr9bv5IN0wOXADs9MzK4bE+/+3pJxUYQHEzSEiKu1kYbDKCOZ5n+DKqKDOINhZdacS7d3oBpsCcF8rIyf2qNb4VByBTdH6OcCdxpz7qSGQYBXDyZqLO53Tv3s0/5HUOFD1qtx2HfOMNFkDADaj0NEsQAL42MRpkryql4Tl4a03XyU4nuQ5PWytfE20zyHhWl/3h/f5K1EFbXPjCdIfzk+K7alCSok/NTf3cy0nI6fIpmYG08x0XQjPwf3HIrDqWNAn0akpsCbs9nCpEJTjZuxXXhK1mFlKpiyLZXOYU5lc84q4ijbgjoIz030U3HM9rzJx//uGS9pZbdhAoTLAmeqIG8yYKQ3tOhd2TaVM2J0MwMD59KMkGnq+krJ3UNalArg0mBaQnWh7Di3bKm9NSsouhTCwCskJ76Qv33MfhOu6BAuY9N5mB6URFKmGJdgaJEH2XlnU6KVODT6TE7ddse25Jo630nof4+4nGbYscQDC/LvNsa6zZihR4ZQSF23Sj+sSfYmwHI9gTlOzCiOPf8wWoPuev5e5+TltbdnuFL6q9bYh7KKvqH/ltkCOcWHGfr4ggqUNdjb6baLRTAJRaoa7yRpF6V4PgjK2wCxZB/FYFvWgLKCzT9TxD7oQ9F09FgidvzkYLpyhOZmSqX1u/oeuui/G0IMCu0GV3uvA5xRourqxYAf/3PRPRTHNNsRf+Ivy+5m5kxCMOCHmQCT/BhjmtyuVNY1ZENhXnG1zFKQSeP9Apv7EE4/2bfh3qQOdSkrmje+Zy74liUVrftkFbji4WllF1K0G0cK1J7qx/jiJLt5Lnx8ZavrJBOAVqGMR68WGOWWFcrUv76R9PrtdcBX0KhGYanQ+UlK7z2bha/krHwken4+2H5UKtIZa2GV3F+UA+I8mAeTmuwoT2BMUoXvb6g9WnSxzcLFs1/QRpGR6MUA4XN3KQXuUIsXmrxP4HydtCdsGQSRaNZEYk0g7LnaqX43Jb2sgsJo7dT6Q91lVpfBGEUvBP5nWlGFav9r6dxrxUrehpBWjU4ew8PGfOuAaZhtJHYAMYyxm3qdmCG+RSPSOL3icoDPPhY+0EiMb6gP/FI6DbAjyL/l6C6KGHNHKp1sAl722zsQOlQI1GIrnkk0Stc6LjtFduPmqv+NrtiqbgUHqW7CX34T6dfZu35IWmnvrJwILCvOKGf0A1zpvmHSnBrY8mL+XpX5R2onV+EMWeR96oMMf8vWFUUBpmy2pAIRdoA3IiOt0I6N6HXsiJUXSdolKW/w3uh1tbCtSOT8UFztsWfBpRvia0ncwmcGhWY2+5xYFdQhyHquqV512gY+q/KE4JeY7BShpK/3CbeSJDav2W+UzqGCDCayU1pS4P0rSCcGk8Bz/9jYRUueKxrTImSPSicufXpNqgqhlw8+OzxnVj05sDyvkfMujsj4TEHJyoRT2M+4rujpApshgZF089a0kP9UAbQkp4WK5TLEDCKP7MCEqzJYvisQbKBfGVbcIN0dCF/oolw9+SRlwCzpGT+8iss8dXKqF5oda0swCwUADYesbUvr/2tdePt/tVphGXgEfDet5FLIg0rZFYLTM4rvdJ3nGB7E8IYjaLIb7M/Y9t9UJl0Z+HewHbfGq+QW2VaTWyhP/ZwEyEi4cKwLDEwRRjGz1UZ5fbI20UExTX/TcoEOMzmYIUjrjYCmZroN+wfJUIVBuPZa7yEuUK0w6wYDSKUGdG2akKlJ+iji9dS+LLKpP1JzlxCbaFGi1iRqIIAtKYfLtazPu4e5wZRKo2vn/lkgGGQXzC22TVEwjw0kWOBSwNYxdlzRwmAtcdn2RQZ1mgqJ+Wu0ijpRcA8EGqQwRPmId7q2mfqDcOoBWOS57syWO7s7RBFZ7+kpk7//TONY3NiSeWRyPEm1lQLCrsSG7Nf4+/UNMvSUAKq+k1F2LWpLdteorKOEqCWPULLAF0xodlu7jSU7LUIde0W0/Z1DErBThGgtadvS1wGvqFOh4URaxGg/D97ktZ1iPlQAw6OLq7MU4+EhnE9WDn7dx5/rNUes3+hnNc3ppHLp4HeNsaRKsW5vrX8NQub3JGS5R1VMSKi5UyYG7TWxSNmWg2ETrI/Aax9CFi8lzaLjufeCNtpKOPYsRVx76V4TodTRYBiwAmhRWuI53cpmUMTprN+mCV9virg96OyFMBX1FU0/inqNf6MSS0HG9nkBhKR178olmeoJsohoHDoBnlM7wuDk/LHnJUIVBqZDrhfDr2hLbwxYGMk4NFe7T0TNUhdozIkTpF85c9c/IS1jjEGmbZ4TTuCSl2CjCZ95YrZKU77+LCW4Qcy5exq3Z5HyCe/nFNMeHbEX4bDRJqkHIFESjFd4+Dtc1I9zsVcERZmXRQ6x95XneeIai0Zjpf9gaeSdPsAp3dXGy/W3Anbaw0AZ13UxC1X8VmqTWdXHB3cWenoTB/6Aa8bM4ydVAxhWnHLQBEQEkdMqzMbqaJ6ytE+eIcCgnqwTUFCMC3NJrJrnSTRVWZEcape9b5yfg9PSiPZcGx3heZMlv9NGxu4agEd8i8oVmOadu2B+Wf5ZdIla8fPrJdeEJooC1gDRBw825TMrff0qPaaTv3c1HGJec2iVIJKm/VoFAeaSQ6GWPLp46Az4t5jZM1L3nyLLDH9T5f+mJDnscDNrLtlMxIDnHHib1k/UADpEvC+bXei7Q+6vEEBeJazz1sZewTpU7lPH1/sV66K0VtN2Sv6YFZmRPps2aIUek6aSAykP04EZ59jEwiS49qwXAeYeehi3TrTvgc3g9S2fg5SR2TMskAiAoKb35SOIjIbTNq4okMu88CgK2fC3uf9auHrU5eao3FK541dnailQ+565taA0EXFIevoWjyR53YX/Nka2aBFWkerbOVJl4iG4J4MjfRgjokUA25P1JTsNCI+E0NSAMgIalD211/RpS7kAex5a/8h2sMEAR+EEGtjGRjc+cm9X4KDg4ihCOrKHVh2cpZRr12uydlIMR42Sz9X0lA23h3kDn+2JN8C6Fp2q2hJ8EDPcDOG8p++uvI7rUJPdJ6rlyyrYBubWkpTpdCw9Uy0xaQ8zyl7g9N35yf4uaINmdH9pOd/w1Y0fC79z1lcTCLRj1k+Eh863px7zEpQ91v+dpuDr8g3fd7jK5q+ECr0GCni448Y0bTfbpWtVt2km/q8HIyEl6ZstIucIHdV6Hw9IwxHDnOwjaera7pLeFmlGfuvPEHChc1nlurY2o5Ku8BNPbJj+KcthNiHX90Xxr+oHbRh5KdNY8HLXic0Qr4jpmnqjMu8iWl3eRvM/ZOub86pI5DJOl8f/7K0sR29688YgpC78qcUmHa3CL4+//S7eZdrqJsYgSuYTqy5Vw4gvZOhtb/p2p+tiQhQKiAN3f1p0QnKOKFXb1Y7gFsYCZ8g2YL5xF+F9wdl9CJEYI2IeE3+Dx3zrj7RTwxU12x0Me8GS61ExM7//+kh67FoxKp4CjckyDOcoiwVYFRZtSLD2U08WzBPbil8vvF+128jlqGmU1VYurt+Ss7xC7rIeuVy4eBH73L0ISduZDjjjnFPMliRqNoEJ5gmh1H3LQrrw7mzHCE5jqxH5uOs+NAFa2ncf6Zv6yypjpwhHj7SDFX9Y93Zj4kcs377xUrxfwxWV4u+NbimmtbfuWlx6o8p6Z0G3xXNO+w3haNHT4alo3bprD26Q1W8/8o/dMn37BbMRMf7nMc7HXVm1Y+chqV41sMBwnQHiAJwbNJ6nHGU1dit+DvR/os69gUJAe7hbZ/6e9XrEjbD9b7c3t6hrgansmR1A8yFHzuhiaBqan9ZW26CWOUSAJVkkO2hzqaEVm5pRCXMpV0KXDqVxO6KdPpJ4ni33PTiY7uGmaioNrdjKbDvr5Wh7B/iYzVTIIrNtVDOdz6DQGniVlML76bMDkuVj6ryFzp8zcOm7q8vjOleZtTm0NPgINFaQweTNlwkMdc3Wok3Q1qok6jdiGI7ednvnJxpwlrPKiX49atxzUJ5upbKjVg4Pc/v76lsMSHba1BNl3LFVgohehqGSswceG9cwuPbveUXd05vl50V3zssS7jlgmEyoXce4yLDazeeYPzvyyU76RSUmvjyXJVJeZ/BD6TfjwG/LSRSR9UilaxBs2VtBZ3fyAilRsRicX31WcVwQCNYKx0zB3uC0HBDXO05rvvFQg+k2mtzreNcdgk+8NOclBZToKuXvjhrPPosyqX6T87B8ewVvrYBM+7rVEEXNieOCIQAO3qJbNAHbEohQ=="/>
  <p:tag name="MEKKOXMLTAGS" val="1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2"/>
  <p:tag name="BTFPLAYOUTENABLED" val="0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TAGS" val="1"/>
  <p:tag name="MEKKOXML1" val="4HooU0THZk28POP9trq+pbTvvzd/gcV8t56cq85kb3NDTsUhojRA0EsgEHHMH7oYP1SYpn09ysXVivguJdhTvfyVMsBLTGvcX7WPTor/CmWiWcfk2RmY+GE6Q6T90sFUaYhHdubK/b9WYMbiqTQFZNRdTaHJ1Coz+gznC5J29/l+uni9WCTqRMIgVGBy5FSCqTCP+Vdrf4pg20L7fH6DBDvORBzvx0+OMkVV9yNDfCA1+tlndkYCuU8XrO25KTzpuVBu/akh+LsAbp/xoAoNi8w4YLWw3MfQpXtDpLhUBdTJrJxbXEnrHVeQ8A8sG4lrwsYINE107k3RpDlerWThxxHpdU4Ek519MW9pJd6CzC6eaWHH7p7wPRniK+WYCu1x+/gc9Bjtomrl8f65XGm1DuswJdQwpINE8IkqWF+iAAZCNCtQbZfVYFGW029Cht7+XXKj5jSydwpz+wxoAfzJYulnhQWQ1xQjz0YJyjCDxxgSKIDgd6oLVGA85emuo16AmtwmMLp3Omet2eLpr0bHAq/zj6/ZChbDda8/0b3l8wwMOSZhCcEmsCaGVJKqLU+THLjH1Q48JCZsZJxMOPnnTkHdGuPtjRxeCwLAUxi19x0KLA1n2YH32cnX8VSTRj6Q53iQtJ0LbPlzDpGOmhTQXr564hcqekVGdCu5VlnOhaBEX8b2ZoOCLWeHYudjtAzulvCy2dedV5e2CDl6+VLbBjt/uaRsGajMEWoJKo9606XGUOg99WdHaUYvY/LgpCZjf222o3NENL1RFgeSQAB3w+8BvcZoUVmzs6K3wr5801wyZ1dMP2wT2W5HmGEWjoB9KCbJQ8gXDQd9U5I/+KIfyo4l6DaOw7v7/LHSoXCoalpsiH6/SWT+CvZ48IWqXjPm6cLunD3OmLvEAyRCaVYrd6zFYGcPrnpaU0wH8LuM7ishRpgjBqf5++eMJk5MmezBt90KMDPth9vSZFA20L64sQqkInPgwEM3mgTrdpRHayhwBZneCfZLAGOaG3LpZTLIEADuUwphAd9jl2ncAr6fO9tVDfp2UQlfWvAJk1FMSjCbo8XmI1VkQQft/ODmJ9aP75SFwtyCe8rg0s5eye8TuiXMR12RSS6JoMimuq6fUN8QSIByx2VgX24GCbU93lPj2xMoawH1ffvDN0+i6HbuwSzK5laEtSz4PcCXCnz30+1ew248G3dZ/dEANFnIWsTH1W3WfJFIhWFSdV5IqFhDIuFcX7SKprMrtAZq6+z/M+KJkpa7My8kl815j1EYLorKYvDU65Syot8fQtjCHWUHWVjHa+gfxJS/sTor76pGxYyCbODTVJovkUWhBAw9STLwMCHW3gUhm8X6KFoMQlNxrD87LSToSWb2jiL0iQUKwXIr/yv06TrePivx+B+s6NhPbEjmObVeG6Z+eqz87lN3+0j3WwXwEmVRbnJCeZie8qWcoiTZI0zb1bsyAA2Phc7p+JOCv4FMrQcB8/6PiVRoWelghC7X0ETXCbxEH+F/r2I1AXDjXJ95oGOJBzJ/ITUBQ0F6H6S8d1Xa5A/RgI/6gsBlqFVcorNu14OnRdo3yB2ZewTXPsGGSKqH/FTigREdalRZo5VYkAv9qPPuqJdJY3SNQYF1hw5tR0DKsvy4FRdhy+gFosUQ91PbL78/FK9A0oHdodCTUnBVr7704PhPAkQtgf+TjMTcaBWKx4lZs3EVHk2r9/IIMccpvDa2XdC2Ki+CnrwP59vuco0YU8jULVTbttkndo5VHqFGnYlI4w17+j6ddk+tWeN3D7HOL0tIWZk+AVccaqKUW6edLFlV9kepqv2cXMpzZKT7KDrAloMRey5Ij24uyf5uvTCnjHFDJ+4xpcKfBRotkHOtbL4qW59pzcjN1rM12BMET06ZLz3VLv7P60QH7pjsa3/3uZyKSNHB5Ju9TFZynovr9h5qNRv2wBDiWScKiTQECfKF3nI3Wt+bnR2kKwjwMdNVqN168QY3FIMTxOZRJR3aJN8dbtzRN3BkWAal6Y1yAMY2fC1PQNvSMsxnVHOKjg8ptWSBPRT4YnuDHjowx+XuIzYrcIepX+29UPjNzR5j+KeLeWUt2k7baBjQFjJ83ORCxJM98jjSr2lCrTJ0fI6kFjyBwI0i3CTSo4UUAzYlCbTSi+/ALWoi3Xwn8qLwhkJaO8OVCSdKze7KoPS4pQ79g14E/lrMTqDnAqImXWbD/hkjT9hhXYtryu5G0da87mCL3ttgFqdQWwoEBNO635nEGhYSDdilD+R2p7m5K/y4QfYAjmWIlYwal2eoOyQttmaHfDEJAh7fYQuZp6YX2LbezYXm9bQ247/CNihYuTZVprv/MxWLunbXbaraZHcJWJLSfUZwgx7U18NAKYoNGox2phpKaqU0ndo0aJQa6KasRJnVCXxm7ocpJUCmfLf77IqOTmRQqjxo/VvcpuDVUFlU0ZXCzdzXnUtJ2dSVtQCu+4M/ATV7WAK8AB1Wff9UAsWS4WESOn+OBHNZF3lRK4jDRaQjYMx16frqd/PZu6/x4K70BZwDnbtyEzbyqdw81Hu81XknJ3A4DzceAT0Mb8GZACuM7ReFfW0nlpR/8taEfYi0mqXkAM/X13yuNbgVJhhz7R3qtYwgdpcpLhr0SaQEEhcFImDHLKLYdNDar32CJj5XVIbeWLsDZ5c1D0isq6l4BdyvKLZi0vNfMaXXJN8Ao7g4ztZCDCTZUGncJDyNjlqZvmOQl5vte403LTEn7FXxwedTmCkHgBa88qClFVa+Wr8q77TU3Xvxk/5o/FsADOHJHpo0Snd2qiFemiEXa4gyVNBUWF/neOVzozKzP/JhN0QHLtZZ3Ty03zbeEBbCaXuyNo5x0+esRC6ileQD+eLU1bHluHiUeUQIrPUttV5vcbHZg3DQnWGOcSroegMiodplOViQz/FTOyHMhqNqStPR4rZ7CnEK7/7yLLEnN5xTyoTvF45U4xIPpPGTnM9uR7o3dTqLt1Jt4BX6qB76N3kX4rCOmQ3YMCzs40WbnMK2ZD52fzHRF5SwnIcZrDZ6Q3SOWThKtWALjEGxk9UZNt+VzTMwW2WCUWFOMdC26K6BbVTUKDQLcj/aFPHHd9WGrxZx93D/OJ1hSyKXtCsqQFgYW20YFtKB/UX6sbHuxVhcydTc0lTZCA6juMiZbzFdhVrxFoE4kmrHdQgWBbVFobSdDGCCPY2CuZGrzyImaDIxL07COE1ecS3DlBTHUqKV4NG0GwSB2EIl1+nTD2R+6Ua+CGW4qwk9OSqtcFTJ+GnfXtdemZG27ESIRAPoefqgUDYeC8VZWuFQ/1CQYT72p0pohA/FnY5Lwl8nQWJwic/441iRhF70IHxMOdNE0hVp5Y5M4WObps+IAOE6Z/F0z7SFIs6cXjG28zUSHeE/8n6c1WMo3BcsaR3/ityEH/JYqRrFSwpmeKSwoDQDR6R+gevLTtvKFWb0P9xxUiW/phMJwIAFfKOhzWxaXuM88/TGVltN9qyj66RlMMcViYfbvfV1qOlgBYyFVDe9mt6Fqm8heSoHkzTEonDyZ9hi+b7JNOMZGKTSOn8pcL3KzLsRBO0kynCa8sQn3khSPSuZOzCwhUIfchzkh83DbBtqZvaIV+W/+bGFmfn8YpayljMRfq4EuizgS4VKM4PiLz7a/ShJNbZoLKRcFdfYYmr5upokf6J6biFxw/pNzQCzavLm5vUP/hw0FtcPNS4EEwiObskt8cZugUIJFDuelQLzfcq4rz7R2WTWCJRss0opd+wiFCC/Og75S7mLBDF8W/AXlEkH/PkVIqvtdN3W8GtqZNFUaVMc10cDii4yqHSTECof2/0shXbHUKEwrlxy9eKIFdldMdjy95Y5GKKpzocpgb08ECse4BvrpWWfk8bDTk+FiYzr19kOvqHW32JlQGbfXHYM5XWnIY3w6nYpcwaZe+WpdCBBR1yy6Uhp1lVmVaoGnjhoKmiGenOCYIIzYsdX47Eza1k9vPAhcz31SUaUTS/k357loXUHCRwWpSkuZrONePWOxLhpriXpgh/bBBw+j/5Hwn7fhrqrb8+wwSIFuXC0GnY3xiJEg3ULO5j7oGxnkkWUK1eF8woKQ4KAzG7gDeKIB/EV0hBt5fVPZClYMJCuh6kRm51ufdOo8E7l9fEkWFoyXCVJXr+RjeY9OnncGFEuHdZfmxo8e6xsiNYC/vxQTpHwSHXkoSuQI+eDhOZ9bwgf3RO63Frw4PmuB5pfQTCc5VguPhaASSJ3uSUKx9Yz9HKEcjRrCsidjdP4AyYFyi4+tdUT9KWdmY73bUMFnwwL7e+qN01Nb845yXG6uVyTjZuCHc8xuLTRkJ5uVO/KW5ak5lWTviUalVfFWbM5hjCaNGrzxJYPnkHKuKNDSqHW4RMLHcbH+r5cvGdg22jbfSjkhPd4B+LcjxCOjxhVnA9XbeNXMCdqj8+JT/X2YeF7WXiN9d759kmkz+dGNTK4dd4B77KtVv0G8dwBxaY9wLvQpnQ8ATLsWc59CcK9k6b/d1YhPLkyJaTMclSDcc2IBw1rptmRi92j5RNUKhcFfDThuxi5YwkGpTSSq1i1rkjT1PDmLYNIc9hww4u6Qz9sF4kh3ZQrJD7DOvxdGn5ueRRM7fwi+BZYJYmx0YgMRv+6aD8MJIGLOX02ywpBYJqUGO8xP4bCWh4ihhgHo5Qz85L4egRAJ1AjSfTXvO+M0IJHReZyrYMeRI9IioaDxyVSAV/8gGhNSXe48OiRkpiygqYf004f0p4OXDf8F6p0IfaN2bAm95+jFkTcOfg9naNi7B0rxrccq2PLowo+k4fzkcx0GfdAqR9PXSlrN9qtZereOMw61mHwCFHAQzSdzhU9RbhQIE7EtMDfPLU3YHGAjVaVQfGQcjIE6Ul+dSuJcR9JLx34WW4efEpRiLL4bJlhn7VC2i6GPWBE248twpzqcLuTYMuIsrLEoBluJJCzrm+NCwyVTRch3xdOtkNDOWlw8CAT5HitfxbyLEPxOc/zFEjyX8TYjqyUaUY2eV03jzim1+NWZcN3dNVWEbTbLDyRD3s14BnkgwPdFkmi1/BeRMKBOvGb0cBY4Mf9FcJvnD0u3i5hYpYUw16BNu5V/7TWd0VUrk31eQYOizK/qkGS/4WG2+QLZXqToO/5gw8Gbo6AjiblM4RzD22p6K8O2WVG0BRTasyKBG9ZTb33hjYjMOnPFn+84+VuLp6SKqAPHseeID/nrZqjxiuVV4Q3iLyk72ha6tZt0HzuNBXFnXZQm+yAIIuTXPpxG27u/Z1jam2z+50LiWYQLlV98FFWVhS4HeVnCBrRoYXkFLfPKHx/Lj6Id62WmW8a6suvCfdtIct8x7KfxghJJ9p4jKFmrTJdbZJuK7iVQ+XENwaSE918Tj4ZjyG7/LbRxHkNzBcXtxVBv8GGutiWWww/1ub532u4VxOaWu3GU9jfCQ9bWXph8oRE2PbUL+bXzsnfthk88e2qv4XyZGKIGUZU/qNaTSbLdnRQKelViEmYHKcbDad0mCHdRjhXCFjWAMA8De0hsLqixhwSB2RwS1OJRLnrljKWB8UAYQ2gNXDV/tjnUD9JBFvTCJDL3pg1RPVaHvBERXS0329oYyib55S22W5Rl8ezSke6UDNVhT3kSa/ICv2S25hnFUB8fck4MTs9yCkjTef/H7jehqJ2BpDuCRSpfc77X7PoWwuDal/l5hwE+Cw26KJ2Z+jdq3rr/MPkGD0hcAIHE8hIdIhqIzAsNG+m5H29rdWSBthxxgUWGTcw//uk5M96jpyFpLP9zMB09dsfJbmqg/4bCpKvW5MjDrG5hPF0u5lI9tj+RP7p8n1LegZX6i6awc2HbnLTAgEv0xndAP81W7elj+MB+2iy2LQitDG8GLpYemM/EMAQxs7I2iYXe8/8lqy0Ig43soE5u64023taB72h15KjVjVdpIGuaeBH2OsuFz+LnFV17GtRH4KqNSjB8kSfJXt2rOhVAePSWV3Ym2Z8qIcYUPfAyjQu7PV6c3Vv/27/dhdYU+0dEjB7BxlZyx4aIF7i41NFaq8AR4suGjdVUC4OJGGAU2Zo90HWSoM+y8wMXmbbgr5Qp9Izqhij/RmNqLwcWvmsP+T4oZ3TPFAO9EzvIRO/UM8hne66L7iPczfFDbBehB4gju33OmkrL4K3fN6LGFg0ywqnI747bDAQXAj6qyqagQUOq5Ge/O6kNvLDimqF7QAGjwt+VAwJ2SOh3LjZwIh1crWEA8jNNtA/6PNTsmp+BRrvViFVoiObr24V8wEUmq7Agvde/AiBAPYrBxiV3V+FUIPM90slAtx9xkiYuXM6gj8IXmLDdzksHwQ7pe9xoxq59aCI5M76ZgCz9ACQZN6jiaDOOABlubie1goJP1bCXvYaDITJcI71WXd6I2tsmXuCGlm0bEPkweAgDH/24cNbvrGbCx9T9h6XjTk2jLCz+rD8SK/U4pvjrBDzeYYYXTz4UwNVoJ/qCqQVuB/ZxT+9DSmOXr5PfzMlTy6Okvx+Ko3Mz5kHaEplih21a3AHfCabowJNm2P4HOz5zRGuLH1SYZ51Fc67+HLi3RUxfc439Gk27h+lub2+UTiSJJAbUo9Y2zRuXfw68Exz5EnzPQzErFcIc+Uvbw41r6goEDo5Sv6ZFW0PqnHvdFduurIPYW4iNKBb9kibaW730kAeN69nXEb2WQudsD2Khba9CMveFFELd5pKJrVXwEweYWZFbGeKOsWdhfJ8SHknTP3UYaT2ugd/pHZB16eS/IlzBwLS6IOZqiz7uuLeEkWicrNZ4Dktcdx0z9qXHJro0gOCx1KjBKb6/CcOtBt0XhDD1lIM7dw1thvqH25vl3MMUs+DHtZO7M+iED2xYbjqjjRvlw+8euEEuA2eH2H7GgNigZrpWM+VlbFkOSDIxsvT6I1VTC5AtwTfMTyfKlVScxMboxN7UaKFfNzQlMwIQO1A/5AMu0f7oXRP3Vff4tUDBJ9BlQQGl6tlXOLdv+p1nyk0wBgt8Jg0Ww1vM6X+rCffXX2U8Kg+bDa05WkXdHffEls6cv3BQbL3eBimsyyngRj7zzb78feibkVblou1NKVrhGxrT7exZ3YY+nVhqqlSrfDSDxTjG5gAatETBPQ/ig3vasMJZvu5X1udjJLJoQClx5QGJjSO+ePBgHyPPpKUruqXdeQdA/OcqgyOr1VVLr+BTUcCB+4jsDTuKYhzkF5fMdqTyux1YouAJsqlZlQJoDfUYGelYE8QOs1xm9YOblN5E8ti5tUgvbdFEEkfvUMJj0MwAlaY23ya23bki0ibDpMKPcj4dLnDCMK1ed7a+LgesvOeXSqba8zY4smmz9AkV87cfvqye5KTMRqAUNzTrHPttCVf/zXT2PKxbDroBNbFPM1O80yARHfQAL59piO35Thfv6+hzsMR4bJicEbAlEhqr7A+SL754f8jCI5Psc/wO/Yu/uxmxLTs91QBCIKF74eeoE0RdvAKMTEmNurD8TJUSFp7p3XZljvgWW+JthAJNxarVctcAJTtpibkBRngeJxKTcjmsuhOn93+C0aqf44iGih/2a+4+YiGwo7ZX//em/GZMf2GnywLxCoqJBwf3Kih/Yt00HZwE8R5Ne3DqPZXHNGBle5DKTY1vl+ImxNVhw4RpDVIvBo/5/W29DNA2Z3dFuod6tqSmeh16U823KeH6xIs/5AasLK9i87wKRLrK99w28lQS253dBdvDoEe1h//ptEdauLL61ophdaJhkqfr4vakx1hLTkvDR8cjVgfW1t8NE/qK258Btx9pqtav4D0hka0eh/xeoZ6VInYu8OZsCgmNiLPWeuFQi4pNX2dkPR51LRDoExp42JNEHQpWAPCf/PuRWupcwwTUMebgupFhvIBj5Mb5TCUyyjdh/9znJHr//AZ3cKUZqJX11XJKP65xshFC2KHyichOype/GC4tmA0ljI2JTgxAXl/gFGnNrzFVk6NfpGVNRGHu+sNxOISZn75ACQhYoY64Mp9fUloNg6Z1C0Aady+ZAcDTKBEW1VKgVyNMUHyaUH6t/hQpis0RcSVbLSa8cp4d8YFZQfFRd0moPvMynqcBA7/N5ZO4xblLCqLk1r3PgjaB7hoCHx1ElLohkh9PUpBLT4hH/Yy3NdqUOvy59NB0Pxq2dJ+v8iEHIrWY0KlwSGNalmrO5L2dNAvEt2e8FjpOvMk42rXWSqPuzNknDtMXzErYbRf0f5lmvgixePY10JkGRYDoI7jLnSZWt/T+9sql/1aotF+10nZZpFcxu1iysmQy2ofmtrG0hmGmRkEI20r3gaUVG3d098sjsVdCXhsUxHjwFx1hqMXkatho3PTiVBBhezQjXBzpULcQJL5qufAxodQaAmTrVivjx97Mgk8IlMh0UrTAdxeteGJWwp456OEa461J8RlOBiwPzOFL/7r6cTXAnHdw4n+7AmUFwyKKOif+YVXj/dKDeOYAw8lhrgsK19c9abXRHfAw/SKRY8yWweL0wftVzNIY3LQajVVdL4kGolfj5KHX9xSnaxDwVnwn0f9dXCe7pMszZbKwZSAIY/gmKGOVE5ybwR6gs5td0Ee57zqrWfieNeQnsfjH3IYKbx2YqnDWT2Xew08RoXXxdxwpA8lgHw6QzUAgl3xbiVM4lj2z+wZhI/DzhcpP4RhAiqBJg/vpGnwi1CizWCFgOAi+Cq6gHK2hQ2VnIM18QZ1eKAZ5rnVMfkXHlw7KUAFVfVMzJvj7iitzKXWbh4MPwsuGLkNj8m58g/yI4e1mfXoxQIhunCXn3pJ9whtwo4ZV7WR1sa9lsPEK0UdJnx+CSl8CZARdq+7BOMexiNm8FtTz45yp8Moskp8BWnhCZeD6cBF5gWjL6oIzev4qKoCQG7W6XU8W2q5KXpBUHGnt4GocIc2qoFeVC3jmB+7Bv/HCS28e8RW+kKHnS5EVcZxfn6wDD9Czzo6S7ilDEUmP3bzuRyA9HWZhyLINtjlLq6kI/gad4eYbYrFyUtdSk1uY7cpviNZ+t+kexUHnjEQHiE5vmJ/s38XwjS330fM3kW3X4niwgjFCdRg2lCi0YAJVlfAZHGx4DFvr5g0R1EXz1C8iA+nIXj1PmlWVa9rhBAGAo0ZIxw+vaen5am7bwRHEk+bp0C/nI5mKXuASPap/qag6DL2w4AvrzbPpM8ztSR92siI/Ew5kyoVSIrJQzpPhRlsQlX3Tiq3fmLb+9sPs4OJD14UzuN1MyRj1RSmPPGtYZM/S9wo+JHQiAaeMBMf14WWNdt70LovY/6VWUCg699iyMQSMfgOBha0wiRlIVYkAkj2TRXx2rgOuUYu26iZmuDD6CeShoIpbs53kLW+bX/mf2FIgW424oxFMyqpCol5t7fvUzryiNiM/FIevSi+k5sFPBup3AMInG0z6iBYYp4Ijd4NnHDEE2VAa9WkENKcjj6pMxC3S2L/2T4gpFRCvyMnHv//gKEe+qJHuB9ceJJlor8YHkjXT30KdsTFQPr/s9iRxFyDkQe9C2EAdIBfiJX6ntpO6+QWnoqN9GD6GfpcLPU45W7NByWG2z5BYlKKH2A7BU/X+GPTUs4CnhodVXrsoF55y3uwxQNbnqtPlcLwbR2RwXNa8myNSPCTnAd+VYVnLCrRmCr75ZlH2b8atX+e0Jkc9XQH+6bv9r5SH1gI8niWvGPj0dtgHQpia5Nmf5SyWzUfmIjN0xXxQ97yLeuehLBIrYwAwPLtC3PuiSEHgaK9bOH+erIFtZFx7NMmwpzwdWrDdRVKrT6CiA9FkgM6HtMub4mJau/ftfx4auUrBE/0JprgEB2oCVCpzjSnLLDuTqeMKEjJqXB0eCMjxY9hNBM0Bs+RKoNGDOogF3uiVir19lBQxZs+u7phY1L91ngRXH/XgYQZIYZgSaXAeYd2JTkF3mzYQn+luDcmVlzO2TlB2WvVcTlkEhpW27HWF0pY5o3Zya+/41oLtggH4CNWrZppJWlB17ob1QZvP+6UKEUM74ANDRTrxE/9YfiW13pAkcNUFhfgct82QjxtTgylpI1gpCFxLuQwjS1VSXqGwbSajnqV/bUI/XZbfcAG0GJN8OTy1oI9w/R1mT10EzS8AlEK7JvhuWWlS3OeiEwe3/69/0NZThYDZgn3Um1OHHYr6Wd3ZJEefi3oUXUHEcA/MZR4gpouU4TitYI3AJeB0RF7MzyB6rQzOd89Qnc4aOhmvSt8N43D2BhfGvn2yhAnEtn+3lAPGEvG+WjnkiH/btRetdFdkRo9ftab2k96+g35fGO3z0zYMhkJVGwc5FksfZsfQdPx/HvI+iawBac1CUaaNrXmFcIaYVjYuz8BampybGhbfYNqEYSatUHw3nAvg4hAffbCVwWg7dZQI5Xw16HMIRbbz1JprwkkpiYNSmpypZMHSiyCZ1pAu9dtCpCOvIK3Dr9HeyYCOSmpX9TT1mBhVy4HU8Q2I66sCHyBnpquycre6niQoDlqIJLTwCCLGHpSgkYjwpn9P8m5s9qL5VJo2vZHxl0fnEO8KLSgtdCU+G0QGmF+umBjw6DWDEo6XKYtOK3NLLrPHxe4tDfcVrTdIb9NS1X5LLPPkW3+i5gKlgJ13QQJa7OOgixbII1AqosifUMhsCIbodwcVFlveENtYkV8mORGsPFAKrZ9Rsmy5KXicVOakZn+hsVxfY86kadsmuFY4IgJ3kiOizHP6S6/gwGEdEL416cDta4ZJx7AJ/a8yqvHN1Za1gJUeQMvnBtT2WpnbwSS3O5fLL0ZNn8RbUIEbINEnQres1nbWWbNgpUll68vkfrPMWXH1smarGSgmA2c+VZ06E7kpPCLryuwDWr0mmazY4PC927HB1/eQ1HPJoGPzl4r+r0zlMe9aRMvYoFjJO8ty6Cgj/vLrJ7XtzwH9OrCP4vKVcO/45BTFWdWK8ks1xKWC6ROeqgKoLKt4DpUR/ze5hPxfS8rz2GV+slz01+jx/JwDcqKXz8d7UeT7VUf9DHrKYT78hdNYL9xPVLxm8p7uNuDEkKtZq1aDuFCJVrdU8A8tCcJEKXFqywy6gSB1ZCeVPtXy6TcrbuIeZvnWMKDNypswJYKLjhyw9H2GH2p4or5VYSA3ljZsxfeuuF+n1U+bqCVv7UqqVIA0gwwGjpHOKX8DRSVJTXj+f4sM71QWPpCNsG1QlNVddiOPcvSd5DCAXGD6Ugbm9uXtkC4bLSd/rmNRdpFgMviTuVW81VAIZdY/3HKsn87kWjdwD83/L/rZ6GGUI9UuP/6+ix6yz4/+OxJ8TRRCnrZOXx94ExmshaBvrfW9fU+Hhmmd71UMRH53JecdWQZrHYZEDntxyYzjOrEUPV29YBgXa6tvROik91IvTpxkPwk03ECByn/osh5x0iknDrZmjIgUn4bvX74lqsV5iUP0iv6WrNdXr/69+AjSyXbaAbkfCTgWp1OvIMEng/b/NqqqvegOR15dDPiTunNs7ymNrZ82r9x0t5uhHxVDYyXAKbuQ7OUnLqr2DvlaXfF/9LNPobhuBo9X1/jFUp2eXAg6xEBjPv0ePTcbfqTSLn6+P8c2T+52ENpLoWvUbryLFPqM33RTrdJWLD1mwMJ+VNf8caSz0AcsNnHD9n/bFyije5GKKTtRaRwz6XJxCXPtRo6DwdZk1lAIMdp2+YBp6wwE7SI75kgYQp/V0TL5T87fKhn/eaQCy8sCWNsNmIE99EljnYdEGIhSozHbq2AX39pMma5irQi6n+LgyPtY3SmLhVu9IIMOTxvbDsEcVCp01ZEwZu2Jtvpyoy9r1rLGBu1odaRR0O66TVC3mTX/vDxEO4+UUEBsKPhddJcrKy/5IeKQm7eQI2NkWwY8uYlFjlOU1WJzlxnIwh0e0LFMswSiN1AqiGV05FZH60uAovtHjH2L3Fm6sHU1/SPhAuXecKbLBf8sCIhr6iHn4aUz8vcO8cJpptk4gZzf2LhQexwVVFv6iBk4VxSOkqOAsNOqumgAz6BcpJjKYqXQSeS7H6l9siZ0KBoKT+hfICDsPcY5ZK51Yj5dQBIxWPzhF07rx4eAJ0AysJY6d7YMoScfda3VLSz9N/x4RomGu1/t8w3uA5mA+G7IeTYzoYiq/11KZ+XvbHbjxY1FYeqGSbhCIAO/bzx7NysnonFFWQOI8IvPexZhLrspuzzJaOCZN3/UX8q8zt+o62KGIcKhWgmmpGthHf+KgnWrY0lidNPxJB4PHoiT0JEhCgB99pQisVQWOeU/wSx9oSbKQv6a4zXk/rV98ELQbDvel9+mXVfmvvgQP9B6BOEagQxOrE2RpfvBhrl65ZhBePmEy6H1cOSKmaoDyuI/MdaFSGSIXTDzMXuMB80GE5I6mwb/gUPIH9zXobeGbW39K5pOdv0ayNEZse2c++ezHaFus6Tq77WEhhEslvL17S7cvfspTBB9e93P0bZPfT4BbfT9ZHmmqSRrifD7L96SlSrS2uchLX9UYL96fUFfoNYoNMrJ9siXnjGUz2sTZBXLDeNtVRz+g4B09bcLC0ElLaTNELkNHHvgXhEx37UZIGKm8DsqW6+l8BN1xa93K0QpRtOfTS19Lob5xtyRAbSIteKAp1+GQDqP/s2QCYG3hZQQRwEv05x35jymsK0f6mvadXb7WZ2ex8Y7l7Vwm6IzmcnjnYZWyBzBtR2FoxyRfKI2rS/huatxjHLPtpiKR45g52+KmpfFCBG7qWnrAeKSeT1N+/g3aFi11n/fSgph/Of25OQkxCJtVIHEzfxvDHkFu46S1S6RHZjbX3/xoNd1dcNgb4c2m2FqgayJhTQ6aTSpnPDGgEyhbUd6QGRf8+i55vyTUUxDMIvE2zaLwPzMg6uT6I3QfSt4rZxXQxLAk2FdUgFs1t36KkKqyDh7Q1NfFoRBS8dIvp4EQzMLrg36/zv/r9d3Ja900r0It2ZdYjKaKGuH63obYn+72X309M1zVFVfgwGwS65lZ/E8hAaO2z+vE06qTZ6F+8VKF8wn7rhHDxnA9Na4YAMB7Zf3/1D0fNWY5LyUTg/rd5WGYR7K8LISxaddxucCW2Wu0qC4XJpxV3N39MkkfkiJi4Vb7+TaWpvPZCBjTOepjWgmRwGBqo6BdepDFbjCGjdZD5I5rO77RfOFvZ1VlVfxMgv3O7+ttLQnVwx/q23Gw9gxs0YeXMkZP7uQMjvt28RDf5NOA3vkW5tpdaBIQ4Ug/N6cI6YKJBFek8m4zZtA3C0aZ6exwV8UPMJAPdkdNMX3X48OOsNwggI0oY16tQRwzIGQnpqQvSsfneMe/ENMrQ0BViXm9HE9BKFJfyVMQsFcVW/bcySJZYkgJKFxXTmeQSgkoxzBhFVVBzRfPUGPdvakhpiG96hJFokTImO3MrDjufipRWFdEaL1FYWqENGWpR3FRXwlpG0acaWxcxjNYTkFYWq3iGsv0Ay2M/OI9k19mLsEM4cvNltYWcXTIgmqMZK8HXC06qg5DlEnXK6957srXao25QKRgYgr1qc/Dn6zCSQ6okYjTajpibtCzZ0gxZ7Ch7CvRTnnzVdXBaSihEZwhZefhDFMOgIPMVY9L7IMSg1JsOulVc0Uk6zpjE/eykVbzV8Xhu4IHzcINd6zu84KfJlimZWn1VGa6B0lMY93RRqvkYoqwMqXAb/SyDg7DIOZztlXP5z6InzDr1YfzrFfb/O1SXD1uwAsyIUi8UB6BexHNFD1+UtTFCOAZIJJlB43VOyNxHTYfk2Da0CqTYSHqmPsZrc7I72ItO9mG5gH+TakOpCnfsQPmvSutIHIi4L6Sg++NJ05sxG/Wc1MZb3y8TCeueMopEiSFz2TDY+GkHfVyo6rBubWqr+FtKbWXC7vFKg+nSywMsPOp48+vQQHKUGyuwrXWJjajAEurlsFn1tXVeysbi4qzCvkyZ+Rz1115QQAdWZkM78jnhA9lseg04k9LRkoPJIuyx0eHTIPww4+ciCua83RNsimfbZP6wZa8djA0VtWljhJyx5XYJ37toA6U+qx3Vj2TAp0sEAjt5hnK0CZwmrYdbyRbYFPzJ6qDZhWa2A5CFMstYeIJzeKbVj5IowZWD+Qaf7jd6qI8HWboR0rXj8W9Ltm/I66vb6EUqb2kiTZwwOPh4kl8rZo3gCQIAfq/OsR/aDIofbMF6h7wZzhbVhzRnyjmrifEamF2LCNaC2nj9469J1EVe6JVUNadNgnkec0txVxHHMsA+90YcC7FdeN8+Z5voUNAr98c2vaEdvqpvkgGG8c6woi6p+FEKMTkJocn9DbqDRnKbbyMCi4W2dNr82Z/JwG8UF3SRv0iTGclOQ3m+SMXiA3k07MAsT7tc0WHdHyhpGxaq0TgAWmiv+r6WMW/JyxNsa+BJfE6Vhguo3ZNujK8mIDjq4A9ML4Lv/fO7V5sGRZRl01qO0yYVpKQtHvXZv+iBTIG4ALxlyzlJn+MGS70DVSzKBaQSlwb9y19AamF666U+D+QXWfxFMwZyue3mynE6LLi1tq6HX3HDg5yvEPldBj/FcUCsR/uLt5LUPB/NMc78Fd+VDY6wCdLHWWNZTHzgaR19Px3UzVHaAX+T9KWAeX/hXLlNEJAYcQJM/tUFnCOB2u10UTDlGX3pfvDDEEBEYTK8Lrs5ZbMVJYUcH4NsHsuNNwndCY8Pj+uM9x/QCyeQetLJNjZ2Txt6ZSp0lwGL9uF8E/YBLSeoWwdj+A211EWt3YJBCqsSThb15U8kmh3RtUvKKgaE+uPr0AbUrXasOxy8x9VQ6I8/qx9csZaBLNRmTDR/Z/3QcmKaIplCqg+e34VU6Qvi52R9XX4P2+6Vmy0Gdijwk4KMvovTiQ/nxbdX0fpfj8W1OIOb0euOx0lvfZszxrI3LZc5SrCiqVFW2CBR2ZooBNksHbnox7QNcNdHqZoTJ8CDLGs/8GK4ncF22cptEUoHjQwcx222rfsB7RB++oq3AD8pHajQDjrfE21HxJkHMqmNjISITBtuEdNZKRbMNfilcfXKdC0GN8TtJkKPKEtxKy5LUMbj4tIBQxS+4lnftPlEICsdhNgyOgDdRa7ucnKpB7qQngPfCZLdsSVfLzjmtOwTez+S4HYX745mvKOm8OdwalyibkRcjE8WFUx+o2F+ag0Dn9Bo7BJbsNG1koo+mSaNPq29hyY4USxh9TsybP43LEQQILLqX5JrLktavlOUp8Ax/GLFDvftQixGDVYx9YZcAsMyzz9GgEys//ZdPh0i7tDb9QrlCRIpmLmH7++Bx6tyGQpku6ckIXIP6cmlhYyrLmtS/fsiBusaRIPFprJZS/jGd6u+RLmT4hjYTKZEodd13hgVJTZWBnAlu3NABomQPNkE7vQYxnlSoGoEkh808xazD6ck31MLvMYik52/taaJolCQeraMZn0r97Q3AgKC9lgXKA9CEmlSD3KMhLywmFTl3a4MB2J/52BA0Gocbk5pMTbUrC7b2Fl6QG5aZSYIzF9T3+4uTzzw1j+HTRnjya2pOPdy4m2s3HCCtfAOgziWcBw8jMls9AYNC/KiZrsAMyx4x/wcLbIBZ4oJqSC4NUBpil+lpn7uG9yixBWIViVt7Zu0Nfwz9Bq1hecORMOjNq2x5Amh2qb5J3pnBLQ39bwdbY4583P8NAUr82Il6hqR3P+L+Ru58pFsbDZLj+pzlXJN/PI3A1NR2b+LBr/LgnYe/aHPQVs3ccXtber1l2qrEdEYTSJA23BvVU9ZXUCkzyfQ07+f85QsO5dnyUfkiVOsZW9dFwYm8QH5uD8PQBcp07t81++zhLMwH9LR+hI22YkV5lMZK61FCL0fhZu6sTp+mg6dCm0RNrtnD/D6x5JRYAV+m2iq5nuBvr//Vrfe12jldjxns8pY8s/LSfPY6dSlZyVV+wQgSN+2uvJVdGH6jCVUGFam/SY/HIsZzs00TMQNCjPpR3ofwdjgk1cfQJhD4tXxQ5GO6kzUoEhiA2oq+leMDS7E85OazlTnuxVg/rit+ZkUxwzGU25579xFkAvCjyi6Ie9nF1dO1ZG5q+FEt/lLF0NfXVbg9X1hOI/7v3QustCcY3mau1+tdsnO3Ts7n652w8xrc42K6b8CRwQiR1eRe3iOduDKsBvTLSNXo6AcE4jgRcY29ozTsLbcXqANFwGSPDrY+Uy11MlOGO7QPBqy4uq0WRJ+JW27cipVt0wLgmBls/egS54IJDVqwgh94AR4Dx4Qd/bxjvEloepydwfJyG1DFr0P2RlP7sF9Y8qIug5RejCIBmhU4Mim+e7jeYyzOBW84Ku+PUfJaoLN7NLy1WN7M5hNfOAVe5Rhzynpga4C70bdecGAqaEKHZCDH9fKipS3xPg04hoyfxULcqyNqWG6HhsZwZVIoSY3mu8fNzslzkmhSfdmzNq2DEA7wb8Y23ydwJFrxXO2MH/QDdt5kAky8bawGU6fWnk6y8/tt2ybSfBTPGwD+EAxtusOHs6WbtBjrK3MUr18uuRCnoqJ3SJB48LO8ITBNYX2NxSu6BGmxwBJ6exPJmNOFtUDZgDtg/F2nW3MaHkiYyouhd8YoWy/8Sd2WLzkGVkU3OOgo6fJxyt3JC+RSA70UrgtmQWfVbW9BEp8MMXCM3R6LX0DJipmYpTHqHfeJzrGlxFogxTjq77wuft6epYOuPnl66AecJAc4Vtjlu+eIrUNMOAbA6SyjO1j+gUqXyyZu5sRsiHel6bPnvJX1BpbCWpbFxKLPTrsKXStzgq2HFaozvuYaQ9Rlv2V127ol8vIvUFi+RWB17qV0kamwGAO0ariEhZuDdL9wENhNNCxLt0tWlvkCMIdExXFUk38Z+S93DGoZezFM51usCURLiMnSyfU4xt/EC+rQloezWEymonEDmIJqoEJndD8ojR3En0BN4u7oZNMeGlalyORPovmTcGLOKrZbgQdL/3LmA6o6v3+rSWDC+jtwf4x2Dd1aUGMVp3rBiZDnNflQCVvetKIZNCnLfsWsxDua3pFNGLY/CIAk0TtVdS/w7vcaI9SWOFofWhjoca9xvjqDLo7dl/SkpzRR0SN+4s+Sj7CRtjE8bW62zeI70CKW/sbCmrbw4pVWodbKm5HItpnVLcJls0l1f+Yfb+sj7Gs7S49MuF1RyA137a45a24kf611EtjHLmbpc82t6j4THvxLQ750dyBsZIDz6BA4zfKgwL0tmkKU5w1JJJwE2VIIuUygi2mnKyqAJ7Cl6Yk4hc6DfS8RxnWhCsj3Z+rs4nNmXTIaXjVfQKMriz22swi2UdQVD5rummcp2qSMMn7pvEPIgiZmeCbVSkfccnqDg6tPU9Sj6GzbRQjKoamfIphLkEAU4OQGSnFz5Gs8fq7PapW9vixDTvYDVhqdDlUZhiyZ2hmRkaukx2LETbcQj6im4nR+xifLqdE5Not25rrbxeu5pG71o7YcRAR8NjEwJ7VQjEq0D2Fn3bnZLUUyRZNHkzdxiLTt0p6f4UhM747DJbiPJ5Q6tWkBQAj4ap1/jsJvcIgKXdZtcEPklyr/NRChINDDqkPCY7mtd4unNl2p+L5sAaJiufKVuo1pIXde7BCqOX1l6iJV2pvsDd/07kGu3aPw2fOXt2B0Ne8AAG0YLyCaNO+hzYdgQYVUQSoy+YrWOLAByJVETHjkVV3wvnbcOhpfQJQPF9b9gZgbcKhfnW91bpvlp1CiS8xrDuzHYTyBHdEfsnfJ9NiMQnmdpY0MRz48ShCE/gp7PytXQGAeBUHKHfYazodRIiWKIWKN0DbbWYS+U19qivgANrHL5C9kqOh8U6APhl9SPVNIOV8LvmjJEonVgtsCcBshDHGnb3vj2dwmaB5x59QYTJC0+daDbKoyQyP7JvKypGsq/kDNmqHmWUivq2mVXGBkzu3+F6Y8qDzJpbZ7Kg3zy5nv7rg3xAqzPDI5p4P/aSeajtTCoaLlr63tqrGLtf3pbUOarofzeDT5B0OLN07EKmxxQFOdPGaA/8bJwxEsBay1/r+Zi8YTpRVaAYAn3waHErYM6SXAZoM5Pn8brQkEt9C3gdkD8PDzffAPJVLjFjhJ70yKK+FYQ5goLvcciB7Qf+EM6RI7MgfMqjNccIE9k+XPMwITJ6OplHdsBOAhfsIktQJrcN8ysoO0m3aQ7r1FPKywXTdoqVSzGO6RbtD1CvWtgwjzuTQoNeLbfmlRiPKC4wVjvIKAikV0SU7rLp2MlNZLTbVj1arUIstOoXCyT6r7OmxS3VMY3erl0dE/jllEFAxgWpd+osCS5Gy4/wqurn1P4Vu5tXk7r54x8LEh59v5ecCtoelWlPXSDMmeeER3NpRu5G65ULaLQYLMA0c379hCO1I2cEBDtJKrPcBEPgG8nvtgTWcfhHUmTlaF+INkW34M8bEPlEVeEYH45frXg1KEvciZe5iXITONRo48Y6CagyK38qaB07apf7buihpqFyzvSAQtfledFMeZ2y3p1Mz9JY+ridA2WRUYEWoZaLwFnDC7PBeYPm5uAmbwMRzkzPmvw0o778kqNqQrWW0tyyL1cn33MvvrbaydBk5CZwWziD63KQacnNrLYtgnGeEqfK6GGKAd1OQVjaUsdxU63CdHoTXq9iKawNmcl2ZDUosFZhTXXBc8rL92/rYbXJGuf2BQYQO7aTTgRFs7QFgisKpcPCeQkgVvVu1gzOjbCiEe8DMP0bHjpwDDcCKRYge3qNgr0cVnVrjF1TLNvQeaxPU7GQl/Li1f7icK9wrDBKFkj/IkkbNrdQA4wJYvI9i9qI1WOT+6GUYYh8TZ1MZIvBSg45aEnXcNxOsg3WnoZVDETalRhmXpjLfEobY9WuC2Oxi/F7hPCbwyYMYKBucOeQOz6So+VPxjyuU/awThg82mogHj24r+cK0SspzlLnjgGBEzdVGhWTJQ4DrFPp7II/9n9cJS1tzN7vtyqAk/iXv7tOjatikJQeRcMN6d1W8ojydKagk1iVoVWN/rc637wknSK3ahy3uUK1cSKQ/PstNyjZEBc85datE+MUi6tEk9e/TacT8QP34r0LVYWvrzE8wv63bUK4FAKN7UznZ3WQIJ/4cUz4Q6n47l/muVNSBWwyVZ//y5mpey2pfmQg573vRD9yr4yyed2hFxdHl5F64cSEitqXc+6MfHtbi7hg8kCrVC4pc+s9+fEFU1MlD5fd2kjB+udyBC/sdJUKqBwHlzXG1sGxeTaG7u6KHuhKI+hXni+4H/YDAI87uJS5WMdbdTqxYHsld+FuIZ5R3bHbrnsZd8vor1kcxbjE5x6BeSGvcd/oyzufXVgtvYWZoS8CC0mXIT7drBxAcHlMRQHKxidKKVel7l3cgp70RFkAsv+u/1e0yt9lszJCHiBJmVupNc5XQU/xPOkBaX58A5SbHQVEq8x3hFM9krYeIZ7Mcz9xa9uLGkShVIPxG2cjdjx/gef/ZRh1mguH2JSHZ24RVfUp0QQvNrYXCL2ad0A8obc21CWnZLs7A2ACJDgkFog7GWZvx2OxXfo/ZIOWr0hEUdeBFsUVVi+B1K82+xD4R6dS5Ahxv3abd4P3o+FnrY4hbUNIRnzMoxiHqS0pL85d1w/NZmrp8GzMRi9u9o79ozzcl6WJexLU/NvTOhi5TCKI2K8yXkJI28ej5n/B0sMmzIGMqiSVXBe/2h02/B+sufTr+XNei7jK2J9HZIPhV/uiK+Yqq4bRa6WeEy7aVh8WcSFukoEv910xfjqhxQnlqEdqXCnT7dkK6wurVb8X17dvGToBrms4v+3d/f+faaNPgym8YvxXsQaOtOuFQoEzDeqamTAFrcizukYjLW17yp1vYVtgDBZDsJQAmD2Mv3de4t+9xk3tEE3chyMiDmMWB4Jj1o01VxIwZHVfuwAxeFKGWFnh62QPy5cDNY6+Z6V2fWli7NZkR2DiCieRy4Q6dVcDwIpCHtkkSqFNSDIXeVkSVlvfTT5a2dvQi/6cuW7evg5434VNLZZQc7+PSC6g45Hac3lfnqfWTa4s4su+OVZqgTChxwSSdxyHb2E2jH4IXTIgsqGx89cQfGmIjUbRaDXp3lzu5vn5zP+2BZTQYU3V8pa3rgkEr+MQ7pZBkfXaxORMAdCJLjNUtQnd7gNGjZ+NdvfZc05HwY3ezHp8AcrXnSBMX6ik6RPUAk8lA2EmeRSrIQPMUomo9rrYubNgWN7BMGuAu5inrs7YaOwqj1dAHZ20ev9RyfD1x7qCsOsWp5HeK6o0sGJgZjzU5TzE1TV/ZehRp760jTsDbEfKysjrnW5UUH6oEw6Bm1UKCu+GZEzCDhFR0mVd1breTiUSKuNvNduzDOrvTpgY9IHIUNi308WEHtOEnwc/YFGEIcNYzCYpp6KnG2gQyEA3DzOSCnohBNNqJd0RE4c1VvJ2mBfEJGRqo+DiC6Xq5Lo40nXZiq6cAIvrAHSRyzB7syK2vd+9UqTcc74FbhWbhISsIw5YR7KoCyfIDKFesrAnHshqtKI1OSYRxoMX5UWR5DInqhTTNiCzo75nl9WOliK0kGBBuLPcUiFJtSQgXDEQiL0WBCnn734w8UKWI7e3sCFzwJKbi2GtiGOAkKw2AIipS68iIXWzZON0yNfqEuBjhpo7/x1THxjMnrdJ09NMDpKmFQItons/SgKug5i/EpRVvSFdHZ3/rbFn+14oOJfFXNZlP23DPkcOUb3tU6Jd89sirFVJJ8lOgNvl3mEtgACIc2iPJZgms8Xo3pOnVT3EsiMthCez7NI80gIax0t7MBnIzNWxTOxPjY5gFKZDWg6uCKtuj9qIxs9tfj7oLiSKCqCmPVVIpCFWB5PnhJKlatQIdNhJAJEt4CWyIz0n2C7sg06TbcKfXwzdtgogzEtITsgzDA/OWXLZrDlIDGCvYsh3Hf4cI73+08V/awhDuRYFApaAY/fHnd1eek1UnE87CNPNMQ/Pfbk1V4WKjgk8NCDhaapvXmGYkxCoCJLykNdoNKNxDtuVenIxr5vCJZzFaMuqvEoIdTj7D36nzoRQZV0vfE7x70XKA0dOBc1IFqdAvYLneyo/N7mYJirsj5EKBmPnrU31qXCUID41PaXpKcmyfMlwlk6GAlND+nSaL7k/6a6qbuGAeRc/0CPyAGwvCeP7USCXIS82A50GVqxho2fSDSZBvlfWhQOLnpB4ELpn4nuVvqH1Uz170RPxjbBtUoO3K0ywaIn+zpX8h7LSO27ouwQlQGk2CPIb4G29Rc3r9Qv/Zu1bHYOgu/UeiDr1EtAMXq4yrnnfLlN8v5VMitBmallIRwsvYtpAIDXepAWmZ1m5FN3voLV7UHxkNvxHjWskKEjtv6TIqW1Lhcn7k6Rr5UUAGhc2iixAvcWBDkTlh+6+92Wde7ENCeydBVfjTiZe6c4G7jtaH2SAfigUEKwMdSQYcSmnyze5gVrUv130sYIHri4rY7KbnI28slMx/ymIG6+2XGqmRx34SCURxGHktGz8Wze7ky8UIB+/jz+ctqPC+G2TG/n6T2wply9q7+8M7WXtUT6jIq92eW3vEPrQomh+5Lh8AKdBz0ZXTnrwrzlJuNKbV11MyDu1CDWGtFnsiwc4Wjb2n6aZQ8wpiZHO+oqsBkysNCW9EvgRtFrCGrgsPYK1eHWmxhB6qCWFTy9g3yrSxIbgB9FV5XlLy9EQFl5KJfwaabBXc+X6Bk+/ttdi7SlQxmdU6fmYEBgDcPxelqwYKUcmVw1cvQE9GNiz2lTnGpslfhuaWHyZiqLCJzvh/bM9+0w24Qe2Ml+3/TtIUhKejLxF2qMFFm49kMayjhVYFpzkr7oI2ey9LYHYlqVvz1kW2yaEm41X3bgDIV/vCKlQ1I97DmkJdTVUn3EenrKSLex7yjPTtvZUGAFL1dKOy3pt/iOV5yKu+hZxW+NAdxdWNmolMr+mtoM6CLMHKqcjSKXJ3ZK+SFPQbHk4J9pCq+QH6MUZpPhkXeNDPXSAbE+fb5C5ApOzqjAPEWjpQ7BgoXXhNqcHi2RkAG3c7gVkh2tWqdXu8UTo8MmGreCp1oARgOCd8K57vfXMM2AOKiagJxrJZtvydBNPLhMiGhOedGIhQnx1HbSwqhKGDe0l504MjbHM+yQAoj1/20z9GuYkX1XBnSMDYM7N+w8cTkNeFE4CCdD97aEzqvpCPdAM3Fa8oIIrymgJuhxf8SFFLDGka+oX7KlReqnlvrvdCYQnbxcPHXD5cytHdFwUm6jDtL3Q/nFAJI5BT/NXCKY5NnBWy5OtQ4zL+VDmSPI7X//WGrn4nvTQWq3T6n9S3+eGxGAb5idQAZCiImDe9m75QPgxGsgECyixNrkVt9Koh5+me4ZUjHrt26QjCV9WZTfAAYVUM1t8k7Xi9PQ/JKMgSibLkySCuKLzZOXpYS52+GJffmMYKFZZ2IYCo5xX0dJqPgvxu0gASk03/XPHzQ8t5gcQKYRQ2kSjwH6p9ayaJsgM4RroAMwz01YZa+XGV8oEeWNTX5rIWOOD9LP3/YOArUpuGAFeNKpXUqumExLsjeqXPiXZE9w2mD60fRSyVrMbCEkEsVxf5aIlK3W5IpT1qftxHXqlUKpl7aJ64pOw2ayHlb0NP29ivHMj/WvN96nKdmjLWV93Mc5zjZ4MoChqie8jni1uMoW8U4e3OEpB/O/HXlTgHf+qKNLcJ85Uo3lnEA76Fx0NsF4jMf9pF6M+pVI45Ntx2nqNmLEI4pI39aal6Xnf3Vom04II9mX+USuEQoMB87t1HbFHDMVlBJqXUUPd7T5zC0Xcvp0bxEJ4n0bKaaWdnXJrvhfG3h7EKVpGRNkUK4MioC/4KI8mXRAPSI5SvgfOTFw1GfE8YADbmBEN1AlpDCSXO4Smfx0nQygZ17/isBEQ/GhrFj8GzELTQE1mL3dzR57AbmzjJ4z9j/GhxdKJwhWxLNDY0lY1kYwi2VVbN4VeX/Nqq07c7hL1qFBRPhKHwTq69cvUX5Co/dOlXQ1j3DPjpRBpTQov2OYlU7kNhMSrYtFdiX1FYKSnt3AHv86R9TWTn2/Yeim/LxN2B4isA4zYS/0AjWmfWEwUajKJDYrCnsYsR85IZCww+gpaTpmjfqkd9vHixXP9/GjJgXgVQT15e1NAx+WFzrOEzKXuTmrvm/OLSLNjKwS8wj8omrM50YcC59vbKuh453UutEB1y9Yxq5NoV4F6DcBrdb6qg96d5ek7Jp9L+rIdBxvyu/tVs1VL/bEP0z3pUblWtV/XG5ABmnwOucF55KJ3RRgOiv5jeX+4jH0RmAOwnGrIKqXarJxoq8IW2giZ0SG1onkk32fuldcuUKVafS+92LvjDTONRNghhX1ZH2ObZxT/r1/AcbamcipDTxg6P//KU6ZjyPcOoGQ+CqgDqS7KA88cJ5BdbAxwryA1nl4p7r2+KbRBpc1Rpqv020qyobKmVF2J5JE/apKaam4S/2y59lGs8bddE6u/JqpW+Kvt1ibRJlWd0qsj1lOsOXxMAYwsJZG5TA2Wd/GaHEqBOrTCWN+MmQascq1h1goWU+4UgvSQ7zX2Cm7ovB1Q34cKNytTPSIwC2pkwXPjLsrIWzZ71XgTjY9I9DzR12VHKCEEwv1A8Al48V1L5PbTnkWFsQzM9ZruuR5BlBAdrhaKlS1ECyLaGMK8wW+QHRlJfgxqUc+Xy24MUhOBuYTEgp0+Ga0IJmID9NtAMb30gslxsWrG8lllEc+BmoDhbGhvJNfOxniq+HCX0v6u5+7fcYsi8mdK0XcTVAKQSqMucC3iI+hepMdT4rFbqxNUvFcRL6zbg/TSw6siHbhHc1cAp57yhe/sJGrYSs0cCqcpF+inbyzpJwMwgt2+SD4K0Fer8f/mswXFKhf6rLnq8J/yPdtn7QNNn/PC29Uh708eT4sMS+5HQJnTAkUuItgtLQhXSmGVJL7ClKHEziwA/Y8TIPr9KXqWaYBZlnDIP9zLcJDvI2qQu5VDdwKrKzwjRel28iwTyou7Aohb+9IUfxurz+dTrLreLS05IfKi+LoobGEZmLoWFLuyY7iogXWtT4gwRdcEKdvB8vvKUtqVGgMqMurYLA6fDG76a71ypH0ngxhZSPlD+mP5UxPfPcHx565m3zk+s7ioJbPNrvduOadQFbH3esO/i6uPZ5/s6ttZjk9FBZCJN1fOV2m1d8ZVgfQds8GGgsgDK6fPUkTFdbyU19OTT47rh7bAvKYFRHvRQb80HJY0jLBY5aH1Qox8E+BQEaMknnfL95jdJTM4h2W3z81pHwNx5/ribFKHsXHQ7dtSd7sSqwtHeAyULyrBOSB35TKcmeiQq+FAEOoUbDKT6cPM2FUgFyaao3fArSVWLAn/4zbcSMJOdJFXdmU/H5xxdof9ut2beuXGHIcLQ8AYdezY1+5RtIdN9V8CWng+F8/KIuWwNI5YuapwvYkRSgHudH+e26ifYjXCbcFyz7mJR2XKW8uZhAWEczt5G1cwKlhr4K9LwrHcgs1f/rdTcQC111rVQWuVEQfhG354mFX8/d06AHIkqkUqd9lpB7NIII+EQZfNTZMSfB13CIDALcl63gSpJmIhYwvOBrUF1SBLfJ7Pw3YUNkS7SxVJTHb8ng42E/p3vUmW1tZVYb685eRDnWChMFdmX5pcmnekrcXQJgIv83Ksh1zWL60vDhg5dxcfrCVWHmyoWcW1Nayoj+gNWkZiIAEGbhHgpqSce0KIbX04NqAGrGm0TXMq2hg7ZaYPYqoPooJ1HAmi7MRWzN+TNWqdWrEisPpSLDwQg01ENDwY2m54WBYoT0Wp6DRmlUGF9ngjqJ8zK6+o5W1lr7Ogx/8bn1rQ6f+RfYk7IgDPcq5gareKoggxlbd+shFiArUkGnndlXFrOHAjB8eptoHUI0RVIZekiQ6HDOiadv92+/5GGnzc6mVVHZxw5fMEr3A5ILlZFdNqlQzVadLYmPalTpP82ic4rQiZAABDqbpb7H2n8g0DT808AH/h786ogU57ap1DAXvkCFGnHjDehJD3znD8eDwO+RIV6keR7rUQl5ZrPpQ7Ht07xhpcFAsJCHx1QJ2oN1XM63Pa/VVT35HlA3WcKu3ZlJx11oEUqYOlT3xpIvJVQfLXaoFG/s7kf2qc9s1IzeqDodBKQ/x0R9aNbMOoTLrDzCTpjMOd6yGdZzAi/z1rwHtYbd6Z6SoQ4Mx2ovDhMF/LC5WdLTgr3df2w1O2P2Cd1O820lssf1bc/LGj+PbQKZACrhq/ijtKnNnk6/iwEs0p49qY4VFZn73AgGcQAncfPujQmoVmZEpxlQZWac1OIVc4a83r8BAi6E+HZOMqozxvTioiF05QzyRnYluDVyOrT0jAcHvxQ1SgIJoVidPS8p251UjxJKdpRnf8aQtnw5w2XnLwn1xJQoWQysUIm54F15lcZbQJjMn+tJm7GUlsMKgypflwE1QEvcilMrGvKv0ETjD7wqzrpSSlIQmbZzk6czVagoCl/NgKzmzC8Tv6KnOJqRqnR6f4HgIUhTIcXZ3osAYeHzqNq8uDWC2MCk7c/Bo+KuXv+smR3pZRH2MELLQVwd1/ic2y48eGPgOzZ670mdNNRAmaOLeB2Q1jxnI5vuohzPIQGDoWIj2a2wY6r8ASN+RTsnEXYaDlAG5zEENew31oSnYkv+u1tav8IoQYcT086bYNoGEk+4Ms/J3X5xC9zJk40EY+5BBYPe6eNGWOmhE6LmCR79bHU45Gf36NrG+A7gPifVT3tOxZZXznHhu0F9GSQvLO1OP18BU/YaQW6bTZfY3xzK5UgZ/ibQCHyuCh+wz074QOmSdavnp5TAZsG0og8iE8g9UuoqLMsmkBVyNXjxfexxC03nNt1sacfOB11a8VSyV3j4z6zVx6Bv/fG+hp4/jgZtsq20ocGqLwm0oLVL6mE/eD2fO7JsYo9yLVrdofY6crm+b0XUTD4a3Ye0ccv0il2o9mMipeZjgrWKZToGVS31aeGSR0szN5Gl4iA0+0dyJzcAudVuYV4UGtQ89K3PXQfiDsYuvKiRgpzARKB44YDr3GrrTEwLaSETYHJx+8Zg5G48NvC8rY+nygazTFypTqm6q7H90TilyQFZjQhLPO6iLcaQTgHNUFda7iNxq5EEwgpVznen23mrlG8IdqgHfZa5xIaDfbEd/RJEJUYQB86rw47eIwEaE/brZESNl7qNvtbHiqlBM+gXohOKTdMhfh6v4aKsK6fnht+ToLKienbG6FWY9GeYeH2/IOs78kW/CzErnKe2PbVvkoNCG6CzXlH1QVLyRmHH5f0MRWJbH9TTuOmrjjEvwCy7KtoxGeL0Dz1Q4cNoYjQFaN/nb9ytL0JfISoxFUZMOCZm2dXoPwwY+9yoEvHLYhx1mNQYPs1YsVhZ4n8nLP0uVakC5X87Cq4QoiYqSR3FP4YTDMnkSmmcKeCDMlQs/HRfUNb2xOqRf/erNA+ThG2AaXdreXj7huR3/e9EHWNHVPEJ1bIn7Ufn/tXMqeX3mlJoGl463rztRsdLOQmP6icIri8TS+u2bCwdK5ckaQMwkRzJME6cOo93FKvR+DshS19oAKTp16dpA5Q/bTRwRKjHajqb8tT+5EoPnasLatCoH06MHhWUQArZ9oZHA2Au2sPNKpUiuNAk33ELFPdIgmkPsBLt22Waj5KaK6ErbV9jrwJPcwYuTFtBpW76S0EjX3o6uCKXFkaL0nQsgYg5aBFIYxHGjAv0TOrc8xbSTU7gmVvgsrVzGY3bM1yLDGFLYVkcr3KIRiWn4hvgcx7KNqUZkToE+ZGTT7mNALCVo212O8MUKx8V3VjHU3TZaX/CIk10rjDbTFabbQEsRP63o+M5oIqTkaSuGF/Gn0Ge70aWpQSt7CYgqdwaIYNf83Iki2eyDRLhe3DQyGDbvgbEmL5uybI73N7NDtowA9Q7yTuPCvZebCH2z/SWiRPxqLi9iT9uFJNz/XgeDDHGhWzEEOkds9bZEaCgYgKUBf1cW89pZGNCMOKiQjNF1WKkppoUN5t7lY5gdRpv0CfvPCnAAC2xFIWUNzO83t9iASppsT6DotNomrjft9tg/guWUED41FF79mA9KDAnZSEhpbl3m4yZEzpgZPi13wPKTuoP+U71osAQWe16miIzuffmgW0DfWRcYT7ZcDuJ734M0A8nZ/WKhz6UGeJLwTjuioy+NfN1UItanjENiIhYGGpfLOQJZCyJJVdQQHxxN4GKnwBNj5x85Lxju4AUSb6cX0W7xU5RNh7l6uSRTdvDFq/J1iRS1MGGcEJKvzANYtK1oz8rsbJmhIuJ1u5nW/QGNNxtdoqWj7bC9XqSzmCKzDnSNiqouhPQzrm6PiJkMwFG+b2VQto0acTdpMODouHDgy+TcvK7tszUd4WRhkL6hHOgykVXQu+yi1wsJ/3mRRyzs27U/1zMSIAJYz8MC58PYDee/TulUMDbemlbVnlAkI6DUdkKlku/kUVbr7iD9n+j6NQRIwLsJD9mu5BLw3j8OdAmRaGVOJrZD1QfNxGzv3ZTWC85LhL8Fnc+VmslptGY6ZMm+gF/ivVeH959n3ncJP7LvrSE9bnHNaqxYIVyZ3c9d5i+sB9OFACAROYW6ufo2ofNWg0nV1T/K0PQdcLKB/hgwfA4WCDm+qtCqs1Oqqa01KG/Egv4KAdgCsNh+SbRuFAyoJSmYGNnxG8hRwGpcU0duQSYq+QTXCKFCV5bgUBYBYi+EWhlmWqVGtG5fTlK1CYzkXQdItJHCx/DDRtZXH01NnrZ3C6gXX1FXPiTL8UJt4e0NJT8e887gEuZib5jBFv+Cc4zQn7tJAAMj1jSz6ajUVtNGXbZa1oyvWGNdzXPTS2YKGxNhEQG7vTmKcORS2IjohAlE/blaMDshXnXNphvS1pCc36WMs/jkaMfj9DGOWCpJVNhlq3Jclhl4C62nrB3NomeM9viqQZWsMqX/TwZqjRV44jXy/MCja+YlVMEqD2yYAa0b5AaeZQ8nRpEE0fFeTWPWUvlCzgLuJLhF1R2EJF1JpsNEuKCZH3uCzocXpKF0TOdYFpVj69Px3pbF6fEoybYqidf/pbMqNx8S2LNgCqUS1uLEYZJF7+TS6womFw3ZE90lIWKoJJy5hQxnmzpaz6rSy2XUReNLjVG3TzExk56ptp1No8Sd1uBhlCnrpMJs62XWN/LS9k5xOrTMDDXLzQwKGjaLlSOk5N7Opqy9yDe4eUlCYpiMaJfQKgYvw/FPXBpRT8ODoT0MBBGqKKENcEGhBq+JnYOOCt5Zux33Zj2V6UYRUNTfGnY0nvrD/vQNhnMCFNPbsEimhrTEJnhGQeUGcE/0eCmIYHd7KIjDsQpkeDXpR2Ys1Pn27ZaUav91D2UIqxEd/h5jw2wrfRMTneFjbDLYyjNck+AQ6JkTT6qeFC+jVeEFFF3hlbW6n8D2xxVFgPYYEiAzp4rpq9GFGeCTzneNXcZcuUGlJyT/5ik1c3c6jUB3P+HUrivhTpgzQIesK3o9/h4kaRQ4F01mqGeVpJOKQExZaso/hOW/KW7SthE2KXDDZF9grjH4poNAovEPwlCPPB/VCsRu0/WBYvK4HhEPxMpsCoHErDk4BQ+1xcjW2Lq7ztUAQFm7xEL7O8Th+9h1TqnRLs+CcfKhyCkJJHt/ikpxwJsGsI/WxiMxILfEOV11u35891bMRYcw7Djqg0F9nxWR2Ddw66aw/oPWXXDg7s3AEyUVBihuv8FXtHrhFNZuiajnvf+tPijST84T2PTMWTa2gGlmFgWgSGAxgo0sImFLq68j4Y6v4tDYn+QNSQlv47UskwvLMuWstwq5xEHOCho5zJ2+ysSNXPkcDx5MIGuGquhBebmBJQW1srvvPIc6rn/NupmM8husWwoI9jt2CHAyRh7ifRSutkh7r3w4Lgh0Cskui8RLgUQON146Kx9S4NCr8BYlbtzAJfX0SSF87dj4pfNRgwrp0ygk4esgFWgD5Fjzh2qzS4cJR0XdI5h0AOtGw5puEdZM1IGoFQcfYUo5QqImSFWqZnLAqX/aq4ieATV5dhiinISxO7kQV/4joOJb33sh7QSCDZQlKQTeRBvRN89HBYAzNh8TdxsSoFMB5MCj/ceryZjgxfGexLRns9c8q34L+AvK0Q+dTyCiKCp7V4LyO4v44xTVuQdjkV7+AeIER/q6kn2/hXiD0cIVwFgxEbesb75j6mwSQtdJHg/U+8vfWSgB3V/9NDqBwD+qEFO4fqfKGyoM1HM6UgBYjMS1otFjFpSpBw9TO1Wc3+yo55hqhbNsuHAKdsYnk4zb39uf7lLZ2hdaGrh12GKpEX/sb5hBAY0VAlj37Y17bSC7+8anRIZLn8ivdfzGqTZaja0uOW4Z4mhMAaQ7k2Z66wylAlaUKnfbgiqKDu5iZE+monhIEql4j5nf1xloQUpzFgmnAxlMQtCYxV8wSb40w520DLkhl4EfFhNbop7H5M6djeqXQrdO77gj/yctV0RN/BXnmH7P9xCWlFr/5LXD8/XFTL0DcAmfUUS0vlN06Au20OISYahoYS9EF9E4uiimY4uyYwP24YP0+ys6ri9wD6VQo//9HtJO2InksCZhCAdWyYtTGvTO8d11+yoMdKeCLhx1czfWsEdW6LRZ2QqmZ207zdcRVt73dUM4eJuy7vlRGR6fLShR/eTka2MxbTY3vLsA4Gd84kXeh8K/OFGqi3aUHhkjw7f6YzaDvo0E4XkD1bPjJBVgfiTgfOBZ+jAlUmQ13W9WbxfgvJ7dS0/8aDH24qL3ZfXBsqcOxl5vIEhW6jcGabdMaQQWDjNLBo7BRh04o9Eq4Kz5mDIEMB/3z65/h9erI5rpfGY+ojciR1dBV7ZNxCHO6jT5oAh33eHyZRbue9c1LAE7AmHUj3uKL43zFlk85AGYXfnlezBSNUXkY3unksdlbc74RE1Thun6K4LwZlxxb9w8AQeBkaG1qSm5HpydAcZ7wLJrKZMYXGFNElfsFiRdmk90l0a7+MORXrIOUp2i24MDl0mv5y7pRPYiH15sP1g0HDC+AKxLx8jWnUPSALnB5QlzQh/mdy+fXZkhEeHyjICyvzZXagWCCpJc/fwywQiLamFVbHR7xrP9xmsURpm46ydAlwcHd/dyF7dakFDeKypJcyBYT5cm93jOVCyKTiTycRht07YZq5+z+E+o3VTnuw9M+2tPOq2MWFaII0k46p4N3T8Oe8rW/roY0IKBsy11QwMG+au24WJ+SY2FNjYQwKkLY2J1u+ituOQzl72c0buwlBHWJMGGqmGxjfil1qEUhcaiHh5psrtho2Z+4h1y7tr058O7ZA8doW0LNTmFoWGAHcRXMLiM6/OVvPp4OVaqWriaEdQGc25eOzESdU+hyJ4qG0lJ86cHprIZXq5qq5FOAxSOg33DWqxkjBcUUU+E0digTRqIvQUO9KrapP4sWsC7ihyCBQCs3f0lQ5YP3UgzHbqCkpBsa+qgX7FmZy7l5AQbR6MinJvfA1f8jKOUCfsiHwqnOfSGBMA/mCSsyzm2dYONeXJPsgnNJSxsrwpESefOPNUxLBuwp6Aqf2QMrpSzy5AY1U7a/fLUM4SBHu7gwG4tUfHcFsdebQL6Rf/BoHPSbs4gXMK/ScgHr9o5KZ2ACmKB8AR8V0KYf2lNEjWUh05hW9YYiZm3YFUMV2WyZqbksEtxxnp+kVFLv75ry/yVbPJAE/ctLL7CBdx9tbm/FvKVUQv6Ju/JFyHvt69PsaG0MhkeP3Os5koPO4XO796K2vGVvDVVAseWMMSKX+8HxiJcASh2AI4iTDnwP5+KLjeU/yNXSPZZxqcz/k2ClzK9yi3QE+w3Hn8IhIf6c/Q4xK2X3qgkdqZzHAGJvnYcMesnhBgMzv53ejK4W74HYWRBAC76Aa1usK7s6OJhoajfVUCG3XFb8dHafqDRv0FIWs2egXaf0ZB8AJP3d5W4A+QjGfFxHngzhgApuAFdVU20dzFtZxb5814p7WLgmetdJwpbzE5vpgishoR7fiO3NW0ki1XncR9Y5zfiiHAvUCOxGoI6tuWvTJ8ZspXJdImpc40ZIgGviQrzkQ7+KX7/keCs3KXFUgpy1Noqe8oCch4HcuEEdDqnhpGEN1eC4Ic/ppNDY1BVB7j4U30TI8s6Ag1gUYSGfMifvvLdVSKtRMyOLdE0m3QIOP984BgCMuZpFllLBbAqh4zEnG8r/pVhEv/3qjWVufBqr8jP3IgG6+gZOwzo5jXPniy8vdJg9/E9gI3XjFKVmqJ5S99MIrluusJ/Bh9vfzVcoR+uXmJ2TWQME5LCOBDemVGn5KtCaZganDqdvowCDdJLz/nv/sX6Igba1ieSKLb7W4Bgw0pv+aTtks2iBbqbURJObWUAxH8XeZIfJn+HoSoh6sLcRGOAYKlrrYKaKiz9mSWgXP2J0xiWr3+8DRn4VV90AoFQSyZFsiZYg96k89ElVFho9OCLeW1SgB5VTFxumb2DCbFBMduWuXpkjLtJcgO6I89XGZ/5iVSUFpE7jzvX093Jf3yORI4orHd3wKrX/LqS5UQ9gOijz64YCHL4o5LdbsfOdzFxqngjazmnWCJjrG9ZzCXD1qvckKZ/6F/zsLAaVKk13NwkStymKeDWnHPGNAEtHg+ZiCPhEzoECFwmg9O5y4W5FeZYubTTPjRL03X7Pza8ZzmH9CKCHLVXIOVQ9RND1KtZXBi3Ad8aCQhOit/Ur6UDoQnAKXY7GMyG5iAmXQR2kkKxfpqAD+mJaCojNzmqz7WZ51RjUIxXhCtaYOSBejTJGBE2S0OKHbfhXLGnQ0P5Ip8vu4JM7/WxgX8lakeltKc0muUJl6j8V6laS7YX08tXW7fAIj/Ri0J3FPxnQXW59UA4rOpCOxRqTVu5ARw9o/ZgTYSDOZ6pieaxxypDwtJHE8j4ZRKNOQHig4OAOVFLm4kq3wAt94C32SoXN4fpzoo4RRTO5/zIt4tg0aZ4O4gtxyvzZchvCAw/MF9PWwOrHpPwyvOMT1Tyc/Ii66H098FEd2FGCiQ6ohxOO4d1eSN1kfovyAjTfiYgyHdCmc8BA0S/cZQt6VroDj4ONo2hDx40vig/vAtdqu6irKjC+2RUrR/reVcl7JXsShjPGIdY3aAaDV11eVbCMMwihCSKlkNUZTr4H8pCPsUeMFkByQF1G44fbs5nqrZjdRf18eCZEqH9q8FBwNq0qSR6Sh5UdrFT4O0wmqn5hKITGvqujBFM378C8Wd1lk2KnyUIWrUMdpF95VoO8Jabwp93o6sYYc2HWZDEpWJiv08Besi8FN7LSkMfLCTx4rSl08zd5xQ3k5IPfR65o/Ty9/2nKVjiBSwa/+2ZXb2rmGiqxjfeHyyCT429b9e5UOs9UmhvHqp+X/QbcXLGyRJYc7zIbwCTL28zERPLlhMYGZFaM5Q8tX5ua1KBuTi9hIFhGNp03KwVnBy4LO1rIe3GDEcfnW3sIGaK++1G/Jcc2q6HkzCbpHDXh/cvNoGZBjTcmR0XDUBpxbEAebdiKK1JjyoNj+TlI5wRDH5YS/9ObYSEjgOD4eaOKthrOuiIAkUxUfdvW/mo5SXyVN73vajjr4myszuAKQvxXuFUgs/73iBgEsd/pSzjtcH7wJWjmBLPEwKixH7713OpezCqVTtQtCqBIpPLd26otQ82I5oHq4S6HfESb9bV3fhJVt77yzAgdZed/CfEli8QxmrdeIkP9jPh5+BlnxweHcp+PDkI8RCvGT36FW5ZmKLeOIPFnOQhtR4R+giMdpYAwvYnQgd1Xdf9yVIMw/VoigbaxjE1iFjDdI7h1f99zspHZNkUOz1mJujMMfVl52u/ctz9NS+j0VKyRrflAnw7SFb5bSOBcC4ZipXgwbookuj8BhF3QJf0XDXXqsl7n6PtB5bVL/SjrrQwdO52CLITfTrPgrhu3aWPWpoOnrH5qhInW0s5pmywq7FmzBHeh1UNwFDFkvOmoTG9mtYzXxwlrafmcnWOIBhS/c2Zk8vrGmuxqk943a5PCSpfLW2Xk8hNcz/DjYEmPRQhC76mu1MNRrWc44tia1/09x4+J6/DJFcjXVh7lRbVkUgLvTpO/1H8LxG74Au53nHjs2Jm7F0n576mWw7bSjGfp+isrDx2FDrrdrkcHRWmexQwGuWxd9QD20MPWix0Yr4XX2BabHEUU0Jf/MM4E04+xXDwjw7lxkI+FyW6gO5nLT/iNevePxBOHC6wgJYWRVedb+kUKKhp4F4W9FgGnpkORDjeepMXV/G2z2zhP3SqmIb9MWslWyo+1jFG3rtF274QXmTdXsayJqrJe1eWHJWbvBWJxVlzPRxYkHdGCbtIFFtJFnKFQ5ofHJmyuxnYV291WqsxGVEqLBJa3AFdFFpwOyJsif7LYwTmoAseHDSOP0jh7EbkCRm9MbT1BVSy7d1eLfq9jQcpRZX+Gf+2x+SiFhoyQ3xo/m5XkI0m1i4kPMtkjG6WGLUlcV3a9dP2+IJWTsGrtp3dzweADh+zjHEeZqKufxjAxl8hPWU9pd0ENsF1pdfxUjlIU0S1P7cqL6JA0Iv+8KfOKMP7pNfmbwacOna4/5EPmh7Y4wbr9reRp5SSE0ALuHJpp3DTfXnzoPjocK2pe1eyQnnlGlscJyJ4MZhKGqy/w05IUJmad7FLJTlSpRMfmv9W3kdgP2LXWkjXlRDeNBSF/zWiTDxsI2f11fMUEt3Rt/IFHpK/tuPmXCfApU7M+iGYxW8wJylSgc5037cFSejSHZaN8Fih8j2zzgWaLUmwOgib52kcBOOuCY+0M8+24oV5cJFo1wtqXkFCl5USRbizLaxuLLwnOAdTFEXBZqP5ucmhU7wSfiugiJgfe/bFjL7nyhYdpw5D1qJLNF4XNGUDEUImGamdABhSjOKA5auIGfGPpgH/lALhwQ8rVvIObEY9btytOAFAxTZjpGwrmdyaHxihHn4oIPJz1yV28N6B6IbEl7kcmbv+CzR7avR+Da6wrcsc47+RMe0q+c/Zckl+sb/dDhPsg1ozXj6LuWCgknoWCq8FH3++esZ2dSnxtuxNR6EhT9ZicG3GiAnwfB4btZyCe8GYKH6X+rL9V5VgQPayWWkRQYS9OxEjARy9EsdCnC3yagtOUvnJSF81UZUe78m71b0olAdkDDNe/8VY0FQXn3mfXwQy3rdSBhs4+OfR/29ckM9ffx3NgOa2E52tAN2pirnzqkiO1tYbKMSOqOLH9vdA+MrwaHlKfLgsLh5sZDu9kPQXW45F8q0W41lciOyrwlrCtHWdSI17ZuNCQ7CbIfP3fIXByNga3KMMly0TVeZhqWfDZCTZMPZgcIJH57S0IwvCSC0zveCsEx4xLZEpUN8CI/cjYqUKdiWDLWptObH3DIP8EhS4TI91pgbUz9Y2X5X8SnvrDTaAqgRPWrY4oy9Q7n9JoWeZ12RRY4Grn2KNxTWM7ny+9GJJ1EBqXWT1mOI+0pELNcxnLDxyZx8c41pyyk37o6fAWGgROfL2UHaZ5HSEzgTdPRKWPINAONuz966ncbf+//CXt+zp6kv2soASyRQlIDKg58GaO7t2vpaazND+FZP37aPWUa20Fu1dAXr4ucjRIxqmmN9/uudeosV6h4Jrn/QnbgsL4rTdtqEwMO+2FpBBX1PH2mQgV/SOTBRj2HRUeEtq3TzV5EDVSWIUmNJtb7ODnJvDo2Wu9zUqtMALU2SV04LTFNjG/OdhcTSTr58mec1jE9yUnEHmTF2yh8pyjXJFONHgKd/jdNdBpQHkEowvNlAX3TZm9vaui2Fr6w77yJ+KvWjAtqBytGBrzp0XpVscbMrEYjFBHJE+Npv4djN+AwM+6v5i9DQWp4u0a2nAL1Bi/4bNtx35TCkUkMz925h0epVw7WeKMJ2yGG/QE9Ggt0zZSgD5fOwYqVQI/WiLsvMl7Cf7zuEY8JD9pyPOy5zZ/3wCxUC01FaTavROyDpTQzeLNyrN3uXpsSChqV8wjPWPuu39zpp3ddge0owx8rCb3dcLmFkjs4sEBpRaDCqN2g+2CE78JZjTUf7j8sft6Cl4Hr9UHx0dBo12QrfEr1smuilM+cb6v6rDCnC8aonXZC4bFoLFa0I2JBjpJGAKNKltJb47v+Q6/ASyjXx0FXKWV9MJAeLXNXBa3Pm3qcbaDH4obVhTWDMinSkRjaeDndgAZkq4q5mtSnw9RuLmi0AUYcgM4YrQvt9JuBuVs35aEJoJs2V0eX0vYMywU5puRmGd2riZ207MZcf6SLiY4YU0nnU6q4r+4NUdu4XAZodgRKPCGQ4b5IOZCc2JNR9G6BbIPpUBCc5l3Z80oiPETBg7itgV4afCCIDLHsff7ME3wHuQ6G9MnUbFYqHxX0CA8//vtZu0fkEDqIJO3LvNNvsBGqX1WZx1ygefLjrBU/5Mkr7haM0IU+RkNSza3/NMCF0nO00DEbTmaz1SH93y47p3bs9UZnx6LyRMT31datasXrmKDGOE0hA6YCdC4BZLFq28/igUs98jr/dToHM6SP+hxi3LWB2gRhbW5khTC5G9l5VSPkGSPllguPCqTjAghhA7od2IHSFPRmPSGDVYxXEdO4P9Ot/4tLvGcq/WNOTGJ4Xo/iSa3cmyEkpsqj9KMAusYvhd3lN+IcfG7jHjRIR7E6P2qLc9PzF5ag1AQawLBgtXl1VYP6TEbc4if+21yyIqeh8qyBGIa9kkklalZmLsXpSXgcrcjwuPzN/Kur9TKjHvOK6vosG+2ugRNNPcbiZKSqpcANZkaqyRiFPGY6bFh8RRVOF9dfR8d13ZtlYffD70tG4pi75qnaOaCYR+dHMfbkoSyZDlsk56s59yG7j2pMr5c4eTA/ELFK+/NakRZAiDQSP9cEgWUoPGa3Uhz6hQO3yPy0fseBZn5i/kHIMMAkA3w+NVJe95lrHPXDyySI55dwDof+gb5na+uaugoLklsCHEQbVRITcIRlIojLA1Ei+kNq0uN3EgbEYM/5O2ofXHnwpG20V+IEiPgdctDHshiqDnzE2oM9vRO+/e/XtLjzGhPUTmUbu+zn25jS0owMqgvJWce+3qhgIvwKgEK3rz8xM97me6chfo8Ljm2fITmQD4ZTEnHoQS2edBMMRX0MexqXcbQBe/516VwbNYSqJTZgBSDUg/5b10lNy+EHCn6VRLBcGajlm1ullPLNo/PjZehSLLvjTC2Ty10WrU8qJHMY9dr8+6Nn5ApAUMbgZBm24kKpEVV4S1iTmqPVMQZmz8Z8u5/r3o9Ee1K0NX3QQ0kLDV8y9ccboDIXldj6bpAB459s2ky5mWHLfX1Jx4hPjaTbjw6Z6U6qVP4mj/1VLXWulTLI1Btk6ZsA/Cgm5IVjL30CHH+K+hVnIApsR21I9oF1oElncXOpMrI1OqheOgrrJ7gRFpicI0GHDV0P1M2Mo34ceMjxA5vP4KqVuWfd0fS/pTq3ULdIwjsEICHQ7PA51jkUXGGQFZjAM7g9yg1UU2/NDSnmZE6MVER2a8Tns8ACMB+F8eb/68JLwUTgW1AwlGrVM+ULY72KLUczwP6ajbC6wOzRrxSdNAjlzg4KcC8Mcopm7rbOwUyHi2iAk+XGE/vBUBK1cwvbp1/rAGW9whbfkGCGW/o5n122kqXNz6WWk0a8PlD0xakDhvEnOZtt5UwycHBCRCBafH+nNk+0f+9k8SDKtZYk1in0L0OtCtvNRa6oyhfZ8MSZDWk3Vw4EB1S6G2WYZ2HmXAh03Cr5QUhXAaxBD3Q1Si9oM3PWoRLQ1nL5aK+OZn9WFfG/J8/pxvcKeEpqL14ubCfyObdX+6Xqr5KhJupsGrfoegYKcHNumMjIhtZ7x12ldKafiK6Xo5O+hV/gEkX7RfzRsXWHamUehMnckKL5KM32o8VfdSyq85YrflkRCHjesRrCMoLAhuxpsBEZwmbfIwCZAJZlsoKRIPqXEc2Y5Y54RNqh9zrtnH1cRxzPQ/bNefhcLVxR09qnSJJEy94oRWxFp6F+FNGtbQdAptXvaLqaC/zo6YpoEy/9B9ismk42XpLKJ3woTQKshgDyk8uc89aVf/k2osC140Mn4hQvd3O0ZqWAyDpaKuX5CeuXuN46X0h6ZmUO6AB2DhRJ/Pm58YVdB0G8kjTyYWBXax3UIC6pdXV7cG94UWSjTXR/cbrduQa43bV/CsSxYZB4b4uiXYnmv+rYCkVSC0m+uTbwbcXpY24gE5yS65tfNskDNykbIozU9PYnXdotO+N3cqdtA1SO3jOw55TXlVRUmtb+7Ue+BsV0vxekiZZ4jbnTG88HrJdndNHgNwE0I19At8vWn/2sIHkhl8vqZY8lv8Kb9WEGh8qzUmecmTy+ecgOX9B2Pqmc3kfJdJ7zvTY+h3ZeHw+ljBodfz6WdNNbiVwltQbzqWqgE2BQ7K9IJZcmZ/fSOaMAXqBqahhicTUTOvRICtyIclbriCZ79dZMXmmw9d5qpf70t6XYu/FwR+R1aEd6USXDmFdudRF9se9Tju29GJRbrs0rN0Sf86C/hwpxlUZhyDeZr9cTLpkwkSQGLfpAlXqIzU1rQQkjANCyIZr8Y5gM7Qv2NnOl4ykFnNo+wY1oNA25UtkCA/SWjp9iFY0O+jDMYwtTCjdQEKw8uvLpERrEf7ewLd5/JATy+9lsT9SZDvWBFUhbih+5wJca+/vOsMZFq0F4m5SSbI9pQ/TJa7b6F/+nNVzZnVETwrAtkfIaRw+6p992kBSK9Is/EeiAgeCmcHYee2pKXE2bfLfTo9OyuC2WhYfk7fJZ5cbyKskdGXEtkDvVRtST/cmMEVcoPJvTtjt2U8JVht3dnxpSrjgUdLCt1R9O4hjF/eD5r+nypQeS09VjrzFC6L5bvvRO1zYL3zlSjEqsYGL6McCd69c7FVur9Q1zt72rFOcGrK0BIdOOUunonvuoiyJ9a9xEYhAN748LpwWbdgMSZlmIHvhW/MYUop05QfZnyfMSAj34JZp7FlEcfUJc0OVCXUCWVHmYe7VfYkTYfHsaXaRND0g2VAGLTNBCCyi1di6Sl0cIIZ0ifhj92UAt7VhdGycsyAIZg2MIiR+jLgZPD8l4yJ0T/+P5qkOhWBgP4tGTXrsap2jnSNpYLxTexATO1kw0L/4dCwVvxB4niam/d3bm/rkAcFfc0sboozDxQw6kf1DqUM16ezXqW0ecOHN0k6Tsc8kfrGq8NnZmIR2+7HPqbccpVReaXu5YoNEs8K+DbmeT/WJAsfbzsFTuq2tFSsxogJWPhYEW6OlySPfexFXDRdJd0xf39GoIiqi3craZmHDJ5DraFCjR2P+sTdbe4Uq/7WU9M4dx/jAapgea7ZKs67TpimdXo7Mj9A5wjRZJ/CYdGZLyhSKlfw8ra/satCVOOLFtWhz4zcHsYCAzBlK6RUetscp04fYf0AaJmvnievaxapORhUEOeLmWUnrXQ3Iv1KSHDoRO3k7fWq6Tme1kD9re1JlCmbWSBK3+0/bYb5AG+bss5vAgM/JiMhcOgNgZAoSfdVGmKxXgNKWdY4oqYJSpCrCDRFuAWtMm4KLiYQCRuGkXdyMurHG3ArstdgCJ+oq9K7sUI2qyXUt9S6iiNii9ZDCZHrevNuRZfHB7bhWNa9y3c4LyhEzcwgfAt8m/Av/+CnKzTAkPt84oMUv8o6ONQ3mB6TkTm/4w6zr+kOEVBT7eTNGJoJQz0zohxXA+z+WHaxlS34DGUguSBFJbi0mD5thIct34d1yXepwRw3l/hi3yArU9fKlCpD+7jyWqPRYKB5kXYHDTZKMR80ngRBW/xAV4g+9UPn71rxaL9rutwcHMrfj/niuP3NmZIP7nPghwbN+S4ZPLyu7unWy5GToSD5KAFYS5gEn7XT5vxlsiwIJtNWBghBRbCHB7gF+2RWENL5A+BkQA0CCsPQth17nntqTAdtHxQM55GYkdf2dL9X61PwQH1jaYYzXpahkMEbLQVXbm2OBx5pB5tj1THRgZIO5IblJXLeg8tdOUjm8YxKJlPPmFOJSom0XllWmKjSpmVz5GZxSfaI9VTfBNYU1t7fGywIX7yyB+4hJtMd7zemcd/VSeftmXSdxaH9P63LF2jlkUVrwnh8oqQBEZIfEF9Po7AJ3Sfls5LZ+qQ5SIjnNdAX7uYaheD/cQTyQe+FgyXs3M1bAxRWULbtvSI/G7ivqO+zgEiglR9FiZRAqG91IH5v91IGiyQkqd+Z84gPnX6tE57M75+UVWbtf+LSKckV1YUDPhQHy7NgttVqd9UXpsM3XNdvQQjIBbwT9/s7UPs9Jwdg0oPdRHThzNSH1Q5kc9G2uQwDFviK9267dmB3pm/7+hpwe/0LyNZPR6lGJLlnouSqd1e0HyTQaLclJLtHYyGY5d5VkVTWOJV/I4dVJ5dGjDvTkR5HNKkzIFlEo+v7k6hkYPiumJ+Lk7or0nRZ87ALhat1slpuwpROv65z90nI0LfClvI8nhk1V56TwMIVqZ+5NTRHkKIr7+GMOgBK26nyRxoi20DfpUUTdy6UmBfODTB9Q1eERVOd3tIJ51O3udq1YL7NWHO/eVeNu4y3+AT5x1gfPQENpAqwpGsNYwFV6BWdkRpusSOJVXiEyBAeqCK+Jn9zPJkqieYKrZrHQSICLjQjObz/UtLIb62bzMzXTMeH8V9Em7URScnEoKqA8u7bYE//QmvbvyMK0LMU5/Yy+yYrWlmpzTa9LIjxjkS4QAVAN2fj1vmxvRSavAz+E/OVWAjk3UnZHXeUZiSoieIeTk5drJXJINvwezc7gmqjpJeMSz/5pS4SO30GHni+rwkQVTI9XBUsunGEvBrvFzVgD5E2pIYPIyVMia6XbtXwppQovLHdrIGnhie7sstdp5GqbSArl+RDz7NdqBIqfyQUM+95hLkyaTHDF0BCmG0YGM6EHg4B/RUJX/CurZnmrQ4OPfLtjgXZj53+R0YxyaoivBv7U4X9w7Z1ssr7tO3IPer7H9h7mUnBLUSKOVAEH+Wd/NMZpIepcSSVxuYkv5HZQyknOxpIUGXMwp8PCfMYj6IdwSYJbzNpm4XbnFcPFuR4s/x8TJHVa6LF00CQyEzJvq1IRRVE4J5v5bYn1PjWoB31yFAdb5y3eLaoimOV7uozm/oG8tUgUgwWOc/g83mm7vfqAQxVq3S2PohgvBPhyn9Pz1aHVN6vOL6xIMRIweZLpjmtk9qnzPsLMV5MiGNUsCkXVdp2Gmww3ZQexk7zxc7ogOQ6d6p7Od26R25Pu1tlSk4IFrYn7f4mr+g6zsxIogYvYmORirIxe3M/mAlsVToL/BzQYFYn3UWcODVdJneOQb9m6lCwYbU7xV4nczRwWoRphOR5OHOo9rPZbvd5XXTtDbMa09YCliAD9ROjzWqXgtznonMFDpcee7Af+YMCb7Y/TjY61naxIyzjbvZKs+a0lf807zWs4aQAVVu412ZgJVWtp7s7x2aJ1nTqvG1cjH5qM5jpZXrENv2njzQ38uUwvU+EjMm86uRVWtAooLfr7a4Ih8KjmC1L72UvC4kLQdM0Jv4nS6n7zQkVwI/KY3rARsPostlpG4gLa3hN96zAnUMV4P0wpSj+omVshTf3Q67AAl44kzrjDZou1/U5CcOVHgfGTigr28eYmq78IMWKbxrNkooOpgWxqXCVSP4aK6S2XkJKbhz/7suEZ5L84/RWs0bPHpqtq9Uo2TAku32oe/ma32DaxjaA+Xfk4chcyuQZ/hauV+u0ZEMMzQRJ655zNk4V+WSYeAQDdzjWHwNP5+5oFzWXOe3hf6yJlc5DL4buoqI4KLVxWn+oBNuBc3DULrHST7mAoU2ZMBK0C+g7oZ98YnuijCRss1wMVgjyO+uFNR3LYEZkorq7fqytjlV7oZQ7DnaoGUALnW+wlo35smzqcV9AK/3UWu0AxFf9vSHP10vByO8TvPYA/kN/A6dLEv/RxgzvrqMmV5RrdFomJTHUwOGm4mEY3VYIPvhLG8x1ASupiEa3PEJUAbtP5Js0xGXb2gwyuJ3JW4Mzv3nre9MXLvYx2whJIjHACANShmrkoWdYQVoe1FU7JR7vvYBVCMWvHcZbHB8hBP8cBKWfzH84zrV1R+OEfzWayNBL23FMliANIoDjOOMBkzkLV6tb8kfLAgeAUwDbdXWvmkbf1QePIPKJUpKwfm8NJxtIkr9yKvSP5Nby4bJFQ4I/NZZ+RZHW6ZoJu8kuJzTx+85tQ4lYdefacWCf4cHCDI9yj6aeai9pQNfFlcW7x896Sh9PJlozD+EdGkHb30i5+1Tz3jZ4XWnSLo/CDW6QbJ9LmSirM7gaG51IMEJfthrvuaNkvBqCantb1XbNQhp5NtN9WoWC38sYWDBSmn2XmPX7C42NjAsG68yRJwc78YrqtMklL5fo/ljvbeWnfGdaCvgIvYXZj+KPewB7fdsWJBWoYstrrTbxxHvZtSf4y60ujwj1WIYy0FTqG5eHTItRmGPesdQ264WbwHeZASdyXU8bkLrv8KshYCrwwAy9GbX8Rjiqcu8Ise5D7w/lK3YYMK7nA0PJIV6AdXfwvVtLQkjMm91S9WK5RUOhlbj+KZ/y5lIj0IEqdl4xD+vZj/X9W56yyPmkTMHhmDXhnJ1TXj1TcJpm75Gp6gnHdvQ1V6xewRc3T3fWUvpkvoPGR67EmAzrqN4b3Zx2WrKNBppMcRAm1GS4+rOGKAIpuduoOhJC5t+pzJr3Mgk8WviYMY+a/hSzYW4ckKYXX33moDjRPJzwlvGUS2FHWKAc5UswTXl5fo9RhDhWvl4KQ2HoZbzfM+ohm9ptRUe90Ahcl2QES2DgupkeZEgeg+gyVPFFygdQGPas4OTsTtf7VlUW28OOZ2Y2Sjzzjs8Q0vL/SKTbWMGWEQjq45QfiXOkkNmqYafx4CW1mPXmYd5mpKiR7LY3PKqw9lh7gnWRCwVFsR8gqmAwcEiapTPDMKxadgVFVghVR+SdJmd2+Zpo9E1DIvD7PLsndoHtiKB77ED0Ee4VKQNVyHfRpWC+VqpDxr8kG1ryrlWhMCkUr/fM0Ta6js4ci9sdX5keh/iRvY9JK/oS2Ff136HQ2k+z2BIFFc9Q7tQhtWrcjV5cjCUZ/xSdjz37aq9PTK42F1aS09qkJN2HGdVOPHDLgj1iYzfxeuDRbysqs/l1vsJGmvdK01esHt63ioX/Fl/oyf6BEajmgkupqUbPUHx+4f1Cf+JQZeQkUXdcycjtXwn44BtMowE5g46CrGEcdQMPmPHSxI+o633qqtLssY//O9yGL6f+lFe0MVahl5X8wwBDWRahfhXjJN/WTnok5N8xqg8E7KPAtLUqbRywyEw8EpxDTk70Ub9lm1xbDLM0qlYmido5T3k4kxTBqC/G8ITzWewZfx69rhL8FOVRMqwTL2UQl1AxP4ncKtBN8eVn1G+o04avq7QYkDgSykBrehAgjWmUBgcKSgOEJKxRbcQNDHP3O4UBMM/K8gIj3sQ6mORiwCKkmT2BuT0GxpRcJdVf5NJAUTC+Y2je2crjJDjoRo6ox9YA/ndk6msT71uKRgucFksyBFvPaY7H535G4hv+qiqXVdT9sD886wlldphHvsBDZswTApUWvv9AuRIsluhaTaVIUwpkne1P4iftTYwmhhGus7xC+4/LDG0qJFzegcMDQqFnl0IWrXmcwtlNbEiMofXTqqr4RoPeMo/mPeiTKvtN/4G93PXxnlBbsVC0tX9Bqq4I9XMFhEbeyZt+z+PCpWLJTAPNIHKfVr0kjuxVkltVjOc3zswDmQkGX6p0t1WStABlsw0yleOrkFBoRqgasGjQ7HXxkHwo+FDQw/VSTyM13Wl7LhYAh35vBB2qGq09e8wVg1ulzKI2q+ekbRL3q9VzvKPencSWtPlUlytAm+vBA6lbSrxeOV7vIQyXwSats1GyTy6+freI/PqcbgAqmVGCy6R00lTRMuN5ZblnlFM1NPAWlThvHRObbzGUEMo3tYGQe4BSrYLnJJXKHZ7UoWoeeC8hbUrbjNi4zMuGxy/ftr16uo5D8sO5VWLyUr3G5QcEvMWe5cE38C5GVAnvne7J6mRCIEfN66ASUD79DGNMCF7bkR4EeHTrCbxgcKKwzg+SymZzQ56WzKXo6k490MDgg7dwdQVKt4FOg582rTzVk4lJUcDMAQ65g8M4dIyHS1DwdhsVuOYH3DlRl6MPs7oavjavHsfsW0ykiGmFkzdEqgdJ8Rwv47Zw/5s3pONGSvR+XJDUwjO0i/Q+VJWHcAngDoAaWuOi4JeDIPuN4G1BT6EfW9Y/Fpqvl1/mYthgIOAofhvhzCXCX8FwCBJidW/VEAeVORKVkoaBdqxpThp+zIDxP18cw43khvi7cBXGwM/pVKKvlkW51ZdNrYfa7bhxWpmH+FD1MkVhMEJI1fZ9Fwo/jwdhyNKy9OzC0m1Fdkt7CwqeCLetYhKaHquNbcaYTlCV/yIZbYTzBR5FKcGbfx1jxJYkmOQ/rFyHfvz8M2t/BVdI8YFc6mTwpLSARHBSLejYqgcTruaniuD0NYR5x2nYO1P8rn6OBZ/FtxyPVtCpFU84jE02XuTraG/Sgzs+lIRiWIGXe6F9BK58pLZH+6v6GdiGLzv0CHcFGlv9km1Cs+8D1XAqeH4T8bYytghvN7Bz0IkMbU5fXgM/26t4ZygBvw3ALHnV7RV2/Ty9daJA9cDtT7/H4mom6GmYEceMpP10H3Lm9XlZ7Tjjqwuy3CQNv4OsHYlqy2sBkge72g6K6SwOoKkhzu6cIPXysIS7TTSL2EOPW3rBso/+Oe0kwqzNe8seUhJFhf0KGIjPyjZldtJ4N+AK1u07pd2A8XySADDSRYF1Yszq5rztEPKye30a7L+A6T5sD4Vkhe1DqkrL4FPPuam3VCnXYk67A0kGEFsoVTyJzstNs1cLOvqbdCmUAzrtfN4mkthvFUgYi+9ZaI27f2NxjQEsMcUnlm2LzlQB3ONo5uzqq0P7hgbhC1wh9OwH/pZPtgG8oTUWcufzB3I+ROR4bMAFW8tVW4Z5+kC9KB80HawoOl6gkl7A1Z3rtc4Oj7kdYDqba27IZFxAnJaUSvL3KMZahqzvOkfiemDEBcIpzg4zbjn83w+gr0RU5e4zKNLGIZqHeczPFrlrgr2ZykM0/vlh/8rre+0Axk/BcQZMBdkcOJktf/qQRqj4Q29B2KRWLkEDI/9SQVnMi0qddAS0/0MOp+01QKTaVT+IDCQNpjQE3ay44k/PP3mv0F1ubH/uEh0K4T427eWLp8KhBQ0NJ0RRPblmbePIasRqXNMLx3tg/vang0wzgfUlWBQgtHh59GmUCwHr0q7qJ83QvCFNIA7glC+tmjzjVDUyNpcq2T4q9pyir1kTsJtgYG1oEfPd2jjWr9YDslzQzxj7gyIZAaMIQFh2WPPgiyQmbNcxK0+TlqpoW3CxTJVT1486xUEHa/tOidNm1alDWfUB71+FVrPIvmvQZtPL7D/UxPsiqRmvznJarxU/yrbR3b51Ka3hIoBfQ9YTUmqsElQvpYhS9dpDd5H68z6aGvSMMDCCMK3a4blFyYNyPkt59+gvS+rt62XB/ypFY5/r1c9a0OxWOwHfjxAurL/OrlkXPY+DfjCKoka0pvwiijtfRUcCJOmb1aCOtEBOzN220Y7ca2Jm6iHPA1UaXrs7Ph9UoNlA47YtbmcjHhKptq83xgEz5TkXihfKs5kvRX7A/+LdM56PWMrVj1lq0hdHrApVhtfTVzAsp8i4LeYmlqZXShyDUdc2uD8tUdAa44uA4EtwBZYsPvyLstQswJefKsSkZHnBQ+zv32cJ3KufS6HZDFOPl74Dr7P+wDBtOkUbBrbS8DfQ+p1G4a5WVvUsWgtjHbi7yQJDFuTyABhHD2HFzgPhuXyy5iP4WgXvcxL4sOeYG+PF3j4IlZDamzh8p37wYB0NTPt4TWpIV+xStRX1rB44V0sFAq7gybYNYIyWPfyY+urXOhdi9uy4qt8FsJKCGrKh025GW9aYvB4V4UPNDcQ5Dv5VtLglUHD33BAnnwvGVa79RY5VyC9kRZxL2EkhSKBBFtXGpcxSm2WNPF9+BW8thWIvRZQF4r0sfRXzos8nNVeXSnvLHglCk8U1TOMHdjd1s13z4DsFW5mfzbI7LxaFjYloPrXCUlcKTxjSqTniDZXvJp6glZ2nMZfobony+7wZkjT3Qn/dS40H/6Z3+qweqoVpZf8eCfhjuW8rJ1bYTkeXZJABQ3O0s0ZrlPkhlOyjBjUycaPKJaWvUaUUwddizxR1UDncwg54yt7TFUJDc7mgbIGQgzNtgzGq3A2KJPQktXOER9Owxs1BAT7dFMp8497DlqaVFyeuqAW/azTxzDnoErzsnrcKyOTFxy++pyKwjpbv3VKEAmexyIARbdJmQDCAQQ5g1BCEmK7u5iJzrwPsQWA2/WJFxjebJdILA3SFIE/NUDT5ZczUYx8qyTPzKBwx9B8pwCE8SLUm77DcBCz+HpEGGI8jWfKIQDZryUd/d7lblWKDK5BrEuNVbF8LkNi64PhYaT70U4XiZQTJG04935NTNVH2l5vAm55apagoYYDUGKoP5qhRRycJfBglp3Jg6iz7ytjPCKmD02N2nmvWd0k0DbSbreiDDCbC/eLypfrVl1MF0KwRW4iT8QvpfRPjaXe33LXbHbVdtZG1PZpOnr5VhskpHL0vfbz2GRaY6D9kJpgCikWF+vMxFeK0F6Wu+PGP1geXhnorOdWRcYITNjJqSaakDCUFa/GXpJJNW+VEsU8usiZ2jeJqGjSccKbxtWzjrHWh5adRcOCuEcPZ3l4VqvIRPNTfm8+MoDSpu/fcmAj6YEJI1JYK9SCRdKYE8T4kjw2NihrR4+FqYHA75VBPrGKzc1RCvV9p1C5sPON1WBKNPTqd4zqkJiBqUzHCPKpJQGvURYakGx8PnK07+wEWsb+V+6kzf0whvzlZB+rJV3qx2c60INUbVXx8JWGk08tP5gf0jkrb2cACxTPD4m/7o6UXgXJGM/UlxMVEBIZAM4tGb4+8qmj1vW9GYjsCBYw8Bd0wSwLcxgzaFQgKa543U5JAg1mZwEm0C/lSfT428oepcAuonRG7YutPYSQZLXjkf4qtqTXvLWCj2qhqYGaLpIl+HkbKviuWytKbOo7UPXoixul504XqOlRQbUkazfPbpKQwS5Kz+8ijS4ydc7lWokc43mD9eN5L7DvJAjElKi6jdpta6JkXU22e3S3+4xmETIa/R3Y3T0B8pOHjnXroq60BL8ks0nEurMZqdvyiHNp7FW0W+gPMLr1GKW1gcz7GtTOPwskOcvULOMNlM6IBBkkdRp/VOEOUIS0t4+D1c0qvePTSK+QXn7N9pKwPZczGR7v6Z+GIiislec69MvT9EKKQNWaXVw2NCGxXnYfBJUPBNZStdpW44dZ6EGNxINPCEi+Jaq8EuCqow+1tlQWz0QKlg/Pp8cet1zoWijCLFI5fI2oohZc7IGHpKTkyf6W0du5Uiwpe5K5geDe19wb67qzbFermOYhIUH2wTfINgOlbtzjtqf4jiu6xSK46OzokLt0IthBXBb08mv0Rt057gMnv/5x8+nCEFZCAj2FIE3PWNNqrtnhNHo+rcmiphcq1AvHd/XoHdOn40eq7MP/R9MKWiGe1hkFNrbEoZxzuoCu/hhUgOR+5K9kCxjyfJiM431f4f6Zzb82yM4X6NoB9OBIXy+tmAe8SXQCST16/x9/5IYVzWtbjlEbSQrBXXRopChz6m1zujmfMz6vWYxaAm2q3zoDr4UkVkWRedBXQeXQK59xJmE9717S/8tiYPFJicAVR5syEg3vAuiv4B5B1ncuBHnXpgd2UhAF00vrmHgHrrtGsiB2x9t95Jd8ykmILko1e/HZXJMm4GoWtZgcLEr6dTHA8+vznhDGnlpzuljn3zC03sLq8VM2NJpZ5tsVCMJKhZ+8MqG7766r+dKiUX8yftrTLe+r2G6j5wW2q1thcx2YK1Ir6+sbLU9a2tTPnQmLwSU7Z3Id5jNBL4J0ty/tz2bIpn+ytn91PWj8inffencDjK8p6RJ2SRxz6+mwV9ief0HjyPfx5Cnox3f7mG+VvS87ZZKwpfxj32KtZgfBkynqAha1u90pfhPMrlB6Y9uxTusJxg4cdo2WZTL3lt6TqinjoXki5ZAnfCKOWRY6C+3NrnxZeuoghHIEaLp1AYUsqgJefUaCBvOhtFG5W8vW9sIVWQQY6y1/WgJch8S1asOF2QJjUvgcXFAdXSRiTC2vsBLaKVTSRtv+uTQFYwyUqKHqJ6nwgThXowi5s4eB1sSHEizfogaKwzlPOfE8SSw1p3ssVISyuB2HtCr53a5gZqiuZHy9sr/NPMyse/0YYTn9QxOzf4BxNSXEDeKmP3ZGbTu3x1zodH3qkFYoaoYMoLc5XvN7rv/JmEAaQ5saYNYeDSYJYNtUTxlvPAb3vBGVIG9ZXuVtWLGF2gVFn4HIoqrVyExNnxSk9RsQVmWeBohDOm68wrR8TdTyd/fkvjeiDdmKoXLlO4vW1OFuLqf+RpK2BO1grKCz7BnrrWP4W7tgTZmE+4aTPXAF1hrW1lqZFh2l57NpxLimoapSMFrLDDrxOv+wLnm0YCpGF/HkmXo439XRujmWM5iBdys5g5Ip0DmQlZg1jcA7QW6QFW5gsPEdOcAcEdQeZLAUM1TPn8lllSYT0ndnyTukX3WEfVnn0YNyXM8Rpd7goyjL8XH4roZ11T7MHrrHmVxTnOdfWUlESvoCrPxj8RCVeAgir24jdsVVZAN7/vb3fKP7FkoFXxk4bIf3gZEmyvsSDMF3X5xVM06TQ+ms7Pble3FnxmPPaTG/QO6UQyKQxv4GaO1PphISkJkQidK1mhIJpmmrpyiVtbXwlHQ4E1jqNX+lWb/TjLYfckdXMR66CBu3T2fYPeSUcGynC0ox4letqpQHiATjq6DxsXSyYxeeEJL3jRIGHl2TKEn2XPJrhUyUkyK+B1iU18XO6US3aobNLDHv9wCPHRFcXuvlYrKdN7MZTcHGlj2L3livqZf2h0sUXLi3HnRALNc0G9FGFhbbKxRds0TIFguUTDiQaPd/TVwwvJpEhWdJlxa2FNU0Vr1LqCVH+tFLLgjcsOkrjfEy5kgEpA9MPkiSmzGQ0DsB+fEvqCnZbP5SSSuXpMrFXDlK3bvXABGe9jKtd3CqQ+VINbchVuw2FeDzlUSIbO03VYxmf1ENMDEHSlglrmbYAW/R8y1nG2Bhn/5Qb09y14oYj59NhiOGMRIZ9GM+prQw69FKpVy2xWuNZr/6AEhxIGV/s61p+RMsQUnxiEvq0sFdbqNC95LlgxFX5J9aCgSGcQE1IxtpGKNWEERVDbBobnsr2OdrwV5d0IIZ8ixBsax8VtXIl6ypdRH9y0dueY+ruxIqgQ4LKzriwHHMQZn8SRhaFZqH0doUAUaQlH4JzaGRs+q5qx4/Rr85z0+ep54KdOeqxXjmuGbUva83ZS+FgLswdlBtwcIU/GbxiH43Y1PreV5uRNq1ywRt7bTBj9o6DV5y8PLl03hWr9wr/siPWxaVgtJZZ9mEk7UKLZXsXNCMcrotyPUC45hMviRM+5TA3p8oE70x+/4YtylnY9iz0c3cfwxW/NKxSyx9qSeJQwl70sP5S9zUyRvrIJd6EYe04ikp1i+ScZVCHtqOeMXq/uOjlqJBitQe1Xxih6nCRg0ixOYzxuZe9jwotWcRmlZanv8q7qBNDmn0mEd8hnT/qw1CecKLzrtHK/+ymUwb2NiELZSHi4dKenQp9g2n9i6wI5A9xv2nyO1vnf5tnxrsc5koLENGSuhB5xX3+QkhI8Vp9ZPHxBIe9zUWqO+yCpaTKQQHUREYdOxiu6VRvzF8rdEMOKMOVO789zPpGP3+n9G1EeTSSfjUvtFW6r8uwb5ufspqwgbLa08JIXWnqWOyAdTXEDgAV2E797+oMhBMEUIlkHseC7gbtrH+RAGGPJ2Ye8KhRODdiRrZ08C6W9JHbZX8MFcA6FBM0RfMPrVJ0Z+o4myYJPRfZMT4d0YEVGcfAyvgzq4z8T6N866SWGJ5Xpq3GX2oqwJLRgCa8Twf6/2FzJ4uwTb1CHGplR6s+VXAjdiQVGVgrkRBdJ+7G0b4T23BwxUPSW4sRhzI0TCajoaJNp/pAOc1pr8wH7Wsl2Lg2Mz8fP/zgNktc6nSvcdfdIkKPzv82kZHS0/aIw2mtLNxVaW17TQyMcSjlJOm4xx8FmXZwHkCXVl7kRDXHAGsR4TmsE5FLf74qgwgYEW28tnZp7Tw0TGjE+ibVaml00aWmeeJRqZE3ssh1e4MprruDgpwrbnM0Rnq0UclXMfRXkqKEbxrmP2B8gGidszyHBnLFItcyXoc3E6gO/99mzuiKJTk9Txiuxm2GZR5DGZeyrGIGb8HQf9CYm1bRy708hS5Y1tFIPG7lGoOEpiC41Dd+vp+0o7Rq7MWf9A2rD2x2lGIDuNB1uc3GsqJmy6M3NH8Via7wmd+hSfVTkN7r35++wzCDyo6e+FuQrgr3KXEVqeWAIOgfv8rLDcj1D/TwxLyKjnqUL0BoX1ZzrH+FSjzU9wPufI1dKRL4cBd+ANS/dK6Gcs2oUbTiXiEbw76HROfpi6HMs0iPm1dpnOdCBVGFji6ySIzfrFrWK0Hw1ti25SkfHhBoFtHA0CrnkXJoAukLf69+tbySmpSDwMR4KUfSlqiGcbRtDvTPPZKXEU1iOiOxxKNpoVGcvaXh4mpLMNhGR4AaGbKxM8Y6eXwdD9UoiUu9HfagvO0TQ5aRrz/ZjCMKTiRdykpzkynMzyKDViDdBlESUN1XB2viklY35N8eL5Dq9lNB06ah1cRoQ2dP8vqYKv4X31xuXQZTaf51YbewLl6PDmCg991UAyGpJEgtpavzk97F5bzHpa5G/ySVtFl1mXQyrdYczbHi0dkB0E0O44XPI7pu8PDPM1Hohia6IJLUmj1asE7JFWozOiW1tbXOAwup/kT5q8/xPr76sroPk40zY9K6I/M+skTgYSB1tdXAe91k0rOKNqP8SaJV7KwNEJkWC4tQF0xzOyy3xPfQQIRWSihiY7teFY+XVirJexRqni+BWm4XT10tNrnXwi+ZLgp6noP7zfUnDbW45EuQOTekhSjqYebJ4tICFLwEOOrKdy/hrKJExF4ug7Hxr+sb1y9zKRjUVqgLx59Uaqev19vhR9/S08WkIzTjT5aB+LkDaTqtIZzAqF/zZj7F+hpmsm107OZ5SY621hoT6M2f4zGh9QkjUrGkY+dOHANwYT9r33jtpWqr+ueGAvPsQYFhtWczpvGY2nuTcNlY2l6ZxubDbnAgguisNqfFRYeXWe/iGAsdtDo/PBWYv/7fchnM0Uh2N+od4wGk/oNjpgTZVtWwEDhG/du0SrEYl2IXIRqycncbgPH/dhvbuaYJxgBgopZq+pBizZ37EmzUWfQLLfcBGXmhUT1sMVQ98cPfM3Tm1Da1TV+U72Sj9O82EiyD0f3Cw+P+Ajse7uplnBIOrLnZGBsTL7Eam4eRxcgwITokjQZ7wTx2Q8lEOZ71wf2RcvgHj/HwFgQbNcNdTYIVXUC3s6GauZsI33I1yisUM1yyB2g7boGNDsQkUiQMMn7vOpTqQ7g9pK4eTzq3FBYStiE9GEO+MSVey47APMnAh2c8upvhrBiD41voZYvUzNy7Q28Y7hSiFrzNgRgjTCxAFcvHwMRguVLob0tW65WRmNZSP1K/qUCApJdAnwqhZhIEFIurm/pv9M0sMiRuMwiQnLKAhX7onA1Bz9CGCDoruJ4kVqxCH6z/xeDR04uIXMBE9B1Fm5HGqZc+B+UuXyZn4w+mzjwrYWMeDqhjCe1XkqoYrw8In+cMQw9Z1M3Ish4+JbaJoBshnm7KUhhcg998SyFzuuZXDFCsFG70uMT0WdNcUA2BqrMmETS9pTQ7KN6zBl5dTtPc+IlIJhMTT8KZnmFsPQ7oL+91DW090ZNEmEYr2RTPuRMLpGE7zs5jdJr/cwWY1pP8uR4EtsYNcEc3OeqH3yvNvr/cXA87RBiN0WMKWl1mj8JDZhhy8km8Z5jusqCtnZqy3fbMvMKYG8iy9jgaOJyyv3yMntYVEbIe4CICTzxDRWgd6qz3czD2LNAEZHrr6vqQirEaaBQ88Q/hO70OY50M8sCoee+QHs2Wpjwvj8uihIcz3M302ZEoLWtYnZRWsGS/Hck3rSIfLLUP87uwTyioVJ8SuCS1mLlksBMQTFN36vWXkpd2UpcpqrbN34DMBWs0Dz1aWYpZaZsBZ9a/Ef/lWpgrVkYpA5LYR9LYlcQrtcVVYCiEV05htnqPTArMWrr59hn7GJBNfRAYUILuBLHiI8x9FrFk2IYyPHXmI6lO5RBuW3FnMwyJYR+CiezUU2QFzFUYx/miLLlSGEdjF/tt2v28j98j2+HVI9McV0j5yO7lbqXPfMtd+ZVGl+yoX0HjgEzS8opAEInhUkTeLMxVeygD/4e82vrOOa5w0zS7r+n0p1h7e9gyqfDu1t1AhlkawX+Ury9Ig+cJG7JFOVVmBVkYFJ+X/bvPb2nYwBe5v6Sp76mQxtmvIClTyNaWaq/ECq7lYFJ5bMZw+/k3tiBaTaUqcvKIJSbibAxGE32YCX/77tgjPDHSs1An/PiRYdNqA/pUEnh1afy4EzNJh/0AWzedk0CvVl1BWxostJDHLVSa5YCsJrsrbdLvL/6qe6EDW7fGR7SpbiNTitgtwVvwCrfjXJ9afj4ynmK1ZRzKTwTruFCXMGmGZE4WaR2ctQG4TUsCN8pJllGouGXwAEYMIRjPlRPVDzcBd7NZjzJqPknlRw7uEC3vytDbqzZRUodrNNyiTQV6ZnFmZobnt3CNKqYSZClaRRVdKM5P9W2FtlEGCtoui9IC9QnZDFjyjaDf47m03Vm+GTY9xinN2vl6efSiuAVdyr2M0DEAFPM5fN9PdY4FFkGlY26+HKw5ZgQLlOPSOuGqk8v3RrezrWkHFpopMNfDPvzYaTH6hGc88FLVt1J/pxFNGyxfzifCTaCK+6ZJIsonigl3kzw0SfzlBm7iDwWxbuDXrzTYphlqj2Uh2oOgPPsPtkFxAVWP1lBx1ExYZBbJsycYqjNdBxHH23ixTzjIjhbUjofgM79U0bclj8taca1f9WImTq9y6cEyekLHVg9pdVLgisiiuaXHy3BiE5m0fCZUc69r5dReenXKl00sNuVqIKizoJhcHDrvUr38KFgnE2AnSle6kh4FRLlmehfpU0mH48pQKIzEPUR8DR9EELJ4+6x1F8BZK5JHXguxxOBx68xyRbpZ8Z0wlrIo+g8/hkUDRU08w0pEa/7CgLeMmbIy2vLYqspNKUzMcaLOpe+6WeyXR8akCin6jbYejxmDpsQ9vEF0PLYbW0nCrjyX0jUsijIXgdaR6FaVRqXq/K4SgGEXGAjKZ30pP0eyo04/C+wlNSk5MF1bMZ9Znk9qVWbo+/56y2kG0igl6gP5AjthnhG3Y8YjS9iUIsDevddMOW7O/g5AMHYXsnVly/tbJu+b4M1gBe+M36xfFRubRB17OhtBjCQ9y1erzhCnxhP3qW5UkUYmJ41d3A9pcyROJqN4txlBKDh7TL5x6apJNOPe0VR7haEegEwkET6I6F5kuWz5Q7jtvc0dNcpdB2ariIF0GuqSZUyGLj+8cwrtYOjWYUU6A1694HDLFcYKi7z++tg38bRqoofnf8E+kr71gljjF+gkQuoURMR85QlT6yKhrcS+Jlm8feLjBhvADxAKtpMFesJVURiDi8jmXBt81ldOZg/niZF8CXS5PIx4ZspojVrbwfGwKqK3D46Fcv/w3Oq2F5j578KvgmJ9dbK2nlTw7i61604MkRtjBxl1/z0AyhDtG2Y0A7/F/ldccOPrOhMGV2tUp/6tpER9s8xZEJLIWQy2596Xf0OTw6PgbRov42Jx/9AgewGufczm+CUlefZg8pjJIY8lwQWeZspU2OvmyuU6dOUkyjefvQcI3GDFHrjcv4uXBDqjNwzTuWYUlIMS0pNrtairKr4URam2ebpas9gmsRMeyPUcODGsFkqStW86/Fg3WDfvPrJf4INdQlLE69JW986ZvkaIpXuTxfbM9OdpX1TU112LBiEpnrV/A6CkWWxp8uQ2y/uoluPeZVA2NCW8JQT82opwLEEHdkLg5hKWBuh5HpXUE7S6cezYoBJWiMIFNMhNJ/AQBsafL4LpyReZpTp5CT+EFwvZvOKEo+7sn147Q9+hPnnSg+ouvtFUK/dTnVKN2JO1mqMPzizh9XsmoBO3qaxlb7DM4L3+4NK5bzz86zCzsjkFL4W9XE77U4LrAYGe/OiBXlYdBV95Ngx4uVYE4IqwrcL5QBgzONesSvrafOM3h4qj6IWihkPkCChC/cnACH/hjt3MvSPf4I8Pz6cPxhKjdl+HIqSpwGVn67vG0c1ANPtDHiuTJIwzB+83ZxcfxpLfj0Rnrh4hZ3t1nrVv1prJGW2+wsJyRLIYF9jJdyuor0laiKYfukIlnGIi8U8alLLXkxq4rXnAt4QIWvHyOfRxrKC+8dA6F8znjJVURgfxwHcToSf+XFlRZyDtpxRtcqUTsg2c+DzJVLn/dzekC8/uLX8spowW0HB6N+Pwk7revoVLTmG3bNrcNm/QYMxXlHaghzP/jUbhHWDYNS9jOy55sGA2DRslhf9zRmzfsIv0m4Ajnnx3nht0fRB9qHLe+lfZDGWMteBNAGj/VV7pPqkP0myd4uW8w+biE9+5B7AFydshh0ZUWAdm3bGXhGX2dBMitF5eE5SLJyxXUlWflUIOMNY5ig7mhvyD6eOkRu8IEIkv9jK3uL4QbUk+mflwtS+CJUvY9oAglXABVZJNqwKuvKzfDr2IPNkVuKRZzScT4Ck7DSTelHzVLekZj8wIo5xmnzQb+5vnae+jswZ4z9XSm61b+07BV+QBZUBMWGIbphau/TkpakSMSTAVTXI9863XiwPeBMtRYSY6neGDTOAHcxY0YpG15HTdajzAT0w987aE1Ibv+WApngyrtgn5rYhVEK9HYH00xP/kp21FEyPoZoSit4guSx8lIvBgdGp/lJf1iTYkrOnHMqFnJSE4Oq1CAZF93jV8Ac0rbIjKxrpXj/drIWCTowly+0WRJiAKfkflkoO12CL4pN9PFBhg1o2CgZX3aDnKBCsKwfqWej42fQrW3EGM8O2WmIKsmgCMMOGqZ4aAF/mOEOFXEnxLVPQgfFCRjn7iuLFxj5Mn7Revm3K3qYp5E5LDFCqFXFupH35cD73ZaGTJlyP8iauoQyEXBZonrAzWFm2/XQLCy+e5NKzwAiOSxy1QQyBAmwi6iIwgPMV9ke8jvKIhxC8ZwKHqFfkBiLBRzwH9E225H47dIaoinuj1ZQ2X0ATPtP5R2nk6aapE+st2pxlkfUETmgnvGbokcdp/skwVwQu6/9OmIZ5rOS9VBzNAxxkh5yEHNylRePXwS5VpTUaBsvNCGvkXKbgDOjw72lEn0SPkvjbp2jIJG8mPFG0H9fjPB5Vr8TTH8L1od3Y5HbAXp/uyDDWyWwGR84WjSaRY0rnPgSCzrHzGhNEZNg/uK8gJsbYulIrU38i97hTVupa0Ruh/JzNzGif/ksgxzYixpLyATxJE1nGh+DWJzX8RIIv+S+61mFPwNDqulFy5c63gX3XYvahSpiK6Yr74U340GhQf7ItiWmkKOeeRFcXZqcZn9c3xUbCK1RDhBBvc/wR64B0l9q8nqQzrfQqmQWXLxTh6wu9OdSa+0OzVYHbCcanBHPWsh3YR0Z9QvqFh8UzRCRmZXfKnuhhYa5Ecet6K41jYOd4PXuvJWl+I1f5ssTDLScE/o+u/Qn2uDKkxzZfTWgzTH6DqNViq67/l+YYpmp0pj/IMBcKLfDHmbN7tnu1lNEcdYqYbalsE6936bPAtYK6bE7l4pacljgyYbCLHFNmBqVdPJ7bp4NTjMpQEs/f5VEBfy8+JAbampJOlPKvUSizg1XvLlpqdj/OTL7L/1F1GGDyvhMzvBS9YmoJxZdtuVNDRo6JP7b4AtEtQN5Xi3qRZF4PK7S8nEVbcUZQXxeFFU7B54qLGyrTDbX36f1dICTu951Q0e2/J7J4YJ65rfbOLOMOz9ItQ5EsioxT1RJ50WM66HlIXjnJ1U9yOrm7zn7gC+egR3MrBMMcXuP4oQjCZYr/tYh9wq4X48zJJsK2mE7COhz2YPetLsKM2VxMRVg+4sMTN3yZ90KbV5uQIZ8clMmKHC/a5EQThP6+wR3ASAuMngzJsTOGUPXNzXcEPtpyXOqDqAriVjC41Vaywc8p9ilviFb+NrsdGHbB12be+mNmwGKUQ7z2NaFtzZQXR31Jg53fh3JetU9jIL8OasGxRnGC91AHKgd+XfudJ4xwJD+2ZRr9h6BiEhggeaeeUKbf1dqYPnJ8PAjgbMFa5AH/53FFwbruI0rJvQJ/FUWSXl7rCMzZvKGDPYE/mGUqPKp2LQ6fYly/nHvuin5+8pFf2rT5d6xR28fZ7BBqTN+CPaCor5+eerhhjd+Z0DTUbmGHlc3TcNV83cCXj871v9ssJoozsXDMwE3m9LUF8RqTPfIiTh2ket6ws81pmrV/1/cKppD7/CH9X2rbwUyJ/lobY6mIWgCxK2RbdE2Z7Q8UV/hnQku3Nw8FJr0BLS9U6b4CGAQkTeJcHiuMkoWTekyQrp4amhbu+SzTAvJYwfndPDH0aC72x8DodjuVAUvMXhsJVH6PJx4onkzqvo3IGpSpnXDN1pTOEuDgFLxTzQTDZFVOmJWPibvPMAepoO/SH1PigN1Cf7IBbJQlbGoFmJMdG+7ZGDhAPx/Y7Cjn2xCO02o0O4EDvaxm12zR2PXwqVhj4mmhFErSRVEzzN6dvOJY3yw37bac2rCzBTruuylbKK+4XhmLFPy0QVqCTDadKGD3gwoAvudyrSpPTcqNInloP8DNo354IVQDPU4VauVrEl1PfQP6ArqIb3j/V/D0OttCJrUenpkaG+kK767ll9gCoRLkvJz18tBaJavBkjtvKgkSZQsnwYiHoYrKL/NmvChHjFFYOzQeaaJSs9nkDjqMXQdHCyCjQk+HHMJQBUHyGfMLzN4eH1eL0231A1Eo5NfYWhvpDtfvTD2E1hmp20guj5bIrb3PCLq7LNE+vypcS/TD/YT/tKaKHKrDHBCqXvjHvGAp3tGjH9echjnzM3h9Lh/QFbKluV7qn7hMImski24IFNmESP45jgwUc7l11wd5KRbX62R3Q8z8KZ9rwxzaH81+jbg7mxMnNugJTIUuPIy0YIGKIY6+hup5Te0vWtYM2zPO11M9vmFElyl9iTr23Qbo2KoxIcej1ZPcPQVftffdk9nAGS2Nj819LVQvXd32dZcejSWlIFoapdQ2TZlKIFXLdUtekG7LEhsAA9CSbzySWZFUr4jUMIDbZX+7g9yJ5NGB1WEMbaA4snaluvc6rqzmhr/Wrr0B96Raz5hmqeD5ljmyF2jWo31J3rgk052FqL5jz4LLg2xLufhQc1f0Be1mtEHxcX1RlFcSKsmyv0kXhX/65xlZdM7EaKvLp8eocfYkb1NregyY8yK4lZs+pLrVmIoYAG0KLUWkywvzo1KwpunOf1pRN6wKTuPRxP+xX2i6VL7gPNLRf53UBWFuhI6Jk3iPqeublBs0T9ZWgfnG3aKBJHdvBew6RU8jG9qFO/M4ZwxJSYm4mdxMtuHtDb2xJd3gph6VjM+LPFKpPhqEWpBhHyMJQ/qEby0rgIhzicgjUNgUKpgjRP1ZXBGk/5/SyCJA6YdE9nb7Ch0+gDkkYZdzdAfgOB466B5RUdtoYk9PCIFJ7A8tMz74pcqoIKCGdjg3+JrwG8vkByWE5oUVSBWq6R+jLyhwE44kDYgFJx5qFjCf4WVphcrG6lw3aSOi1NU69oGcW1Vi2IwQgyySW7BWOVgvGMtMeM565pJ2H2UGUuZQW9Ep9oqBWkoFBJ9Sf+jiV4hZx95zQ1wFlVdfuXxH0rp6dy9gA68G0h9S7SPjKuH8YGEIJkP/oAld1Z+qQZNBp7Y8Cr2E08KMmffmMDwB0wOSb/LZt9hGer1zDt2QqSXZ5RGdA8+3LoK1VEkgR7eKt3l32fI5C+21qrsoBFOBwgFTjvWJaXgpbu3iSOnMXDbAr4YlTm5YHgFkeZUb6rIYlIP57WLB8IDPK12sVtzmSnMYssuevWhqF8/fvkRZGcfNfwWFe3qMO8DwIJATSiCZkM2i5HMOOBOc+2Unj93Q0cyNaOumirAP1zHoroLjxyS//AarhYuM75OB4MuZinn/YZht9Av0c0P5PsLFgMABz5/yCos8lhhyahgnIdBs3bLPDbamcKAMRqPpKnsAJtDFPMR4bVpXo99n9JFfL7ICon3laGJMwCaHykJ0qvye3Nb20PdpGCxEbc3+hOYp61g8r4gpdnslsNr2ZhZhkmXqR2UPDDaVEwAAvUjIafAaTefMblou9n1gsWgolNBTVyZVUwmS6FZQ19NVOHOAWxhtV6xjBpRixPdkRk0Swm2oh+VFQ/2o5kvYEiyu5JhNi/OJrw6Nmbm6YANdJZX+fAoXboi6xomuL628BU5N4C2ImqPp5nDeiD8nHioM9zqdsIbogxzMfJM57/yBhmdeV/vTh+RtGv0Sp67i7kpVq8W7hXc0qnn5IQ93V2lYHJK98xo3fTlM6bpq+zW6fne58ArgN/ZarfYzBQuUgS9OUXrzHJMNTbL7peSPgMjjMUNReW6nNLw47fMvZCQg+f0LqgcKlYu+40n1/rhh43lgkWhhC4bDxVAHnAlnMCIfGIx3utr35GHWanTk9AdHBtYSGacWBvZvEoBI1xLecaX4r6pYpUCKU1ozJoWGAXpfZ+vYg52W6WY0BBq8H1CybcFkdrQ2qZkhKQQwDus8fwrQVWxyz3aCdvR43xv83E4fz4nJVLPvgtSlf1GzfrmFtlcUEIzZuALctUMWBFOd/D2BPe8hp9hkKUaDGa+bo1mIelu5yYNYuqIm6S0vUK7hlyt3TWyJSc/6FVAg37S9IbjULGLkU5OnUgYeNA2GdppMbDFLKblEg7/T9XN3a7DMtfR4N3MU9W3FgoaGEo6F76sgjgU+K5D8zG4AHYwiA6RzGA13zZYITMO9SJ4PVjYeVNvUaJBRrkvhVD0nrIUtj2u4E0rs0KWlZ0qxAdSTL4mfN6iIZtP87ob/zAN8zb3pAdLwW8GjkPRKF2yiihAd80rNTWT61l9zbc0/G+Usl0OMnuntk1d5CbfrFI7Y5FSgNyQlAvcUXFPKp7enbSNnDvUn6fVoEyYXmaiiLSNqS+ErRg359FNeW6cicMtgrRY/1F1gjshVFK6DIr6n4hmRFBniILBffC9jisERZgTr/eZsfR04RAiximMYQMjrgdZoJh6lvLHuOXlMZ8siQFHs8Ozael7uaJptdzczEc2PM/PwA1hd9EsbZLApltm2OmGEjuV4eW6dleikPye9ZGxqdc9/dangg47yLJt+xZsKEpSSKYA8rxXvgaFQ3I/IPmgekf8P2N5XXCOr6eUOlDcmJUbBa3O7gFLMrqS45FRRUxYfJ0aOpAgO94NGa+dC1kKKQ20emgKjuDlpDs6HvBKZBOe9BumHnKfSKUHD7kj57yXM1pdi5CnPUWyB/wdieEoNoOEzimg1PCCQWxR4RVVyUPsFxQBlXtYIqprWFIZmozTX0E2TgYva6PDrMDljo4CmSR61M7L4O1cIr4Nyy3iFIC9OoXLMX1MGLZ58R1adlDbCa64GAdW5p041r6gy7I0pLZGU8uxclKtUSVYng7fKBwmrC58Iwkw+EIf+QZDb+L8rXQAxrHevw/X9QWJcydT9fnkt1kgRpNn+MqUYUQye7B2JzP0raEeejU7bd+E+ibioPm6/v6pymC4VbOAZDxt1eJFdJhVYIpJRW9Hvi2WLhFw/fWILmV/qcIdRrvhGWeKLZ6fvviKT+ElOyldxbdkw8fC09/gfouywJXfykKFi8AHSOXt5ILjPsJNv5+f7CRvVyNbVUtNoM66KUK2CDvxEaIQVH3p2H1jyT7qNPHTpsxlB6xHLZ81CtQz9tiERcxGF8upzhjqNFllywI8zGH8i0fUM2VM/lLJ8xj1AKSkcu+BzNGaCNUdZjE9ydLQHjgEzYZnk5zuPqBYg+cunPHp1z6Z8P1I+xOB/FCjQ2ywEWA9xffME88QRIkax2QWSNmLBUNWEWVhecza8bYjrexYg9Ft2kOF1/56XVP3y/JUa1S1cFi2Ojj6xzFjudOHaqSxGqCXTU45l2FwOPMo9k6oW0A+KWLZsX5gk1irEerWihgfuyeu+caUAh1yVtOqKTHhX2rrUXFWjLLuveKg3ts9JeE4UwwQkRyXLBOkotSrjHpkvAH4NrMrYvhKHHwRHdD75E0B8uYX8WJTUEXsFC/dHkHRopUEpoz2sNhGotQQtHqUJ8N9MjGjMwT2NpFhjYMq2/viRS+ywMj+3gJTrLPaD5CSEMHX6vPAEb6snNjBx6VQhb6vcVrADwbiIu74VWFOit2IpPHZHk+8OkSswYKJoEp2tEBC8ewZrlwvZt+aisbjnCPnHTqyHFhpLA4Pl8fIJsRgcASp+Rm7ZT5szBmvpIDIjfQ6Bo1P/GgVPoZMdMyUHDy9agmugr/CsrSNbFsFg52txYElC44gO96GOR6Qa56/hTRRA47WRFPsZ928UWSraVrLnM0m3OqjrAun1nyrvg9tC/0rQ3onNp3DrAOSyV/fFnNEXLKYZrKXP2P0vskbefTa7O7vVLL3adARPzW5CBjlBx24t35w/5uMH2MYw4nxtRVtx0RcYBOXz6mYxZ7tndBU/+P+BKQL3jE0LBFGKzbbIRz+0VayZNy+J4F7IFAAoRl2yBWfJ465Ts97NXQqoyQk6m/9X1zr6n2wrjAZLGS0oEXin8HYuw9bTqTX/DW/+EOW95iFmA9wAwJIG2/bSSp8lAsK3fmtpFbd+wjj/uszAHswZrdnwHTXfivCK+LihEyOKBfXJnrp1KoRDnfgn1lnB1BcJB4G9AtcTeiBDOE1IM6sGa6yLL6NsfLPxWsMpqHtyAIYJk6iu1IP4ZCntOJXoeS2rlvOg7EuoRVp4DFY0T9Tlb1Eidp470kssgdfQeEyzQYVPTigOdaW0VkTMxBScLLSlqD6aY2DgCBWLx1rMTxuC4Ey62Sr/QrKVca3bQNWx932NNrDzGB9Iv85Bsjn0R8IBR42de0kXnottJlhKGwgNlGDaYL90JBGKGl1KiX/vupM0SOEI+nYEt6xiWRpwmLXoN/O0ZVwCL/IMJepT9Qp9lD2Gfogx7BCKmeXy6v+ylRcAD/cd3VgD+nD5BdDW1w6mSBXA2cgaoI53SD0CfeOXyGdnG9uJEe4ZHdIzLsnXtLnk9w092f6vh3HGCxaKjH3RkHCRup3ZTgXHTeE4YOXCw1VIaAUz6rgGwR+kZLpZfZ3Tmlj0CoCTDgf0HYTOiRXBv04mE/4bn/BxeJ/rdFGQOFxXbpJ71UqtMUGHSNHiOEoL+auJP0oadBgtCHbsSsl60sUZ3HzjJoS5QKaAOCsLfc+IMtEUktgWqSHwP/o0mY9tkHJGHSIgac9VIBoxg55wv7BHaMm3WUY8Sjo8i+aZPbuFMGwLI8+JiZ6qc5oiQ+XoRYFmXXO3g2rbYAieYD1L6IZDLZX0bqjnaB2U+i4sQrlm3b5QMc0TL1xnUDCr7iZ7qPPXNv2VpjulAqXTHUlBChJHho1wZQEKyYtnn8WuIOr3TM/sowlaR/rnNtLMLsF1XYNVq4/Perx1YtqJytxTnr233at66x2L/pw8a5z6CA9blaE96df0pgQR5YF2hLPlnQ3Ut5Umggj98iUE7Awr6pXP+2Y70oOTQAL1pNQoj5DzCkRCMbrHxYLoU3BKvGr4xIluT6WCRDmP6A2zznkhTY1ddzgMI5xNxmNq89MKOqwJToBl4cRHDsY9Pp+wQ4DWpSFHz/lIk6NT62Bsdqtt+aY8pG1+4cWCO7rn3eyttNZiP7mwiUMXEo2pUWb4T6GPn4qSlYl9ECnMloVvRNeQpz4uj+ckv4nrj38ENIFs2Szja/DbHAtdUi78bmYbeHLkIGgc5LQjl6bM/pEG7ddGf8N/TonePpqary480BxXcMVsRkj82nsC/AvYp/o9aMsNDcb2Knb8R6XWH/aWQrRhzVgurFWW/Pwv5ZvW9xlQy/Hr0PVWucWKLP25MVBTkwIk048RyTtQKWpZlUf1sQ4ukhTlO62pHnR761CSPfW6WRh8GKsvKPDq0jlz+jcm+pq5UBMrt2njeG5lVhJGeMSEc9jYA+lUPr0EcttuQapURfP9sF9+z9LCqSe3MQ1VpawPH1RwJjRakPhH9lbsnZ2Lb5ooT+qp7mi8FY4ntxyehvQEUX+mnPjtDibP1RysGzd3iF1jOe7m6beCEKmuTZSdw4sD0qm3ub3H10cW68fZcmKoJNBeUaSgtnyQ/YNYWhfURgWyefo9uFsVAuuz3jMq5EoHJTQgLla2kT0mGDaJcIotdQMmcYqZXE7FucMTalsQXXsV47qZkAJj40gozLZEV0l+Sj1KhWGooJYN7ml1JcMMak+88RCov+ETrY2mo10RNNIpaXF/oi52VMjfK8l8aPGLeBOb1uL7Qjobr0Rbzv/wCDHvKylSj6JLmB+K9rtnhztUpTresa9JJ5oWMwlGA0AddUAVJB1b/VUFliH/7uyNeIq+GhQV+UtXgB+cxSasmG1HT03lc+rK5qmtn0tIl4Bxf6xeJGhrvZZ99I84EPlLx0iNg08zrzdwvWq0h1mWv06J4W6Cs64Vk2yAloMv6grzH49o/z/0tOZ7rvZEhZs1VmXZkqCEqhxwUXwfAPOI3XO2sJRy9rS8aJpsP5HgDi/oD/Hapc+9pzVO0Lz+w5BePQlcTECgVWV8+rpeeys0R7yoGNK8QKRwwElh+TaWyC5T0IGRsLbgJ0aiIVMDePag5jAt6XMNFUzhb3I6sm9cutTkR1QgW4Ql54zy35ipWWUccOqgtCCQEjff2zIewdeXNMeuHBtHlSr7+8S0cZ2Ec2BdeAWQa2EJHY0EnvtLmgLqRRff3SSV9b2ExT2spqgpQM5VfOr0gRG8fLdZLC93pwGVymmnXLuCwYG+VJxOF3IKNSgiT2RfR09Zu0RhhBvhA/iq08Rg5PNZaeGdW0K0z6JyFsZqnR9yRPwvTjmVTj58n8SBR0Y2OSAnFEm0QUSQTkXKZE5hP7G9BMS5ZoJi/PBmWRx8JRBqF3YAOiYgN1vjVjyuW9yf2R/xuDOnAkKBx5G9rRmlQ0cuEKGU4Ln3dHbsLWfHQBGP0yKezeqtAaTy/cQguAVOEEQZZCYw/MQC2IQc6ckOywBwpwB7f3U+TwVvwLpS39ZxV+Pr1pyopG+oMdXuxk+Vba356HVAE8vFj8qjwOHyGY2WH7Sm4xvRqlPIihbHqNPTD9bkT/9qYzpIDntMeheInidapEHKIq0X1RkHTpx9ek4jg1HouLvWL7t88BgqsV0QxsrQnjAraG+a4nshSQhanemkjrxEuDCUIweDkPjn1pvEaVIVfQEJ92iR69BLmqDYyRtDojr8u2PW3IzqJqlOo4iSxFlGW/7ryYdlvu8en57L8cV0DSyqooP66erfOimwZ1k46IL5lDmgbbMldVhF3T7IoRcw07Rdz8gmgQLfNwXfeWiryrdOic9Ki2vRhrDifF5dr2tPGQQSQIFvErzAZw4vMPQrBRp8gQ7iBA/ZKVdrLE0KBeAfBgzSovNTGILR4J1DpmWTpOk9M9xsl+h0W6hZfxbjRejQu0t1rZifrBuVV6J6Wz4uai1WIgfYJ+XR7VJP1KZfAKtuGOL66X+4K1QtzbdzWfN7uS2MR95z7BNDxVNbxhcKAAA7qBlmCXEQ/Xvr7d5vvkopAaX74BAt/MmGbkBuvmrcghzCpKIVPfRPstYMce6F5gGUj5SmWNQd0VqLKE1zaQ2o8RPSgJuu5Pxu7rG22ZOTbFG+JrGufqhcPGMnR8F307q+6Vz06Y7fvTLPOWUGR88gbZEXVHSW5rUvUyLAg13ec2cKTI8HxdLEgIpQw7J8bbJhbDZ0LUxLErC4E+X9p8k7Zbg1YnJ1JiGZBUuRRGqKpWs1JwgtsicUOuLPKvh7Dr2190Na+d+tXbZ1Ee4baURbdoUx/iY8/+wVCDasPQf+qFbY5LvlA90EwnFqBMs5VfobhLrFHrXQS/aRcwVcAwEGuu9qHun9qpYdQ8L7KWt1rrzYT1MNxHVgnr0voHq0vdqnioza9uLFjze665gD34hQp/EM5DF8JjCEaDJggKOqM0jiexAik6UUaObQVHtT2E5GJB0jkvo9LB/rvSGRMl/stG5DwC5/RoEdDYmkIdlIU8BPzlPw4hq09lnFvrj7rSAOiKqBE1TDZY8CcXMEztD8Q6x0QFPFyrMGN3chNx3OcVlrxJo2FX1U3jCyKU/KHjN2bkVUOKV46vvAA2V3RuHvKCp3LuPsu5PLIX5bT119VC2t5Klogtr5GmlW/BR+xIJHpOqaRGYbHO1PhIvY7qRJHDS64rGKrNdzQUNTpYP4UJ6G0ttoi1b4c+uBPXfu9qfJQurZS0lmPI8ACf8x7AtAS4Qey0cNJgHq8dalLDaTYbvfTCrNHwoGdp9turEYA9TGZTZ783lPjGDeVZHJh2erCTw0/VUoy7eT7WoHoovLgPlMxyM8+L3mCn+H6HE/hhEKdnI93mgCymAsGlqUK3ipqQJkFfEF//h7lg/BvE7OjE0f0bvD2xvE9t71dGEltl5ti5rsRdSGzGyrl3iEsRaHYfkAN6fKaoE2BMmJPyhK7dVRYEzU/btaFty77lopaDxptC7kMmhOJBfmsHd/YKEcPUCXGKInOqdHI6AV3743+zZ7sg/JbiyUF4f89ldB+cenK+1obR3k0Ffql9wRqgcMBvHRWsI79/hn6nqhwVCvV9yyZ0HvU5j20D33/UhEt9ILMBPEVRjNtSkzP65pBuc18Sh3ipmp0ktXUM+uFoffnyLOCRgUj8rJ0O8KVXMZTQHQTOmpkJ57Df8TQ5F2z2IlRLhgO6VHDR9Q3KZyGIguJsGmIOhFlDYf7b92MMOZDRI/OpusMEnO1Mwzc+l7U+Bh2ZsX6Dwg9LFdlBI2ze8l6ABNuBaRtim5dtt0PT78OQeMkVTkdcNgV2gh9ZYFm2jGh9GHvy4pQX9hNFccpC8BX43aeSaJQuqJbEo2c6vKVYCicEn9P8/qITEAdjLTuiEYb2BnvaVGYxO1KaKX/AIwwYVwxu9p9fLS4sm6co/eyvEy2wRVru/LLyzhI16LtPpG8Opxa/RGWU2F80b9Ap9QhDqV1MCasA+y94oM0UfKjHzVOAeR0HTFVsvpPH6tjnc3Ccu5QrOSlDRBD/S8XyRD1f5vOkkX7Tmsy849NJmO6y/dVlzm9V6DXocERKkrv7YsvbNJNXu8NdYzF2idGL6WyBAJR68Bp+50oKEmsqUIVHyW/HT9BIwFd6J/VN5OzMMDptQmp7UEsE/FuPINLjJAOLbtt8fvw4BNhxg9vmltIFV9ZzfnQtvB/7gyAdNr13qhQkKt5nOePlDf8aNvG4ceBbUv1dlIr1wjIviYMJazIA8PJn7W4ppkChVgSLOS/ZjloWDjCS4uxm56rErJfnvMuqYmcWRhZ1mbhM3TO5m2Hvsc/eAF/gg9RcGgTrL1FvnV24XoLmGSZ9fy7BvJRZRLAncarNllUkDVyJ4GxPXsdix1zzf4MrklR2nDcfTdmZq2K25qQYUSYcB1kA1imK7OxpHhveZEJw1rQx1O6G3hHEUdVQKy0BY+TUO1cnoqIyQUf2zNFR0mbdMrB+az3fZ7LjKykNqwKXlqGUhfbGd508j+eXROnxP4o66S3YgWo4QcDd+7LC8BCMB9cHHO2TdjjI+U19i68nqlY4jeS7zHUBpnhu/joM4GPf8Ksxkx2zCtJj8mp8yj3cROwsKLbjrBGgWfdztmpxLoHYlqW4GFjiAusDrOkyKxC/uWj5GrllLoipxiNk2iCWk3jiQKT147u/LJavXEr0GfuQZHegIovAkzJl7HaxgTJhcVg9cVJJsL5K7dX4fRwCF61EwOSo6b+9Ux4R5J55BOkbhoztAzSy49BAleEbF3F1aJwGLi9G1CO2VNzhHWBR19IBIR8D6P7EPf+/I1nmumOZVThDnbKErQfcsBLBY6JVs9Q9ZoKUirucD+YXJY/cMsSkx7WwXHvSkBHGTBFFvHDvaehy+S8hPj0PKUIYH3t9hwyTyqjFmA/hW3qrwBtQbm9sYLZgH8r3HkVO+/CHyfOYNK2a3JkdBvb89b4Aef345/u09q1VMA5RIvl4cK/g3fQCoSbx1KmsH0jdiah7BqLA4hkIr92YUceCMzJkFJTd4ebIS0th6ZwS86Da9vEeYPRLAi+zscgUWxVIUORw/xXiCVJVzC0VdnSd6KkVXv5D4I3sk3JFBudSpRkzW9sPZij98QlokcIDlilhvIIETprxmqF3aQ7E3l6o6Pi9l/U3aV9kZ0DRkYdLJ7kmqXuWWjanifDw0Iulg2DyDflZFC+/kp5ZM6eeKJCaNRW/spTaVcRynigmM2rFhVC9rB6cnAXZiqwoakSVqooMz+TijxhcAl0I0Y8x/t9mfz5xriUxlGNwVeNw71MBKXqgKCKxrCZzB+ZUmjJFKBXPs7JGaRUOT+4URRO+Onok6xk/HS6RDs8DNIPQFnDlz6SozUF9C3m8XjUkj848QdhW0k+WEGd3DThWnLZsZ0qn8424UBYiUvIDrd20Za36kwi3mZMK33fxqGtKrrwOzOBNVyOmlxiDnbYVRpNnRUcJ37PCWP6fJyE4xCFgCFq5mHBJxFY3hEI9YNxhE0q0FzbFmb4qY0AIz7dwRy9LDAeetY6meyH5vXgtsG2Cs7oNRDm/h7XxwYrNCC8RDh5o+TYXZiUqMojlZuOB4NOmYZ5RRbj7K+PTlkSzYrIhjCOJ2AprFMcCC/9J8hUWve0/Z0tnCXZ8CkQC5dOTT7H2buAni6ZmmScEzKAtI6LVmY50gpDtcleOfpOh4tVZr+AUJnxecoRdQ52EKQasbrXqhOe+OESECKZtzgzGQIMOB8RgFp/OI/En30kbV9KzfdHNKHrOSbl1LlwxSQcq5Q0a4GDhBQEMNoNf3bZslDHKYZxJGrcQX2Ok5zAvwCQInXkh/A44z6fjDx+xxi0Qq9ZdwZ0/c8LawNYZG/6iirLk8swWp7SelkqSMPzUKmAw1qOFawXgY0OAj+/MyCyt6btXbsFdsOIiBcKRrbdw6i5TPOyO1QUPPgFkuIt4T1Q2g7CXQB1I5TtwPs/PEs2a7VyMMGG3n2VMDDu5/CBWgsWc883qRseijkFgSJqRuCx4cJkzYQvcK73QZHPGZ1NMmMjA55a4RiTWvUg/H63ZXV78VWPesBBqlYD/95zO8z4JhByySS3g4wTIJsxbKMoNonXZ+MPjcwOFhET4mCPoO56ieYIXPDSRF31iOQUDT5mhZMZVanHnDFhAFpLZWiXRHwhuapngXHV2h50rRvjsBSmLyGl8CLJn+aLJAbawWZc3W4cRxVvupvyop9cwY3702UjiHPDFAXcafSIpedVZqGY7VOMCRoo3DKzFC0dYCza3kttyt0GORrZJbG/DvVFfmUUb10tUfnHeHWfmVDdZ48MFUbfYpj9QChQCe0ip2REIvYfL0KNmZ1tg/dukO2u7gfSBdwO17V5B+nUr0LD6xxTfiuIHzeuHpxdAtSIO+iUmn338ftiiZfB/jAi9SilgELmli73HZTzwuKJwx10gvVDBZ03QW+vIDV+WUTs/lOUTQpbY5H2LiO3xMM2JLywjDgGxQWqBFRU7HF3okrrtAbOAbGeZaqj8fxwsrkKFddpXyC26YEeZHPYVCXTr2OCbsJsZ/sv/VSoYs3qRMpASoC3+s+GwAuxIB7qmc1EVNUotKLU52L9r2a+7Hire3kzHfQuWYM8yTXZqB08P1wUAk6K+Lk/sx2eDdqLqEd+nn49FkF70ZSAcdJqLspEaqv9QlJvRgNLTOfmJLrut/35TkXKLmOgHOC0R0qrnasxMtKgvvP4VkhiKZspy/1BNinnE/gGVNPK9/OkHHw43zGcUcqnUa6q1mVX9EfHaqB/cPKZ4pBDHz4nMm57CqiytEMQ+zvptIih4erCFQxopX4APjkUw32r+QGTFcfYxOGByvbwpSfn8XOGA2euYJbcaYr5ZstxyWVJaijq4yuv+hSjwCfyVABHVN3tZ2XnTzMRe2UoMm06UC8Kb2W4sv+lLF+QblJBr/nzM5K0GBnUdOfB61CbYpF1O42i8iE6nda2yMMiJmWD09RZVDlaD3rMEyo4HLDvpOHpzqu5x0M5Gvu1hI9/vTeXXKvEu0e4qh0r3vqeVoWtOQTTSY6EXXc7SCBUvGK1ID7m0hVuWFrDc+dZBebCiuM6Rbk865mUiXbu9Md3ZDnz/dbjDfEC/gu1K+bE8huflCQC8aoxR112UEO5VVVh+J7lHHSuMu4sGTs6LFtEkTq6a91e92EfDKoTHBp2+6lGdvy+FRmBooKAb++6oQoKsjtkYFWjLSQlgMTzZHP1+iptP5ZFuW2U/KDgTgD42sDFQpB5WOS6CeRkKiJoaFOz6O3mUsiNqw/wH8cOrCIPOSts9wU+ZWTJsmiqlFVBHTE2NeU20imKVkxtTHq/WpMXcml1zCzxd+u5M/tUdrRLkhnSWQWDl1S/xevLMT1FVKdeZ027YRTtXWhLWhqrlcikE/c+qmjVmcYex6ISbyKGQbBxcIpgTAT5quN1ppG8vyfLqYw7H7e3EyMiwRLYRxTRmhrxPfLC/moALK95Qhe14+mHHja03v4INo79xeFe0Q5M5COrUauY9zpiRy0C3HZAuXbSIJDWsxxZQPVbmY3RQ3nZbR8k4dEDY9mJ7yw06bbc94V4CXJ8+X0X22cb+3G3PPjPC5RVCGGD/x6S4rdBF5aggC9pr9I4RvmswpCZGYTa7aQtLm77q9eLj6ZA+EDxjLvVBYI3mzYNlpFscUo+QbB8MFimBfIpeXYmY8C44FRhHdvlehtcTZEvlnCKkWUwpI24+KqaeWnjLWLRoOgkQ5FG5X99mR6U3sb79cThgGn4LRBmAmmhyrR5ExguAXQVtwHYJaUiRL3ZvsJetKcbdoyYi4TvuAaexyiNCilPqa94mRKOfh/A6EHMmX2ORjm5BKcgxI6UL5ifcBWhf3ulCzJ+ht+UTpkIZCV44BOrrYzZzolILGqWWKKci2oaqlxMm8wcfb+QDYOYuXT+WMOaaO8YmUMPyJWt/RcH/d3YQdZ+yBMTCu+G3mlZsuMCKO7herZMFlqKWKF6QFpkZLrDM/b39KrR8ZhCJ/NsWilXfyQluLeBO2KQjIUifu1RlNAFOoqrOlsIaF9DjeqpdOUNlCfJH+d0VS2voj4/sYWpFvVpXpVjEmafTF1NmFv793dBIgvy0bssoV/r/OyzcLAC+26XlAn7yqVTIEo46RNFEvU3Q2LAjJUBmaSNkkjdtj0VsIodlb8bKE+qQxnCnrkr2U/igWq2eJrq61EG8EJgUMOFCk15cIcoTKFyRj2+mASwGVzw0uqxLngWhj62HrGbEtJGibm2RRiTQsfCfbmOibK4Ve0+zXiNsNDI/tRPrvqUelFp2xeptYUAB8wFOMLph63xclIZtm/0ZjizXZSsvDmlasAa3GdC9JBPo0YfJIQxtsBj3nkStXFxDll0qP84UdtxcTqG3yV+pfPl5L6lwickKEXcX6W3d/ksVxCMvcHzatTgr+ZNTScXqN73s1JerPE4X0P33bl/2HWDwTQ6Bviw1zVJ4FTOnhkaUhHy+mr/FHVjlrDUKy00ZPP9AYHkn3s7H2c8OjsZJdzk86MyqqcWTVXRMGaq6+hfd9ehjMhiQ4NrIfGy9o4BqIwL9YM58L+fMAIxzXkt4vuLwaIFP97HOWc0mT8gXbdyJjbUW4oF0cI1w/AV5zZlRirF0oWKu0vHnxmfjozTnqX6G6pI/UqRaUZPGxqNvg58pkP/BkoLK+Wp6N/9g/KzdZ99iIvyKanIu0aSL1RBbqxDOT0McGEz/qQGZL4eCFXC8NxO/+qYGFDwzZZ9j73rMZ5imDn0xulmH6JlTjH68INgiAJgDpqqwe3pHYvJfDYVLaw6kPse0DaPmMjuiiWl5W7GBrB1yHj3RVTSW6JD5gIHoATWx1dtlHYKAR8IhQbC8ct3Lq3vGK04DNrdmnmnkoT0YC6VYdOAbkhM7bqUs2I/XqsO5HpDDIubWOJYQzNhR0043ul1dpkQt0DE2joAQ6SZKDR13iM1KDcxCDJ8a02kqFNOmk2ge8YwScMTuSviEYN3hKrHEFBjNn2jx4l1/vNR4ebmHI6v/f8nFM17w0EbbMb4BJfYG/a24UxooRgb0b5MxzvbPjrzwjYwxDqasXAia5PVH5vDHGvSg35TG6XNacTa5RnAzQYCp8lw/kT/jy+vaSpEbYUePsQqXb/vsjf09rN/PGNyRx98gU4zni6vSn8iCcYzO3N9OSg6YpOH5XjDbK6cdT0g0pQdOhhe0t+Xef+oMaOT+ED/wz2yRCQ8wYz8vzXyHGOnqV9c83V3EjE0/KqXPN/lTJdkMwtdZ6wc8/7PwL4WPdnbJAHV9ORcKO5K1Pd584t5Lq1AWvhXtKyOH2hSZjDHYHdAuP/mOsC/lowCIY55d8Wnq0lig==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MEKKOXMLTAGS" val="1"/>
  <p:tag name="MEKKOEXCEL8" val="False"/>
  <p:tag name="MEKKOEXCEL7" val="False"/>
  <p:tag name="MEKKOEXCEL6" val="False"/>
  <p:tag name="MEKKOSAVED" val="1"/>
  <p:tag name="MEKKO" val="MekkoChart"/>
  <p:tag name="MEKKOCHARTIMAGE" val="FILL"/>
  <p:tag name="MEKKOXML1" val="4HooU0THZk28POP9trq+pbTvvzd/gcV8t56cq85kb3NDTsUhojRA0EsgEHHMH7oYP1SYpn09ysXVivguJdhTvfyVMsBLTGvcX7WPTor/CmWiWcfk2RmY+GE6Q6T90sFUr0lg9IPP9y8umrse/9AoLT5R0GKq+XM9pr/aTyOTf0wptcuHbHxeyqBm9svU01qeeEM1v0hpSHUgirOnAK/wusIis/Dw562/ylZarflkzpXsotLVJSCrZYtF7RsGG1e5iqe9MG7z60qZK3vpZqzyZtFVBi094pZscNmYtOyJ+gEByA1xH7Bj2c36EiWyuokqXstVhKAMzqEl3qnbW21iw6HU3tn9ZxBpH4S8SEaZhu0QvZFzEZXIgJrA6kzdz3gNSncoJE/L52VYKaKFV4mp/9oA6bISWP+1mS85QsPrOJND+rsTsHH3+7slVdxGvf3GMwTXlTPSPRcG7+87yoOrmULjv+CVsAXyV6wo6m+2vx48IUjehHx7OA5QoHuQL5/vxIXCU+fi5VUJoSyKvqO1ZB4s5RpOBH0pcFM1FeInKvhB1GlWRPzKZ8F/5DLkwFBPM82wmeqIGiwpD/HlNExKvyWkg5/PW+yGC8GPgPiFY3NtIggS5TbWAPvZP8CMzTUFdtRcjxKxArMbicbfbXjVO7aH6jmYdPMtiW6D6HYBxMYQiev4mywX0cBl9QOjUZBsX6fTGQnfG3Dbd9rQ8t/mUfKiqdFm61W8OIg2bh/bhsFf/r4S5BELSRk0ykjWtIUtuHLOk8qSV+jeYfsSO1505Ddm0CnAvsAFLTgAEKnPZvR38j6Bk4Zsok3TEbGFpuGpu3gRjTnkv34XMk8xkWanxTrsl2sm6QXaFYrXtZXMCvCKDV/bQNe64OdHpIt8gDY+9L7xv9pZRexu1KbLhRW7Avi2hkZrW3BPCxhIooRKyKzT9Zo6O4Ue8p+P2XdE14KtQnZXAYFHmCij9eWD11ArxH29gpTu4IxbiDZrJKgSeuf21C3Yo1/IyQSMePO2AhArDfP4laqJYtxegw8faeFvyhRL56wrso0od3KxxcxXxnbT7EAjhHuyJkKwNde1kqY6aewOJsa87QqPDCHwfF+4gbMzt7tKd0whZK4OVTp5q6HsUSYRnOJiH7X4guFGzf/66RfVr3oISNA/1z5rbOBQJuWGQSg+u0hinH3ZADYBPARJIsLGfk0i6n8vNsKX+jVt1JAmfDnVOsqnyZCxw8Ce+jTf+b0AdYA9rRJKq1mkWSZT/Cq883/gPYH5LnpcnRFlw32AADEY40Iroje3mHA3SOiHJwJfkQ3KMlnJqgSbKPQu5ASAZFM6tjwcGQyuBJD1Cd6q0yUKefGMvujvtAIWVyjJ3AF/2lWKePYoRf/qVCPKfV21Wxo0zaOjM+J6TDSm2WFbvVb+hIR+LRoHbJLH4w1KRMJ1RESGHRAqOVZYTS1CC+hlInskGlAMVJX/KbMh9dVdcBqwGZzhLcrBSps1/2zJZKxpI2bIJGFqz9AwfgsP45H30Oj9NRrShyf9IKKOLbZ5nPBk0mqUzd7GGoFaby9fFtZBlQMJfObt3I7EqzK+XAv4EFdzb8RsavI7UvCoOKxxIUxdnfEsSuVUftG4hIhY6hUMdlBfi+CIvM0kSoDnSDVy6TP1IsqXbyN/BEOGcwwq5o7KqQfRTFssJVufUl6TDdwGTXVT95VhbmZCioGMT+5kqZh1cs6SsN23Et9/VW2MYrO7S8bTtLZa1JT8lJEwuJ9Sf7l6wzJS7kPXe+zJrGwkMko35jqWHazn4CbP9uSYXWcjkiuBAFFyx667bdGDG78DaW1gSKdSzbdQfYrmhLDFuXFzOdTlM7OMQcVg6N2G8vFi6R+yOxJPf/MHzTHhS01mAZ/fYm6RgRGJ6fe9xvaARpeNQqSAHVXTf65NoPd0vHaMRuSf1Q+UYEwYic4mYI+kxo3u5bWGve8RNfsU9i54ujG2MQef9ImpWIwgCJ73rzmXvbv4y8/UQcKB5Hikn+6LRpO90SxaLZGDIvjK1SNsT4pFVHUUpFPO7sWLekHo7npROx3BP44GvPvRpwnnJ69KdrjlbcbE1avvJQtKSSCgFS+gG41ZEj1JFwEZXIwApv3O138eByZ5TCbd6rlEPAy9u8wOwjiesbAILiD0vqqJprjHo2594zon5Vel5JSEm0ix1WsKodmOcYiOXQBm5tE4c+rYdsTiB6iZzyfDqJG/oMtssE+gggiFfLX3YvAA+PzJlNug1MDMLCZG7sUO3DT5K6YuiwYfrpZDgbCcxlMyvsnASGN9MBJE6YKE6zSXxP3kDDMVPNywRSOv5sJGukdw80T8n/5g+gFY6yXit3IM7D4MmpfIy/NwqUSy9m28uCG77CReice/48txlzC42psHTR/w6E7dJuZ+VFykR+nFIKa3eJYzpyue2m6pqM5GWx246HcE4KCAuWHzyugBiaRcRJhr4OYx9T3jyR9aGEaNevNdkBlwXSoaHcGY171lXVZq1uoMQQ8GefHteAeYpBS4uMy4nhGzUduf13V2hgYJIyjiKvc5LEk/ZpOJU3TWmekwBwW/ioYYMzxjJW5iIbGj0rSlM/E1gpqRzgJDKHbm5nsrvUNVOrc55Y1ybTZhnryczBhVzLjZpbnTKVBAnxCbYjfCUukLq+39d46PQFBz8pDJttqwFrvr9CYst9MmJ8gRN29mTI+o0Nwcf0KjZcOOC6Vjp7hV7Mvw3wXGzDce6b7uONb+69vry51+18uzg1UQfzRGwNmCenuGvW/BccaY/3EQwzP79uxxuJj//vX+s0rYf8C3hj4kEtmJCZ6WUnDIslAvpLpbVHSwvDZijbxGJum6lSBP0baolufkNsJmiDb85GzlGdeDeBftYrXL0AHyMfFBz5esG1cthSdM7jMP7rs3Imog2K3GiHoNcPFT29/+BibtppwD+h3Zv5D9y+Ei/mbv0F/fSbB3tcGfZXNqB3nnQdTFlEsYZm2Zej5te8EaNPdM8Zw74T2D67jXWo0E3AO1xZkCGctjmCV6uEIF8fyofKEIVAmtHW9ASkkOZ7ZPoCejRg1gCsCCLY1l9fzwhTxbK0+D+pMX6dVNTZhciTsqX1/Wo1fRRB3H+Y0vgavHs4nzmii32WYeJOL74FmFMLx/ZHUxU+njbIJG+FXGW3W6axEElY/LOn4ZDW8jbBZXIgNfHAHQOAOhcvLOJE++MF61lMtkLldF1YLOYlzSOJxbVhdjoPIZ/kMK4QmKR/wThQibFUvx+ZDA7PRCwKC0Zuf5zNAbVXvJUr41xYKr8E465PCQ0wUJnCor3ZanA/mkrtY113QIyeTsT41s9490Jsg2d4uNT4mPT9jiebivUVuraUj4vJk/YPo5+9bR6W8MMdr2CfoXkiH5DFveVUkCOPR+gD441eSi6FizOakY6m9y5EWmtMbQhUrEtJZintZUN0Fs2tylYJesEUX0kcuwd7PQWPJT9wN+hB1U4S9MqykmBnsEI+hMVREtAQWUuu2c2/ybhzUq0Tl2hWZMupV6xdv9oLZ28efCTjlSn9FZzfYVpVd07rMRLt6kynI4+/G8lD5Wyf2W0EgJdMOSV96oXIk88yzx8MbsPQCMhrnuyFEVDrYWhhh3eb99fZWJoOXIl9QKG9G62JE37JlFN3fpbiYNffYlhJlrC2DvAL89niOgwDvq7yF7FCMrKpnQqz+a52lVO+/8j21TvY4oGOERl+6ZUyQa3FjsHdiGIReSNakWswlpq9bIPdttheYqDQp+MsnOqIgD1spW9cOknUfGNtEL23aoLAK+znjOWdW5DNmDbuSI+xL3V6sG5ONnr6rFmW6WVvEo9qSlBCOWtz2m7Ey3oQlGBNq653rdQ7rkxB4vPCqKFf04EG75WTxKCLiTwhcTLinXt6yMy5lzzbKAG3sZWFGUgrPzlPgWBPp4Y5i5mn2FC5iX8kKq2cz4kqVZPuzUTYG+AxNfOFuD8DNyNreh7a3ZK0KFz4ql5oqC/CX39oz+puNots/5/6GOTHZ5WRMabtHCOdbe4K1BuoIdHR9EEJADQ9arr+RGagPY/A4WABgwYkXSyrtyaRW17k6Wb9lSKqk2ujRMK99uZjGHSuEyjw38yVXd1b1+tfCT2Ii4o/rK+LDW/+iofttFaB9W/97Zv72KKPTGrtubfL41kZWPED+zaY+x9ZYe62/XJJfAA7Or+MRkkZukXH7Q+iJcUeZxVOgHL0AY5fvSVdUgvrwYWzwOMJgrMowXmOR/tWecEEm2BC/8yivFGfvar5uLDptnb/b9GdzZTaPgEDhkXBZ4uhjpm+nxYx+7cuCVWpHQWwYESwR60HiFkCAKHsS/e6WJb/jYCRFn/ExZpXHhrYXp99yMHbwtCpsDKYvU+Hr0nFAmdL/FljT5hXvz+R9C6URA2Ce8jCVNX8RcwsoF+kn7wRQkadQQfVEk4LIFQvlteK8RJ1HpeOj/9V+8mMze9YcyvkDOYbLCT96Qzp0rEjac1FLeWXHHur8xdAj5KMqQ+OmfFVxuyn8Lys6zqhOca1iPlYjemdVgKk5JO3yb7gAh8Digb5p227qeP+dgDlJSUV916bghXywMUgd3pVU5qgDlop3WtYylxZPA4r90KE6M2jqyYqCPF7Yhh3BndXH1gEDWUMW/h++/1OnPeLllw/qUV4hMJdO6hbTkNMmYPHos4iDxvoeBFytKMd+gltNgwNLKgqyZ/fCucpr8x3ICKvzepjE1qhCnKwB9eNCfNKF2J1tjeBv2H9CEcmWD+WE7jC8F0xnlYSlYMikiBVIB0pGHaV74MKfSAfKiKbI+jC8khI08cBOkK/ihyHMgjjKZaSKcTGXCuWvi1OgGp0TP+s2iIgTJowRLyF6Lgdq4Hz2LlB5j4pPTUuuQTqG3gBfmvftx+Jsg43mw01kEpFwqmW9U2YkSXw3C9R8Zqq/xd9RJ0mxkmlZIr5AZ/D/hkJhs7JQx+mryfF7mmwWNV5brg4uWU1CfG4rCKYxx461oJwy6CxXf3dGcujUqbNWXKVUcDFPBfJJb8N9M1TbsQeuY5fPKVcB+JbkF8onfwrmvrmS8s1pv97PO/s9ZvyRStbC8hogVFbaHGUcSHidEDeGtkSsh5lKfhCOzAtWX3x57TgWDVeOkr5oetgB+H2Hg6rOq7D8EdNG1UEgvC1J07jIXDrNK4DBJzTFy4paVZQU+qCy42tXAaTvMTGmBvcuvFFRqP0Np+5Uw8ejqzcS69IquU3qmDcVL0W8WmwOYXIPciTwrcfjxrWe0byAVf3+4wBb5zXtpc56dGjiskI6bwSIgx0CYumJTNfSaAdFbDipF3xUUeNlufp7M4+N0/vqp+4zbgq4AbTmx+Flyl8WJc7SIff/O0gHNWE8rTAo4yypvtbpuU/9C0pZoDTcN7mKPlyIWQUUMtsBywY03Rvawc3jpSSjKfDmMG6xDqaPVtBATS2KouXDQ9EiHBS5dHqGLUvC/vmMBMJetmN40157iU+CaIaYxC3o8rBzVFIo0KfyR82ykdDuyQDdWCJH6fVENiQPQ5JS0Fczsd+kuG6A84x+GQhfmBoUX6512LXqn6CmdoiH8NHpxQc2dEeyXsBc3vpUZr9AyDS3Zb2ps+EO62iuWh/PRaZ7FqlbKFVFnHWXsujoQLAMKXyWClMOPHl3hjDIClEntllrU0hMsX1PrkQEzOEqUug6ZXhT2JsR7xQL7NLg/mn5+C2Pv0F/VbRRdHAaTvHPtDSjzVww7pula6098zoQT4HC88TKyDH/53c6yFWVkcGj+CSUjImWp98vBI6tEShcIwv40sanKzcIqnW9dl/cEwqeXIjUBPuKB7x6tTwAlbrHrQSRjK5YtOX0FH/DU9APnVwzkxE3jz5/GLL68zT9vOST0dsETAoB7BVhG+sXaDRtTsEGTiZGTxOTkryWWmLYR6LXpQ5OlPylMu4ILzPJAEt5xbe6kY12yedciCOjZPIgTajv5tWpS2oSIm4vVtnzolfUw7vChit83rpqjU9kkEIiGf1AH1yaovfAnuactUGCAbqaCzIPYpAZJylki204WSlLJvcIJfQC8/XXZPcMtMypcnNcPyhpcvlRnrXD3sdRMtsOALWdssVM+uJ3DR/WplmOVgCju4O8Qu+L9m3/Lsk8WDr0TSAZgjcLxopGEsP5Z7MvEfUDrKDY52T9x5zGfMxuFG6uIaWBOBmBHmvCgEW5vUw3o4FSaj6GNX3dT3mR4XK9ApSRr4VLAhDMvUm82xoI028EsPrMj2cY6vnke6t6BNaYdIaq7QFlczSgyoxISfcJO0s2ijm6H2l2ptQwyelhPImSVDDzbZJBTdlM5Qzse6PHGj8e3EnQmVoMedmii+7PuV6wELhIbTWWv9utpIOHs5cZGCtoJQPq6p1+eghJJb8Z9C3oXvA6kFFYqbImMeJFh0CpoUE7cNZFtlsi4iWbx9AuI2J1WIDaZ548b6RDsIXyC9QwrwhjRD4UDUA0MMM+OKGYy5NKfHJSvP2pAnhppiUlwT4sH+C6YENw7LwhryDmFR/Xl/5enD7k3iJcgrWtLtkyxJ/5sUyOj9rF9bDoekKxbwwJ/Xbc+7wj92+B2iwayCX5nSazm0cSdKppqwBRP3Mb1WT/HjRlr/4qGDH6gJCiDwoNHpIQDEtELCTKF/oPAYxXqqmDNsAagxS6zUuRrYMuim6L+R3tcf7f1SXd4l3kxQ/us6ibL9Axn2wVB4BDXJVySyX7r3u9+Zs1c7sQQLJGhO0HqLHB+MjZcyelq4AKHOVja0BQGIbgJjDy/BeDzte/gI5B74zQY71ZIPAq39BkgNeWSR7LgRsvB32TFBUFC2ylfkGOT/8kMQ9RsTYjTc0mNQFRdEy8N3lihom59EUvbb9ngMmsL1iHZ8ZPk5Azi04z585md79KgcDXavd8OWtXAngaeN/2AqLjSngwiqayQik3yK1G/jW1R3GqQ+fxre7k2M7+UULTfO0qEpLHSHsyUSGA4nxCYg5NIz32d9ZZMr6o1Oh8xDi7hh9XbBoymf9rOyxBpF98w2fNeNdkfC0kPBCXVGS3a1yCcFSelyDn1gcEjYwu4OJn/AwOW8VwAbbN5rHRc39DPN1hcwYPcut7eKoORi29Wqn2KaHNVt9lq996QkdKpAXYv4BawX6ZPorCiFchXlLgYzNNH292cXzdrLk5UWAodjaWhLsY9taBlc3hAgwrjCWyhScYKXfNeB//D4HrDYbEVv4z8SaIMPSqi8uCcXtqr8r7i7khQTek2Cne55dPgvpgbH5VX7H4YvpPkx8uGhvrsFEF0jufQSVSoUOpxMlESIsx6jtt0hRSlt2ic43a4a14vC+PTNUsZN7saabJwcd/8KTAc6+DECqcGTngjUvLnX1IRq7E3IyNqh/8hp5wiB87MHqYLh7a0M8Cu8+acg86Q0aaOSVrpqqGy20KRcXmTykm3rvHq7RUZR5n2cHaoFduSPG/R0fu0Af3OjW55bL2uoZ36Jo6ZfxjEsZ0h+Tnw9NQfTqkmBumu5wXcXpf/nnJc6Yud/nJDSvL5bxLrljLIwBuPhhC7X/8CVu/w4ZrNv6RCLOjyBM4xSHYFWf3OV5x1ghUD3D1h8F8o7Gp/OxC1pJvJ77liqOmIGiBeFL55Nj4dV+6XnRoxZQzL745XCViTvU2Ffo1EayOlHb3IHifq9VYIwj5pipgHXpGEL/KkuiiY/oezJgA98133lLFtdOYZ+9xI16mZYdaQeHo0txLFwa+gCbt+gG4QqM+sM8y2YCOoIDJ5FOteg1/zciqv5gZ68N/0EBghhVljFSYH1s9G2IvYoAxelbwhZnT8kLS/M+LZ1W/saVfYrHlyvZ4OoCBVS78aeCPp2HpAVlWynjSOzSyuDyk+/TFldI1BSo4rS+MG0Pzr7Hsy2Vyqqt3Onzw+gykXK3kv732iu5d5J8HRxVL53Z4esDhG1EzTPtxtuXRiEBru5rRcwbIccy4HanIDEw+QGwWIPRovWyHBMdVN8i8x4x9/QTf82uGjq+H6EY5/t6rXdS3rbhnRp9ybmv/HedvIA5J1lkxVWS6nIZZ0XjQimAjkAsq+MJk/QUn7k+yVrjd65fHIZ6coRvPp5pwBKbnm+2TBaFNEykViwgU5AGiw9vR5OuLl+LaFeEH5CDuPmbQb2w46Xo7OUUXULW9VbOEHJn22t/2z7nP/SCchX72naubC7++3JmdwPiUt2BIlhWS2FqDV5fWmQh0+tX9c1sLKes/vTniL/MjfHhmNiFfmG/gE5goCn0ZPmGIjE0hhDxULaNyDsftiLeV14tP9EaIJvjmQMIAFi64kPltPzW/qapg8DmbE/lIk7tT038xeQdrkAhaaKlnWl1VAszpNQxusFLypaFBf2lwfRuiAkAvoGI+2mr1abik1sEQq4tTj4hb4REf4jKRMyP3gmI8iuNkf4O3dThTMuRQOpYcWp9BDOWrMhXvDdTvPAV8TIHhSg4Qo5OEZ+oBKfGnOU2XUaFXlbisBGcvzQnRLaJd2mhdOYyS0T4igofACv469zeOLNEfRsC/5BTxH0huSLJEWDxl/ugoFJhMt6if/g8FXpAKPvinBH/3E07YzJyRMbRscnJ304wpYxAsdDk3K2jmBvWSocI8VADKgC3KvjTe527Y3mC4AAllwJoYmIEqG0sCSMWKopW1n2VPX5rkXv3VqfogBDv5Pgps/c4NgRnpYPJQKxQ37ZSSZK5zXbZasNVvyZGsLezPSSv875MOpj+Q6A1KXTuGy4A2kq9EKauGJMZi49VliTtsTVhmyCvuR7slSp3k0C3YZa09jY5J7IBmBA71VSrjBdyj32Lih59sJL+VaA9OFqL/umWyoj02n2//dDSRqaaNz2/XYTpJ0k4IjoGNA6+MPd/fZHMxmtSZziQu/z4yR33OnRYsc2sZKWuAZVS9HDMy5g2erswK13YYyIou4qfwpmX5UCAy3vWUfgDa3l9KQ+AEay0TdoMZmBMVxD6wK+ZoYcCb4+TFzbnzkNaLGUqqIYHjtXz39/FWj10zdkxxwadKWESImgDthfMVNOe+gLNE5kvw2+SPa5WrolN0N7cUm0QMNzlo6Jew5lVmKolat09WD5oSWDKo4b2iGjvzR2V9Xgamh6wZZKGEjQMUE3arYTk6F47key2GuMAJLALD/27+/UvxSIxSsgZouj7YIvYn5XUWNDIKiGnfi7NRZggY2sBtXFPRayyfu5mDTuQ7akGvgu3AmOFjlaCMW4M64avRixi1ob7vMpEUm5qALZhjesdT2GJFxLJILQRu2on2fRHcWS0dXjSJACKnbUQjQtkeNd7NwgIS4U//NMefKSLriuGUYgaI9vPwCIjvTTjtho6hUJ9RqQay8kngxk9rZriCn33e6kDlw9IwE0SDayjK6TfVweMg1KOSIvWfay3BbMZCAUCycwPCf7i3jp2rthbtjJskh4NzZThajirR7hAoDJX+3O5nM/YGesr8zgCmXJg22Oyt/5Yzz7gpfABcGftrgzKRO1Llpi8eAIy8/f+24+doYkT4Udi9eGDnegnFxOmtAnoDMtoMrBKU0xQGXdtSBDbbEch0FlKTj9VvB0IC/5iVBlbdCZtdAfukakna6Jb70cDoaFudpH3TBKf2aC3/iVxORZtC3FXq9PXlkBgo+iO/gG+9n+gzI1IqBzVEyXzHl9pml9VggXUKuIoZgfflSAGAomAZ32hxDr432g0if84HK/1r5Bwd3bWGR8/ZIaHgpKo/lwDS0f8pzrmRUeOl6tvo7pFfVuF1Ux9y7U1OMzHWfJNRT6uUJJNgLdCvUGeWmmPeiZbMFmC9/OoByBkl6bQUqMWX2kF/kcAKv8DQOKhQlBigfyBSQAe0Ngma417Bwhq+NXVz6l6QNqspwxT7BSW/eaf213lVXO5ZQecDWVXhPPIuGrGT9UBDbZehnVq0Y/Db358NWb7ahUdRVu1t+Gf+YwsHs/ufrHfDqZyjvOCRQigJhsP2GLu5aWJFkQhFT+4+Ne/eTkLWCKSkFQzqbyE7lK8LuzNibruEkzX5v5X8dO6ocIx2iVeg3VuHYuc3vB+Ur14Ix2I9YI+0vyOW2n8Ikp3EuceLg4vJFfmMvPDZsQXNIj1COx9MHRRAhmxUpZY0ngu6nREDye+a+NzswTVG/7UrcVAhjr3E0iIVe6aXwB0r2ygIqGg/bI5O/qOgvMV+2FL6DTSPnlHJlrGc8AA5P9CX/4xhdKa2Xt3mwWPMA5kpFaLG+UfCEliEffYF997aZS9UsgtJfrmOcvdLoz0vbEiPaCvHVzsE/FvCDhgeEsFVR73XjSQGJTsU+qtDe2bXYoLbU2LFenoNI/Dn/4wS36BmLFCvyT0CckltwaIqzGVNFKq6OFQad3KjfC3ZhyM47OIXUhvpC+6by7AqcnukA8+clQKKkt73QK9kbgXEq7XbfTYT9VNmQ+HbbIFuKcFKiVYFHwFl+CZ3AZOD+GKOnq3npIMpoMF7OYo5rSaVce7hdSiVFB+4u6bazvFDePOhdCHikrP/nwFwJPDes26ntzFtmNwJd7FlVVKuWI1Jscv+mtwM6EIvsZg+UjGhTMXflp5zndCMGn2ktaeQOiS1G4qv68DbvbKO93Mf5ytSfyQ/H+M6vhMgAVlYwb9q4ZEWSz0mJgEb2uINg6qEXVgtsdYl6LR80bY1ChwEVa+pHCfna5aNkYW71wX5mFkS+D6/ds/7gIIBtGXPCVvrL+E3+dlVhgENuWFnzNHu/Mvs2v7YbsFfJ39IZ9gb+M3pDZt/MnwxQoVAFxYAjnMcTvm9vlEwSB5DKD8oN7NHPMPJzQXpromt9A2WfhnJ4alOl+xH72P7/2HBKrM/Y3Wrb09+GqrFjrU9QloTJaVdhIe3NbbXAOFz75w9TFVUDGnIn1hHUtbddziK0BdbLsCplSUdrvBRnnNsnlzralf+2xSstglzvRSf7y665NQ/twz/2g8zLeew7ICkaKjy3jxqQ6gOWN2Im8iGGbDeCuLjB82/oteDLNWvlddwmzr+/RLrCyCKbZxb1DN1PbGRveBHTJraChHlnfJPiRaLQTtX6sYLeKidvlPcLR89rqpt2FUIS7Ns610RnZUeOxE46C3FAs1DO7CCzjWbMyMnot6nsjmNZY+m8HY6UNI/LBuLunr02sUtjwscyp/e/kUJhZ4wkPNExMuXu+Lm8Snbq0IAFyDC8MDuJTR5M/UZEigf0o8gR7R9OWBtSF9qffl30jwhN0Rjo1w3pFOaKXbyhvp9TmX+qAK3qMjLJigIRPerAco0iERK9+qBmXzITND3rpaWcxAIIixcgfuSMZyh1Kfk1+hLbaLypECa4+1D+OtWIlGku0Tjis1sG6M5+QUTP2juVhVQcELYmWvqkDQM4cMzJS+zTqtaWGEuXMAu3pQPXKokVrGDvzHk/7YmMcI5Zv6od1ZiQhIQPEeJwfKieC1Mj8p5Nqvvhb6kVitRYT9BbsO48QtCdiXLhmNC8lVUzoJVIe3hPXZ+N2QqI83K6dRaVmGgFoHsyOChc9fIQUNIlbJa9qJ1GTYhZLdnshS6Dn0uCDFbQ2tYr+NCved97SK2xFQPBKAUY2oAfXS8vUszv/0Iv5qdAT1BTe7xutXC0sglnG7iV7PPWkHDZUOjMiXq/M/LI8c/BivXp35zR9kie11RAP8+bqviUTPUOqGXAZoRTYFC+x3FUP6+FpBNnIITCzNS8MpITo9OXqMF64Or5YWYw/xNWdPwZIw8efFkRag+r9vZ3Z9iLZdX6rGvrMxddYedzvtiCmm8ecU9oVthPlKkB2kjbyzWnOXGOkvcnZZQrfTdMUQUYGK61H9wIyw372JDc603NqMXU7dQM2ZlZaBf8QoaJMkEq+EQQJZ//AVh7Bzv5MwKWzzdLn5gJvYAZsdpP+Z6/dNjAt6Wm6+ad2N6dZEpLQuIinGJl+FuF2hKWjUSMci9/qtQpzkJrecwx+Bd2ShE9tpBxbCZvUnr1vyJVK0dNcx6xnwOe+N3YJrKXs2RYC3DiGnN0xRl67jiYyse679JjgFlSr0ivVPDwDhGd80+QqnyWkme7/YsWH3FRi1uShRtVPVLFfJJALy43EQvloEUdFyFU4AopWZu32PnL3/2tYZNhjzFP76cDXhVq0VWSj7LoyFVFoYeVqJ/6Mt+MDF8h6C2Zko2qmmqMnKqRRhUzyW8oI6orx0C+ARLjS4Soep03IXyZDKv20W1T1CshMDdzLTxZKEW9v32Wkmabs8fOtPoEgfjM2SPyXSKhu0BfJcgkNHnXCP7E/txXJeaGzznPXvw4fOXoF9aNVnYbxtmsZqIbhyZdxtsZ6PTau4MBVwjjNKszpgPwuJDDq5QBJUjQqu5gJRF1io3R1CLwv9DxToAnYeNjQQmiztPuzls5xeoOMSuG3kboCYbBe3Wedps45ojMe45PMBNhJsBUoiZ6nu7TCTqpUXStkFxuKa8vZmGVr5HfYW9Au349c3LBP5Ix/I01ZbhafGVMd0iEKhAY7I7t63dJf5IBm175sFKFKh+ZRTebOCvizoZJ0B6UQ6miIvfE3tRiiOuX/RZiJsZ6y/4mY3Kyh8XAkaVJCLgUU5EmHCX2jz/KuH8hyCU9kiiUIR8bRTJODmUV4vDJcPwHR0YSwnnvJzcY2EaI08BZTuPRM6LdmyaOieJQe6gDOdt69Nm+VExmfAJReum8bF9b+D1PPsjX9GlQrPSmGIffDfG97HBRHo69YSsosYQuSHy6UffeZSWZhc0jEt8NV8z2rP2EshPoBQ3ooW57DAwVndqh2ifmxVmdlLHrOMwczZqSkO2llKPJ12waaaJ2k9hhXTufA0dzI+wH7vIQglLO9KqqLHFKENJQtaY1Flp109eHGBPX35B2sbi2pwT0Fu9YeE/bXpseLhqZDJtbAF41YqPLBnNE6kCnKc6zUDv5ArRYB9a+LWqSSHIyncV3kPrXzeZjAOBxq1lQZ6vuADqpp3Zzzt8uaDzZYEquPyzWOD3rAvByJJMnnOTGlNu8dLauIW9Agwao0GnZdGgA+tmqm24bJjMamyvqtCy7Dw2bONl7FCfSoK3RYDT+c06NojyXCZJpC71fTIraL39I7uwwbK3gTNQp4igOFHpEYGt5Ozag2MxdVX33BDfXc90spZ+lbabSOsMDoLIqzLGRXgVZl3YRxoK8y9Z1UVltvfH7g5m8ljevf7SCj8MN1eNt2qpwyIzGedCImwzx2ZCSzCsk7fwDxOD1d4W3NtvvVRFg3mx+/asP3DjOu9wZehaUAVEq0wWpEvMEg1QTPEvnNMc+GIsqBqfDyvDm1QSZ+ijjuId8ytrxx9x7CkXqyny7xwDfy91+ju6URFocEPTE/NjVTGBX54+UNPu8oout4jhLmtYCmiZD8abQCmRX03zfxfsN/9Z/gshPhD414npBq9/s02DjpaS+8yRjFrApYaUBY0SMY3lhSwNjVbDe6s6trAmVE10B/j3rzKgI8f98/FHxLBk25fAznk1C0dZzVNEt+jGI8rLpWOOEkqhQ7AQqFKEDeFt284794vQSJ6NnwevNb5efPgKM/YPgJZ+xvkCoIs0vQXwF1WP/rgiffEtPRPOsjzOYcgtIjPThs7tkeaf5o0QTRhK9+4k8EJyNTqd87w1dilcUeR5PNQ84nN2ZgzM0CzyduI2uLfkSK8Rj1hKqzXW/Ky2RqdgBRwY0lAvYqldlmw0A2OwgMG46aGYiV6wFzAwQ+A7vFgDWI4tY9khgHi/TIPXL5xeVgNWxjU7yTT/sqnjCNIyoEpHFmfuHg4G+m8+g0KruTQ+OX9RA/3Wc4GsxPvlguSH9fZmTqjlyP4ife56MIwDxDpGK6kMJF3FDMx3qQarmyp7Q3ZZpwZgTWJ66ahzyfmgVHIE20I3Jvo+M++i4xqtpvxSOESCTPBw+XNk+CqWJzXVoIoTaAXvmoLjo4+DShi5BnO/p7dkJErisZYKkOjZP5wsDt0N740pAts7NPWUMslijCWZGLThFHdSPp4J40Ib+nNmCdGIBfTyluH86j0xd472xehx0puEZ+z90M+cqZY+/6RJ+94nvgkrneWqswwShvU9Sb8fzoeuTdc+6gAywQc5uvFUOJXIQrlsJsxeRebuhwy6KIpmGBAx8RGOXfnCzPCqqh9Rm+Fu73vxHGckgMexmAtgfN/Dby0HO7iQErhenmVQMBh23q/vv4EJgw2cxcDJC/k1iZLmlHjr8DeX6iBJII223zB3Tw6fyJpWDqNIwLiDNkje1PzWwtDrtBiHmY0CvwEGx57vbSl6tSvj3cmcTgOpNWd8sYh1Ujv2mDN4I41edyRMmoPfN6t6etCVJjHLwtxZtasEd9AP5aSn83GyQZ2vHWWjfruozCAd83RHuNpbdrIod4qkfdMEmxrDiwNxTKLyHS1VM+5y0cazzuGi8cVdsBNlYbYqYmRYCI6jU8WmNFNdvwtRmnOah6qQFuDb9zTedWSUN65i/cGXin4cszb9Y6Skq8xxNkp2C2KjISecndJqiGLBmN9BVRQ2xlHmRpq2wu1S03RzyEHtxFDyvATTJzf8DrOB0SSb+5bBszCiUKgLK4lgogAQWuHVozjUQvmOw9/BjzIPfD4DulyYL5hA9tR9axPm7t4erjuCHeoKhGSn6FHSyR8CLMasjc7Ilm4egd7SP6WH1FA53fqjOdt6YAjSBJUVH/0lH0PEuRPPq7MZgAPINkB775kTpcaz/q8Ttj1ExkDoKhXWXI2PdcB2GuWa/WU7a+GrLTXh6eCcFd6544vFRq4CdpDvkMkFGzZKriA1MGRuz7mMPF3DttCuqj56H/IeeMxl2mU4NTyI0Kq0KVQpN28Ts6pKgwqowyp/EGWzwwffS+4ki30szyGtS/YGquhYv3YdkF/4Hmr+1cdxDRK3hjkuv+MBzL+277Ug8FpwKKDf5h0zKbwnDfTzv/+RWSkpH0/sFBjGl1q5zL7Ix8iJPoidM8/9a8bQd3OxvPy+5n9hHXrorteccnxu2HjWNvkRM4Kzs2N/Pn+b4osKgCpp0ax3n3gAkrKfS7BjeKNVdJ9Occna+t0jSBpo2owvqzyD5A6fRApA8dw1lux8Nj2vD8VZFvEjdtMfc9BKgbeWX3rWqQw6Jl5WlAsdvBS5NEQG3JRtb0NeK+/+hvljTP2iBgsH//zCcEJs74Ye/Ul2Qa23o5gYVhFRZ+PJN0T3SLMcpd6o0y0+jKVK/niVNhPiafuVLa2vPZ4UJNp/Ahz9NyvFOLz4ipCiaDu/Gf9epFI5y2YJ8g+bg9gHYoF3wkovk7VfqFIPq1uNFSl/3TA7gGqp0T7SqkS+7tYYDkNN1pWf/Vj6Vh7r/WsXsWN9qUTfycS0yH0A1aaz/Z1jh9xQZ/9dX0I4zwGPLv0QvfJ0D/jDPb8SQzx/+xj2HOdM5Tql3TUxfhsaw3GV/Ib4yWcJouXG+a0r8elf3NTg4E74JcKUcdUwHtbywasC7CKyJ+PrtlDJGr4aGvh/dPMOs/4T+jdorxzEynj7eoYtMQwnu/pP6byhS2OSD67JUtuctvfhasVFxu7Kf/SyLB/u/a6bFDb6yYRhqR1HlZo63OpsZwmOprcbFvZstLCvxG4Pz/WbpMGQg0xP/RnSffiKzUUsmbgdteP87nxJFfa48fVRa32dxqqiRnnegLwltEHO8qBEeQjZ0GoEAHjr2/HAotDuJFjW61VKR9D4BhQ2eI1lLh7sT7MwUUcx9Gi88WpyJTR8xYVQFfYQ+Cr05uH0QFYVIOuhO4NMbQsKM/0Yy6nhBSIb0wMPuUZoSrw6e9sfmLxw0DryxE2pLILR8mHHtCMmxIX6b5T0ZjCENd/JGm/JjuRtl82v5TAZTT6LIuDxMMTi5MjFe/Ob4WLvVQqM6CAEqFXZybhCI1VzrFaj9wMPhF4nlOP0dc6hXIBWa85ownGcGgyFV6USIMhOzmYNggzRTI2RfjVPdlYTsYxC8pvIbK0JyIu5Ta2ZhmCvRY1QOmFCpnaYQXL3os8rrzlEDJTrG06kjyVg6szdyYSnHdDbSqdiWIF9Inap84nokLW9VuVrBmbLQO+T5tJXq7FrT7aLvBK5VcM3MYjYNNEMjolS72TH5cg1y7F6oOaop60VQt/Ye4N0+rjKBd7kpSQ/Flo1aNt6tDMJ+h29cHStLxrrvL5aEAATTlQBNgvnY4NCQZEOnQaypDbrZP4WNZAWLzjtYpAxvfDdlfUiKbvbFG1fOyR43LK2sK6Ej8Ak3jJVzWl7MCaF8hS1K6NWW7Oyjrq4yqLhz5woeFoKzCjBljU7THWQAkzZNrKiI81ipy2FqLUpSQ2LR8TFp0kWIPP8v11dfNwbU0Mo946f5cXn1R6mqO2WszZhUsq72A/3hN2B6y7RCTq9VMwxaRvMzvehfzwjvEiT2PU+whQmVqvYFwYx/ezuJeZd87dqVFi/uUPKABzc5J3DZMUoItGnP4MxmHy5GB/h87jgi6AYsBpmOpHvma9dmRhWn9xq01syEfSgf9YiwNNZK5UiV1jBxN04i66RZ3IoaqjiRcYDnzQQVHDt5JzkuP1wvRrgdIKvz4ZzFh9pUXCCEVo1+5O89ITwrlp7JGRCQSur1XNeBmYgczymHqGQ7894GPMHgELyl6Z/nfwsbpfyqe0jR2I0CVmwsCfjI6l8M0g8Ta77dq3/Hw2ZoHzXf0AM7cP9Tus08uXrhoYAwxWJ98TyiPS0vLpqOSdwPS/R8ZM0fBu8pWxHWOPwtA/SzJzM9tmXw1pO8S9yNX89WOp2chn7K62vWn2/F4aq1yWbxxL5HbD6rDABjWz2AnTBQgL7qftgOuj0Znd+XUtaX8gCSEryZfW8bIvf8WTJV6EPpz+vwO3AMV73Anx7QLNIg7yrcAKov+fdQ8kMtqaOsKJUhjth6lxqSbcIbO2LU96M44gn/impegPf5SKR4S2/5tK56ZsBuS2Kxv6Xq4XMTAdaUJnN3Z2e5Oo5Ckl8C6ONtX4B5dTJPsCX5w8tWE+Yqil0RtUDuprb1/rsydSfsJIvdh7xzCqMWLv5trzfgtjp4YbQKlMsvUiCxmv3ux8tECluWqF1d238rf7vESNfXiIbaSDt4UClU5S30IHAFXeUuxSaZs2xbCAQGXfrb7Vfuway9M30CMaoa22yVcB5e+o0d+qrvgz2n3AalqT3Q7LXwVRYVA6+U6NVn85MgEDz5y8e6P3wE+65fm9foUGvfCTUxECfIXARF7FqmGgRgrHHt7sPK+I/TRH2CyGrIqO+Mc16yRGDONWiTUXrNx8wKxptbl+aHaquDkj/qbc9tTvR1FpFY3zGpnD25sMgFaDUiQUViWBjCXxMSGr1rbImOY1nRN4VgE/KnGoh/VtLePnNTIlRPCnGW7yDvBbOimS6UmkNyj4O5Php6jUNi2fKaQW1IIlsaxdEgkKsba40QgA2oAjgcdULFkcDP+/lMzrFPm0JAz50A0xcBKM9jnRcf6WxgPy98RoId6HKi8M77WcY26HpN2pQA5ctAWL5HmaXFv36bW1RIPTxvwNVpI0BevrkVOTxoadsKWvaYEAvzQtDXYMgZjQVtezzeLfH3W9DMRKAcgg9MIs6x3vZlu8HUYhp+FU65oLB6uSxmyIR8GIIaS8E89BWG7JuuxYHyD0peZZXjeYzjfa7XPb0BsP+m4/cMyZ+hoMwQ7PxUgTvx5FC82dUic/wxxxykcVfQaCO0d+mDCt814z46OxMuFOePPdQON9o4c2Lz+u43lHJsdf6ENvOFxTiK+1TZ5jACLNGbF25vULyNdS7sVuPe82DYtk3kTSaXFN2F3byDKINSKHinN5fLPP2cZU3le5T5IcFt8ewckZ8vyDGGSscSaUZnlqW8SUht6Y26Lw9kBoq7SvkeQExxV+jCFtw43u4CKVNB9UGV6a/W9FluXxtWpyUIhpq84T5DnBi2Yo0h+gIBfLOCCogjQ8Lt/+8GiSSkt21/sQV1iuOUraj8DoYkZNTsbpAc3Zoc/nVb+LMzAosZxP3QAxjn+2uhXWFe+m/LXBVNMBUHrkEvvt7k4RmrTgNu0XFlv09FWHjiAFhUKnZWGqaI1E4uePath5HR5YJmd9fqsGhEaYUvxu2DNV4AZ4LDah9C77UG04f7WOI7OtRY8ukIlU6p4H/M39DJ9Itd+auk1UZTuecOn+ndM1qTMszZU53CMP6SDOjAp+aga7MZwaW0a3Kx6pUorGtoEEEtLM3JDw7Pdi5COMCVgbvM1f73CM1rRXAL5wbic6jl3gkuAfs2u3un0q2YqDtQb93HZ6s+ea5Z6WxkHcsGrW71F6Xfmg89Ia8hMBleZ/S/R+ATITF0hW/f4G928OZW9U0CyL59FC2J140KiK/syQ5/5umwQXNt7ycX2RwyC4JB0BXZkWtKfeFaZHXf/WsSTzOls09DhJK/25gwRjCAVnqHsfglUejq8gkrDIGRDQ4fI79pi1/zcqfENRFhMYn+ilvP0gj5N6/uLKSpH8qF58cpPl1VGd5fFBPeSjFts0rVsxbC9nwHWbS+Uq8eTj0cTqPF4WNWna2RehWDKa7nXarTa2rHgWDk3WOI/aPgWSaHqHmg8UBEjOJ0q2YFFmNf4dOnxJmkavx1zYkfrIzr20aIyVHJhuvBOn/vtsWmp2RUHQsjcRU/v4nMYvKJ7z2vqIut+lC8PRNA7mWoBqRHLp1IcXGVv0aq0SILbk21aGN7Z/Pf+MRzFc3R+7TTuP8MMdXmQDDwm1SHcF49vjHVD2cfaS1yabAIY82P3u4i/+6yfkShjNfrb7llyEmIffvYRcvLkqhEl7v9M9i6jgCIyRWrBFa8jbn5aDGy1fsZWqgm/R4Scx1ljxMMO08oIrJt9f7G8gGM8tDGlQF9YXCVQwNyCq5iSUEYjUYoogRvwM+NrGYUEgBKwJvUUgjO0DtKVTK9HMoUM9LtiKfkTe3hxQT09kq8oyRe28XKbcJAlRXIBvyoJlRWjh7deJE4EkYeA3szFArI7pO7OOwjyUBzNO4KRDxTrRq5ueLWsvrdF4OJoSKX2NZzRN8I5zV3s9KTlSzlxt36lpuLlzKQyiBgpO6P56SXljr7LrOM6AbKPAazUdRVVKEKGf+xU4AiEuyqvDyCoIomjLToNMV935L9GAbQZb0Yylr60lMYXtBM2NZ4JBsWtfmS14DhOuEpQ4B8SsmM9VDSWkXe762LpnB5qsTPhuIVIltzrKKrLBrQGK8QbhUgVMYvIgDLHuHRPiiwb+58kxwhxBwMXstJ2gTIryqiEz+F4jDkzwCHbL99jN/aof/jGACbSwI6QfnStFBIv2ADwljVxNlpAlDYL9RBesdFZ6P7eqoUFeSJhNgiJ23ALkpkhzSB20xAkejs7nmvJuH5wBRaOjjUDDG1N4eIS+u1aZD9BoWbrMxh9ARjSfhues7s/nMYEoQbtIJ4IpvDEq51/V1cIaML3+bJrg6vv84CWt9qCnzAN/vQ4djGT8Jj792V8/wGrDjtFVVDSOvQQV8XkAmoNL1un2FoiYTKHIERJQst0eRVhSTydo35tgHvyGKxT3Z/D2f0xdO/FTaycj9pX5Wz9Bb+zhetpdWKMzDH41afoLc9ygtCTrkl6Mz49/Pq95dJsSFZG5DAhrMiDYTv/CI58DEecaU7oYf9WC/sAMcp7JV6sucTVi9HRjvixRPyF/hotxhl38Yy9hdIS2/m8a8kc27hGvX+R2BEnKOtitfr/6mHPSrLiTyQjQeiNZgvU/BACYcTXLFoYmWRtzMm4O9kN36FrBjJAp85oORQ2skbSkwaD1FdqiHePD8VAlG3IS1X5SWSZkNjOzWN5TGJX1jSGRDPRJMWUUqaiVZeyr9OW0QlV5vUEz512fw6FFbcBkrbR5c0CGdfeLTiwwBmN0CbS+vXE8EC9+nNRxiYlAh27dAQyfcDkks+jFpUMrFD3wP0Cm5WVAouezUwEVugSVNUlzLooaiZBH38BUD7PULE9NwQ1xl3AJBJJgubpk2DIW5BcG9Afm4QhWPyCodgnx54A7JEGBVey2Ynm23Ne/RG4UNo0e7YgXUG3VvBHpNWKEtUGomXpGfe+6NLGjAToJmaVqfDkw7QUQprLJQL2Rgqp7kPbBLOh9tU0xH+Sc68X2cM2CZGmyjg/FpVYiAKO36tne4sOeS52BHGrJ1CrOQJf3dmYFfWfkxilqDcQY4T3TalFCvg8YBhIx3KgVTDlrXQIC4PP5HIWmTJnYVPJSoVLYTquoDDmlpuht7WX8ajMvvthAQqHU6Pt9z4qkMC840RaOcKBZwMboxtQmqxXWBdYBaemGvWCRrRAqPa4qwLS1NnJB5FkSmhExQf+6nXI4rLprsiyi5S/YJExNSNtmd8OHAfJJP92BjCg7PHawYk+mDYQrDgFyxFKWjLUdF+hoItXSh4jcI3rkKL2tMplemibRcE6BxnbX5BBDQ6tS60T6HrI43c1pN2WcnDQV8fb2oZm1j1WgwoarLLaGt3qd8Pa9JJbtUmhyLJ+NoezQrT7QpFegNDSU5xtzBKXXH3OmLv4rvDzRK2FTkofjbWW4cIUYL/pJdlwoXSxFlBMsAznRo/wlMNrHP2D37Ud/rHfB2Tny2u/xlIfSz5qWVbeQ+MmldtG8PUdnEgVQTeUF6E6DozfiPrse1Ak5ko251151DmXqfrwnWtzk9InU9ThJRDFMqDHLZ60yZvfqT3mjJ7zuCXgMysjQXz3OnqZQAN/fCnV+G9yskKdMy31jWf/pyvH0QV3AU+3I+k+/yGLhDdGf2utClBKllBQba/fy+HXl5q/4QDCJscFyiu0XfI8VD6NUpAp53vWO7e4ubBbVfnKEnDs6AY1aZGVKp7fNRGLLafESV7DDMvxNPSFyWNRgBZnvJJt3bAoIgBK3zaX/bqKVJjCOWPUEjzZAlDABy+LOhDzQUVivvcOby04R9kVIojQVGqaSqLiy8FnqyEcXw2txRjE0mnPsSK/nvAZZ7GRI7iiwy7eAA4cvdJJVnteumWu76Of172pH0nuQIF0G8lo6NukCuZrLfjkNbBRGY1G6Rw6PipA2BSA1DClo0ZSY0MHBmjlprkea+/q63dTf/qrYpbJcK4R7iIM4YO/G9VFMEHHfR7um0Ipv7eCbbVnT9iu76hcQCSuiaEtFpgZoV0eIE2a5VxSETZ83CtBr8zorcRDlKr3nEjq0ww2xEBSwCcEMiBZMaLf8dDCf9Eai97/8+2tqG+b9Bxk/H43EOUTr5M869mlO8rN4h6s7lX6/ynDtljexhsmU1lhFJzBE9Ho6VGMWDcj1/TbxFCzrzpb1sIRmgyRgmXYhosfvJzwGHOG48AzZ79rRpxaQ1byd++rrxtop58mpbTe9gYrhPlFg1u8TJyoxxEzcQt695hd9jlZmn8N5O3O08AGdWYOHff7mnPjZbgAZAzA7ooqn1th88teO1cGrZVJRooDRyz/ai+DR2e/rloQM7hS5NKJ9Ns3FpzCBh7afVsN17bCHdXY3tg/WTjb9yIRh+IciV/D+FElF/x44A8O4k+HYgMR+wSxvDy1PtxeAVlp3MEpCHfIsJ0q3zX4G4Zfgihpn9z7LwIvG7gzx9gjIQ5tVDWyL5ULYdFwQRiZkZNOX0xsOaAZJVwIGOKRz2OOzOcrhQ8rf5eD+CPFjf8vBtkP/GULaS7u88l9NqAoeXHKyyDMq15rgtKbV4P14DzNTZNWYORR5GOHqkb9fh0ePqTZOPX4ituZv57iTb4MmtLPBVM8gxKUEnU1SX8xzciw13avdnsLxEiedLqBqv4MTBLqWkctEL3iS4Fso6FgrxG1lU85tuKJVKKb+0xl9B7ykgpPJWP0ghCu29JY0eJ2SeNjYLqzOjFu9s45mxse3yu+YLsnLwL6TGokL6RTSZhBj8SiO5816E3cVmxriwIbmhrC5B941UR/E9hX22vmbuWHnmOwi4FJGuKUi8Y//cUIA0cJv8030B+2rtWRXOUJEmxvCyEvo3DIAu102d7g7/vkLvE3Bq5hNOOMZOjfOAaT9B139Yv86nrwBJfE6ve5Zrkl+eKLmx/gBVp2OInHg2IYWyOL/ylyhG0v5tD1UFELXOqZxJ3GA3nHXzF4Ryj58RSQNg4W26wpqNgyjiIyVdOCyEfJWqCJMpI2ljBRWQ/Oy6P4YNP5D5PmyJXt5oj+7NCpyanSAod6sVkA85q6ODKoorrOWEgDlDfyFy/A55bKF0ZNoYp0xuyXeGuRKuOpa/MxyH30xIcvFZg4Hw1jRb9eG7VE7qiNbRZmJZevWXg3/HO81P6Wdr/1ymB3knGdMZ59suAwaDizXeFZ4kn2jVEOQ2wtkpIWDopKBlTZKbY4oJ5JMqFDFneEWifW52fQi44sGoTterOiutJm/hU26NQLE5obeyS/XHQB5aQmJ1iusscoFGXZnCF+yYdyeksgs9Aa5Hjfe/hfBeQXQRaMhHpi2u54uIJAl2/8Ip9jTz1vW1vih1ghW8/bUG9znGg3N3MfDsykKe2+3Rsj1zTdmjt3Yy90lOg/d1jw9AGklvqH1Z9fM7+iOdJV0AN8BOSDHQ+25A9DnEzxdegr0q1plUOvDdBNUR8eR0Cg8SbZS3Voc151KEQr/gFmCojGBg517k0/7Boy9xLOFYhFEUnP9Lmk3S+fVPSO3izRm6Jcncy7iLjDXgHolgcsL/EYe/WainYV2wDqWLsCmlfqTWP23vJ8o6N8n27miFNuAcJDZno4Yd9a4STVY9Fr2r7gq/leo5GPHvJ+5QXL+CmcN8CM3UOesk7wOcxzzEdANXLMFlccCi8sCXb+j+HXTo1jQC0/W8COSaGZUBkDPwlCO7Pn4tdPDXAZYO1aWTPIAzSDPG4aZiknaX5KlWgpfGRSNQfYKt6FMdfXZYv/keMK77/T9ZV42kH3Wx663IMCps3qSLuxozev6XVa/JRwShZ306dxaneyJZMChYy9spIFbZhR4WqTdUv49QhXY54j2hOuOrsBCOwMQXyTxFUl2lMR6ud7gnFForRdRMgEQLLxfcBPhRB5EtUBEHb5mfcdmII8FG0e5A10Um2mkoGg8x+na1j0Z+AdbAR2MrAF/pGrfdG597GxJu73ZY4mTvyXmS6qcCMEzTQfJF6PRB5rJdjZWymcN+kKgxGbO/d+EEpPskvMfNVqyHkgF98Mqz4qA53rKnPuLSjkkhiWCRPJH7+axCFRCalsWCCioYK/kcEnqw56qdLnd2ph2bz5QIvc+woypRagcey/4o46vhtMYgDc6sOU+WeJJYv2YECsvU4RC2mqjcKkraHviebbi1T8XshtC6cv7o7hFsByv5/6dew56nLNyE/VGytkmjZhOBwZQdC1lCUWNosIeWzcrk1bRe+Ii6wJyLUjnLA/EeuDlR552U2+3HgJR1qPT6AYyEuPoiGTomSzQbe4FeDG72+UGiWbLWOagL3kqiewDSIAwlbCaZiznQ2YedJP1GHAqRNIbvVKMpWXzc+Wkm1e+PSIajwXRwEcw2j7GUGs2bVZkLsBUb21lOH9aSAxNy4UQAjsA5QRwrkLmbFzQsaQ7tIK4PX18t92Gam9Ki24S3TT4rPpVO3mkaeWbNBS474rYgJ9EnNN5Xlbgidxyr55ivrWuksoM0O+EjmJAkS9n2OTigDhvJfqRHvgdjcr2vjQp8j6B6ELFfa/QPpwXD0RsZfHp7igKHwuY33Hhw7Y0qfY6ZPHkVMnIb5WID1jMTQishmbZwIB8gUzTd3cnRCZm1uioVQHtotwA46ImrVCdOw5Ns8fmLQA22QLVaOIEYJR4IAeGpT7RWeCc56bhOA+XmZRqwf5zdn3iev5WTEOf/SUaVfJwgb+7iea24NZq8qwLTrYt5yHTcIDpLOj9otHlCnXDox5SITwwbvgzrlngpBuCqdYtD5g1PZaKl05vrlvOGCFfiw8lGv5Q3nr0XCQFnNq3I1ql66fzCy5ZHqCUrX8Rs2QG0DywMKQznnYwH4ruXMIc3rMqVPWhgCOcPdSiMhq88h8TOFULz857UYzIsHHPby772XDnFAjX1+cWLyqt8Uliybf6RYHn+SU88NHsNpHTOKK6XtB0//mfpbtei57WkfFBTHKQoU6sqHkRgb9J43+gpyVk8UFGj/qETIvQ+f4ly8kM/QwcWj+MsH5kcO9O/9KeEF4AWc7Jgs8i3G9eKrBUQucBfAIHVxANJdLYGOXQfqP5blV4yHN6NbZ7CNS2XJYDlwv+l4gHwU9WF1+WhDJI6TE+XqNFzzJoRlBmMXFgf0QxCkEPLCe38yIjYMKSGhB7V0luB3BB/a4br7/sjKH8g+mmH+sJYOG//z1iq7gBbHqGRlQB9ZPgD7FAjdfaWK7SCqfS40dZ5t2zC/y+3pypbL8diDuOseQw8Mr5x+vo28PnUvo57V96TNTdFPyYHi7ceKktIP4+GOTymNZho5TaI8g+9p8fP5qRFybsfcbLp0KoD7j35j3rY1T2LlJJ+0R0eAQu0=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MEKKOCHARTIMAGE" val="FILL"/>
  <p:tag name="MEKKO" val="MekkoChart"/>
  <p:tag name="MEKKOSAVED" val="1"/>
  <p:tag name="MEKKOEXCEL6" val="False"/>
  <p:tag name="MEKKOEXCEL7" val="False"/>
  <p:tag name="MEKKOEXCEL8" val="False"/>
  <p:tag name="MEKKOXMLTAGS" val="1"/>
  <p:tag name="MEKKOXML1" val="4HooU0THZk28POP9trq+pbTvvzd/gcV8t56cq85kb3NDTsUhojRA0EsgEHHMH7oYP1SYpn09ysXVivguJdhTvfyVMsBLTGvcX7WPTor/CmWiWcfk2RmY+GE6Q6T90sFUz2dD7pS103gZfJ6l4USC3jqtWOPR/ue0umjYEY9KlLthURXCUyUuZbmGDPUXB2idlVQc+R1c0j6vNnMaKvr/AiLRzfLeigJs3PmhN3mxXDVoVGoWEaHu+QIIQcPFbK6ByOnul1mFN9ulPVhr0jUAQt2zYeyJ/lN0kSQTD0Uv3nfLUVGg6BJf20rWF79+nxXYAMVVWK4NRX/C0VRiC7cl/tTJ0DagmnXe3mkQLHiw+FjEEK9TeIdYgk+ChDL5oI2Cg5jgDoyF8e90ZhGKttuGmNevhA8RLhtl+mZsPpOPx4iJAcL9FHhM/KIruAOAwY9ln/BawoM+kxttEil2rKyi8WsHaYbKUR9gQCf/Pqi6Yb5cPLv87AFTLQtPRD8xhNjCe3dzummbfeBjk7LV7UnDEXF5pDdPkNVPArFG41vPWSHzPr4tDqjrinPf6Khvi2Wr8HHUc4no9a+LhRT3Mm92FQqJrDF6E6YkyosqRZqykfeh+GxbYBFGTj1rBVAujBRR/pSuMnC8G3ETPjaKpOYnCBSWONvUgsM19i/bvL99MTgftwy8GSgUC6tEj44na2cVuTjGpt3D7aEmvwYP77A54e9R1oisfYJo0Ucw8R5Mgmkn7l+FNJCmA8dBUJ9Hkiibb6HTGJMIbfTv3/i6EXiah8hlMwzxwtfRoGqrPv9TMm/tO0Ldlx0QMVIRKPaCq3hhINoftsk8Vc/jbvW5M9brPhNDMVKW3SktjhtWZG1rookvCqJ5n1l/dy5nj+wXv9lllG8J7J+QuBQ4HZW0VVtx7up9C6S9n4A6AxKAXuegEC48YBVpLG/e4jx++WtOuVeHzyRHbFIdzF8dfgTwCncDFlgGlSRAHg1Drw/vqy8fNXC32R+rRknj0ndytQqYDRcUwpZPiYFoLFtyke+mJw1oHi1AQUa0OxsUbWvW3X/Gs4TIoPxiWtPT0ZrORaiU4LathTSHLRGePKbbrKEwWXtPhJ+LmWV7O3BGxOXid+fwEG4z6ON43N9S5viwpz4zT4MdtHzy4To8p4vM9MweUrdFTu/armpnCPgBFssSMjtUMoAOulxi+D5eVrMszT6aSOtoKzd9kNR2LVz4m9XQiu9pKSv6anlUn75yjo2r3Uxur9eXpyPnHIcOZPLba9YwuIRSC+2GSmpNqyQxZ3HJSzafs5Cgqk4d6Jpgntb8WKFqukdhVl5K7RF1XV2TeR8c5fojkKilUrj8xJo8wOZvuYod76qeHbwjfBoTjOX37vH5NySTy1w9l45Voe505qRTw+UJyoLLJaMoiSHBKAo7Jf8pyjgvTwW/CAdbr0Yn6+zwLl7gf38UK/pE80kHwFOXeDQ2UWeiD8aQaYPxt5YMMpEEYJATKq+Rr6QaX15vzy67vv+DLl8ncuwipktyL4+hj3W3+btZfywizJIV7KsGL28i4niF35wCAiOKNysC71H3MSHFvFENW4hFIRHG4jltWbcb+0Vhu/cxy3JuPfrT/SAUiQnz9kJDZo7S4qzbd3YS0aFcimOY2cZ9zS2O1bWPWB3xSowdt5w3w7/umyjVi+4OmcHAERSY35bZMkf11YkcXLSRyHy1/XkIrYCO/4k3DYJpxFW534VN8I0o9LRSf4xvOinW9uHHJXR79LDRCJYNifwQr9RGPJ/MvvVxJVctjqSE4q/IEXKA3OaZOv0KRMvfLNRfqvmQFc7Uc4xWD3jC4c38G4/rt1TvAMMVKcIbLtJdozm5N2oRO8pkKnhSqpHPAc5YPmGh86uhf1ypvqZv3rhncjrKhVETL4+sbXrH1bNsigjBhFU2YHu7l8dZV5aSCuA8ceIHulAa3KUWaxsNcdrsWQNU9LlvcZVbZzds2A8i+4tfDLZLQd7lEaPLSp9BvAiiIrZUJoLtW6k0m4gG1QH8p4wBK3mGK8DrvY7G34VK0rOVDmLEG9ngfc3Cd1QRQ3koUqzfMdaR4rvPkvE7DV7avL2ZXhb/lk2L6wwUJp97PebBXLlP13xG+8NkIYLjF5jMUcZIW9z/xQx1ooSW6AFLMaj00ORBvouCBRYtgtUurB0OGv2G18/EnpVth5YVT3AM62ugrSXTiVH53QMPerO9ogsibZzUKd1/qUIduuvFFJTOksrEK6p9Rp8vHSWAwH46pSNEMwoPsJ+g0Qr2hzDheT4dEfqxTWVCbyWaPM3eXnw3nrUw7EIhZwtlaEjGC58QHi8lEKEwTjaeWMVNrwDfFG+BnVmY47NMt2FVSf9CJ3WT979Iv1mVieqIWp0Zm0EjNvYC7wmbXh9SDZcIuyLJmeHOSB1KS2Y+IDXylaC4TeK794sbEfj6LW76R6kkjFEwmSn2ppOUIEVv11HcDOpH5nB+r+w5G1zbvoRDeVDJMqdTDnTMj2BpwzDF++/Uf36K0H20ldLNsMM01DGGQ1/3xc0XNpluvpguDp/fvy1tcE0RykPX5KCYC/mUJTeXXPxKKiWkniPWzzk+NiXT9TvytI02bJMJvJYB4x/aYSqzcIVYDMRAJjyzZILsfL1Ku0Kg3g7prfjqgYw4KnZnjBHJDlVgoWOr+eUk3zKSI8wqOizOHQlAxFgs12NJ5ULhQ63m1cIEYzavMRDG6r7KVEhYYL7rVGw8cGHqduk9Tv2CS+dS9nRUrl3nO9CP2czj8mUJz8WJMwKBvp710sxXjn4sWL+/56QIuTUaG67L/HEZycQoQLvJGuJN5KrAW3XAFR/SSxcoTRci7gCACfc3WA2EgtXWfJcaGr7Te1bQ1zGCpgKJJwlQAfeChqN0xSvNMdiRUqJz5u1nqzkQldUk47baLGWn814/LNMLC0HNTWhgAVdus3MJwIFlOVewBFkjzFgS4L5EaWQNDb4wyjNNUjqLYz6VYrHfz8oNGpf6WNiXPDm4GBvDVz70wYnoYtxg6cMJPJ45HK8Ac0tGSC3wA12lwxdBl0yvudG+B7axAUgRyczxC6qfcQjJAFB3yOkMZQrYdXRMrqGv31pPUhL8pha7KHRcAuaDXnpG2qFp3JSof9QLq6dY5tW0SmXuCytAFQOkgyssGYR5pMtmqdIDBLivqtmhWCO/sbUQFmM+xX/yMMrbjOGGEZDgezQG4/tPr2BkHFDrJcY55xZplvU6r3xAHhXdr14M0LXtoBKQL4AVxUQpRyayRIbAQPgcDrvnl1/ZG2mhXAc7enJroL+tUz2w64bs/t/6+kEdtXKKohz3sdZTktilsmzX5GFzm5XPtbXY5rGkKiasKAR8PDfIZkYkGFgXSzy2+EyeNLjP5uhYanEl+EoIJDbXsjIuPSMLxQUvx+M3LYMR3aRctLFQtOg7cUYz0+E0GqS+lRVaq6sFTlKTac+T1XtrwnUb68qfK9QFxN1HWUz04iuw2bGMfu2FVD/7vgttj32YHzxFIETkdpg7u4sVwSskGBPu+QcVhxf/sf2rMVSQUmR+Rx/h4Ba/IQoq0AfgjEuUUSBoIy4arCfDK4VEKK3h9EUpPEI5qJXD8+tQ/qVG13P8tdEQtRo3cHtrXYf34JZOIsSVdCZpasb4Dp1EHeaA87oNuVGMZDiHMaMV3UVpH03iJZA+uMJHUZaM3d9rRxYcNhbefVTdMv8zB5rZMxy9cMFbgq0m6iuNB8McnZ4EgtbVFdTs+ncBA7L8B/3fCUOC66bhINGxm7B2f80zFpg9ktZe0e4zCqbcaeNp9Xjzh4azc4XkcgOXtffS1Sj8I/GfLO4L+W5a1dw4u/F7QgBiEb1glaU6/EB3sEMIWPn+GFd7b3RY7BV6EOPhv40+fmNrtFyIwMRSa9E+fTKYcwZjCE54Q0SX1qMqsddix76meP5BMhcoH47385mh1IgBFAPm+SkCIg0gFbyN14/XYTF++OWXUeWnG/lm4J9M6zzqvGIVUeYP97QBayfcpWbaej35cYBYZWo8GBHbUfWYDpJF92QZcUKP0EF6BLjMBsD7heMtyxXZUz0DVB8Yy1oLOX9moHr7JMkFktmRCOhcWj5UN9HesiIORbbMutDN20R6WdxaN/b8WMO/vd67qOQqxOfStwn9eTsAFCvEPZVQ07XQNOH12Tz8leQOFvvpIR6ZYkrJuwc82CJ2KQwvQ+2mmrhGMhnQ33Hayltf7ibp0Wz1ubwzHxMXiL9YDoWF9eNHAeic/AtewnGOoumS3iglra3YBOSSc+i4iE1WuQJmJt/rUi/B3zJ4sADNVLaXGcyOTX+ThLt/qWDbD0VHpIaqWwTm3tFtC1OKBz5V2wtne/XkmRlKSnL2ifhLt+7oNLzJwZwXyhKU3RUmwSZ9/FkZ6XYY4Tegh3C2tIfG0OG15fuSfsa3IfhTP6P4DtLMWPeU97leYJUN0CXXrackioGZRVnkJgDYpmst0Ax9aVYg+d5otsGQw9ESw6T+ZYqtDUvzTjCUA4HPMEaV3pm/LOfbfQshxVESel5vUlIgck4vf0suZcsVFqHEy7s7lF82ZyKLTTHN63Y9Wy3TBzsWudmNndyVlHvBdrjCfx59TEraXTliuzqyC2osoOgixpHtdJEOXQc8SC1JjLDCE3X8NIu+c2C29+RV6P80vEIzMGO+U65R2mGgdKoU61mA3hxXyY8b/uL6XKsyhEgVqvi+fvSh/BCUKS6Wd7E1xsDBH9ZkULxL3K+JefSkdOd1KQ3+hgQEgN2mIHE12B8ZIexTgf4ibYIzi/oQcQtVlYqKjFsU/KNJ5Qxq7kv7vJGC/OXswuBx626IQlW/C0FvfIw0DIx9vz0tLylg5JgxRoUNiDSY7CMtv1AWiFzVLNzY4WjMYBOPQL7ogQd6BKhfnsq/CaosIUxfYg59G5YgWBjosxvnb+Udz7jJkAWxhbg1cX8LSbe9LIZC/O0tr7Vw9Lh+SGAVHFMq2EMM5/O/hz/G0hUt/9K8LpeDPxOyqcLCVS/QaQfyyvftD1sXzNeUcLzzyBCB0okMOZydjEZM9mv6fq8AIvdhIf8OUanxeuA2ZiHCuwk6KlQrlWD0aeDXD2M8uMWzw/BlhQzCp4AnldgTqJAWb1Fmwmuzu6JaSsuyNtAaVLG8HS3B5EqmPd0uaLSJ7ACyVmddtnFg1pMxgwj8zj+R/uDzi97G8ZXXHhWU1YtmHdAdejtNboP5syjuxrWBLVBaZ201wonM4/Z687ddgJmrm442FxV7Puab9uQ2IaSGIzpK/xruG93jYE91+Lh+fbCQeC/YkrMXDq2EMF7cDUxK+NwkkuI37klX9KpJOisycfsoXygrVeI2OYgkOHAfzVg2P4DSFxW8sHRy6ekiHsD9MYamjV7a1LGTRDlHR67PwH9QSSGqB6QDWsQB9QFIBtPOZnujmKfyKPTIem3Iv+jr2Cu3V402MwVzh6JBHC7lGo0ukiavQyEXA35aZOG2mviEFX/tcod08bs7hRzG8IZLqaB6N/tGaqyShrPfRt2FR/g0w6WwCUwph6oNDruUvHGqChudAbiRmeK2AcKYkvxiGjHNZzxWxxu8LAfiGKPwvtAdEYKL/FwatDud4bsGkmoP7eI8Zq7SgqAJmj2wPSIZswODQ9jkN0j3KMWLOoBqXzlUza1dQyf6B4m57a7Gi6QIjHXLEa5Dd6aEwhwtuQj58GWJiQHXKQYNvZq62E/Ph728InX3HdtDr3xU+auY3y/COSlLAfSg9KHQ7p6FO1LSeXm7ktw+p7TBIg3mRqP4ZC3IY1dbzpDtBYqxQE6ydIM/QGv0HJ+NsRPLcy2apsu/Rf9XyU+APIQZAhmfVqwJso0d02ERMu0z1lgTrTUkBdY5hfafSSwJtZwU5vuy4e+ASQXmUX6Pof5JSt5DehJBRi6EHMsOqfG8drSStsVSH7Z32jyzkcCqWJueQkIPB7gdv+21LNjPsXGidfKRROyVe/+KeHBLpf2RBFHd4XZAkdG4wWIPBWdeJWMDdDBTKF2oCCjFApXN/FOFIid3KayPvKNQJenVCiA9VByna8jrtJk8NKsI4KaPjXWocK6Jjc0jZosdWNwjD03uWktdaleTDy4tjIALD+wfPmNytMZBSUENiRWxeGa4ZR4b0M92NUoyCWZVUdKSb0VGOS0MXLXXzfv1lzFo2siWbApzrAqHdWl+7/PEVeaqn6vnsNEWdpD/Yb09FLbOMXvptVAHHlZb+ih0K2tJYH/1dLfKHJ2ePIwsARbWO9dzQiyKoO/V+jlA8hJakQ/Qk8M2afIs6g9x5tdhsMwxUNKWHE4fJmNrQhrfrruXZUnWzw50BQ83ILp+F5b/1wAT4Ul6am46Fchb+Qe3SL/38VcT+lGn61WPwInMJC7zk9khtlx7OBQVIxW597+7GszongqGliiKc3zRTrtXLu2FmNne8Hy+P1ikbDGsZS/BDPDJTqlq86wFaS7ShmsOWRJt4OICc1OnwEw256onx+6n7p82Q11CI+ayjFILLP9pvJi8uxncDb51/At9syRsKa4uNccaccOM1xm8dZ/2FNIX8+OSzLgq99ImXs2Rklk9r8PZ6J7gf2OK8TPTspxaAmCjhEVbgIRD6o2St+mQZ84/2nyoR41iOiEU16pY0OL3OXIp5zdutfUT9tpLHF7fv29eGHram/8Iz4Wlqy/g1bhjrv3vE3BxPjSJONjg4jM6psSb3VRO7iAlcewvTmQooEcR2cuiE8SY9vVwayJ0oyRv/+LsUhzJ+VOgfBe6yje7vFOcqCY3VcBCV2qNSPI597piQglbLPjH6YDKivaEjGfUzrs9cdpY57m/URhQ7h/VbQN2EUgALAg+CQN4sr+PfDCvBfTrAzDNIZjHvlsg273V+U6ZQ025OK0wdHfCmUaMqRHl4Um4aMd7xuBo5A5ZgQNO5ZMAt+jOdpb6QCNMZq0N3yBbgMQLUwQSX36lh70+3kjQaYkqG7H70OuDPWZ38CDcQKYDdPSbnaoxHxcGPfoLIzbJai6DpxcoWIH6gupPlMRkiJ2+wAMeZq4PdGQGlHos2kXPHY1jBOZ58N0uVue2tLGLbuSN5lfV8sn3AExdilIzz25I0CawQgEkEYtVhaZ0ufMFtHzXV9vzp/7pBwwmvOz8vEHp6w11eRriDesijVYLY9XzeNns/lYOWfkl6TGWk2PJMdLEAbkmq7Bsg391CqzzP0WvCn4yt4IQQUU1SWgAg2MI2ReOfrCKcSvv4QrGqDU8JXgeK6RSG1Y53TjTVx3Ujf17YlVAzaoAQNa3QUI/bYX+Mbi0TTFO1tmChczv1nAI/Z9ddIy455JPoq9giLI5eb9BaNDMs4PErOO+VgdRVKoavG8wPVaLXT3hD0XsQ3g9MavFuCySHnDVYktOOAD+OWUu8bAIW/Zu9d401Nk9T4J89oD2VSULn69qQnAycY8qFcs1B5wIaXAL6E2wOfsZ4n42e0U4nKQ9JLP6icydbXnLAicHgxUrDNINkGtDNql0mShRAk5ttdtAXVgnKeOvhFOSDPnQnqBWbcw0r8heDAmr0t8m9aI4B0HkX+bahcQ58ty8DsnkmTMi+2UAEiRRN7InjT/el1sHa8dQNmT16M3LkQ7KI+0QWQajj5FH3vLBYpMgc8nRyPBg3Hne0DsvSIOTw4y5LX2ochoLgUgfnAOp5/dKgEUwzY46DLfoqUKLr4NtsAiFYpPyDQPK/Yh0Ix+e+XL69v7d003fGNr6EsV7hdlJ2WMU5xJD5KL2InM03Rd8p1lVJhfbfhoPCjaa1NGR35/cDO9/4W2ndnvsG4AnkwP7EPUBWh8knvdHnSaVXJ44qqjRS1gyr73rZnH2Hi/ipsbtPYZ8ngm7Ar/TfoktzR2h5PIVc0FfZqblG8rn1cPhYCkQcUMDK5xz6DYB7bg5Bq0mVgOXTwsHv21jFNqI6Vmq1JOK1h+gydu/oKv38F3h+AJ/XSTYnoreggvuRly6+FmLBF8cFaYIU81cLCYqgjWrthhWSFQSP4QNupgmgt92YR9/wCJ8mwRD7wQHHcl/44fl9jTXIiZ/lfTurCu5JgpYllBws44rV+PLajQDSE9YpxcWZV1rjwtsWhrBZPjk1PK5nHAbXZR3xqWPV477yRnQP7F43Gvbp2xbTSq9nplSr92UrtoQn6FOkxg9Mersn6ddPAiidfKcNsHE0+LxwBV+al/Mj3al2utynGiqh4wK9y9PR7XrpOw+khtjPG69Ckx9RBWnUFRqMCdHQV2Lx5kkWUHuKV/+JpAmCkqgCUGF+1Cx3fuJyX61MBBLNNJ/HnnwuFjL/tIUK82qpSGZEwod7yijIS95blFKo8goKP7s8Uu4aL48PK8R04kUdt34P+PvwugfA6ssaZwrQvDhhear3m72ZHluDZwUahW5pijtblF8STGNPFeDniHKLx13ctHLO1YCryI8genPSr6Jj28+7opNeGptTZQeCSVh6h/6REFeQp2EnDrWpUYmJ6hRa+zM/2S2bnzMLl1DyDLXP82bQjSBG7S9E9pJ0x/QQ00wnvSIfXHpSELWKp5eOyqYP3G55zTfCBOosiljgoi+ilOqtqXwvzmxj1GG9yRptNJVSh9kUt82l6HNOMtzHUeyVUzKzYqaZ3qGLHLRnwUi2TK0LQKI2crLkRQSIeU8cROuqcr6VS/pzhM9JSgyDjtXdpOOZXfjZ+UMXNna+9nbVnFK1wC3CVzEDTFvHK/fa1v9gYBMia9xcuCy8+ZJHkcoxotnzHcBkXGRX+JnHiN65cijYV3KXZui/XecevNFsqQinnAUkqWSxd3fC/FIZAV3s8cZEYesMsIMm7idJkBRoiU/4965zdQZ8OZEvkSZ2AY8FIgYNy+TJhGUxcqp8Bbht42lTHH5A0iAm44KwRrNIqLknTSRNkKdR2y/GkiUUMTq+txPIHFWi6vEeZbMrDLSknbRc37xiYVD0E8fZkdLvzRGIDK+AVtrBBxuOfWo22iQILOj8MBmLEcC3rPYQVFzwTmEwkdGUu4GDrvVLeGnc5eR2e1RA5pMKCtmhZoHJorhcAygTnSBcYh7SyTv+Yoy8LF+kAdD0toQT9OEfnniI3uiKvxmp2eSeZJ/gRuXSjCBFV6HyErfL0ge4uaRYv6hzkbKJc0dBZDVhcwptC/LaqOTiPnsYnoWD/qLq3tVarJFkjpmvp6+e/LHYPe2+B+cj65sJXOtYW1wJL0Kfa+JzZt4MkjK167a+cQnt6W0s7eGwuWo36THL52blqL8w0FM46rSHcxxtjHznGqgmc7EPjBgS0oq9+gVkxpvcaFQKqvcujF5p1N3cdOLvL37fpVP0OgFnnklXzt6A+/PAG8lsouoS5RpNe1gbP2aJvvUe52L94xhQfwXnwsvFffYs7S/orAZl12mAu6xnrpDFpeJFBOjedHJi2NDx7KPAUi0bOKQdwFOKk/H2VIPkaG1H4tOzkNnTvbXe0gDDTEdjgk6304tLcvrfjauoQLLUURRWe2WBXbIAee/k3Hl8BNeV7fXnfxKPeelLzinCDsJ80IhJLYn789nyZEMR/neTtefHg/Iw+kZjzI5V202up+sanc0Frl4nd/OOcRQsPoHZ1RzV27yXJRXAAF+MQwSQpQ48J+pwLSiq12/hvG99AJ0c+mhTgks1bG9IdDClR39lsfNEYPrB1epDMstz1j5tZd3Ixs4rNdJZz0s8SZV5xZyhs1kBpPnQdr1jlRgs32hUlmIc41a8AEUtxVhILNxtPqmnIwjejx/nZxIFrklIiyzg0lP1gkNiWq/xQ9DelgCfCqhJCGt1pr6gTdGN0dFvLapx/Gc7XLUaMW0O6ot28UlU6DSuUrQVydaaue30VFz/LNJlpR9qq03pm5MViHrnRKRGk5muwTZewKBvdsFJB4NrG8wbVo9L6SQppijjAAZk9/6uRKL+lTG8Ho9gw8dnjCKEa1UqhXbZ6oOGq1HmMuAF2br1C8KGyrzXqNLXybN9OBiaBJ2GJLqV+zms+lan7lC06A+6D/ufpA++gORuHznkPvOhsKmEnJ+2ZQ+hI3XrlQzdXMMLpf/CoUAbt4BhEO1SSlFuGBU5/r2EqyNExdzrKIz+wMUC7q58lH7+L4m7QYRprdxWRG+vlOjBs7irp3ScMoWLaPJwKLhU4oIVXDKJvY7XO+V/njOIsTXhI7RrNF4a2wDSN1Bfnpma8G30meYJ8CEAOiNytZdZazPvYSClzaGwe/j0dPFp57w6j/RfCwKvdLLYy2ktXzMfDl7Vkq6DhzYAAjLQi5bB1jXeZoBTUmciVn0DUdJTzx7rLoVhqWKRA9bJeyVduESurNfPmLH8frl1j3tQhKfltlpcHPZ8E7I61Lnm19w6/DE55ILkVARZEN5/ee8VplAIkkOcir4KuhLD6rItdeZ77/KNxUjmvbRSE9i59iN2/85kwI/meYL1Nr3F7H3F0s3iYGjEwuq8cbGb4a4Yj0+bD3m4NZRhIsof921K4/RFQ1rFRCPGlNG66oZ/V6WTLKsIodIFVIXxo4gX0IS4NqWLQXrqrywvBZowsq/tO/9iKbQgCx6HW/UJJenBJ5lKVGNuebiYBcwRL7ecr8ogdey0b/zU+hpeIBxFzuZ/di0vUJ9TQNffbLyqqOLIqP2AnduCKhAp7slraWUHlQVTWD1a/mabNwcJ3QFWluWq7PqCkYnPAsGQi3baWjqLPrNZKfxlreNg+WY7rHh//fiMisEIY0ptt6HB34M0zfGFuCeneyKgqYHB9kOaOV6qzMhjPzgRmN3ZYpRgIvxTvDhUCUPlN/dLEtIx29/l9oSbeSk+RfwMcKya7ZanavRysMlqm03sId+CxHSdudguPwZZpFNeNTlVz0MuWK/1RGSYw9CIjAGEr1Ply0daHyrvAb94eLxmv+CLq0/ofum6B2XYNAdykszEBf1VWA5gg5wSWm4zQXiMeveravlkGNxp93TZWdpY0ovE5GHcI5qExbBntxzM0E4k6HHV+Ij2xQ8pfNCPFWI3M6E+Iue1N9WnVTjTrBrwFBCssk7ujZG4KF6tgzxWBjpsmezOkT5fWq7VF2UEKJbDWOcOZlCvzT9SD7AgfQyuNxu+Ni86bwauwqrkrZbvPiEaI+gpEFYn8Q3pctv1C9G6m4+HOQ3JKJs2U7RS5TyaaOf3Os9KAK84QVWxLK27qCYUQOcZBu5Mzzoun/6hAoTMB2Gyl3Rt4+RGODJDnA1E8RKUNnjUj2ISQHSTZSROWJ7tH9q/fz2PitpMX9cdYKQNx+Jjz+OsOx0oRwPWSxI1ajxuD6gkJWYar+7VRg3WLTur/lJIhpT96iylBhLiRACHCxuxF8EVs4cAUMZhWTop/3ieyQ5m7A/9sqI/wm758kfI4IqETy7N5hWlIBeoJR+zUDSXY2m/M0gTRDfC3zTmb4qfUzt5n8jB9CTG3POxyAl9Tihkunx+h6qrbU07OVF4qeukn7c+8uEIdb8z/cP8pCSctm7W05vbx/k57oZ+VkE+ucxUUHo6c/nDHxnpcwA/Y0xPs1+Wf8xxHmAhGTLoo0iZ0bc5pnY7glP5svDsb31CsIR8HrMVRcNl5RwNVpgFffrvKfSs7JmVSA82KEhMsNQ+s0cW9DH0fMxqQk0U01t5FWN25DzyaIRYV4azRkCa7JiK5HAJeGjr47MVtq6tzzbKMLaYQS93Z5jAet+y9pntQLQFj5HkyPXrBOaB8yoKEYoGxT0wvLlRWGCwW9hngNB1n5dzS1FHD6HDbPOHmrRk8AGZsCHAQGtWj4HBJKYaODwqq+i3U6ewG8g/8Fm/dO8aFw6wZiagfx/lVJQdg1HtqujsZT3A4ilQihSTtnfHILpJezVeKOgg1eX/Yz+nMY1wIQa+te4hermOuWWsE8nPqXAElMlzol+qCZr/lcnWUD50PiHDMpbfd37SbYisSsZMxDuEBT0NztBoCuVJUubkEtZg4xmjnJCeYhH0a6BLy53Ifcx34CDKxU7OGlX9u+qy8qnk+/FzR1UxVlExXX0D1nCZvPQz4mc3FjFEYZ2jjtlJBpE0SwbwdN3Z6jq+9W42r49xkQdlZibS+mM+X9RCMH8VHPK+f6wSdVl1ung/sb8fJ7SZDQuG2YjgqljOSXMWMVuI2h3BXpp9NxI/8IXU939PMIUItNrwmy9wmDHdFpcH0Hg51F0+7biktTY7S/4Bh0PLOytHVZl2w0DjHkS3Zsyc1y/f33la1O2jaLkzT+1FMKF5hhjEVlxiDdv0sjSkr2b2JI2bXFa0lKA/GmLtfaEjAzlnA53RBRaXsBzYBbK//UBXcOmEh2u3/iqGOR9Ox6QQgA+0ZtGdG1/bTfqzKwZLCkcOwToCM9eGXd9LM+EAbw5slPrinU0ilgPTiJGBPr8XAzPsNMUxGQJl3xoGG3YcsH0htmins+KnEd6L2CEM9b6nuqwAiQglcI/iptxzLth15E2ZEV3gVfEEzFnBzwlIoimf9+TXQ23xnR5dKviXH9Pfhs33kJdb5heRn1UEWuUVjg8Msd95d1PTqwDDAoh8z13IVuX0zcmYHt7SRJvzkmvpaI3GI70nsyPjqrbG08rmCLxDHMmWjo5HygUrfy1OtXNxQelNabmWDQ67pZPOYLeaOISZz+eSUZHshvAPuhqJbISVIYKLCvee72/7IQ05tjqRBgkRYk7dK50gDWsHgQV309xulDrEhGHBOJXjJYMqhsgjj/Hg+f1ME/5TDi1HZ3vBIakeuEMvwu/OlKNevXpAlKgcpxAPhnexJaS1QU4lXtNiVxUN13eNEXD8p73ZwQkm3l/TH74LfsMIh3guoXrEsaOqwSEAMk+52UHJqCl3WzxGN2J2DO86VCLvBcPcHar9B/2EhvVS92rE43fAoJE/b3gQAMGbf3okrExb8YGgDhdfDi2qzUipMFIRqQK5C+6CeZHayLp1T/GPK210AosPeHIQ5m6Gri09Al0jwYEfNDw1RUytFDYsnTvasbhuFCGSfR+/HtSpAKKjUjhUTHUnAv1fmfjz2CUMWWa8cQgdEKPx2w7X4sdP+QBqwwOnS0tE0/GLIyhxsxCKpXsEBOM0nOfh3Zur0EpeykvllNYKbC+jOBO0i6nTZK+WBNgl+2yOOQaNgpYEwE4fSqYqGFq675XwgssoctQJHuqPUDMME/cxiyVf8eRQsbchvxt4/qggVMk2SA+bbdRsgEbUxBl8PntkylyE2s+L15qzP+FxUsY1AnuwiywXhfusDHEU4Orj+0AkhHQqzgh+8IeK0CGhj7Pb5lK+a/C3GvEm0WJGpLZEsiqAv94+3tErHnulHsHnQeuJYixxDtAc7RD9MYjALLuF+onsFG8Ymd7DPJ6Z/1T8oJNOko3ItGANuN3y3vxMvB+HDbr+MiWFX9S8pBZk/SmGh8XYldzjKNF5171XS0iPQ5fjrgMlGrxZa1Psi5wdRIm+kwVeA3KBOBsdMgmQqy1Y6mHbTPMSZl3HMJzKNPsUbwsRmHhopq2XyJbz/Q/HwBtjwkbCsWrUGe51xAiyyhJ6pfWR8mldZti4hFrVe7GkqeYWcJgIP6kpBRzsx4p+os+0VKJeU5cLbck8ImZ95PLOt1UVwhE7v97Y0Zc+L2nfjWru8XAT2x2pWZyG1GLL8MOdsegVHyLTE85h2hkLiLOMrTfRdf3TeOWkFMQ5hA8Z2QZtFkWeeiH8U1F7kXMtIyfk84kNWOTOuMV1pV/Z20753XvcUfoyKUJ3VVjYl5t0lPTd6yF3cguaUq9KFIV2vX3E3nzIqd8dbiW1VqDsxsKmka0Nf2JgV65Fn9jaYUybTUNdiAumpgwk++HNjl/VoetyJdbLHS+8jEQ3E7bxhSEDJepd9S8DEWE80783nFv1R8LalyU3jqOMSpnP43Itg4KMwpC4+MMhVpm0G6ooI1vGgK0cbeOta68gZt7Vp5X6arjOT2taqE585R2y8n4BX0Xcc4UGPpuROVbbCbxbnYJaTVFxl6Y6p4TH9JKySiIIXM8ZBEdi54SS4DSGxtSfmWKyIJBhNdXyNLquLBYYOibky7rANf1k+jwX+6yq2b2jZDZAtzMc5A/sbJ2aVqRC8SdK1b10Lr4ho1OIBxvbqzUFKJHEeXiYgUMobSO8/Q/T3MUqvkLXX51Aq3eRw+wkI9ul+vYA/UNQa7o3GvPzF+29UTf0z000qcVUtwWkQVdjMA8B2eI5nJ9ZeWdyaxDGjFaoOGjmNN6TVm3Rqu9AtVcq+PD61Gq+Lmu93gTd2gH7+CMUYy1ehtq5qjA6nH0amOklwSL5ya6u2f1Bj8CgoThU6jwxEyGDY4t+2nYO2bnjVYPei/nvk2//JlcsjVzywQSEVSSYs2oeUvsuQ0l5LXAjvjuyI/JMOh9nvG3tqPK0tbCL8Rh5Mu/qCUaSqfK2RPyHqLCau3j4rX5c4fRd9oQ/+QIsHp05s015J0AHHbryA9sRF2iUVcXvjRKtuoNWCz7u/bSdy1EQVBzVBRxk7iu3mG+yhIAy3Us7nYux/S5Oz915J3MhXgcO2txaPr1sApJ4809ytwYbBE8lSkEgl7hroWnYAlf0bNjAK8CZTsZTwkbMpER9n6RjYDlS3PPqU5XnusppFpQB4XkxEyFL2DrXrRFkeMh1EcBTBcPCR6eilZpbR75wLJcNP7IpQ87IJHAvZrsfkh7jjA8+ThnxW2xq3MtV4sVw9A3Ak5AuQ/hNMXGudw2gMUCSjVEjnkR3iS/alvoEdTXtWURg2X8Cte+RG9RZgbAy+11PUa6xjU6cj8ioMlWyyMvvhYwV/lJH3Uy5v6Ndz7fgKS9Kalg4IhgGs0naqkxNXWCKPPbgDJ+JZWJYYfB8vzR6nmRPg4OHsO9lFSMQWMls7ar2fzHj+PfdgqxJ7zbNaRjOBOrlCgkyXtAvFVWWIRxIRmi+CsNckhJc8ycqtG/n6+2mNmq+NFDTnedqSEs6auyjZ+b0JGNRNK8cTZ2vkk/YiiS90iumimKZR+D8ZYZHxw16VQPudv7VmeXCK7RjC3TxcUjQC8nY+HcrjbaDoam+hbxl4EUE8j+EN8AYFVDfWOawSmhG0SYWoX98m8P+NmbrgsSXuE9NVsCEOctK8ACz0CSCfMXcvaXleanw6N5ySrbGAWqvRun0mdd2DN17M7xCd8Id0l3yhoZ9x+Wnw9uz3uIwYh2UDAFDkUm6XBLvFZ5H4V3ekxVhY9hLCZ9j/raKq/5LR+s5Ev/oleDfoyi+e3UYB0qCbZPp8KgFEw5C5+j/ZBTqAo5i1PHttF4jDTBatmssqyDPnJkKtAdh+HYdyBmyeS7+1ujQPnlkCkgIJ+vCYq454GcIjWECPPMJxJiMVY6jlIZ0WYAfeV+1Ho7UE01a0Fg95WvBhbDt/m0196CIDJIggTPMgIYlPdnh9TgY+1Sd0n5DOfP1b1bEIbZxpjwsWBeaLbHipTWUPKTMbQDVq0Oj2ONpD4eiLe3org+ajue6JzE1/pAgKYDtr3H3hQjHrYJd2hnVcvr5ud1A7Vl0shivvzOs2lASKbWklXoB+02onNpZXmQKf7zeVezMJUVk6Oan0k2++eHY2lJFrGkmLgB8Pdhb6TQblkZ/ANpltMHOolwgWvRSup7ysO2/uW0pVzn+lGSkpdXHRVFrM3gpOeIPMpFkxBKUpmFsHP42Xn2UMxfTuoZXuaewnGDNz7NuTbhnfiM3IHKmEvHLxVouUhSYB7e/DlyT6Qd1LfRUg9+L9DplqzvK05TtYvDS7PvJ5sNs/7gtijj4C/ukU+ma5HYBMyPpiDa/xpfddisYDKBRTBdgWfzgwP9GTr4yb0RvgEqOM4YDx/TzX+xeGwMGb1tpI2d2dy2aCfD0aE2WOgQu7KMQMeYmcAkvM3yozcv3zQW9SzQj5U4pSRXmDTX50WbixSX1vZ1V4CpCbMm/esLAocEZOdhmnx2fSgEXauFM31FFB7pVWZ1NCGtce7i5pX8W7HxIg5lNwuv40XerS4R/Qhsu9ogJBqyaNko9dUxmiylwmNTVPl3M+DQajN3cQArapd2r8pzIsTD3QnSeJ5z4KsZ8SNAJqWT+LCU/wZAAd2I4O5qX9lE7p56UOAxiN+HwIG+uZZVn0h1agz8g2+JUJixwztznmQR7guzCAxiGrvzvPquOwrh4MTjEXjC8v/GYpKLCFxG374lbURoZzEOTa0bmrZBSenSeSysMEepHxiAxOQTNDW1IwiHjSCxyMLAJTbEjQpxQVQHUp0vTFFC/Ldn9T/3qSV3aZmyOGcHKY/vDHrP2WsutF6+Nyyf7McET3wbfTj2s48+t3oBJtGgROwRe/Sde/2FtDB2AicBSJxicTam5TevD9msX1UN0kjHWUzi8YcDEE1Gxcnc9DWUmp0pLoqo+pe88rkDpSGCGmB7SGNaotSN9FALmxj3KA8WYV0KcN1G/koAKWOlbLx9d34AAE+5ZITBXK6TmcRWtJgNNyoXa1OUKIxPSLkhhLonMKg2Mc8MXO9gko2j077Qsxtwo9TCoVpBcKYPdaRS2EFJWQ41pxmLotUjobGWzyDoJDotLrX/IDZt92IeKAQY3czrNe149lXASiz9nz9KAwuUhhw9UiYxGnfPKPlyfFRo6TXhFsct1MbB+JJ7K32dpEZo+7dSY76yM6/It9avuqcYmvRIrP8A7HQG9cYUbzmUJys/6Z2vVS/IZ3l9Dv/PMtcsQlP18iMYOmBUVFoRURqswYma6+WSLFPn99EB3pzjhGgX2g1DKuuqMLMwhUV3IVp+A/YBuD7zwyo/Dz7ZBHfVbHSy4QS3C3TbuMqW2CJIzvjd+s2QQfbTy9vnsb9WTUUnleM5xE8fuEsWO3GTWNfNax1WZkx1hY3gWX0p3H0SKcNkMI4f5ISIWToj0t5s8qyjV8o2iPUCtCtTavN/ydo9kgB36RxI+fKQ+HP+57OmCSsiX/m6A9//tKO1TCz8YrBG+HkytCeo+BanRRluSMnogMQXBl0CbhHK1vg2SKKurfgTwIStcisiHgdgCywsGCalIbZXC7UU+uNjf4kKmN7LkhHc5p9lJuDQoHMBh7CAyx/4OeMhh+++xxzjlUJMzlP6E1wWkUcantq5u88d+VXYmiZ9BavJGaJoJK5W4TVdERdNuR7BdTWxojcmHA/K5KDPwMRF9DyIDWg3kR6VIDe1CVhaatQy46o5h2cfzDkKjswd40ctvTpEVnsmMQP+ONkwa4lFHlNjr/VRco+Uvxuy8xznr3mXMHK7VKkA3vk1HZiSj1hUz69SkkbakPF89ug2QuQbRh3W8kkowwseP586THqB/uVbcloeJYBW4oXa8xDo5xIIZz8SEZxPgFjj1Xyw6sUH8AALcIV8Uc9GcvBIVfoCTIf/hcIEc6wafZlD/6/DXYiAVXZcu02Tb91hLr/1JflY5FaTqXXp8+3ZAHU4X4qvte4OkG2p55ldWWB1DzM6cFi//pG8qQzB/8J6Qa71JK5QWiVyElYekf1SwEcBy0n0D7V/Ltc2Rf2kHiDdIiomZdCGHSx7ouKd661L3vKWPUGkwv7tx9DZxscgtl076aVBGqRDOUnk/4pHgS7MphnZruVpSR40OUhBf9Nj75MzCBWcN6/7pCSo6xfN9ffTY6/K6x1UTY2qYs141L/Cqv7ZGKHUdRn/ZB5mZM01AMpMb0Ttt6faZep6y9qn2qF7Ri/8f90PYzn0jMS7sWTKHC1Mo3j15A3gX+WcFH2LGjc+jqfq6KqKxnLQ+UfEvIC8pB7mcQ8LNfHTkZMhDN7G9YRUTBY8ito7ZifzylWOZopj93Yij0xvFBninDXIFzxDRkZYGHDzVbTzqfwCf1UHECVLb2xy3kPFexV78uC5IYwy3unNPbMql5w+7UY1SjzEptyOYbcAdV5WfzoQoGVjO+6DrOjgWNXONk9L26vCRuV7OT2iQc1RFvw2M1P0OKf/BDH2qUlC5ipfBMXSHBKC2j3HbM08ysY8PV47GCzmo13e502+hzU0eudJ6d3rcNTfmYlUQ+EAiCjWIJQ/o7yeVvykaFXgHln94xV8GgTcHEJTLckR9AV1eaInOUcVxAz4i48sM2UBCVi5oRJxDV3NHfeHxDM5cmFMFkOGPzc6TpwkruOwwGUZKVeAid2aESMCZatHG8wrNq1y4lhj6T736VV4/G/rH1LQ8LyQuAS3Wj2Ko2J/AKDKg+mVQzeNXWM6f6j2v5gMB2Wjo9lSLoXOi9f2T+gRXDODeau33ELHJLOOM2f/anAFKKB180Yki/uv8EPJPjDgdnGWRRn8m5LUKb8avWx5LGPfL58QMlmVp5HxBXljPrblGhWf3bqu86kT/e9aYQ7uUjP1k+TIBEciN7BrHjMo4ls2Qxnbbn0NKCpPAyacY8EEAJ2OUA7Am/bPI+yiFp15US5Qawp1rg6IO1JtT4BbWtGuEVNLks5FTKUU0CaGjBy6XLmJmvDBynn1jNh8iofMPwae0yQA/N/9Mhs/rHUPluVGXZd6jpIp7f0/N5I2FpmlWALjYWdfHtsaDUuvTCtgoyiGfVQyTNLZqrKZ9MDUxq48OufsXY2pIykSsdS1C4xYt4l672EpR+DKKPdKlgNASEIYTgqp3VzDE8kxzEP3ANlTPfeSCM0kCC6BBvhnF5H+6MRQvxptFqLDO8ZFLXDkfj8Mx2qa8JbsQ2tdICHYKSUYJgrA2hGt3XId/gPHr10BNewSZv+2Msv/zrg0aB3W8E6QVjQKWvmY/a9GxGaV5ok9ZRykCu8S1caObnL+hveYNIKI2Ud/wwXHz1pEVZfdQKoI1LbLT0C/O0pSj/weCWlRIEssA5xaunzg/bnM3PEHewRe0UAOvtleEGNQaejC1d1j9rh7tbpakhAI1ooq94Y24oLYcSs9uTF9uyJI/Ac+PkKeDKFNqNS3/B75U/agOX8x6ZbqRjZS1W1d4YDKB5LrHSxxrC6QEtA9Kf98tfmZJPGDQjKZsIP3wTpeJuHEbOKZOjqSAThVII9oacdKFVE2VRkbvufuohWwydYNYMel8x0rZaS1B1HZ4C4isenphr2JMBbPt0d3YS4njNp94GIw/FjdSJhxRP/jkA6jCvPEHWNMQL846pQUjUCzq3tN13VmFq1eJYN/vUkGZ920DOv3XUveYH78Akr9iHrdWBcG/rcypoxqzphd+/FtOxvkvj+maoj0nGZt12umxzt/yxAuvhpMrxZsFaGuvcmgVyUvaHp51se4VMJkjIlrRdyt7IaFNXwRTcjvEivPsM8kNLf8LZSRjCe/BHYlAq3Yss3XD9VWW8w4lHXyupzqkf19PBfr7QreOnfXuudJhLzGyUPu1M/9pIDMZwBRb4mPqvMUbCDsizHXTXj8Ji/uidUKhDLjXeNagvkJV3IXcDFg4CT1IMKHtnQQEG1CHsnbsWz1YNUukmbZfsJK1Wsd5AjItexNmCSBkOilbR2oHJ2IMbhBvr9I9ACIb5v7uPBCKAujV6pfxQwgsC7J5wDjaYarmGu45xNqbVf7M/pyq7oDKEjidPdAEmM86qhP4+Hj+GafQq1zrDjavg0m0/HbLvbwGdbBrt7uceF6crwbk+pmZIo6noICWKastyTjmJSmj3Gcs1R99RS/6Jg8qt83m1TnXGGsIw9v70W7YjIQ0gQ75tfn2Sh8KSOv4+MjcK51dpEzfwHZyQA5KL6feMA7R99cj/Tm+knac6yizsNEAoyA1qWP0asaPD1O4zq9kGc0Jicgt8rfj9Jt04zOwdSV+xnpvgUbjBMKnBCTUn9VNKQHpyMPzHfViv6IMUlffoCW9RN5XWwOrYbs9FFvoC1yky6EGUxd6J2X9eazisGt8ESusNYpXL2b8Q8AZ4n1Kdkxm2CxZ/IEb4rgKk02FYtNoGW4SsvPZWX2gNoiyDH3M6viJ29UooZsTEbIstP1K7sxLnyfasv2/xxY5rdsvkI6aC/8S0VGEJvS5ZLcRfVzmFC95PtdM/thqZn+txrRPs6FWQsdH6g6KXP97a4WGRCeg/Z4nLTAAzUIeciPYaRf/hEZWKMfHddQ/0soeKLcuqrjZejOcIzOwNJidin4RVS0VXeg/uwfi/3nQb57G5tk5VG/md+bKXK7ICdA8cl5wXaRzYYWjbOck5hzcwOS9iCoRol9x2ddxqVMXSuc/ENGtcib3/+lbJShfSgNTeT2+KnqRUc+IcijhlhewLH1T1aEQuELXF//pzQ+jptnJZWMWJqR7Uwj7FvSFbgVdJVqsbz5YV5WQxRGnuud60FL61ATqt4iQLzsVWd9whdoR8Ss0Dk6DKxD9fSRWwmEap1HEGLbB0c5upnQDXb77SOw+fRBz4fqWFPDjKFHnqEqtB3LGvFYFi2NCddDPkl1zndgffFt13YgUB4KLrXl5M2B1o5s8ofpsnjunczrNvG+qVQ6s2kK5MlfCFYetIaPTTUZxvO86PA/oHNJ6voVAXrB4n/OWq+AWHn0CfijUNT7zN3qRLlKLdgjDJaPx0FWXktD1fjl2QDPeRx4fYt8AWCBKf4i6fwIe/pMsZ+yeERMx7OJcogbmu/rLeEYgJeONV5msM0mBtU3+GIWM+oiOB2gGDqvpbzIIG3q9VBXvD8EfpASgg5K1+qh1fgvbYRy8FNs5haHrdBiXdmlDURfN61OSW2ugRUH7PB8Y7yRpqrTP5WRnSqtVZlZzgjQXh7LNlyv/KdAiERgAdcXauJyrEwVsRYswDvbcE36mKSUr5P1PVxj1LQQzq7HXoLFqKWTnKBT4rN4toMDbusA/14g7ES3+V/JvkIEUHKkR9500mxSYV6Mzv7QxL3TCKb00Ze49hnG3DBpZSEZxjiZ/Dhcb+thnjkBqAMSEDhOQ4UK1N9GlkujL9nZMTLtOa/13RdaeM4VSezS9pTqDgSkO9/YBarM+o0lyGJofNy8lY2S0tuwXBDse73Qet4wngkGpx/Z6KY0MN2CoJfhgJrJXxB5Dz1OgEEGpw/LFfHHCwOB53t8jIH+TowAKHymUVHDoGS9hYLipWef/DmLV7E+KqVz/lvZPhK9U3VxJMDSBLIl4qgXA3uHR8x33YM/JmFyNDz/1sECZSAx+Zzuj7r5i8jGTEekU+tCZx024NauQDTEoA36m8uJ5jsnFlzp1134bow6KM2Y++phd9YBTmc13iQ0V+QgcAeL84KwvG5EyVQyI66zJuQveZtwPgeiaVfb+wbRPKpMsZGmi33J3JF6hYkL98W/XWCSGivTF4hXiX9P3yPy8ST56yReFmI5EfjVkfQ5OfVSAIb809tnDdlWH70AFpSamIlLhO3l/N4DrN7Z74qwUKR8o0chWiDmI4ajjXK8EMeZvB6/DHth2DhPVSsShV7DoRYcWMOIQrH1KOBAWsJHvcYi32Dn+iYOmFOB8Pv/3adB5rWACrsyURnWyets7/cbADr7SdR0QhMi6SspC5q5bQW86nwIHMDyqhxo1pu1SSMw0sd3/YSCRRTOtfegFep4PkrCCNLHEGPY1aMUn0M6f0Ew7GAUPqnvWzrb9UUhTOjiOapcqgcgbNV+NodnurYtvTjRIDFnjGg19iYWkCUAvHQWVwFBSF+MESopbDMUyhhDkqcA1njhpPXDY5Oh/ZRPKYOZa61LrmObkrm/hFBm49NBUKiS98FVhoU4Jf4oMOLDzPphvbhYVbaAfsXq9kZX/Kt5H3Tu4pXdhqAQbsbFFv6mMT/L9B2bhmse8Wcolg1bm4miyBfI8JraMMG8fkiXdFkkTudmQBzR4F7lZtdlP6JRkLkiy6+yADa5rS1sMNow0ud+kAXfkRkoUHZu7L1UKca1M9odmRMREDMgZfOVkw47ZZrH4HlUiPHnuauu5qdr6ujIO1XIw5fvTEBagAaGrR5lXMjLYFXE7SufrprdrvuyRQgaN/oar30jt7rFLnj3EIehXnHg3TF/QTOhPMqpxoErFxZ+mtX9BJOljoJUQ84PjbnXmCyQIRFe10ES1olpcYR55ZTG1iGoe2Jnhl+JogT7zSHOYnhz/QL9KJLQY4nvJLTZog0lAuhiKmOnfEninDweIZ/3PBwUQgXfrTjJJXdcuzZOoZWsERbqTBzzkGbsZ7mCtmfBlUz4EKIl+WKIqqT53JCi3snfTJkcmvuDLI4Wke/cMnG4TP+j8brnp3ofOSFQrUBN5DoL9Tsu1hfWW/Zads7dkc2MBFn6TyepXHBbzyD4OFp4MU8+JfVw+O7/xj5ufc+wBMuOJM7VAEohHIC21+ooCEgiKxBMnbqXu2s8zmbN73xRDTHZ8MLkFXi/afC3GR4r/paZgOK3yaUzu4cSeeSvvMw4fl7M0Wa/wtB4jiF4yclz9yEX4Ajmiqg6E7QyIV3UhMeBlSpdjxJgLdReiVrnFXoRd0X+i4LOXrOB4r64YpzdkB6KYhmKPdmhxdGeamn/b+izLMXvR3Y6T5LoA+ojNzo5FEjc09+fDwMX96u6HjygrqKHdpfTmELZIP8wD7yfUJskUb3tITlaGqEPH0PTC0Pf3jnCPdedFoKtj+aHvRmYJaA1QzPvvv5SaZpR71KUdLZi7DAlgCZTFKXKMoMulL+2MqZ6MIsefjmx57XLoOrG2bMXEI2elFxj1Y5p/avNqiCgobBtOPcr669JnTt6O4QKGOuxHGNm2oBxMl3quaDyMcYKjOD9CqkybRVuFxB6tzRI2/IUOcMQI1igBqGLCuogjvBotVKEe40zUADcYQPQhKPEkoRKPZzr4hK71O7yPYTHpEy3voail51Wc5ffeTpcjW8ryNeOoN85gViUkUw3Jx81PKUviXLwYJxKFUZiMmN91fAdNVP0zFHJM9ndAP8OKb/NTUDL9WI628oGTPI1jCDvHBhEUws/rx8Cc1IlVUnSDQE94Vy6uuMw3mk+vBrs7Z4r0MgM/BCxb4gGMFItA6GzHypNW+2KVa61xnEq21pQtDRZQLsmLlrskDQueM4XtN6FdBgyQU3AXs/WEi3+NT4z2xPzCiJsfa0oI75jnEKT9SIzcNpKaKtoNo5Oz8d4HMOr/qxKHtgWhJqyQySnPCqyXnkaYs5IAnZAr69Fng0r/PENyuHQ50/WC/S9haaLnFGmRqwGs6cnsWQ0OzCceNzyKmyDMc4q0/Xho36W2isf3rQNWjL+W32VrM9zUtvw2jkOTPbsGTOWIgMkJw8DJcmPR+ogEtZvJblY6sQX+QDnGYKw50v3V/vEkeqAsso/hB3HYp/HKCi1ojZHHSGUQzs2Ul91E/vfVSUBZb1ZTwNRnRwTQDmFf5XMqc7H0he2gIDMbE1gvs7+9CXRAIDpnNaFzz/2M9KQuCznoG2pNPMECFq4hkxdexow7zk9ujtTv9RRzvAczka3rs/oUiI1NZoQ3R3LhUDcwiMEIJYr+JViUJDH/xKJea6ITuM/gxeMLU6KCtpulkC3tGGcfYBTsRa15uULExFLeVOHp3V/uXwHYWOI8UgOHIDNJJUXWH5FU8qjEm72+PJJ/nnfxyiTPv5K6a+DP67MfTx98Py4etnIu7wI6CwcJI5mxARQIhRiMV5sGvFfQ4ssanLJneL/ZoRbgeFDD4+pPNYVT47zrxb8Q77ADU4jBbfOXQq+tQpl3nte86cnQR+gxvvmfy6xKZTLpm/VagnrecfOJb9M2/voPZ0HGwMDJuf/H7CXFAruN6WkOq7q5MYpXm3rZ8wQOECvTlknKBh20ycegA88gah4wHkRTmhdjeGlST1hVAWfqzGc5WDpx7A/XgIN2OX5hV4J7Ja9x2136valU+Pt26ZLXq2ZvwPBw9CACw4cNZ0shdEm5QMoCkSxfioUOzrdwEEDEC0OgtagHhfs2B/yob0LI4kvEjKd1fj/0YVIu23v5gPWdQk/pAPIrRdxcwRsCdnPi2mHGyU9+6SvCWTCdWI2xRYTwbU4CFHly1MthRedieO3ZIRGVBkpTdvG+ksVyqT75YgiPFtp07TcO41p1I5fdChWkT5ZHHWQI2i4WL98DRmDzGaVRCYfqheDYl8DTx06k/MJw708I1GcSh/xtJ57BHBVuEp3d8Limcb2KFfGxcK4QCCFRyjUwiMu/xjo1GHnS2AHQNXBju/XM3epIutErSH8htCza8MtY7fdSkEQDuA3eBSmBY2sxIwLNHwx02zOdC8Qq1UlgaQXFVqCcoHgvFrBoOLlaXdp4LjiJWVPSB5GkVjrD/R1oNi7NAUCoTrx+haetsIkzbx6YXIEAghB55p7NFadyE42bGo4E0tKUJIJsyt3T+qA6gPWlDoWDD6qV5rq7+waZgeLopVAwKYzo6Y+DXDToASzKIB1bA7Keq7RtrPlZTGHHfngVLoQ2mTjB2Q0RP1BGlo2Yi88Pz4afTqaP37FwMYUYkVV02/oQ4wfnnYXhYLdTAculHbsCRVl2SdjezCs/lafi21Y0RGy6MgiYEC6jO3j83fetD/oOTj2gAjAFsxIWjZc10hV4Mvl8r4MzcgSqIFFS6tJrXhC6JXg5ZdfMnesE3vP2XyCI2fUBiV18FDnJO88YBiXCM3ISzRmnOPMGLdebDOVYVAvtJzbB51dupll9C2Cjfqe0lEullHmuZy9yvfkJXSqkxe0/rDeNBW6SzEVznp9gTNJwq6pwr3G+SxYa51U8Jsl+aZjlf2oHeRhIyFQKb5/n9BrozYgLe/ppGo55zVJ3fqgWD7o3uP6xGy8waypk+PSH8E4XfWgbG9y/qq8JDwHTBlC53+1HjzAu918FfEIx2bu9pvSOx8rn2ArdFUNI4ev+Xv3ivP4fEHtenS9HrlDPSKLG1X602gci+g228Ud3or7v6fB7cQE+Ff4+TZiKhFC8ATNa3qf9sX8V68TEQ6EK7KL1kPSFMUD7XyqSozLqEMPaWcKAuvjVEXTYdoI/fg9LzC2gJ33AuHWA32kbSIU5Tho7OC/l4LnzP0QNLY8VwiyeXchnL3T2DQqDKBsd7mxx4iLg6U/ZEoPUwRiC/OLucpxxR77rckdISz6C0i4pE94E6S0MHQzsgA10tpPqzR56C7tbVU+orqSlXkZzZETWQWLLc7EfNsrZ0LkMUDyTWHQq6ZzOxR1aOHrx5kG1wT8Ly+tGfz8KqiUYQSOEBoUwuU5yQsERMFzUgxCCjk2a69o1545SSL7o/H6XHHSwfPLlLRB+2RV3PKdcckRDHYjS0/1A4iA/gk0WVNRfbeNteuBN6lpsL0EeuJh93+GQxggLCWxksMBbD9EM7XdqofnspnjCLLYQ4DS6aJ71TcR0wK1MKkwWw0f0Uk2JN1cNvDWjYOnPZLzInmDoonkI4FsIQ/ipwkcDFRW0gLuvRUKH2UaDnNsDZxCrWAEHnG18+RmSz0VDfDeZ5F2CksS4/3AWwtutVaFslerwW+oIlW7yjb98OgiPI/XuGlH3nS1r4BuA5FiJTrEg7cnd+2IX/VYHYWrsnvirAFN2r439axBgDTPtvMdsZF9Y19rvECUyHUZFxsVEDLUX2YrhawGmD8scAFNjjCxNooQEwubzxNqwCChU8TOVVWySJeBG7gDTl1GHSD9KZYhvcvAQcEcl8HAqZ4pCM+wGcrUFaJm1ru/mYoPX95Q18uMU6QREh/UzVTaOTPARyz3gPo9WHOFL2rKNY3CkK6/QpyMcueY67oTdnFwTyJRBpKaKE3lRbsP/wQZ8Ca84uTvUm2QfkhFZgCOg4PzDzR8O82KnqOFEcyQrlK6jcN/uSf2emyfISlNfUJB4JNplxZYHoVtrnboxhcmxvyeXg47DoTPEEGKDV6fYXpGS3aN7j6eVjreitsVmVDxn0BM9vvNJsoM1NQh5OHuOu4CBWCD8rPophwo6VAUXpEWJvsZ69h19QjyLl18auln4rlCZ+/YWD3rg2/n0bT2UwGzWj/k5nPFLk86RQjIO1aEa5Cc68YKDjXaIPnh8cNYLQ3Bk4t+rYgA/eou90RVC2bYzY4RtU2XsFzaMPrt/Wyaa682i90Bl5Iq0vCnpcvFP4IQ9eELLFgCF3sHB88EZr93e9AQ9k1ebY9C0fTcOIzaOXUhGMz3QXmcspWseaibYX2keARfO0zi9ccf6+Dm7bhwA7r+ov9F9YTqDONUH8LLfpQEPfGa7kEcTrWPSV0XX/QXlLhVVbkNqX06QPITXhSLOiOEt1is6l2+brg5MHU4G2YR5LfdZYXda23IJr8/E+i+0lfrtfT43WqSyCZnoimCnu2PREi3qbZfefTNblDKPHR0Wu3aaLQ0df/1o7xshumOPyzbP0ptglWhyhJLf/UTlVv+peQOUM8W6/OnaY54faljcSIN6Rt/edAkbNRFSGfxITG0uyAfnRVWWAh9w55x1GXNWSXr2q603DHAdvgbsuE+FEfZG8GEusjR3jry+VentJJc6sw1YZz6XrfhY9tJO1q1CwRf7qjm/lVhIzk8ZKJo2gcJbPjkswFFGDKDmfY0VqPPIzkvTJaqDKWyIgbIywSoV5n31H64zAlIJkDSx78qOvXwfQqrRxyI/llXGA2mGPNVWa/mVps0IoekWfHzcVlOo62OFH71+E9JsbVXlR2Ef9LDYbLFyWca/HAAT8fZEE9e+IRp2+WbPf6sGlvoTMjZldqrdFD6OaxqeRSQvZmQbvZNcWYHOVLqcMryLms5qw3hCodU9TFMgL4LsC4H02sUFPXAE/ZsJchCb5mHeoLJ8Lmq9/N6ZhlunJiBlo1rf3fPabbtM7OuGa4MTnPfy/4ECxOAFBieyQpYEI+a2ZVP0GvCXbFSnweyCnWGavtwI7POqiMg2DX0iZmhnQgXHS90pV5SC0vKAh7U5NG2Yf5OxmZ9Y3MzaFfy3lYgOYHudGjPqgTmN4lswPQlipgcmhhpfBUUZnEa8y1vrmyvZl+/QtXsyeASRxlEppfUbGnzNGJpT24ilsXdwXDn58LIGCNy8hqWQcmsbGOjVHuSKk4iUKB934/A+PzCfEbpbR9GgUBrgO1CihD9REhSRP6wCdJfKXe9WdpAwV8oWI8UP/kTa3apNH6vb2za9V2xJ2/CNNQMtFERN+g+2p25znFGf0BSY67R0Y0EcCyEXx7tRL97+4/picS1p389wgc7YNvK9T45Qh+NT/rtpkRVfZjBPbgw7H73Zs9RzyvgeN4hFp6AqeZ7WT1vOkhymFNyW0ER60/TMaolOfviv+DJ6JZ8mkP6eHhworDaLzZaPTpgE2MzNSA5uh/c3+1mKqyj6eaoZjD6JUIzcrLQL40Ck4t7Jojk55mdTBK5rONwL0Fh015Zcd84Ax/ty0NcZC7i/GOrYee9lz34HCaOhrzDfNYx+z/RTitN4DD9rbiwUEJ3OvD0S6MgDaYUTpQdmOO/I0vcoanoBjbyZw9rvo2TUOGstGnLoEkw8UigMAVBrBE111ymmICuhjV8n+WqU0p1pJc/O/YxZsNqrBbyWB+hoU/H9kg6YzhavnbTYKQxXPkukyq6z6Ep1hfIJ+Oq8LlShP5rE1/+a7FhhcDKcY739Uqcv7m55pfkTdtLdxXQNyggECiQRbsErz00K/gJo3rk+9voq2qd2Q4gejzcfMjRAuT8osFneHTi9Z2gzfIC2h9k7XKbtiMBoGBAGqAZKRcXGsdgqbe1e6MviKi3AGU09jDV75JVJVaIHcPFYaFjdCITWEkY4/+ckp814V+Q7EdoDwIZLkgAQ2PbbsXCSGCuv3PVi1u3BTEW/tek3hR+yQjxnME+Tyrwu3WAQwjpPqe6HoqvYBrEcwL5XrBWQ/ZLtwqAEma2iyBjrBPyLuAZbaOS+hqqonfxytm4z3F9YE75Iqdc53NC9Duru4nX+c7qrb9VEO2acdOE+VpfQVysNLfxV+jwPY6tdg+OZiM//wTG97ap/xrd+JbLam5Fla3TSoJIwiN35EYZ31gbU9qyHF3Xjpq9JAVZx9EzaTaL+ftknCvt4DNrP5oThXlawnDJxttCGIw8QUpHVNYxvVL5/VwV0vGthK5zKJ3Gf2sOOpPHCB0oNGvJ0/L2PB/R7LqKlx4KVh5WHvjPkAYq6b1wR/T1C6gn3d14XfGHZRk2yXptOdv7qGhVCs0b2gM3XymntoRBZXsddQCgPtLeesz7YHHGeHpV8w7+EzfTh/3ZLdVpWhhfkwsFX3DpqZL63H44tr+6X5jbmV1omEdhS4AvoR7qm+cBxS+8KEqR6eN0s+Apaoo4FTw218UeL7tCtjW7BjpvO7n1ZaM0l93nnRgVjsTs6vnQTSLelqkm+QFZJ0LCTMPODVBl0kfloFUIXYPtMehFDuCcV7ITkdIodvh16oAvTCSwdS8mx3ECj2q1zPsg4xTTESUDlVCBpnCN/G8H/6CdMu5zTnciEUz2/JDNQBWQIntP8PuU2NETAnZSFQRP2q4kPV5zIEV7ITBeQGCqh9vNEI1cVhGuedlRRpwrNaq9stRrmVl7hP68cXhwzKhUnuXymBN5SFEroTSKDcVOqoTWNHc/rPP4+doqe1djajdDCzOq3vkqw0gKGJWFBJP28XlpPeC4Csnz7RsCgrrGQhGxPQ0j/Mnb8yLdP4uEhyVBOYVNro5OlQ/S3eBjj1Dinhgk3pG3tTPIIH7wS9uhaoQ2D9WESYy7CNA5PRH2Qus+GZ6xX8/RNdMaL1YWoRElmBRgT0+UEoaQ6oHoV69PudjXrfwgl1EKx82i9a8m4iCpSSbTKYfyP81x/SrcWZb3nrNvb9j9vb9+kf49UYHQH0VC3COnVObHCWN9ymyatzK05H3k0SJI9IuNl8TCm/e40wsaacn8M0hxfA2jswcLNqFzzWVBobYqL75oFS/6QGY8nHomYBK24/n9QDz5Py6uveEP/ylAOja53rXvDE/iCOqbYdCRBmoUeodgqDietmfkr+BLRJgGCB7HzmdNLhq+uPFveAL1gTI9mHbkz7iIYO7YGRxR0R1dCrkTiOWS4zW9V3YEKpY1Wf+eUVOGB/Ob4+G587alA4erTRbe5gNl7oNOrFswdicxuRPtK0MwSn7PGoe0hCXmKE3ebv7ODOfWJSShud4nkZA96PnAcjOd/uG4BhUml/NXxe6zmqHuvENO1IkqkYD6VQ/AjZtlU29HxYPV2eOaNA60f4JWxHPGEulrwUM3CUJ+i0ImJ2A96vrZMttDID+orFGFiYdCbVBXQuVqd5SJwgPyDEZ6XKSVGTcP83E++eFC0y4rIe0+VgNYEWe4Gy8fZ0o8JjlPCCVt8B8Gzn7JkTT+n8e/g6IWnu1mKWAIDKTJ/VpUPERK4hdimbWbb+bBeu1tInh8BU5mwV3mr5p8HfrNMRwSqeEGKHWGgqVTjC1p7K+rdbhAtClU3QcTCzRsErmZvnpOliIsvIRqZKIqZBffH2/UyFfBibY8HvblZRdXOmi9G0bGGA45huL/Df6cwznjsEI8dUDTsg6iWb55lRpt2YdssWve6uScs5+ILn0vbOkXJ+RiLKLrizYJaM3uykwNwYt+Zkei72jHOxk+57SlNJiOlWZiFbChWu4Z32gzpl5vPWUw6xcRO3+/sLLORnh9FpOR5dZQE8SR2fJQKyCe5xRuWytb6WL5qSWJ9J3D5d/ykGE5+Ip5bam9YWGFwPRqnRFQat58DSfjTtHBpJDHthu0/pXG4K+7zHGRhUsYrE4O9bHPHaK10Lr0uByQ16mnAoByL5lHl/UO4Dt00p9OLhuhwa3IJ4G0kldL88x9GRiM+Zm2T4OYcG5s1hVDSVs4Z/K06Gw9xFwZ5uDUFNiKFMpJ9znjqpONUfqqNgi4D7tV1NRm/nARNJnd1ZbVNTNJu5R9zAhoHs7qoMbOKyRWZc8okI2pxymLFRwQHoBgsSTJWZU5tvX005/Pqf/Ui/Rbd+7eeg1gGdbaG3xhGpoZ1POX2VhGJeDEwTAQgP/s34/OWIvXee6CuKF7H4LJ6IFH0EIaTpesm17zFfJtdtRpx9TZjOk5B+k/mXaHH18YFUgMd96PGFlz3WB95hQbxhASfpvvdcT050NwTAECsEt6/0ruzAWPpwnKy17w5/UnnvbvIMKs0R4CI2RCsw6iqRLMQmsPn1Ap4w0iA/q9NpiZIBjDGrJ79w1L5jS5fCBgQVVU94ZQsr0sVvXJYesDnN4JmNWC0wDfDhOSqsMAlEbzEzPqMUxbBIoFHxIA4YR1EWp0vvKq1RExToEAGNitNiUl4pcbPk/xUG+WnqazSH/tAYo41ECjt7Y6MJhT2oVKBR9ynLvrVxj6ecqxwarkIGSCn1YE8sYhEcfD1zmn9xCqVFAoNkpmDIO8BzlJ8jtncCV1LNV+G2wv86FPoXq+hSyPVVvnXf9cZhHNd68CAixJTN+igyPJKI/G98RYn5KfwQxTI9lOSntpaJXZ5TXIpRe92/X5PbkKlnmcJfX8AAxaG7FYKp9TOc24nUsn3mjEhqVoX0cahr6AOtsleHFxLOiB65g0r++MJVIsw49QSwrnCPHH62dn9gjxcm7N9jF+3jI3wEMAyeY5JF+tRe3uhxxzqekeIVvvZihzeNJK/Zg+lBEegUtbU3acWUCPwW2CYCv4T9bvm0lHuMIHS2gUhj/Tyy4KMR+eS/2EAuYIocTXAQe4bWfimHnUee6eD6LlPgqCb7GtB5Gkmvet5GdWFMxRApUx7DsuQYPrZdktrP5rEEz2A+eE4NJ6tTKS+xF0fTXbDXLbORD0xoV2DWktlRZJHj3CLtbs0hXGxLsS7AofdDGoR2r/2KYU9Nprr0f5XEm21f8iePxmU5iNghJmPQRktvZbwFLYHyaXaiA1JzBJDuo30NjKWDc14YNYe3zR6Dt1/P7/iKYoK0ar/sx0We6b6AqVqAlpm+0RiUAiQTSGoMcxf6GZ1QTVthy3N/qL3I7/r4IMmX5ZsMnk5oryvnZVv6ikJBpN6bAThfTQoGQSQ6GcorbXPqosqvicphv4j/xgtjYLxdvpHFMRcsONcmtMExnINwuInFd9HgB64vIxpr/2S/kZTuWI0nuQclKynQxV2uzanbUZhrA97r18sEjJlxURm0SGWiiOA1FgJM+d4xUnyklAreCnZeuqydvwjEH2AcCZcqKQmToosn8/t9QFNfbgEphJqHYMAxwdJve+dKkMU7SOw6CK+5qfqFXRc3BngxFW84IoIMFNw7JpNMKUqb/DSRaScpqb51VhEeFf8efprgLXCxQR0sB8xKV3KHLKkHOsMOX+sJik1W/03Tqhju4eZDkVVjjzx1sy7KdcgMSjdh5Rg71V3mcGkoSNfa1s1tBnMmSPRCozDwIHaT8GuaDqHi4cYEvoG+jzYmRxT8H5dZWm99xZtu5KrdjOQVkeEGAYNV+mfNIYKiOhw5WL3k9K14X8rnfZMWklUDfHaL5bZYSIRfhBunaUEE8dOeQWWQhO1m2OuvWz2538bsk3wvRodJp6Z1qcGPK7VNEgmFjg5WBOXUfLLI3bAyfPEqXq0wssSVRBIoLKzOGZSqFJ3RUk3JkhG9OIHbmqSL7KI8ZP8DmM13jCR+8l3NUPzur+FcHsgM1LJ5xyd5zygb9Iz0FZxoe15rLJYPzNh/24NHFSZ6McbPT77Vc+Z9BSZ0PeKEEsBRabf3NAiV6NQOEW95txNxrzfCdzGLeJwQzSaimplwHpiwsbGX4oZzyA+Bt38bHMBA7kQwa2wPz9ME2LNUOXNes2ed8RfMJ8hXPdC7BDD3paqV7Z5AVnPZJ1+GV0EGLNmyVtcUOlasZohhRng+Su1ImcVJQxY0ZoUOULPOEw1iQOOASIuU2IEq/wgvWBi26jE6aur8l/NV9Eh6UzbMJxhOCpW4sK6p5dVfT7lL1CM1cwWVOf2oyi/YZG4VgQtRPk03C7ULpPNLazD5Az4jPYGlF9/MsfoJza35zpiT+x/bcF0a/0NSR1XjO6p7sJxu7B1TC9Cmvug0YkDNCNlWQY39EUceKlHYJHWGLBKWA91or1yc/+WRy6gdEjKUVVc3L0z3OB+OTxIC/f6b7PbkceDDyuG7oYIoi8gbJW86fDuCLMwDFd4rEKI2fGnpRCvLlW5T8SdHLIGdzkAAy9R+nfKAph8joHSXJBFbks5+Neg/zMPd7tng/upC9WFRr+yNQcu5jbGOA5QzN6jxKh7vkkLJCC9HGpOIYSwtQXqGoPSXmbW+6KiWTx7OCfWmV+lkZXp7QtcwB2K8yCpfTI5bHJMFpolalQZP1FJYaR5095MJGEM5XBKBDwLJvUc8aDxJDeKNmBxjCimEV3tXumafdlCZwt25IyQf1iYanRZSayHqdd8T4/Ws1z5PhJvYgNtG4mlYLNNiR8ZZSHU88/Yh+DpDZmSkWHhEd+iNfuCJppCRdaqC7dQBLbnwdayHEnUj47MKqJ15U0+KuEgNUlPzYgoQYrrw9Hg28Je3b7Hz/BPTnjId96TalKkh/Jqb1amonxjRlWFOOrz3XzjisUgBqx5ozJpzaudB/U58HymWlGPq6JQdoQmArOYLHgmg0N9tO42hfoyCo50NLrwymD1lYbPgWK9Qw1fCiwrHSvC71fZfI+k2Xyv9L48wGvGtBHhx6uLDRQBkG5wSSz8tooHM83FOFBD5zJKq64YE3xhupRDYuBDx5TGixjMGKMx3w9dvJXx9ahSJLuFvmXZToa5nC1YZbx/VV3zWHXF8ST6aj/Tw6K5PN5Pwpsp6GIK7f0tO7+zxPlHD2NTIL3s4nFs6KqzSRNMEVQLWokrxObWQlWTJwDam/pTlpdRewZlvxT2anR0n5UiDN9hi+PgDOpCQ7SSUw6YL/G21uOMIZ7bCjOrcjLG2q4TBnkYyhhoamh4yb9lxo26xs2RYDlDLbv6Ww9TUG0rXMFq8O0YYYZ3fXU4+PqEbxbI1p0rbjNV0LjkmxCdleYpFc0PmL68oC2s+s8NfU/r7AizLI1yaZYjjDrye2dQkJ6AYM5RkYiH8LnUF8YF6AVCj4arsGr4e5Utn19kNilYU9ktJ6TWIcqNDFrJuZq/csAUTF7XIKfKghitUQMhacT/V6/pJw7Ypsns6E7ItSTx+cUHRBqfk1qYExsgqjugyawokyeckHrcPtml9Y9kAwXz5qJ8hC96QdjrNe2IiVIyPaJATSqcdESk8QyzeWiWRSfaTYfy7NxOvQWhLBNsprpjq3u5eKYsFcWEszMwwhhOZ2ivYvJUXNXOwF0xG5N2f8W4kvo//qjbQz3SJ0mmmKYhmB0sknb1rPtORfY40ZTOEz6CC4Xtl/uqOR0GhAM+vkF18bUwoSI0dNfujg3rpOWTkzyGImTAZ8HdR8sOhPgxB3Ydl1IazMHfeilvVk2sJtm2zEQFgITEYr8PGvpw0KBH8m57EkZWdVLOpl2sFlq1PsoWMoavDBLuFxRY71AREef9xcKzxyBT5QQeELlIXI1O2fdwJ/dcUo8nBFixB5KGT0NSMReFRw4+00K+7r4esfD5wTuL3Od8ARGxyY1GlgnKI0Rry4nPluZrnBHVJQvlvQIJ/28/wJ4wxVwOZuBYQqhn3rtFkh1uJlTNgug2eZqfekfOOP3QlA2Ea/mayL62D5VFx0Q9lz54Fj0jHcftTW9fqVR7Gm/X4Zcge7NE4tcgjmMbtRWrzIJx2yZGg0L8PaRcNT9ANVCipDtDTVXEgFeMWcSag+krsaO0WZ+/jgwG4V5MM/+TYJSstUTuKW/SRPvp7MZQRqz0spnC2IZRIjA1YSf8Tk2lQ60e2ZwsujjIVhYYfkJ0rOyHPh4HaGjIsC1po6jVHqQDc5rNnROz4yrhXdsoT8XcY+plzEVu2u/5stbwgVhKBbXa72w49ZDFD33LxxlKeJN2GgSN3GmO/r07+f9kce5E8ZMkk4+La94wdnqGV200a3F2HKITXO7wnPEEEYoVjrc63KvyzXzzOPNUJ2D63rjfIHliLYlluiM7LCfruuPbZRBh8nHCsTBVFGB5p4mWFoNWzUoj83JLCZOGN3NTnrIEj//U/J/AdhQAF33p0OgkxR3u44+7bazckKcUcrWHGkwGoNIZMuQpuAra9PnEksjxF9GPXd5r6zBXie/bbSpQEIKZANuY+QbSFCJeuYsrbfa/KkdKcMzrlYwYidWIkPrNxXRbwch6nQsNMilwRao3meCJvzIF0EudAv4sXqdJ2xiy90byYZqKlfD3o06EeN8M7LuSqsNQrwGlWk2dOQtXnQZEZNj3BMld5hkM9olW94FVHjMg6iNI0+ewtv5nS3MUkWRVerw9aaV5eC0j0R9u3dZd/yNGvXQmVF9cVpbgBODe9VXNjr2uKX2CUyePjdo6BcYlf2WN7pZvighUZbneHSyKmGccUppR5NtDzTnxX+C1uUTQtHCv6KeMF+xQGgtEfI6yxbzYBLYzR82+PLyVo5XcLhI1T7GdWAct36CY+T5dFcn4tQ/RpiI/TPq6seaIxswZ8PcbOUB805aWO/E6oZCT8N3g7lpbfFUfu1UJoV2kDVEyqloiaOmJxRWQcBCy8xfXX7M2ldRA21h+uWiSUqM6oUm71ZqMii+7Qf/eXkTRFjV5k6Sd69HgGkvvlBq82SkpaWEAG7hgoz6xpNsP9IsHbJQ3rLVyuTVPj/AtR7NsmrvdrSRKT+CUIJ8aDnE8Z2Y5GPyqshZ/zZfhK7JCvn8y+cN+xlDbU6jgx1vw6kZ0Bw20Gj4X6FU3d4hMRNYnu8s3LKJz5uotgVP6eDn6Ds+GB5njWoW2zTaDL+St+SSFJYjMXPu+gkAU616EEWEEoPpUVsgl+tIgIPSbDVid34jkvyhzE6k3JnTymfzdsl3kkcHRGhmGz7/0oeAuDsPedV2/jxO4FbleB5TVfJFB7t5x68LbmKBDa14r3zr5IKI3iHJzHP7ILmSvoypmj0NFYza8WvvZv6Mj7B7OfeEdrsETlaaAmov6tX3CELFW6ZEdm0B6VGjxVSi+gMXV4FyTa1Q5CpVUDMVppqaA1Xn+SLAb2cbPH7A/8aDtmoz+bu2tCEiFlfU5nFFXeHcYGdJqs8XeSov5i/cKrUtO021FkKkXYyoGA81pNxq7Fel3VXtxr5RU+45pbigYYBkeeKIe3SaWbyH0IuGxi2oj79l6822WTszLMY37x3jIgilOFYkX1N2NlOHWaGzLn+bonldKlgrZUBmQM/TwqQYHWATcjv5OHtioezbLkShoXtEPn6awKOuAehTZ3TBaZNsnVhl5TkXlXPU9tIZ3qJFbzUzeY23dCywTfSRnQe4atQufqplebfoKpThhruztPeS8nrL6V5ivZmT0yjh9WlrUu3zs8xlImVxcesHRLCxZKhynMTt/wFP/Ul55Bd7jzFzlfoG++SQmo6Uu80iiECNzScA8/AwxohxwPzPjShkc5WkQ5C9dDCjPy4vZoEJvT7booNmaDgz+i2yNn0/hllcaIkUFW3Bw9/1qQF+1VBwfpNl2G7nNLfXsSGvmHKJm1HdGTlTDQWb5gWNtHNXDmW205jGX5u5rdbRTh+YoTtaoIkI/ilOrrB4NhdECO8x2mLc4xs/Pmh0ehtzV6ZN6K2vE0pQX8i7DVaFFJbsfbKPV8/S/odBNYncGTMG5/JsCVhptF4KGUzAtG4221ykTSwTuaq4x790IY2ixiLweqgE2BMDAZa2/uks8lPaw9WPVQAZMwasgK+jOREjqppkxgz65zSNWAFADiys0sxl3r/PTYL1bjlM6zMjwV3z4YpSJYGjA9lQJgpOZanKShkBkJaKi50DAXY6My+8giJKbOHNAyyf4HUaDSqWh4qBjzw0BozhMSEkkSztINdbqGsvSrqKljamJmlQr8ApUKgrOd1vSKvvO6kpO9v0vYDYHJg1RObV8J6bwubXK73qEx+Oxw7H/ZTjuXJTfzZaOTeN4GVpa+4LQVPReUXURh0umcPObeqYll01TEbEJiFs/incNbxSkCy05m6aqobrCI2fLZwS3zhK5zOTNZlIX81buvWxx9DtSd7yUQpBQD3V8/AOKeBQu9z/i+HkLgq1q8lR8VhttHVt64cIm0cPZBB0pfmyzw8NFaoFaQEWjzpluN5z2T7IbRIpswPAfvFn5/C4WPOawKhvzk2+YeRURXQfHJX7wgH/C4J1XLhShKcOmZ6+uXAp5hPyVJqW9M0++E4fNxve7YfKU4UVO6oMN3RtOwUAV2Aj6m68AGAiW2OMC+tl7yuaQPgLzSydtVRVmPBEy/LF7hYfr+GteH5VLV85H9oJIbzjzZpkRe3WFII1H+RNo4ml4rd4Q4nGIWADuFOXiSNWaJ7Auok2rWtytRXQORx85zrrhSbw+R+xaf9EZMfOuHT/gXbrEocdffd1ogN+VsSmzNVWLvR+YX3kO0ZRwB5ecZjeXhmhJE4sHhDEsMCMKGE6PVRXoU+DSpQjCR3pj4MI2uY/s4xqLLMp3uy0pEzNqRQ9yTlJFXurqiFqg4i3mWv/FNYH7qGcEhYzV9XFkzxHllpvckAdp5QYgT2oWdiCvH/vxe5XI0tIeh8rJje5PaaF7S4hEpa3X3O+U+Ydumt5PEfUtgDa/fzC3dhhqhOv/E9W81u/bQY7DHRazq9myJ2p3kNDg/A9KUE41+ANOt/Uz/DtMc5DHGR/R+vaGUFaJHLEn3L19nmrs9azLUhy8492pGbmgvDQo5sAF6bS8nNjZfyPzS1enSB8sUtqgdya/vE5FMfN+j1Hldhl7/59gqcNHsHZD17oS7W8TrY1xHiDVN0fbKsMukiD8Z1HE9445la+reREItDoyshyjsZ6PqlyEGU02IBHDiHCu4HVUyEltudjU+uBL4TmMAKWeoDpDfVWTytJgXOthnDQwK+ph8sys9d300HsIqaVyuYIM47tpeHT5oemONUfPip3pASE+e0ZustesT5rDDH+5afpVxmAryD3RaPDHy2j8EzqS513SNwl0ypP7p3a6F4SQa7pIwiNMFSZwdVI7Q3cNYtV6Go/Fing2a6UXY1AOK89cSfdn96/d2yhXFSG7BR72hMY+Hep4kHiwM5MzvFbPBR0DcqKxhQH2WbTolyoiClBEAyd0yX/QdOqgKj6LmlidaTQFcFMWIpieWV78OdzR698TzWZusxzl//slyp5JquOClX3y3l6vgWSE5qm9U6rffn6DESkqhQQOSZ4yvK/xLCaF9nwmZsmeh+jcop3PnsWOWytLbA6h4d6aQw+Cpo4HNlWxM1LAkQCYCaf2KEW0cprpUxhplfuoB09V8SbCtMe9b7TFxbvRZHXM14n3RcYpbx7HstQmPGs9Q2ak4+bbpOge/D6WwJ21qFZV0ONUl1M/SKXVYhD0nMWfLoNstman6CNudrMqCrOWJjwWAAVytiN4QmSLTO7qHGxxcTMXkOxpjitmoHFDEjflmOkgAyUm8XOKijfNLadxY/z4tZh1gJT2h4rTNE+6flXbE6XNvGBRQZe5sezEq7Jt4qNKJNhDD9wjPfHxhKXFYobicPSb24GdjHp952cW+rlJSJzHlDWPAxvckKXpAY0VfxkX/SlMNFT1QH/86vhNfFnXQmfUEBxn3IoOR/f/HfAOZYRkL1AoFDZFznvoTUtUczLWLI3Ek+QneI9G+8MoGeHqJNTI3Huc3xKBafrpePr3l7KjI2T+ychlznjPlZNsSNftrZrEWcOtwLbL/Zk+zoXzINNTHpF7qf2wrx8ODFfLl/iyQcOKthwb6ZRGgKxDosmUa2Ocu53r9Zach3HcOhXYDlZU5ET2QMXyMy2KhOKMsRirl2ANJcDFB8zhlYmNnazv0koUBr0eYoNkiKjSBJuT4prXyj+9HXmrSZ+tZPw8yDL4uEcIH9pKtscytS4GxElLm+aV89DH113142TJ1v6hJ+dY2q7PBQdMGlUHhClARPWYj/RfKNTbLFVBFqnpnP+yfSxIqTYAsqTxuSGoHvF0GaJjz3dJ/bVqCl80/kyNBzsu6TrYU5i5EktBR4o+9eedsSKmC+YUTynuP9a740QKKJkwJfSGPDaG+wd97T73GGrSGcs3E6A/3p50WsuqSWN30miEQfKf+BgI0sp8XY0BEwPDaM8uuqWPuSqR5oGT9pQHRhSAWsSvLIAF4mezNwKzgtPOdg9oBOLFqYvFxEHnDFowbrHskQjxsAPqcbSicmP+SviUMwibkuvjMcLMwTXWascEBl0J6pMp+WvV+y1EnfM2xQHj+7zCuCDSoiG/wTXt/ljrnNaJ355o4w00agJ2SCjC14tr7Zq/Rgrbyw+vkNLFBtUJw4K/98oyQ7kIJ/8TEiCxsPxYMMSD31fbDUSoe4j68SbbMqtMqw/F5hx56ZqTsCsbx5Dk3AqaX2nqHAiHcMzUsElh2mQKnWwgVYGVeoG9z5f7LTYdwjvY359fkO/oXsIQB1yzCT/NModbgAG7MTGU8eWzO0qeISrxC9zCfJRaVerPE3rZnMtovOyG8A2ROGfTrNwqwtOJHwoOeMuNzghqEbbtCR7ihZFEvKnTNZ0NQJg7jKH4ozDpYzK5gOed1Ye36mv8qoeMMIhfbxsLDh38olR972d3W2PrGjfk2sqoE2L12DUHQrh37yuyW8aYoxHhJQyI/RFUDQsaOTBcl+VbH2/DJ0FH7ycmRVPi3GFpw1cSEP/XmMj/U6EAyD9IvvfVg49xaT1W4NBR/bNquTiQlK0xLzMUfXhg6ZmsXLJWGpRT2FngTKZzWvvY5fFxPx89daIBSgwKk9G0SXSleU/XpvuSo+sS2JoAwS0Qj9eFphHZw6APsd/VqOCcTxrj8ZsHxfxll21k475q5MsBrC8kAavP2xGQyUikIiYDVPKbFfAdOMb2Fh9Kch1LXy/walK2aB+jLaB7WUe/aJMvE8weOXtVyXaXmYs6mb3k24SUnpHLFqyGtNyIvESE/WlIuDpO+oSrNBo7WWQKGNFo/Rrko/qmEaEf61Rrbv9v3vlbZhwIP8Q9Ng0mnTEvbNhAGM8GgASIkgTk+MWOx2nKFjOTXmCrjO1FW5lv2m/C6egArwLmNHoiXIIGg4pLFqMN5J4UBHDuDFzLCakgRkSTENbnZlUum1ucWG2z6EYUZHE3M1/sTXCQxN6r9vj6xnVvdlcHTF/xQluhxORzr0/kbfGJUwCO1Ex3azrXESgJIle/ZNOHB4DhSG15JDO+DmLybWueDcPup9LBPV0sKC6MS5kdySG7Rv9RnWSCc3ikR5lC598I0wIisBGhjWHPVe66b47p1QA8mq+4euIicp2BYldyeqwZ+fsX/4BcSitKF38x8maZiLtDSLBOC0A5kTnTqh/EJhvIjiJcMdHl3XN+mwmlWzGeo4vEjOuAjASAb0+lVJYNyrP3IZ84KbFXYvSwbbpFo72A/r4WiON8a7mQH0kmOnBdVGPphm6lczLkFlHH/MgX/xN/dKRMW/xWg49wI9Xvfdv4OjMgLLS+Y1+BNoHEUHR8BVtThSRn5pGHmmqj6bBlj2HMD+WS070bd0XG3fb+GvbajNyroT++dZW0nNmpIF85PC60zYdZ3PPPMc+3ztDVIfXfWSsEc4PHJmiXZN5uaS7TuqvLBwnvJKOQkvOssxGxT1vJRJ9MBnJC5V/wj+kydG1Ep6qnGf9kbRufW0e6HTP/68L/Kq2ad0I+qY1miEqH7hlZbWRHFZ+CSC70eKDPH6S8z+no8KnPWmvmA9tfaxfXC5R9vGt+VKWLFn4SBAaMjMAswk/ZlTHE0PCIZEopdBNZI9aDgf1PLxiEwXhB366EOC8JwyJ3u9NftoAqF6NhIzX+V/VU7y5A3FPsAEh+ChI/+OnLjcFRB0iREMTzEkznaU9NeOjzBTSk7h60vN2rZFBch34RMvmmqgYcmYnSsqnDvCbAJYnMe09+VU5fODibDxipZ9Qb6gfLow/0eQ8B2XaOKfu8tsa7UKOBo9ZihxR17j6wS0JGwthH/LWTng7H404xZSA3LYqBLY12XALl1Qmqp7dznX4+ioxAVCsVxxm1wqxABtdEkE9zf7umQgO/F5QUOsGcWDntkuKiqRm/Lr/JDpVw1MTfoPK7x0v0ujrN9lZyQ0UdTlR6+HRAbOh9jZOGWDD++S4fr92vi/j9IVA3nfrMUSLJiLPr6wHPdjzoaLMhzC8lFLvsDe+Ci8H3Jv8l6dr5YQlbMrXojz5LTgzbqelPAIrEKrjyP7giKxeSgXvzwB1Z2y0uEG5dFYBu4As7Ruq0diEMDd1CS9YSENHil4viBW5zi84GRwOHS8+V0WYYRwPqUcn1MfR9USXWpjpXrcOb2TJDGwa0bA0abRY+ufSPEaujLc1rKuaXGk7VuBxVEJ4sOJUejOwd7wFEJZLO+XHs891jhDtmfSpUKgdzwcKMv62StTbPwQu/2nh4o1Qm5cb+3YEPBwAYnLOK5gtZGfC98eyE4iCb1kD6piWzixLR50DfdCIs7rxyaFQ/mxSDOb+nuSY5PSheR6uKbeQWlbcGz/Y0uSpr2At+0tb98IXE1cU5ZLoCUVeMh5k5v+MP9f069CoGSiUzwHMVxSwqD6rl0ML2HMqgCbS05eQq2GSE5TKSIOb1KUMcBDrG2X3lhWwvF75lrwRLo5RgV9HX4qbW2aNrSB7CojQjqWiroF00HPBWy3zVmrYVC3DgbeiTpkt2wnJlOHrdeBfddZCzU3Z2i/x4DRC4EzyFmAMFldVx6+FszGVrdEIDQVrlQPkCr2NMU+DcroMvYH6nSosRLxQihhFIwugH4rFbfKp0Zm+YeX5qm0Z4fGOoNJa+IhgsZ6jjKlWE9XnmGQf4DDp1uVm7ANXjGpuTB3xhg5mNwwJ8xSU58FgH2wH9E60T83ELD5LQzvmXDUsXaksweEYco9AGcZLD0gyUd6KSyTcxEDxDyH2r/8GOrzLx+l9ElqfhTV47381e6Xp5lUl6WsUqPqVZnBSkpIFt1jJW8rpgxQAmlpQni2OaT2ikbG0gF81OBUfBIcvCD2CA4jU2HNDVf53iz5+l1ArGsRVaWv9q/YWWJFjd43K7BoO9BzxelYCRMMxF0DYu2GTtv61NESLdYMxDLt2lwcXm9KV3esCL7dhxx8ZtphSxdoJBnf/d2tVE0VTA7uo24nFPuDw7QHs7+yp+5nAg/sFvczf6HIwBrBjyYbB348us5axXonOD5h4Hx5Nj8oMVlpv8LU9xsxrYnv4BwgfrUiwk/xKi4118zv54I4/OfeB23mTLgrElX2nElggWL9ffL5aekYhgEGwUFrl+ReD+fDNI51V/fLr8PUSe+bnSmM2rRBtuJzHjIFiN/RD2m0tTmmCFh/YqCtqSQAip4dt2zSECmxzhmmkL2lERGqDQWmQE/UHP6VdSDBlKzIyEQWh2kHGVkYGI5mKy4Tevpihgec8mDRGnvkZsGQ2UYjzmBMa5EOTObGqb+eiSYfrABgbgOON2fO2fzhOyphH5/Ph/atW4dhnKrYIgo5yjYSR0d3eKA/Uhl8VLfaueiN7rNRSMWs+qeVKITE5X+62NrN604gqUuYlEkJTd7h+6+DiCM9CjRICbAkcivlCBThAezaxm0Hublew32rjjCuCKzSLidlvTH0otCAcijGVtxPo9uA98ZqPZ2WfdT/InPoX2fmdU4tzkHGCYssESfVzT43gZukreyocuFlird+ij6KvVdlkNnohN+fEDt9anfvhvWUlZCCObNrlBvDpupAeaWeWU1e3zNCBzh5foBvvVJLuC5zSxVIh5i2TUy0Bj/czITp0BgAm7+aaMu4okFx8uu8rNcjG3nzQzppPVMBf/mJtdLeDj3jBC50YmCpIZT8gpv0ccq4bci/yzCy67++Y59Ajt/yIaT98r6p02pt/U+0pHBV1TUQwPH2p4GqkKq6XtYlOgWGFz9JJuX0DVZzs6CU3WgwIuVlJKlZQJuwl5AeZA8HeTN6LQ/2xcAXv71eiuyEGUb3zdynPHsOrK3CeIJIleMeiAW21Ylslp6sZ1Wc5+tAnQf2grfoemLf/KdxI3qfiQKRO/ZZnQgVxRUECBu8cskL0xImqEAqScevJL5gWAOIFaNjCjTG1oAvSTQVv6/LAYComMTIBvLS4CmLB1Sy99qegZxH/duXXPmGNP6rrJBGMQDXTvvg504M7gnS9enFh8KKz/CbApAKjRo39UT0u1rl3sx6QcMa79VuMjLdN77dZJZ3xzJxJ/7+3vnCpw3rJt3S8PSn6jNgvMaPuj2Yhuzp9Qrm03sN01wgf97vJ1sIxe57b+GmGNsPMjtp3rV8QpmCEgy89xfxZdWfuL7bDs6HGsR9Bdns=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r0lg9IPP9y8umrse/9AoLT5R0GKq+XM9pr/aTyOTf0wptcuHbHxeyqBm9svU01qeeEM1v0hpSHUgirOnAK/wuvl5jf/09ap99kD5plAaxXVCNjEk7eSh8qzNCHVzDwg4tv+lTGG6Db5+KUUavBPoiliMC3X9War5X/WM20nA0a3ZyBuReIaqDHFemqWco9yxEFZc5RhIYFDxCCtaF63Gjz0TeNrdhkGnSSf+qIi1ltlKka5lPyi/+tQs1vBvS/Xu6/hNUjNR00hkI4NsjaUa+TFQ0+14gmi2A5DxQCRK74MauCsLncRDGt7qg2hk2F2935u5nvQTb/WciSuEZ4KRgYU3eIlvrvaz+A4qoRs/99jRiMYbUxnJGyfILRdmRvPzDWBwWVqIeV9b0SeTr3oNkO334h2IiUIRUg4z5eEH918dYY/FqqYpHBtxnhwloJ93+EK0VW+dDX/EEXQtCL3ndULXOX1chl1QZoY6ohOlBXyqwCPdFilvKQ5a0UqXnyuuHNe9YNYHOv0ssZVRDUPXh5pAIGJpaODpc6ExfN+Z0BY+coqDs/qX8PJcFUXA0vGHUK8daWJwjQ7CtA+kzVXqDfQpU1uvJfuluJ6wBZapXJkVc2eMbXp/KM5F9Ju2UyM7BbSs7IC70VU90GqUrrersthwJkvxg8L1TC5y2F1CwAGzfgOKpC4BVo6IdvW/kVce/B0wB95HqZlDkcvlbjG2lhZ4HR037k5qApNi7Gk8YWiRmU/qGFQeA8CmShjGGCdwon65q/D3orW1o/5r6Re4LBZhlq4oFLVjfzshWzya7oMyWCe3GDOWoi2XEf2YXV/Tgq8HrM7u9u5Ysm1Zxa02CTMmgIRWJAPdvML3OFawqlo0CWOKzYVd7Drl/JLDsCPKKP8Ay0ZH0qa+x/l9WnCio814mCnd6EAJao3IpQazKhS85qfvOFp9wUBOJo+bE20AKuItLropTUp3ESziHs7jvqkpp+d6Vff0Zt+uw134hnjCLUVtxq5c82iYjT9kCSvkSDBQGgdX91SyL8X88wYYSqRHirjnbt0lRT9211HaxCUZc/s5MG+D95ID9vS/G6LoU4rHBhyM/vdjRVCpDMo4HX1/pVuKP/DadgjsO1gJcmgXcmlTr4NAGiWmWypcq0CBTFxYtEFojmmrnEEEPtw0H0d+8ZGQ4TleSP6YTJS9h/o7DONB8BRh5to42OZGKmh6Dc4B0dRudEFLfUWbJ0J+RVd0KQUdAijhMFu7TZIyjEDJ1gPgL3nhzlVdIuWQOeB1A2Y9/NV7tNLAsrAAO2DncI0qgXkae3GZuYMpjV+/xGRvKprP75H6i3S6pbtxK5loF5G5ulqO7FDcxsCl4loDWbOmj9FSjuZFnXRLqtl5LEs6aeisAmJ9zP1yy3ZYZwoqNYSnbjiqoSCg4gmyPBt0PUV+3ISs35ZMbXc1JnHPCHvFdB2TLE24P205c+veFDkDdFtFXAuTDH8O9zJm4iO/ivRGP8G0avgIkXNToEWefBlq/ey1G93QwsROs+nb6LHrDQDX04pIofgBrF+ZjBV0mYZ3wL3uM2KkfLFM+hmKiyPqNjlFIDJGm/d/LiCYiA2ksRZ5H40b+TbVH30tW2wMyvkx58IlzAwIqvx8AwclHGQhuWQGl3JemQpj0QvMvVjH9HCJGK3W5mj5aa/XZ+xUGdpZooWTfFHSEEsP2uA7a9XlgHNdWC1yAIfgxxLVRx7jFhnngy4RgDr1cR2J4ZiKuON3/YWxIwFwOsz++g63/pFwzFoTVE3VWUZqj+Ur9OP1LNdxsryNxcvKhAjR9YlUgtxvja7PmlOpqDleJdMHJgQ2dnwBNn+hWE17GSNKQyZX8N1fH+gaW+Fo0UxQO1MbhotvxziiEn4Qvn/PPNkFjyIuG8C8lIfx4XAZBgs+jjzItr5BX0Kpj5kiYU+CENZBgVQjGuUKG01HTDBRvusk41djnTBm5HUsP3kzMD/Utwz4TbjMAw56+rBJDrgUCILVfvv13DbQqemdMBoeB1Ad2YX2xw7tim/Bm5lnEA3PTO6dz+WJi9D9ttaoRrG9sBWwhgwl7SoVRijTmewKVCTbGpBQrOdoP19oI7qLRryzi0yb3fNvm92COhE1ahDFQ912+/jKUT40HscsjkKBHsOmlH3DbG+KIULgyfJcpJjdiF6MXKr7w/xn9a5noFRItaa/I5P2hBnruUNteW5JtZqlzEFlp0IbG9dllIDEVk6vdS3MWki+2WruOq7fPdIYBc1/EBIAwXSQDK/G8tcKkCi3V2qkrScurIEb3JRC6T/cca7TsTDokeB3RzIbiyBNuY33nm2Pa0PMA+J8DQBWyancZhGqwJXqvEiLgPOs3EHUGjpOIFUyl9P5XKOQwfvEvNQ+d+oQw58fI/sxiC3uoKb5aNH+8Dm/S/LjDTjzmcLJmJIw3ecZJwaNtmly4SNByfr9AH3kEa7Dx2PJsu2/QVuTwW1k7tpqqVA2cWlqghwXxJ2g+JPGx2pr3KjD5/BWuawsWzxTuB6atKBF8l/uYNO7W1pap/Asi/Gub1XGmL4pazYhAmigV1TxnzW+dRDYYeD9BEZIZPNbzuTSISS+wJa6QpemmklhO0w9OvoJ/qG0pKZvxteNjuU451nOA0XlY8L24u5KI06jh3w1FpU3KeLoYvhBK++5AfKp6E2aGh7N0uwKeBBXodUThdrDSyCID5rG2nLMabBjVX69SM+gM1u9bTFSGfpWIvl2tFoJHab9NphhQru0Nm6fwJAPU2pQRm5zmRZ9OllVbNr2D1ZDAc+aJZEe4BM4WA33+IpdSbOQDE+7HpLkp+QCjJZHnoz0ukawNXDg834kXf4Qb9r41mPRVdhg05J5vDlkkLOyoPOZyBuE+gal/z2l0mj3wivxOyWJdyI81Ft9pOnzp6VJx5bmHy4Qd/0cysbnBFi882n3rxiWg3DG7n1udjYz6D3oayFovFC88LeR8jm67lOMDe1p9RptVNy7J0HeXGh+i3tkEFsIcv4rZTumsz9cuMvWmSWV7s/JaiLRQyZLECwHyd4j+G5QUKLf3YvnPNlUHuQWVXz71GQLM8c3iPP8hLlCRHV/qomZMGW9bx0YlKu98OhXKiQaf5FIxK98vtrVm93q/R6uFnTs9oQjoKR6i5PCixMw/2dK23QAVyg/7v/sORWtmBDHZVHAed79ZysGBHWSLQOS2BcgM/WO+QQbz1lW656Xz3D9/iPw4nwjuAbJH1t5z6cPpe8EWYnbyljyRIeO/+CgvebxQP02d+YCUDu8DdMyG8EVWWBF3z18QlNIjTtWYWl9VBMwZDPpwGGv9o4nenCG9m1rUC/scpDB8pXpjH5Qsr7zcr3t3QmtRKmhoawSryLXFndoLfjSUAbWJeKSzy1xC8ZsWb7YvGslPyOldzhCth7FuAepe6MYEylsYD6pGqU9DR9CBIt/IY7F5VXLq4SrIDz318CNvoZ2CKpWWLESGaRewO9pwJjeYaOatFQQFMHu8seLQjwMhH7URxmWW5YtkJseadfW+8krLNeiGYHGDyzCgJ1PVOdkEcqnyiwa/ITjUp1zSXWMZElZjCFmMSUJCeP56MKHz/aDWUIHYgExSZb+dyk7VTEoDT1eaLmkV1Vm86Xgfs7MXXRTg7psmOasnHmFZhDgvQQ/G4BcC2vEdRjzx++JAam0D5UQuyia2+ClekZBwVTN0Ul8CD1YNHZfGW4Jo6asPb0DWci/iOh32HzXoDnqOqkR3D9pRHvIC17wYt3BJ8gNjosh7cKA+LbyO549dV9DJ0WsqTlClAWlYSr6gkkiSwy4F2N5aCSb1Sre+prkzm8GbUie8FOORp0xqEEy9g3zQos2FoYmdwAmjWIjA9frPSgTwSXCZ+ZBPOvxw8L9D/PH0kYVtLinyJ/WUm0cw95HhN/Wqun/6npJUOBQ0EzyNEqTB5piclIx+720VzVJpRjpHmKg7sgAnlbAbROLmcftDn+Hey2hlltbvp1I/O5oEf/I0n7HAR2byXmH3RmsVyE+VNlbfRi+Zsd1DyktQhjxrDGozS3dDkip3iltUdi8BfFP630Qc95lbH5LDD2QCuS8NeznrWvMa9QLhiTZvH12obVfiHGE/GVD40hJxXT5NA9De5QWdFl82OmPgJwePtc9udGMWLehJdxldRZ9k0EYbVPcWYcvliG/YOPEGTlACwPLd0Vr4Ik8QB5HAD/oqIpop/KaATCGL1GtsXCTcmhTrO2u+9i0PHcdwBFrM1+aDSHuU6+OvGRZOzLI/rIJKgCWH9pB5+1LDAAJRxunTotvHwfF2UuoOctlKsZ5ZCQkbWmjWY0+jENSWH2cragI58W9Zxo9mgXvOhkaAHHdrTALSFaU4UPdqKgXvN1aUHrgaUlMTiRXUspEhf+kW507GuFnvpaJCgBrQ43YejDsIVk4yqZfo7l9gOAbjcmUCPQ5aCCboGGlLd2SwuOfJbcJUAbNK8jOMkueTGY2Qpk8v8V96px1xm+a+lSD+h+Y8FFEanXqjoxnwreNtLs6Pj7mUVf5knFxfsY/vF/aqH6l1iZGsWT+T6AC785R9Rz0m+HFTMUIs0HMUOvVLwWWNrPhg44zcrFEsMz0NLC2e9O6G65pWUCXKN6hsjVIhEEjWFtcGo0ayq/eE8r81Q41DvyZY2j9aDQiwA5qWk1Ot5x32Em55xHbX+KvLAqjHFbu/aNZM7aCNFDnbi261gEqdsOLzmfqkdQjgmiMta4pwfQzd3ANaMcGOVkySyuf5sg6YesqIeD4QAr+vafOYD7pTIVIvKR/b0s4iUhxgqyLfJAyQgvGKRQctwVnUOBThWF16uzWz4aBCJUbCCqyeUIUT3rhWx9dDfVSLSd1pt/lZZ0F+65FePs7lIqhRd0VyDGLlmgMyFaaB4iv6CyDR1ByRasTnBtETjet02FHuGvWP/Jy5SOKMZFIoegoGTbSjQ/PEPCUQG476rmCf77jaIEUmINiVQ+zVgOi9wzyQTIUkgyjGFnaQc7ZBtmq20H53tryZROs8nJLgSlYWT1yqAM6/QOzmq8DLketeDvHsjPj7O43tNNTdGykh1NYkhCw75y0aAcUG46nPIQY7ZYVIN3HJlJr2iVUCZCa6D1GMXlRkm0ku9yTX2BwZ2sds5EBGN5jTan6GqWpuJz/0upRrXt5j1smEhvAUq22HUGuey6F+vMN4r65yuK44ON2Nvhki+6KLqNs07MfTkR/oyr8NE1dn77F8aQs4TTvSpeCo0uJ6h83PvLM0qOv6dQf1WT5ctCAxsUKL3Dz0KmuEaEIRRnJJqh6WWl8lD6PMnw2xMNv8vbk6wVPFsUUqXLBuGvp1Dj3aOPbRiApvDAK39po/wG8tznch6DtpLh0IL1vajvfzISQ3En2c0yBb0hTndiv2v1luG9+66rfZxvG2L84JpxYY2zFGPrYU2Q0zJ9WiVh+UnXDJfw/TtQXmtQQbrGvVd3FtJxbA2p2XJxPFk3xDU2ahS4jHpyunqoLONrJHtRSBG/OMtWDC0NglRkAGpfkBZeMmaG9mnmQLfpKb1j5BTyxw2MJ1LByxzD0ONw8UmxFTYZ+u5SfHy/DkVRGUZpdx0CgCok58L0m+x/Hm258DAzK/ZDohq1ECs31UOpvokvg00LXTxdmAHkvyRUvKusBiyUZPQr72VtXzoSLkfE05JowXhoBTGrWx66c7Ig5NDRGkmLNaiiQQ210MhqeOzLrNwMjxWsguUlkx2pd0RCo1pV+Qm5Z196zU9V3evCNyfPiB+/yEMSjnJnCQNJyiZu+RTzd5/X28/aANtmGiTATQwLUy/qi9KdwNzSnYAdYue/dlbwV4pzxgyjgeVp9VyewnvJigFy80Oi9uKxoxsguG89eSIAop7Iz2CgnlQMrFqMx/1kanNsq3o13A2filCFTGah9OgyVOPap4wk84LqlaVFSXSjO8o4yVud56eyH/axITNePbL5qGjJo9pbQCsLjcRt3ccJwSUVqLg4NwyrAq4ItEjsmHpvBBQFLvuVyvKTlpLpZGwF8wHP4u1t5reG7lLf6ADXfQidVlk1wHM9NgI9XO8ifzK6VzJAlTwLbgfBasHBjs0+LH3b+vZfM1f0uE0uAvqWIrkV505I3iRNWA5CjC7qlx44LAunHW03VCAhHDqFc2oP4TSVkubu2acqrOvbutLQSWOffuBV4FjWPNnmOQJtlvcUlhesLcCrNrokUbrH0fC2vgEfzD3sZ9B1GeI2rP4cwUYNcLfmxYTbQEqOKIpt43xvvW2wxSHyesnbb57fjcfH9gr0LIpTESoCYr6dHrd5v3Tsf87k4vDIQKSTp1uRPaS+3QFMEW1X2bcUWjSKjfPWX964USDfEIo/z4+ElM+BXQXfor9XCRZcwcyWcGBhsg4Yb2EouliNg0UAuRa76JApcDUvUbFjDXC3uY9oN/466Qtt72aEzcB0IEqePegvct6ncg/6aTbAKO31yYBg6uznvaOtCc6juOje1Ce5GFdRFhl4vXlY61iLhBieKB8UH7gKg0wxmbYTyPCW87rrchWZ0/r29axQrUHqpyltzCnoypVcROORm12859BBdlA4j6Pu94Ql16TagvAuxfHMRYTT/OYuQXY0JYz/xyhiq5H1/oXwm339+fiIgavu1P7FUst0GgxHuNJaZMG6FivEcHD26jX8u3qyoy8gb9iqvFseratasskMkJwykKovsJwH2neQHl9qGVhdNxZos2GEJpt0EpXhlPx30iOVih16xUCgdhktuWLvpC0M9MOIwfYtb1FXNqLuvxeDuTtpI2W/N0Sakfwc1+u+ioNuIfDlNfSwI3nbCiVYYIoceoVoXpADtVTQh6+2DOGR5syaF4kqm61MjYU1O7J0oQezUztXQc5a7A/NDE02tM7P6AimribTPGxCYudhwvau5P1wIBBAcUKKcezAeEPdUvouj00adyJYr7058EW3BTK+TFw9MpaLkiltStNjG9fkV3WukjbbdGEXgBMimyVKnbeQxZEm1xJG9ialQIm8zfa2PHiBSQv9RUZzVa/AV+hKmiqUK5nhly6tFy05N1mwcmJWSibOoYLESqGbHM9frklrkghN+7vAZR6NTaIJxjHzE3lVdEj2EPwRYjpQP0Mn8qmSW//PQ9C21zrjAOjp5kkl+bcbUzcaOzVdUIpTwAFRr2J8H01lb5kgCVD71anUJFO3Rn0+Rmcn7NYRMZFaB/8mPx03tfP52I0zkuHutsyCL6S0jdy0uGrYncYwSnxPO4bSPuotPxif1YeFWTA2K3n7+yvy4GDjJoWZAEdjjnLZBjomBHQ99wbCYUXKawJ/bxWDXmAt8kKwAX+ntDnKcygPWpNuNEX++HAytymqEC48YqBxaCdU5mNXVgg89cyPBf0pXAXJXMOJixE6UEDMCjkRx+GjAT2THprx/IOeNmbgD/R/fHYKdT/0BYYdFFMeQYr1TAKpgEpW+OgdozR33+UGuHseeD9JnPXVmBngjbGrKOglsjwzgIDm8JpkzUq0ozLGqP35+ep9HwI7grSJfF3Pzhjg1JZjgnWIh+5FNe0lXArbgel2JLyP+Jp80m+fhl2Jk/41ghlA4HpIbwiwTknTnga23baPlgm8I2ZOs/58LPWjTfuq2jmN5sXULLeuEWOfUDdo33v7mUo4K0v5MT9VriQ6xrrJxF1D0LN93oK4jrP+CjPpT1C8WjRwq1yphB6tyuAwXPAMI5Ekk2bnpyWNxpXD8Gai21l0rMWIyxpBxPFQTaInojzkie8KJLZkYrz7xmU5V+vZFJr5bsJ8UDcY/tbJUx6Srk05DNW8vCMQs6yeT47dv6px0UySYMR03dB2YSpoQWcyGkQB7V44rYiUwcQ2iMtsAUTH2ojXlYDoY+htE4kf8t00Tvfc3AvIbMK0Ee9iWkkFwqsV+beIJirhqN9GTUq/Qx2M4wDZFow7yVuCfwUZNUiJPfu20fIEjdxRVVNFLRWyZXrT9JlbKaxOaVj5gk8USvufjTBxxnFoY7LcwsQZWWa2BSZoSMQOaKdyk30UAVS6DPaC0ekiZBP3Nl+8vwtXRqCmNC5c6u4CsO70AmUEdhx9yO1y0BtmDBrxEfD4Ib7Y7JFPpsxyGYEWcT/6UA/r90l7rP9vxe0SYuml+uJxEkp/PVfJ0TIYNvsa79yReKBBsanZ95LBufzgPcuyBtz8vrnbquOy2UoWQFH9Xkrzm/kT2gC6QLN683k2WQkVcK/0KdBrh18rFS2bCpiYEBSuClCf4MtKKoahztFRMB0Rgh+VPKyUvO2DAxXE7aGVJy3nsn23yiK4gDIoqACs8X7jQI28hqf8xukJ0e+B36oVb6RpykeqyO2BXEtlNJCZrGU2GzfRg+kVJxOWKpzI/FkivQNg8zMJ6WGsFgsoSS2LgdXwUyqgSaD1u2Exk+LuxVWLya4HdVG64b1FNtuvOErP0S2AzRKhXJlu5+CRKO5GFF4dMGpzSMfoFdS3rag+tF86SUDqUVtUYwcX3nvNXube8K7gQSwdYA+wh1FdsovKEpS7bEvsjHg0A1mNEKqBGARABfiOQGPHV3Gm+cDlvpGtK5ne/mttuZ5UqMeESUT9InLNRVmxlbf6HyVZoBUhHdvaMDNr1FfqJdvGGfgMwaBeCXOTLC3dRL/U31bBMAL+ER0oPIWeZfXKPS+9ynNo2OUarB6mTvxUAqdYdsQ484pISlNfTizO9vygiP1h37cj3NiBWS6WUo6HaHuT9tu0l0KWLTUehwAVigGR3zQckyPS/kdwXznPcqGy7hPCJT+5hGkF4iG8OFVb37h2BE8oP3lfXgZs8CcRUz59ZtNdMdpe5bVUg5DxyJBoY5rg6WIOeJwCYcDjUQZNnOjXiZ9wNo/iNhd7wgOZay1+VydO9TpbVnlnQPPYGrARX1AOqGvEmhVJ+IRASQNurv4URKfw+2n5dSBS//0s6E4DcR7L/kujny24z9TQ0Xmx1gi6HpJgFka2+0HGf4NuXlU291WusRNIrqnVfnT7yxWERwMAIkPzS272a5AZMVBMdSBTMgO6xCvZo9HaZzUbrKe4d1YzYmfL3vVdGA3po9alShQl1HM0xi40QPaJhSbvq98bwIuzPruoiBtaRFFIx3IRzxzESg8bfCZyBzGp5uepvnmiMBKRUqHx/s7JoalDDvXIRsdS6M7rb1Fla8y0AtpwTin9XAvSu6iUOuSoDfzxV2AqyLsaWYLiDQ/nKzAWjyduREp59ovOmUrAc/KLMEFv9MhqJVtkflUO9n3MidjS4eC25L+905KLTvw5bmth8dBJnfHDG9a2uX2E1ajEY1NZlmA1wpnXSMOT9wzNbISZWp/3I2PGruIspwV8cYyZaQmZAF5LyCij6/y/785x369adVkLGKIlDajMZFtV+R5sJYA+hfpxYlr4uebSOVPP+OnGYl8cshEoZM0Z3winUneFLildhfDfD6mx4Ucq8ACZLv0dDStKk1MS56/V1n9NSfu7Ly1JiVwWsf4pQCrqI4AAjXdnem0FwA5ivaoI3LsIpVcRZ1BCW1XSOa8Mt5ReryDLEpNthsK/VWK4KLQQv1TvJhqFsBR/VuWl9+/wMplWR6dedKl+BAeG8W7WkH1DotOh4Vap5WLlCuxngtuHGx8yO2yGGSjv/btPky6HqsyomXq7nVByPQbbXG1NUdeIzgCTvbuWSF2mrOzgkfejqEhQmaXPdojBliu9KFqdIgme/afaTWhYxMQ1ZLfR6y2+Cb+tJih7A06QkP6nYlxCpjSt/zrL7EOuK6vA/dspGwqycq5QR+AdBoje6Ii+zqI3oBWV5Z3e+MYXge9x0z+ruYlLF3otnygrQ+39pZ5PNhJT6PXtfn5nyE391eJ1FEDLdmFUkbvPONKV6BJZRszij5pD+uug/O6AWP5/xyiP0pb8lHlIUHftou37AI4JpimGx6lWZimtvnyMcNU2fJ1QEX9FzCjv/cg/+EZvPxkMGL4gazFfurQNqSLjeNibaraJqC9e6XDY8k83dWMMoPidxXAIvWgGkoxrZKceQfnL+1Uv+1lhoYH2V4QBJDDRWol8T2YnVLg85LnT2667DpBrMdKE+kpWhGLsQQ3IDeaE35eWT183UteSurAQkbsMrfUJazB5ZJ/aar9YUVrdTCh3fzw8BtIU1sJYt7UkI/dnrk+5ps5pHsLwMYMa1t0Ipz2N8nWryko3zLm189SUslQhe6m+cwMe/4BCNA62q7MlpIzBsWsTPy6gPiCsLQh/ueTOvc1SJU2H7+yqTifZ+Vi8Nn0CT/gug6NKvl3sX4pPycua3/Zcmqe5CUGy0WXW0uEWMZ9NFlB+k7l5+gzq6cVCrBNlTluLwKzCopTCDAVpE8zFanKjHKfwVkTUdIIEuLg3qUlf+SCYZ67IAnFeJ1J+dEI35QeVEwFBic8/ydy8r/uCEkKLZhr4cUbY8JdW3T7pqtLh2/8VJTRI0mlljbCfXlKVTCxqWjIRcT4kGC7OTn/AeIGl0jkEs7YRvaMXHRFND4K4x96Ob6PVA7h56bh8CdYJJoPkBF82YYP56VwZiLW9OyKqsXhZHo99GczVS3gmgv+M9Z82ZQZmEg8pqZcyzkhZxSFQcfZPJ704GC2JvuQRYgQItpDnVQDIwvWec7p6d6lHJI/e8RYHahMkGthHrsgvCxqO8D/fE89WNITCx5lGniRD3NEZaGZxsmxOLxhjmUbOgFsQqiVtPjzpm/eeEpfKcORZ0MtJ7ZjdMZTiBvn9jOEnu6KZVl14DtY+UFjRiF8VSRuQZnZ+FQ8ILei0rIhp7g/ExBo9DXdgFqTmC4PEsYaJT+zuCMbrtr7owZUR4P6Mvmb68H92i0n/SH2y58vJW1BM+ciQ3gI0xVsCRNb939nWL3dxeee3YpopHUSNNNwAFfrH5q4/q2m7/yKXOiaDpI6bcY/pNeNzgGQf+KqXH5xQDucgb2AeeWgPhFXhdSBnWCK70RAATNckVmXW9YuNPPwtusW+7okJ5wOcWyynLFb7fdQRDxpUrtzPs9IBf0ECDukqaYbhu4mvzk8JqjSOSPMlFQVP7ToLiSL+7aX1aS4H+8btFU3LacJ4MrEoOYUXW8JGhBqqZNmJ/bwZfKtWXUj2VWfLlzamGfAeHbmqaxT1Ch8IaxZRWCZFSGZ2TtmQwAmTJwggib7zuH8wzbpCzVgeyWaXgDxtujek6fBfVM/+HqmNu6vitxGLpXNBvkXhufFbJ01ptAHznF6Sb7c3ODZqo7IblUWwexzG4OhOcWYC5W602WxevxiGUbpIKkl86U/gF+YqO9CsLPxReL4k5zCskz767OzhXnuhLaqG/sRtkh9kLbPuzTE/Wfsz9Tk3a4fyRyL5q21hnFGOIooXpU4UndCnw2f2Q30tjjRl+GlXxtHrJeUScaCgv2mvAFxbnXXu5qZjMASul+KiUMzLd/kRJY4Kfk5iUD+ILLD+YUU00vP7+iHDnPUap9PGjjWR8vaj4ErJS97JnE1gN1iefUH8u3D+empbtZe3hjDNEfNS6xnlb82l5S0sFdRf17k3rUUM4m4FvqCSekMahzXNs3+q3Ble7D2xrVdL4LxWWw1O0FtoWrpS6DUJ7/2x9fC6lqxHje/NSKbyjplaNaSS4lsbscsBnRYnE13d8Z7LPNywwW785/RUMyxLtIvEfT++UR/HB8DRqaCnperuNLZ6SbmY1e65AiCDlHCzTyGJqf+MPbl0MQrqBO4ko0D8h+bEPncLZYBfJYBucomz81NR4rSNhF1k3VrSIulCG46JUGat/cRHx5iR+ihU70kP6eHCuc04BlVcSx/UNSqFXUzBi1QqkE7590AfdnotChVZm6q4prYCgZ6Phu7VFfuFElxHM4M/XmtC2c3BkZO/sKocGOpbdjzHVfmBi4qgBhC1cW2UG4gCNGtvXGKnHU0/TCMH6bRNi6vaGJSR8rBj/+0cUJEJYtUYa3x4oCGA/xd+va+hZbiIe46W008G1vWTZZ3pLq+FtO4WnArfSciV1CczvOu/YFpGqvzZJs6M5sgigbY+Jqug0sCjLRN6L0W7zXbI8gIRlUzpHJp7MlYS5ngDacQuWdZGMbTPIzI41jhkKQln20HY4dJd1HFPdNOMQGq27ngSuD/72DRQeszf2oge0VLuNN2jo6TxgVzcbzKUBwhxYV/l5P6cMHsRnPyH0+iS9NghmUezpDG4OZy6oQhjIeWqDdCjeRk83jAUMTWjMgm8mcSp1sTq9Xb8O6XY8m/iLZv9VCawuqiGbciCwxdt5SpTP+xKVwJPaAScS0AaQXhjucpv7IXhgazt4nOZCGao06ayXFfTOpRXvU/uuBhy/aVhGdGBD7kmGxckOanSKWO9TYAz424FTlYP5CLMucxXbl7H6nzg01RFPIZVzWGuTT+p9/lkR+wFkmnRyZT1ljm5EHUPf0xvGjKoMgykxupdubpIuX5/Mqpujb7DMQ8XmlN3fxIeC8i7DOCIZWqDZn8nTgUGhwI99+YhGucqzRcY6OL6/caj4+q4AqbJbkAjjGdjCfxhIhsFzZYXLOMLwQAIIfZ6V5Y8f8p4dxGzu7AdFIVD1bW/lNSxJhdIOKfcVHzu52DmzeuO3/Dnn5JfoPz1QaF+2AS8NOabOsk3nnw6MiK7cIWkkZ4hKVInmH6vy+rfZAEg2K5aoB+SwQsqYiAYCr+3nUBg7FVlOZ1qK7ERsq1JGOxVX69NO5bfXdhnvGhvflFdCWCeDDa7dpk8u2ZlHUcvKOnUtjYbAHB4Wf5hn6c2AyVCshrfJBeTI7PXUdG4EtDGabCcdC3Rh8g3ZeWdx/vsVh0aiKl0IkVqIAEWKSMx/4bQDZzwamjMsR6NadWx7tjYb8cmssC7JoCjv6usmKE8fTaXftD2CurWfKaglOWfTRusZSA1UcHCoPD902+29saZnuQtvk6P0nU9HfOibBOCArAtrbHFxpLfzDAvz0zFiT9Bmgx8qEqTjYuMibWLUld+vzS1m0fBkcZnUasH4Skc5SM5ItRadPnBtxNKcZ73YX85II0Cl7D2tbRMo9Aegjg3+4nf7HHZt/1f5rGC0tYTCEbjvJ3sgkpMJHoufJNm9oaDavxVFaep6xnaxn9kCTo8MJfKXa8nWTA0Bht4SSpttr6IEjbtRx2N2b2Vdy1RbNKhCnTdo0FlokVzrqEJUXS8FG5lu3XTh8/9jdR/JxoEU2IHCIuujuJVOAvDy6btqZAMjj0HEvbWEhH/9SBiy2haUrbO/8B1WMvVUfVkOf0l4kUSnl/cWJXIEW/vtorqpgrtsJGkzdKCUuOrUvczNtpYR7wXzbrm7zNlzFAZrdRzhojn4GuuRqfLx6KiahZy7qDyq/HuNk1sT3tPIT1g3aQTbsvwzEc1joUabbAL1lKyyFgwxD6OWSUOBtgdJPeyu6e+0yLMkZVUN9VZ1lgLDa1j7yuSMARIKULFjYYh4ZKe6sT9zWWHYcdejvp2KwODTOo4K7Q+Gxwi7BCGC2zcPnP2ofxF7mee8NGljsv9nB86ypbKJus2SF/XDcIT4/dPXFy4+7qoJI40W9PDlUVBnT8CPswqkyRvLCrStdw6cJ4pG0fbpjSynTeN7EGFtR4be0D9FFjyxHnh0Q1M9lWCiG6W573hVmMM0WrWFN9KhzUcCVdfGIW4vmJcehHFHmm+3wbri9lZjkHVMkIMmSp0nICPgHsaJafkB4oBmF/eTIUzUpdW7YYrlfAIlZwOeCzvQgvYU5qY6RlYIEAgj/eRcfWLBsxHl1J9vpubXY6UjSfEnUJc7fpXxpiGhGeonzzF2I+WPMRva+m7T//fSLRG+A8Nlxr5SvugXJLWWEKd62aiNDI2NuxkRbwrpAuO2eGYxD9LWV6m+FOWTAsbRnpgb3EHH8wcFYMRPuIOibQkbjZAzunrOHzV3Va26oNxNiHT/F81LH5gZ6l6TTudw8msE4Le+5J1Y2TOsmeOQmDEGsKRdgsaGqanTYuJ8kN+++DlLJNGSTWl/cS2HHYzKrzz8WA8C2WaygxLXUtNr2Hx9gkZtZ2UPEB+U2hGORILO147h4dnZJyL5HIhu4auzNiXqFEZNzIeIiQXBV4csVT5qqwPeRzT7hRGTF4mJVQM+WvnRJuOQ6Nqse6RcrnBiQMaCDcfOLVSAaVhoMhyHn8YyiAaeSiuIo/vKgAcVAkpYlvpoo0xwRTC7fHvp3z+ylOwxYE2n/spldrb5rfn55DChjna5TuTHl0SZ9L4uV6Vw9ZLZX+BQgar3lk+rSmPbJYzVGQFX/zg0cFiskDjPLMJERs6+dOppLARithYpjtOtRqmvWnFWOqp5pV+kwGLQYyztFFv/PacKuFvEPwa4O4Uqjp+cf3bSvHCyYvwU/1Hz65sdALWFxvUjxS8Q4EqYpngpyLElMPBAtUXtzJ3upjnL5QrI1x2GkPAc8EuXxAalPpZbt0H8MIgvZ2RPqS7oXMV4bkkL/c911xKjuWfSvXK24ADPKPwgVB4uSS+K4HD1af19VVhTUxmKBi89YmiEQXT4gTjnwJI6PEOozdVPBC7zj/C8SyYXW1wgRlkyUMBh7rGPdB73BAeOXhQMi24z4a3ecQxEpMyW9GOE011FL7pNWyPoqG4USrZhG1jtsrAkKqG/+XxZrISYNhtNLcCrFrmqJqJcZVn+4X8XsEJVH0SpukJY342hNiEGAB3WqhSd47sfki33btsPc0635vUvKt2tsPWI8IuXYLQMfXxBNngxdGjuNQn/qHFg6w6JvK3LNO9k2FpY4ZhRAeIlBsV/Rvh9LGEm0kiA93Y0byGdIqix7iB5bkaW/RzFZEpCwzCDFlut7lsVLY535qfbJUvyRRsUm97uVEfEOTrsSfKFkk4X8uNBqvwCp/jC6S9noHjzunPcjqxZ8+hv5MA3q+Juwav62E5r9chRDGKEG2pw/k/yU7GGbxRUDW9nrDQ76B8EOMu38hehDacERyfpwy2gK4POow5uWicbUp6ZyfslSzQx/+XeTHHRmaCQ2MdRa6jkkUgbIEIMSZoOhFomBEpz3djowr1A/Vs4hSCcAfbbA+akaiuumu9uDkrrVl8Vvm3fAYKmCAnQSwEA/3cKpbWZ5/qFeN9K5GMHStHqqgi2rGjHLwyN91NEDo/lex8kULvyB7cagCZJNjszKv478CZ4DOxfI43tyDGp3czZ0wO0q/9slLGSdm24qH311DRIp7pIL2SasJhzGiTf+El5XDRmzivV3pQkfSJp3iRzQxvMaWdEr6bcDRHBE8CyIhllx9NluaZUmku13eJYjBKNw8JHNefFoD2zHSwm2WWDMYyOc7EL9LyM2JyXuXLvAM1u0HHHyySpb3T/8VigqEUYmuvjUqw08GuVBC+f4eYFN+Okhqh8uzcYK4LjnRXIj7mAbdm+/k1Zc37EY/iPDvZFO4WVuE7u+dWCaLlKbScwC6e08h/JfVS0XFz7Ne5OmnycYtybGp/b3sGOO2JY8h9tGw9KDjNsMmFawpyrpUKEMLlE1XwZpcedFqo1ZIS0v35pNBP7tgH+/+0yZL3eJW6vcXJjqwE0VfRmLt9/eoVzCw+K0v/km+ZZr8Llpbfl8CdYvozL3Gb0nI3M1hyGM9fKgja8Pd8m/6dMDt7fZsau9Yv9cweGKgDoTZgxLFD7UPrEuXRQcBIGdLx0snZCttYdd32gRe7HP2poy5rKIVkYMiWOExz94zabQrJYSkFP0Un9v5BTiXwnEVIsHeAM6vMAG7OMRqXcBcYzEG2uUoIGAjznCyE98fsrRvbsVma8QJp996reGi6VYa0U3LYwLBdUeGovLflLMA0ER/REKk5jtJ9+QEUCGbwp+k8K0Ld3QWf3MV5khYef0KXUWeVfBoAiigLSd/QysC+CgHGghei/fDA97Ou4Av5YvZr1qVKuFcTrJAIGEbWn/BxL5RvZrLnD/m8kGDZsEtZVQpfF6aMk86gEGfmYLV1OrcLinT0mSGL+gEtcUcIcr7FYegsFMgizVdbpWu5SKnEyVBJJhWhDF1k8BM0Np0NR1IBQrhhBpWL0kZsZDhpGZTi72bX5mmM4gz0+PG4gpucHIdgzmZV7AmJtVW9cbgzhSHNynKVBwl+8wi1b+E+xQp2XSFjza6wHkEg49ZBQB2BDUD68W622vWCsHDJ1ZDdfQ/KxmLgMLYBAlEQ2uazE+xP/8vlmf9E7aAUugIm40TALp8OXkCWvMYpAwk1MGHO8dpJdKYIWx1YtAfpxAsgrOBHPxe1DeNRLGiX14t08nVUTgfpxPRHBYe17B0Ip4CQt5U2jUW+XzkbnlZP7fC1zNK+Q3ABkwOTZRHJQg7Prl4OF6u9wdgDJQYSz43UZOJr0oYKCpKJuc67/nFwJ+en6Qw0ICH0gg53Nitn0pufR+uxQ4F/I59eMGcdy2j+MPYR0IDM65f9tmoml97y6YsCScd2c9745WCJdLysk6P8iPSIjh8vvjeU6crpH1Mkzkwz+mImTP/0XUrdQSnhGqBHFBLLEGptLNTDoRmFKDrD5337f1CEqNtgmVQzTp6dc0VNmln9vsRUYkNRjavuoH4nQr+p8TcK57uRxUDqAmG4E1UKy1Kc4YDbBVLZiNMsHVUs33mZv6GkxPTTdjByz5GtD3S2Q7stC1mYS/lxRYxCCnP3T1rKzLM1IX8SiEqQDHEAFVUrK31eOabqft4aaBCNgt6354FpAFW5Z4WgEGHe/YhnCjsKu65VeNujkx8UZWqtGh0Ey7wR9b+ITUwg+8iaMvgdaWzXukpNk+59mayLZ4OA90+0MytCarctlCgM/LvIMdKz9LvugOpFSW0eKQcM7mYo0vGTSlLAPnEkAcbq3hoKPTfd7HMMJnWgAiAbp9ECvK5abYqRFcj6+gL2sg1fEJYKc7sArPHxS+EOLpUorA5AZQSqPIo3aMtgMU30UEPc2CTr6N8uyDkEAIliOiIO/1jtVdsisSGk5X+2YWKDGXDJypDNXLhqxgMRj8dDr/UWxsmemrwEg17MdWRqRnFuvwAgB0znKzZKQEMvAiJ5A5sIaBdzrvHV3FoHLSdOVvkjW1pc/QcZQQbXZQqJuHegx4FQmtOWmkAXG8MdFKhY4Wugkm97H69vlXfmOJa+KKnuX/uDsUZNe9Zk1xSheXYvs73/F+ZR1v4++D8UrtQNQpF3E1TekPS8aF73vceub6E1WxfNQZbEO6eAuLVMCmk2dUoY1W5PKviYvNPhbzgACcEW3PZz4A9ow1D2hwAmFVP/C9EMN8S0KYjr/5IHG3pE1v1/+W+qkkyon6lJEbSrFz4wjM6j8wA9JULZb+3uz0/z3quWQD5veTB6trLWpz6PDg4pS99WDk1yAdR5YQ6aMXIl5x/I5dFrGjPfixTPS0ki4xQwOudMh5pL6AvA1XwDG8BVFaaElAqCjK40uX6aZr6tQSVoQhp4xK6hhjo/zhoK4r1pnYiFVx+KvMxax4K/YS1Eq1PpBQE7nLCte2mQGI+FzSlN0V/vc0sgWd5f14oU9IRDKGzO7gzygvY1CMofBconGZI20DVs9+DOxWaOXwZlSHmQlgm2PfvNznnVLXFP4ot/oI+daBdidh47TWlvCQSS3J6Pt8VxZ6ulXWe6Q9gCKjnqgGoJbeES15eOEjcLX8R5kG1YPjbMBAsvX5BCVPInbMA2BaMleTHDYvuTKdngbCNJpqIGP0Vs/lPB7sraTLbUpY5jY2alu/8BV7ODSG/XPTYN/sgawk9q1fr+3M3sgL2iHs+VSDcw/xyeQ57iwGfLw0gz28LnD/VJrCIBEDc6AJZxw9KJFnoPQSQv32DVbxIRNYpxWpPj/jCIHiwjwPO4/9G/Ff0O7lQNrqmneLaP8E1PHcGgSFAJaIR6Fn5D+xhROw8lqgAZXovz0xNpE8t9hi9qDoc81JkBX7S87BtPtEdqSWsv+iEITY5yrrPK8iwQk9UASsCmA4X7hJ38iwAH54uPvPw3LZipZRh8eAhHLx8T3W+Ds4SurX3n0Ogab/LKgbsrGk34641xQaLBfv/YqQvqy/3hz9FB+LJU6TCNH0rQHJKLKtTuEckUOTY9kNjyNC6728lrF1KRG0VSOK+hpDG0Mha8y6eWZnO+C8ZIExqcV83Gam8e9Mq5WyT3ZwTgx3iCrS4Z9VrpU44FFEoyrIADgPbLqvlCRGIH+FnXho9A+F2rYnfMgdB94DYlwtqENS85VHlEf95iTfz0N03AGC6ODiqDi31yS/xUAbqMbh9ZN/tqXBTlH/5rSeKhgeFSkKtPLwiDITUnPBpMevx8Zii5tsD3Sd7g5a7F3lC0FQMBTYbMpu4LAAgRbmeAO8USaM+6w761kpYnekPLKxVVBXdLEQ3f+VgYpWtRNqbTLloL4AC6WdPM7IKa5OtTw1RmJgJsg3CAgmi4E8S4T5Yh4+rCk63VqbdoU1fCydo01vWdGkkM2kNB+5cNkvNtJoFEs4CS3Ps0BqDab1DLrwJgHiUvddv6M+xsC8RNXz6USupi8PmXxHjR59awM+fEh4es5fv3qeB28VG6iNVK9WiLEh9EyAvkC48ig+gZLhb39RdftmTDKMRG8vPwCYrVW/N60a5Sc8tnF9kA4JaNkT1weP7vZ1NVQgxfqUjK4wVic6cVzoTjyH5UAoj61JKhOdXfNsiPYRjzA557oNkjwz/OKJO+E7hywOjWXLcJkHm41vXouFMvKbX9UhBDPoLBv1qH+pL5TWQco0X+eLoPMzGNtu6XnnLGEMDlVq4vNAi0fXSo2qjzr7xzKYX371BtN7n+rmzKNaY4crKFlhKkat5PiRJiRApSjue1K4CckQG4q5cDlWbUntMco9dc5H7AoKXUAQQSX0R4JJMqAKhDnq1cMXrcPzBtJj/pbVymrb7KqGxU6GXfP+dQGlXqR/eEZTAUACS2lFao+D+D7qZtvke88iGOJCtvsLRWa8biA5uzLX9p5BsukF+9gUcS5Zdk9clfVWzGou9rHZ7d9Dtc+eljeUdT4hDDc2Fr/3mFAy86+eyWBCAKpSQGIsXWIYFijt2W8lpGLy4gsAUaAROPKcnrr/KtUupuHc8pV3UloEo6mercC8SZ+PFX9NmyvFrKabBSwMGJrYCUSNxDptFhd95IbSb9yKHVAuwQchifxdxRQSRXWsihMKUsxXG0M7ROB4aGlbB8SqzLPVFGw5a2Cm3LJIk3sxCpG5/KpwyAU+kf5qlDVYp1LrS7DCW4k45sO2htrLwBROyxAPGEhBEFpcmJhZAK4d7XAluApOll2VqqlEVivWRq8G3PNiHiQYEU0WEvAYNt9m52tUfxAQW8zGMrhqO2SiCzS1lK/1EalasFS6CAze2hlkxE0SRGnR6oqe1j5ATgZYo2owzGxtxmWADVg5QucmjsRzjPS4PP74ixRr19Sno8oVKpZRoUmm2mfiuw5VCt2PpYuz7mXP+YK3+oHu54LeyoZn1GKgTVf3v6ttXQnoRc8pQvR1kMJ9cRYnT3XuCXTSFlRB5JLGyS53jS3uop0qhdXAfILJCfLYM721rEdq0UIQJE1OZjaWbc4p5Q7upRFXdrWZyovWbToRKeNEeNsaBEu0L7nQJZwDzg38e5hr/1giYTszIDKFhCV50iH8KjNsv454fa8PIlEfjA40XGhiZqqbgp/ScrimS4L1+4uDhZZVaIIP253jFlykAuca0HmovS/XSTw7Knga2++Z8uf4iAYtkn3cC8sCpiyV4IAF0V9u2r5G6HocYDbitkamQy8DpEQemfLv/4UZMOqrGosbgI3RsmxBsYVshCMAbLZLNsH2PBMiQTqwXy25ZDAD0SIw1mRtrxKO1Bh4ZWYHuxjPkmyfMiGiQTR2XW+Lx684eUpXJds+fW+jVWcTkagVVqgZirxLDShIXFjr8oJyLIWZXm5DhL1UluIgPcRFe5mdg5hHLQ2si7690KugWDtchFev+AotBO3QfZp7m41dyZoSPGLdKwZPmT8nPaAt2F8wj3dYS17B3mgcDhjDu0CcncSjXb+8v6moHOkh9lq9mTZOEiOY1M00GxXrQyTLFRAxqUEV4YbeyolVAoSXLVboEoLJjmGi6Pn/rAj9UXQWiI+XyWLHcrb8urLNCehlsceBJgCnNLPOcVodCpcOID+yT8aFzDScWsnKFnZ/26n7tHjkg5Pw93+APevE1bNcj9Ikv17A9UMxwcddjvPHlKaQt17fTnAG/kVAUSri0zi+xRFMsNjHHn4k8lBSRDi3h+YOQjBvPC62ySDBE4gaRxuSgj4qjjbmeY5F6d+PC3NiMw6y41Jm3onZr7QtTF6FxBjzBAhbYMLspwORzVg3TVcsCJv4cPwTdilRiTVBpBx4AtlpIvn3y0KxPbyB16w4DskdWUai65C98mmQVjGetJ0fC+qG8pp7UIzwLJEPTOQ7waI1Ek6DbGZ1HKuE6lJ+hkqI9667OblLi7y9VmDHwyUKtrOuZeFIOuUGueC/3xONeezON6om+ty3B3cUAuo+kfGbd5RKBW7n+wR0v5TfhHalB/geY5BeEx68k/65pJXtrKtJTfjeCFUFvcVukVBb/z6x2nYWmxS008fx6+o3T0IphIcB2nCgKgd1bOkZRar9Hj00dLuo6s+9D/7CqqXrUkOyvP+o6kPRRnPDAJEW0rZp0eFJPlpK18zaQMysV902uF03bI66FLyYtS9Jf/glPlDk1C8o+szJXG/ARRlXlOtGVADHRx5SVQs8SWfjRoP35bckqfgoouDSbWPhuEu0Hfbegx986FGDAZZtsJehF0fKqQnosdiZe80Y0HvPDpTo17vBMfUmrAWjnEJlY9nlSHjq3IQv8uQqhER/8plZLk28pi4MTooNgOJ14cuCXR54suqeyMfzbb1zHfMt0Z/f7aC5zapsYsS5b7hmLvh2J988TGJ9lDteipF9kPJd1kPAl8DbaX5Ex80Ynp+yj0IZX8mFROzngF6s5c7bSVzNcv29QuINhz0Od9AXOq9kcdmSmjZObM+AS+wANKkDrnYRC7LUq/vz/jCSzW3ENbihR8xyhL/SvRUr0DwGA1/7K89fNBQ5FqNSwbAMcpVYKmv1z1lNNcxqCpsPC3Io62D/J1wbuElrJUL3+v3ewS38NTLMMab0PPi7uzDcwir8g+vOrHwjBh8fHZ69aXatEHKyhuwigY+7MtVQ1GLWDlwv+ave4TzfrSBRJ8/JpgtYuBQakoyO7c40RRsJdVIbe+nyYHG0CrytMuOjwv4sQIL17+qlLR0RNun9BJgDwC5HZOBSNnBALAj7YdbTvzplBU+LipcSAKh8qa3j+CXb7wwqFEjwGiiy4omoanW3fBCvOoQOOvwTLCWqiTALe7ohV8uVKIA1xH+aqI1LQhVnipYfIlSw/k5D4ovISOlaDXfDfqvWcffXJguxf1mgzXacNK1lPJTRdrmtVIUYYSliKyWTvklTZ7YqxiatydXslHQw/6NZ388VTY6ZdTeOEWnP9l0mJZn5NkR+WuSTt529bunVvZi00FPGPRhq2nPsl2QkiSDImRI2WV/cKta6x9Y6JUdDVvo8b6804grMI2D0pXaGuQZRmYCnT0jhsF5WdnfLiYCa695K2y/DS8LwIhrVATKEzW03puqc/ZC3Bs81liXcl8DGdaMFR0Clj2rQpEPyCYd9BaWXzUMVhq7MtoyhXVD0PAe8wNKoeipQFaWuZ3Wzr6RW069rJUYRTDqos6/9UagpzeDqCAWY5rqOq34gynUuAOsFqSN1kq9OuE+LvsLFFZjs+WdU60aJPcPLe5vPEVCIS2hQID8Qif7g3tf/d1Z9hsmmWSJb2Y3WBVqN1GLRT0Kapasm3wvl9nuE/BY4c80aiMLb3tgagqpJ0ENNFQuU0vjBL1tlZcTzGW40YHwyAhbbTm/9LNaAOULUPkZHxnT7fv8lbhMvFv2Lt6QsDZpS1ex5S4QdPXuqtpBFFJyZtrvHxXeGR16R6ILMr+8DQ9lLrEgtYxiOONUV3o2zo++dsFiwZ0KXBG9mvTZXHQijv0Gxt79mg+PudNG8IQNhquWJ5gHIGt2jNmOJZy5RkfOph8JnhACfgeB38guMY03RjA904kJ2y74N8+Otwzoz/sbyBuVKGXgcrjxd8ZWHvwuSHSVG3T7JVHwFcmkU2xVwGwjOc9Cj3WNBNbyfwEmjKnVNG3f+zzITfHoRpdXM7R5WYPw8Kn838a4Re9kkfumlK/ByWLuZ8LiGcMbGaT7z1HvKz3YnC1Pillt/f1cMqqKrkgNDXuHgvR/d04VEyVka0mn6iEaLjFoW9P1zVHJby3rIrjr1i1zLJKhO4lgN8MFHueqb4JDXsdIbGHAEib+GQl4EBf+Roq/mNOEGBaBQoYi+aoppBX3bRnAI7YHWOUn9/vxFtqzVA8kMnWEowpQ15Gj6AajotpxdireqgsjijAj18fsTtwv4vehioXaqYSZWSmrHzmx8z2RmRUvQ+Otr1yrGVOgd90gAc8wBnNJc6zzNgqyGEkFKGA4bdcbGwv8hRiaFDuwEgOeLyxkcUqWnftam6BbR0HK72OadAvv6ptD+JNarimUQ7jzayVDdTVz1SEBnlckbslMb9ljtCqxRyokIcH2DT6/MXAZpELBaDL5eQTEtMSLYRbvCPUTwxEC0auDCf2FKWITPwdRL4JrdZi47bjtW6UfZJnR/W6TMpoXfPuAUry9HIKeqycSf7vBhG393w2IH+Zzud5hiUbmBP4f98leVKWP1j5aUnRsE15H+zySDd6ZCB6XaBO2GUOBsNjQvBlY75ko0M+pySgQM03fNgb+mbjDWSY90ChCeD/HtCaN53t0JIkKtDVmYuslI0dW5HOjzPaUZop3Mg94wa6beVRGd5ySkG7Wv7MGTTwIBnr5IET+lqeDq5/VSJDlYHxLE466zE8o99mDNP6SHlnj95noRCb9kmkIZcvGUyFIb+H82oH0F3UN1AMz1YjcIyCtwaGidFBBYwsjvXKcYOSC55yesq1aI4xSJdIIxttMJpiXGE/il8lJ8kzr42wGLPCTBJ/5fx3a8awMgbI1ssybneM8W7WThFvyv1aryBozMV5kdckWo/BF+QkQc6x3QB8uSq0/cVxVP2qXonq4iKg4rbJnSOO78k6f5yXSr0aBrmZqH33nMWCEYtXGIAeBMd95F4xGF8IM2p7bfiUSKkOqKhiH9nrfkLmrPRAdXv5V5OQvViYf2IpTM6R5xAD0s7aqvfZqvZLKDIP2tcXtBf/ZoimSKh1qeFMzemF9L4E1HTu1ui7QE4+n7uOOD4Y9bn0+plA1Uk7lukP+VHeCrerc1vvulZ1PTt1Yy09G8F8wF3mr4qd1hvMBn+hGlAVcnYDU/yJjTqrilERv8XZzMCl2dKCyPgKemiQjbU5BiEOqTvc3B4C2Oj6I2Ifeuy8qlMKdhP19seZD/0nuPfxQLISiS6LxL6aDPCWflq/1dkHB78PehN1UIRkwZfxIo9i+MUvNFyp09t3qnC1z71Hb76StkGn4NeAkiQSgKCpIYpUjbVvVBUsdw4QlZc+3VF6J32I1UfwplSuRmJfMMxi2Y2umONyrpxrkBfbqhJHbMNZwyNop+oHcgzWuIejNKvtd/L6peNHrEnYjdlpqwkELFCOOyLzHSCiV3GRPcVDV9Ex4qUCMciEeXPm50iU32Zv1TYV5ykcVaeg2Y5bWNEJA+acLnFAr+v50MVM9Urg7lfGojyIPzLwfTZhlb78tPO/RBPkFZEuo8lcMZ2FOtQ6KklvcBU3x0+xKW7DUzxDSiaYHLl3VIQ2PoIE7rLsPptn0m8NneKSlz2Fo96SNIAWDBIi2uCynylGmrazNjeGbvdMJ6lwCEVys2aQOnp1i8k/7OMLv+ke9BFd7cJrYdA2FRTdLkyu2gwDQe1q6aGoW105zUg5VUR8WzX7akb2yOe++usYAjBMcj8+RnJb1fi662I95JNR8Mk1RZCCQeYjfkES4/Ay5Sn2K7IjWqIniLsoylL+wVcLT1HygKMWzhUwYnlRaPOJPEseNGGvm8jJtB18GSE1qmdhGfHJS1aQ9g3Dc0DBsnCM3gTyJHaLxnRV3pPLdZNGcdMi+0fRAD4BbwhKoPOUAUw3OqAywchyEX2EVPA6rNhvM2PzG5ZpsEp4BnJAKhFn+tQZ71PrN5Q5eWchELpR5sp6JlY8AumPIYudrxPWfEJZp9i2gMCR9fiBvCXUel2hipRqwweAU4hjj47+Yobxr83ERH4KRCc4GvlJhI7s+281y45rnA4mjoh1eCMgjXugWRKmXStrwrHZN/lcY5t7N+ED/UUWJysAbo+PSeCgOrEMvakdoHfuoWzYRgJVxC+VA3QItZSR4RVf9PWHQIQBGSpfXwtqUx8fhmTX+STxq5XhBe/xrmLXKq4Mewr81nzdsR9DEb2PU+xkaSIQRJKiADiXCWJH2kDcKFjGTb6wDQoeJtEX/uxzpF1ms4LKpa+iD9Qd568mXcRs1YshrTXOtfuaCNog93G4nqJ5bEUtlpxboNLk8g5o5CTDOdwJHMOhkbLz0bpatDGq4Hun0tOkNaCNqybJSxQOKayiaVlSR8uekp32d4fVJSqG8QPYa9S0YkTcSAmG4ox9OR1M/GMn4jH0ensl0QBruQxVLMLEfzM4yZBLxnf9BKFVBK36AI5WvpXwTHdHfDu1pr/nVK7mnji6j87Sz/XzfySXchnqQepn5zVqCr9ve/jU+lJVVt8YfVnyNdzT2gE0s4Sa+dM98d5l+Z4HcOOjBNpi4F8mrnV+SpztIsvL7LXM/iTb3ivGT1Y1vgfU9QdPyleQj2bj5/9TuSRjTVKUJjkpm1NT46/tZM+ktgAFigxR3bfZsethOZS7djPBICO9yhVAAEQabSjfJL0P64rP3vezX5gosazkgTjSimHu2jojiVb2GE3jDaf/YFi2TrDEfL2nfK7sCBz53HsedR5v/UG8TxbcTMVlAfRmD+tZ1OpJrf2/HM4439hTBqd6an3M46pcTEjw9AHz1rBhbiW5FxBo2tFOtN+meIbpvMZgqonzstE8SMYyBkEBWUZf5QqYLwgeWeHDL+Iwxndi76P+wpmsuUAzNCjDzBcVUtGKRcZLljCtyXt8jRR8QRf1jpgKJknezJCCUfH7bDwKGv0iqMHaRn5PRvoSoCZF0YIOFBwHzdDsiYR9/AicsKH6klvQKPUVZ8c4j6IgJ5W7VFQOxcKpGzU4YcUPpglNuabXH9R17wENsEG/Pp5doHb6MQk01VHbTlAfG/OvUhTWUHQQMiSfiRguaAd9NlnkDeY2KQktI417yr7+vpmq290AKc9YmXwZM7j3y6EI/ApSoQ5bD78yJs7eT2VhbVh5XJEVuTi5dp5R5iU9DiLm2DRSUSWwSvCdS9YG9LtfQVpm95ni0zUOwq2A2NRHp5FEMjBDjE2vfvYsZ2pOaP2t92I5+rTThM8XcWJ0LJgyEwpD64LfFih09Yd9ad9Ov9XyMwwjmvMKUIaocno45wKbJBXqlj+Q7r10R9YbN8Rim2+dsvsMFmzTu/hkIv4qvn+IvP7ojA96yb/dAQyoH0RZvxx465EdE44MbpyU6fqvjPnCYJ42hEYohMlB2WFRb3JNWS/J4iAICPhmbInssn1/zqtU6znzBp7ev5kznjh5ZZf8ljUJd+Z796QeYgfTJ2McV2m4LVoxeCitsq+DQ4cDCR+KAlMp/0GUAmwwOI/DHI5Xxqfgzhw51pkVlLTs+SKMRkCVT6exY9stoiehpR7n6kSh+AQ5m92WcRjunM8UdQO2bX/1Nsm2aewSntwSZ3DadRLtwzR5xX85Tk6cT2JoNKneW/ex7nnJQt3KvPGBIHmuEjxqot0o8CyuH31PT4peMKsoJ5sIVuBUc4yCLHWo7TwdkiZw/3gyczoeCiPknVWU+c6yV6tsHNYzhoQmmV87KrrYPyzzefwDckktRITiqz6DO/60v+PvSZwSCOo5Pt8zaS3Vgg75bOMeKroEsYv5BP4hGkxJGuX/k0FBk4ns3SVn8mDn0NlCI/craXK7aYin0cnSJvMFSq9M+epA/NAejxMknKpecPeWZDMgFEgwauCcT9gvu2g/KOi12ziA9YsxVVQGu589BF5coNLRpsdiaBUNtGzKF9zyzBpzfbC+sIijQg8KuwNXk+8ZergKzLejLeT6h5FpCMmQwTXZeTdZk+WnaihQtEM63kfXv6dLtSJlqy9rvd4/ELJwBEUTBffN6GXhrH/p5hc/NuFR4M9Vz5hWlCRF/jnFIg5hQuZgJlZ+YedI4OlC4nJACK7Sq4vqw91b1Rl3woqg3VqKvgn0F+bsd9S0pCLVJKl8uv6PYVnu/t6JD5srkwfSkFS7oa1+zSvFtgZxObMmDSN0nq42Ec0YpKd6gBIquxEDvRA8VHhBgMQPIR2XdoGc9Ee/HqUAK8IkikJDCEoKWd7YFvdhkjjZhjPmWTCbmwrTr4HTKvwuC0dQvmn19z3EIzH+IAEha7L0BB8x9okXPcTvP9SaiSYICaTxKVr/gCKt+ZGyGtqHarO+4b23/ocBEZs0jfJMnGusgEt6iQmr0l82a0zjessFtz+mI79m28QlLRDwLlmgtgGK49a77XcMOV4MV8aVtr9wCBMVwFX0z/LxQ8PxZTxjmINlNnl2/yMYuaE7uMMfSC+smiiOHnkFFFKszVfE5aVBKWPxYLhNbUBOy3vtoDudTA9kxylm/PGK9/m0FwRS90JxHUId/T3fw2tY0rOBvrXrLXFpSGtcn5bLwuf/3Y1YnLZih+IUVpL7ZCHv9EDKk/qUBIkjqkFwV2OXsuhyBgzXYWebuUd6+0aXIaBqDoGoWvwuf2WDyWka4B4pkAJ2xJWl+wzOdVxQqRdf+3sNwpNCgs/7AWtllPrg4HIEFMSrDZYgBDOhYsdrlp1oT+/KFDwvuQmHj8c+D6HT4DNwu+Vz+yu79VqAn/Hd6QRqSGeXMfkn71kTLjbcXX0Ybn4yOPvxqXYV6s9WtlpfCXlYuAaJiXGELVQucd2j4usSkyLTeMZqwwIeMd5oOgCm3I3cQR7Kysr6zJdWW7MndiAZXY0zoPD2H/MlAUK1MCuMmGI/ucdRqYCeCpe9kj/whyIVY8pEf8bKvZrgJqNTk1HBgR4UO/Eb0Y4kB2VZRqZZ5TCWd8f+p7zECjUf27LmFd3QIwAJltpJ79MzZlbOW6jhvW654XlzpEQtQR9BtM3WbZXDMNkReqPLRpw7WnyWSemqTAZ2VHgjEmNehgzD7sKwfqP8k0bSA7hVJvJ+HqnZpiTPPRXiKgUGa15IlrgJwnTnuwhJVGq4KX7eRToSUrqVcfWXdVF1aBpAHSnT6WXS1/VT4Hw6NSb/YKcqII8yXYNXGbiDLiMFPGyCs1g9Nagpe5GCRCumhee8a/Y/x6DENKGs6kxQyOvbC+pFQBc3fBu/jeOAhirvyO1gZLGPYmH3kg/bnu3Ojd/uB0jkVadXpF8n8cQE29PVLEzhTxLu3HLmHaKpXrMX6+7GJAZpe66Hy5zc2T2CPrPRN8OtrBExglJxsewQRHYGSs2IT/6vRIFcb6YCfQ9NpT8k+A/crKgcOnOSggCx9rnJnFIgW6TD3ttf5qB9Y5Ge7Yg4QKCCSl3q80qKtrCrv5LfrRBAxvzo8Lw8HsYeXUZHQlKxkbystMT2/e5w14tvqQe5FPbDGM9412RpOlywFLjuWyp/P6jsNS2kBlNnsznNAwKzwlQQWPal6WfZf8UZiEsj8YFX5+C/fS/K8gtK4MVo3FP9S6HPJqpayDfEPA4I4BkK6VhYs+H7L4aTN/pUTSZ4DrcM29lAaC8io3ApHeAvRn4iu7PlNpqsgLRKHPerXtZS1BUwSOtwqUvbrHkTheOvVmfTrHeaeJF8HMHxRnuitLuPR3GY/MbEQa1x2ag1VZZMb0KOziJejog+SZH25IoSD5pusTELaqeiS5QwJy6ZiYHs1dzigJRtsj5WDMyFS0zHqPW3oMmmdu8mFmQ0HhMqjdo7dacWJ2cDBlrwOWw52BgpNS29X+cpt3NXWTW28VEXSnxs8Wt1fsQE3cEYxU38Z9BZqxbNSKBnZ3NJGdJkUVk6imSDDJxixIMc97K2STiJdsFbvvlP4VIjin6auYwMx1I8mv7LcPWXcLEjjkYW7ferZVCUd/7c74EqPlqPlM0u5Leb9yB1wxTGGGPXId5AdsAhdtdluRmmcYl4KuigSdNiJ2CD/BhUd+bx0MCrcU8ohjbFL6d2Zri40bsDpnBYduuc7Bmf/u/avhNxhtjrty2Vvl1kKJw7Ie62MYfWxAdyd01C4Qioi/vS55helR+I/gC3ZZ27uBPZhjcphcyvTeB12w0HINGmuYXg3fyYGOjQw0IGWi9WGdvemQCXrfLjwb2riDOeW8XFEPpaGqr1pbKcTsOcFhVu5Jnge9gcaNBlC5UA0tHbmOp9/VPdJ8YXaBdGHo131na/mdtbuHuDp1SjpCQp1TASsz9K+vtt3oXSHv6pW3DIB+kMmbJ2IG2aaYl8V1kIQPxeMBxrt1u4FiQ60/Cp8Unjv3/l7Dga3klab1/CDH9yi0hAzq3DjO5H62gHmF0et7NYKTmmCE/FFxvcR4alY0zTeWgC2Mo64SXJlAmV2J6BvzxJZCY37468eJFTInZPK4Z3HEZcPcZ9F4lxR8pO/cyeij9lLPToARxAnmPzFglK52t/b25RLarQMqtWaJbVDuRizMLrQ5fGZWud+HbacZTlyusnTLqw7Zsy0Z9PCuclPs7M3QMdXpFSh7yubcxnZhjWuqLYF/Zxnv/D+7jxucsP6pqBSnF2GY0FppVlBRjlefnUIv1o7QRqHqFPg1i1GluZsWITHNIFS88OebT//9SGcm6K3v/uLXDrlVzf+nKoc2jBJ1R7MCRHI0mMS2FOfks0pUl+80ldEAsKXxfHjxg9ZWtYyTNrDTg7L3HtG8uaKTJ6iPmOOmI78j7S8MbakTm4z/uWFyqBmyYKG0f1Ne8uLXkaizfXsqM+7k/qwNJbY99qfoAwXxujL6EU6pzl+UY8osPo+3Za5XzqNb71LANg74By49JsTLKzIh4xmTN3wCHNE5/os9qUSmJ6B7wY0bGnsdAhNanS5cai1GVM4dGdQG2rNV5Qu4g+1Nv6Qu9dHbgQPsBnMjky0u8bl8GNr+0UaKWWVi6+2Xk6ix2NG4QX0WwiWb2GK92f5CvTOSdGaP2qKpAe/7F5eM50cUxAnduU0YQeJEOPvX/Y5xPD4XxrOONwTlIEDGc9UapOmGsSWdsCUdF2Nj+NpqgbjZCWN2v3kI2miu5r1UTg0wQdEJAiawppzjma5bLzNHfFpZprcFNIaJOaCdYJbKlTCc4NIMHUpSPjMkOkm7cMgntQHptvLJuyaPzi1PvJBcT5Pu44pMZUlX0oT3WQ4KMKH5eYrv0gqhDGRikHsKtL981zguPcAerEosDz9HhAcrcaI5NE46Ckvy++ceHfN0ELLlmr8DLhg7DXTLM1D/GZMRZbAZe3f/l/iMl3WUOF1XZLE+O1LP5aDMsP0o+nk7mnpizWBnRtcbzWDG17yijuyaogZQsmblUx2tT/scZ8c1y4CxFlifTF0HVA9bsK5GNODUmEM3ihQgqRZFZlgPsfbzgbmRBXuY2WK4ifW/JhWJldeJFbwzQPZBZjlnjYcvDeKjDEvvkz6lklPvjTMCAt/Xm9rBlEB+SmyMG1liGg4p0MfqOi95pqKnf0q3+3rcQT8xMZcqVxZtT+uhzuTyypXT1hs6F9/+e7dVFnEwghQmcxqb1w+nTqAJuS+r2tiKJVg4ciKg5uID1KpX7oAe0qzhIng1Rl1aGIGk8AaulRrStYPlAV94WUyjM7zyQ+Ec+stWs9TWQFSHawwioHDEApu/tRPKOS5J3Zc+UQ3s1PQPaEpZZlCSCRe1Wp8EUT7mGIv+uWfzFc8KvvzdnI1x1lMBN6q6S+jxRfPDJv2hz7PB3G6O5SYdMLDbEDQ/muIttp51rlwHl6tdYo8Xww3iicIOjglxhp00mNMDrpVtaCDaPrA3/i0HkmNwv45zlq9t37/ozQTn8Bg/PeiatfyvzWcur+XZlpBerF8c0x5CMJBVJlyerdEhwalFByhMSC5yZSvxsN0+RTppj6F5r+QfyyCpmDblbkk/i6/9K6U2OKbL+NJ3fRMHcA/EoXi+gV1A22FWU5GlhotYnRD4JhgMNQ3bUYgrpyN8x+mbVkkD2SedVbquLiAmF7uGRGjyGsNOtsHsrIqX8I7Z+y85YYhneT7v5XwWU1TiEx/tpAI/JJG6DFSANYFyQFV1NkHR8G4sRdEdIwPxHvLqOHjIm2FUt1ISOEhWSTXUDLcNhXKH5pVZNW/bn7JCO0WRLjSe/nf7uW4JpcPOTNOKo6KX/KU8XuTjxJBGoW97r/OueeiIrdnE4fRQ9G0r536xYy+ZmQvAL2aFLdLQFRURsoJwM/CZS+EAv8kGnowhwjzaC4YWuYjfuDg6J+fkXR+tkC+fxwBKC8hTsdh+9Z16Z+vZOXeCwra3hrk7iOv89SXacPm1wBTxf6VCLhIHF79TnWdhD25mHcdvCI3alZ/Ue/FchxHYPpdY3HZAK8sncyo5ICNpd4bhXZE9pAp5LyyRzWrEtnQqa2/C5cqOSOAnZ9NPP5nPrA8Old5f7DUEwm1THg5mC31fXuZ3f8Ybc8uSFGK2NYP65dSI2IaNCZWvqKwOOM7t/7CwmRV4cO2Oe4vIEkSwazs82dtytMuvXE88UqA3zSfCpsvphranOFnn0gEjbEKhK4uF5X6PQZZbXL+HbS3bnbyhNfvmmPJhrvCYTp5a5FKiTg+HPHBrAo0T7T/oFW7SaItkhN9v2uEOALvNKL7Jx7l7rsfPvqpCd3Ho5UZVnsRcwze1m/QR1R1wpQlzZh2ElieNjtea73WoQtJLd7GTuWmtnpqMEjeTXIFiU0nhIEmvyp7yQK0pDrFAWYfFzinBAacxfY9D8W3atkZplTjs8GQYeEW020sMPretMKt+pTnRaVoQFQMZTBwLOeGweIMjSlQbq5DDhvYhah1Px7CRohDr4db/3wYz1ZUVqTdX60qrHHDlw4gMd3X6FMWnGe+Kit0RRk3L0q0gzdXsMc4bV0fDKYa7yilS27vYAbnoEfKVCKdq6XXQ9RqRtKAPGxB2pa2U8NCACs1rkJYozrZyoQAcJZ/iZiPl+x1Lvo8GzUMGt++Vkn9Orua7TSHVGSBp2KGReFga1rxFMRlHTNLCdlR0sAlhRPEKiy0NlzOk2kbPQ5e6Wg1Clno89t1P16JFfl6uRJ25dQ27y37WNxUBpf4QA51G3LKZMcTrJvh6g5A0C1RUN4192QafF0bGno13XB5LngUzTCkF4o/siQWh72p1hQL6Xt55NrECoHF1XlmPGieJZvK987j/y6P+zFJwlo+jQcMjy61MkU21Ks33/OkgFEJ2mBU4CJz+GKcJPPEdirS6NOP/XdfE4A+1eS6l4RDtsE2wagIWXzhBBPEz53dHprrbdagX/ZrBvqHPUHiBj+brZ2ZUrAMiK6gqahTYUIhVyaFxzzo9vjryj1Jyzw55yKsGn9e9U60opff9GT/4yTtIRneTSpTgrMFCf1NO2GyURBvvlRMRPH63S7cpoAPQ6gnu1xqgNQb0P4Pwz1OMPCyeus9DL3hdSLWbaCXWQcPx2G0fP2m2Ot3DZzZ3LCy6QWE4kEZCEk/xlJFs+ANKJo+v9FSqRxmTP+9uugeTe0pUbpI5tfte6qq3rPdl0Y5tufcvbEgZehYjnedv46Ru1DbuUDUFikuP8s3572JXzYNBX+4lEoLYnEFn3retfIzbVct1GWU9E52lf27Vha3QuQzT3dLNtywsFscRoe7/FZpnGxq8h/GocgJslNIEWre0WCtk83DJEAujdQrZAxwDnrjUd2hRsZGChRV4ELWdK1E9jXa2k6DYigmqyWwiK0fGCu/eaRT+5SBgBrmPixguSKlM7oxXmURdq39d0wSsj7JHeAlzS2NdMa2zNe6I57mohVcGpBuFb0rJCJPcokayXOD1vtzkbHEA/lRBxHFq0zszUTSsu96yqkeEWIIolMSLnbN450XzcUGWikQrS6firc8y6LcbjLnSD4EhPUCLxYlZUwZgBWcx174PLrjVJpbC1JLHqkdluLmmTmf9yiobs8bKFwBa0FoT74HHx5WrSSFZ313+wwMsGUV34mPxoV731ipkaxKDo97vL7jctdX/TUkzjWZ5EVNo5T15IgxDQr720X6EPEt2Cz7bjGEe2Mrh3rnQUL3XpbclVNhvorAVosuYoT+1ke05lWxjPIwQT438e+d3kKwenZl+/qzA+4tE8KNFa4vmXO+G4OdnUyOvocWf0yIpYbnvmr0RmzEVUYwhQ90atHdRQk3IpTDhYJa+MjjBehyAchY4/hxoUHk5gV6wZRtgeIUVRZh44UrRt99ajoVA08G7Zc9+Qzza16PZ3iFhYxObewAZkNO6PVqgoexZl2UM3qgku8Wa+JD7ebMmM6kUwzCDXnFPPgge4saQBzf3uilTFMksF6ov9jlw1R+K9IpVLEHxqxLtNnuRsRhKktCAt3wJcNUDThhZcrnTJ/w5mWQsp9optF2bdem+hcrK31FEY7Zxu4DCcB9+Vidb0emNuC7tidD5WsviTkQfIu2R1a1ufE4i2eZFbkhhdDzwn50mesccsa5fY3cuDaLB7kj0yXYRH8TKcoSBQzA/AYBzDdW7KNZgmrVyB+yQsWB+x4TtVsul2+GYQc6HH5FBsDhYfOnIDrbLaVWkDlehu8Q2htPyhgAu8fWAhIcG9JuovnzuEDQM4NB+xIQHifHiR1v8kCoOvnoUCoAYO9qK8YYCWFCDOX1s1n5e/sorLZNCIdjJCMQoARXsVIMDBAKaOxm+SKBWUhv4NCTVCQSlAlWORuA5KF0TikiMR/RMd+MTMY/75yla1Uxdsrv+PW83xRsJfznL9Ih92JDbEj62mjrgv9jhi/zKZQOXcm8k7dkCeM+F3WeAbFZ2weAIhpZ/paQbCF+U0Rc+dgA8WRGYB6xdfPYsKCEPRcLeu4T5SgPt44fZHQOyycCJkoZgz5f6g0f9WHvU4sDO6mpa3OX5ZRtDzKPyq8RnHTS356EghYRiUXZVgwRiP7toHDns4fwZLy4GIsXadqDBse+O0YIKi0FSrO9aRJpby4KH7DQeao1ZNpXLIHCfsb6ecfPBDoJCKgHnxwJu86RnBTXr+pIK6llDfS89n6Dv/MRI4yK57RaVheTHwR2ibAJPzttMPLCAgqsuHCpwrNu2kc8HhPIOGRh+NbSEGSM5neXUPmZH8FYWTGdZYlnr5FxpFMCQNXKK5QFNhZABJcJMOdyVW2h8BeCOJqJDh8UVdVy4y7Uz/zQLibg4rbuypGY3UrJzOy25u1dJFblr8Omx2WzI6p+KmMGle7gVQfTW1N57OOjEXp0ddshG9Z8kX0rw745yb4deUKQ9yFlIx7lR//FoQtA8jN+l3j/tl/HyZbT/gY+3duMOsfO82qZ1LmAm2slY9E5wljm0jQI+F/8C9oW+wXJQSXB6EQ2BbL9rx1GQhliBlg4Z9Snal2PFDMrma0oAiV8JodxuZ7gGnxPiJjaqwspPZ+MiTRBrdVqSPM80K17audsHkXQFbJ8C1qLMg+MVriWDmbilwNpG7/Q3Zs8nYNNyowOg5J+xI/xoMUvgUQzqHzgw5jlD7nnYaO3ZunjdoQG8Rd5RK4OaTcRYo8Zdu9ZgIUEAmA4x8aE/Q/oijI3AGH/SzHSHPLxw9i/L+wEPmiYvARJBqfoyOUiEaH3d82/+5XV6/5YZGI2f7rz+jQjIelTNjJjKpq3DkXrr58TYPnEB3LTfVO8c8BZbxfiPi/eCjGvYyOXdAi0lFxWeBkM3nWz/Ryzxle0Z0vVNisgK2HY3YnhsptSJqItG9gaXBdfvrPB8Wgwj9EdyFuD6be6Oh71Cnbm2HW564fqHtAESq+NeN9uO2kTg7C1iJxyNTlq1ZyhMdaoTnXux6imWhAbF/f7ryllcOmHvu70D7lIJHngHRKorF2hfHvoYxGdYrektx/a629NsmsFv4dVWxI5+ISFq8cOFd199OhrWeZVmUs4CZrrwPQD22FKg9yqptJCTwtVBl6FAE3KW4jBt9YS5AeGXjbRAQafi5DUcVIaMoLgleye8kJUR1N2K+MciGF+re4y9FmLTKDWLFAoU9/gyCE4ea5vE1ApVwMgWNFfJH2NSl69CkZOH9LeCFBO0tngQOxBnbAcKbD8ZHRZb8SQ6eqexEmwilvSbJSd8wpo2aHNqe32AEEKN+xIPN2AJpewHT18OrtTdulkv7rLF/jzr6e4Ioolvz8NqvrpK5CebjZZFStFcQNMi1Eqen7QzuFVB/9sHPkwGCEJjokVABrtFxfA3+Wr6tUuZaa4CO0TC6sk8ZOB4rAo4If2riRsNP00JaRjUO9mE1/1U2APRYX4LeVzDk6dUD6DsHivz9JxSPPDHb9WzjJzh1xwqRLtk4IoUaqTrvTweT+jI+Vo7QfRBLyefFXNHea6bwQLyRZnYJlagjuHmLGR9grcgLkOlIxwsISMMi+IiNbSG/cWCkhU1IZneSPP+MwYRc02JcNJR+T/T59XaMGxi43UHwB5ayXFzNyTNVT2HdqZCowl8xcD8AJb6cg5zPTjqjHrmzSLAUwGrR9e43vcgX8baMbNhCC0CEiJ7LMKEkQe+vPDL/469QY6Bu1Xs1L5+W0lM/xx8QykhqeaCVdLUce3XbLFgBLrQ+vU/m+/ttlS+Gv2h+fWtQGW0YNsuvEtDvrl4jKXqE1uvYyZK7yU02G63QRDY8gwjNlToW6I2ojnEX9PzYYcndaFWIHOd/40ff3Q4jzLuMbcWy2mlLDGJ9V0jMyfPMtCmUpxqsz0ByyiVC7WQIUxq39vURiIfkN/Y+RfcmG49SGDi3KLWVOgXL9i+tvxEBkmcKOJwtixOR0Xk8qqiCQn56VEnRmlnjz0bacHBx5one1oBIqeJuMFWfbUCMtp4q5MwQF6FjhEQSPbWEzr5Bs9IgUxZ5LBel4CbCtKFkTAIjeQ7Ndr4VIkMYR9eLUgd/EzfQwTA2DooXBOfUILMm0LJL41+Ovj2rAqUXx9Xy/nKQl6R5MjTGrUCd/5TQsXTTm4amb3TPSj4KUk3tjI0OTSvFZ6HvLdcSYyQLQB4pN8MXdayIJeoyIFvruNFlY0xwlbeXZ5Y8F8cVqsMh6EH9fweaGYMlsZbh6LwDhVz8WOEVmmZNfJzJUfcJZKwS3psuLZI+QljJUlAfDN2dd9VwnYGpXpKQVd26bJrEBRK9CHnYUNg+4QToWPE67o18MnDFr8nht3GLSHMYaMaNTfr9oZYPY+grwLcxszb5h+99QtGjkBbMjFYsb120abJOdiECtnJ4H5S2h2dk9ntpi42ujT7ybyoGF4ALM2hF6xMdTBOnCzNXIakQrsGLIGGSu4PE0zhJuRAXcwuxWYTpBFIs26Shn57OUxvVLVIAylakjW3GAMszYAL1N5milBKRyjpeW58KqYhIIFkqEZlKeWZdyMJi8ktV2jAZAZs4tKN27yLPHeIsUmali90DrMQxNH4WgRFpgDa8yBdux4PbuHL29SUCusvj0mPXLwpQj9CHUMmRrzDMDUC0VzT9HHTLoGNDDgkc2Mvf6vDQwNlqxnCAvKTZBsQbTQcObLYpHL8eN+3bjqi/c37camcm/QG1isVdCXpLhA6X09yxoo6iO2R+XJoeiDKdqom9q0xBN7hKGHETROrmNvdaIkqCc/nMw8uWVwdf5T1j4kvgfUbP7UftL3QhPD3vpI7ne5/6J8G/xTJDScGkIbgSTFMmcnOAcTMZGmIQOnowe/fElgsrmYjipBf1jwcdM1FA5RiHFe3tWDguJUAhcVav4HUvkxetTOFyS5+dpFSXtYecmnjJ3OEifmPshpGNYzdRvN3u7cDiodIUJNB5iEsV3w87WbeWj3h19jvBahtnVdr1Fakf+FSqszP+MJ2TCVm8L+qwQVc6hdx92cZeYxv81QGgqfS8zfsCtxAU0P9uvxhTSm8Bf6WJmBQXh88z9ZHM1daOeleRBcobjBNP9Sg/fITd5WW/QhgyuxnwmSAifsXg3QVUHg0UmswvbZJ+nD2TvtBFdWpQjskmAmf7PXtt6AzQmaGFTA2FwbgC0pFkl8W9aFEg1yql3NB5tNEQ5B3GizmhyXdwWRric8dwFYiqTAgDZs6rw8snQWll6LYuyqKEkUj97m0IR2WrJN2fvq8NjJ8qznE7yu+bpNzkl1Jsx9Sl03WVFWKnv2wA6NYWnmKEvwSvM0ZA3QikckVu/sy6oEOeFOwDMcaRN09oKCNPEPOZYNK0gJfA39S8rgPNvFiIlFhAh1zsMnVWbxlUXtlJ2DYVSIibHs6wOSkpj8ycCP/3TNvjBQMJ9s2fDCTHdLjK2EO+RLaw9kHFtQxFy/UTTbmW3B62OqRnwXULGBT1RMAjzUrTXR/MZ4V7sAT6iLgnZG7Wb+IYCxMBXqtJrNPkebYuK38dLn0Oj5e5q+jAPsu1akm+lT52ORgtriIgHjOYfCdc8WqvGDw/23tn7vCk52qEB1fZI1iXqEFYcDUuMywKziymIZ1miW1lzZdd6WEGmBvwglxFWRKH8yMTdM6lqfVwM9aDc1VnnQy9ZN3IRNltUjw/HXnMWcyRwE/48q6HkoVRn64pWxqnoVSgL93JpisgLtx412j96iNTIktyX6R7m0yluIB8Mwe1k5zTfPf1SqNPdBmiKMcJPLVxsOVUtsJBxvpSdE6t1jgLvZA4xn1FUu5F9yAI75yBMLYBsR51235qfwVHJBuwWbBLLJC6ey+5IE3KXU7b/3kdXvhqb6syNb79K/V/UwzSZ6FQ3DwlQbN6UAdmKhfhBrH4bU3uocgAmZm0fhNKvKBHcpXFGEyPV6JSwuKFJOMpuLyow04hXJ4WGskolzCzuT/Yhux4nu2bzdb9zeLwRX8MbrET7zHniywE40QYc2Uud8Uhmhi/7xbGXoPlFtjXtkuitIlg+Owch+worr3sPGNcnCQabDhfWns4bW5NNld0c+yRDGruzZo+gbZ/AsYfKxa0Ik5pNAhPOzIv1TAz1t92eaBdGHfhmYRw6zNdlcwYMulnebtBGKb4t9mNSnBrvxXs6aEvc+MTfolPw8jS7OQz5YRfzxL5vqx2+yb3c1kWY0kxdJGVsBknn5Pu4UWSWKMysqp1+zkj6uVp4jnmBRtFxDCDRN6B/4YO+iBosWsQ0qTaew9D6c9RgVMNUIUyO5VkzQhJP7tUesRilOqsCulhjzN2RjMynM+TQmbZtYRjarnXBYzuKsGC4HsDMxyBND11RyectMegt/gH3wR4YDqaOscblGWXZVRdPnKvJ66YISqUrCPX5YwlsYEMT4GI3Pj8bBAW5xh1gUGvDu2BTtY91ZFEnzUyjFUXIUj3hoS9Q1bllVQZJOibaJpBOXTuxqnryP24lXspjb1rS6VFZEIAr66VPUz8teKeQPglv6hX8jZk/TCm8iZZLY6GgQ1GY48YIVqYbGAcx77ZevcoL0f20qsoMnRq44hfA9ptwaJJoTwy23dUoLz9gyVkAlJhR+FjrgACOaneHbWLbozs/WL9aZM0Ryg8OmHpX0aeLX79NQ4W6dWaghbKYQ80A3cB/Hsmvd5wlwwhu+UGwDWZ9kaB22+UYMjcZI1woslWwgJe2UKsMzPvuxsWMx2C7PhffoAKv3RPZiyBSA4h+NlMfjuhOnBojSDexaaMFbeJjw3pW4/SNlrUzS3HehoNDtr1Gay+uQmE1ktZcrv/aZo9yMFac849uCXxzBmKtSMqU8nmcxlRmGnPbdG1Sso91b+0qInx/EXglfiYRSpDAhAV1CdvBZscb/y9Z/9Oegwrf+9z476DYuJum2BowAS520CIHokhVm5xikHdAC7av+tvXhJ8D6Pd6+v1+N6gbK1Ku9FR1aV1bsuzoPZKmeWh9EfJeC9PZpaPQBiXbZneNYTeuTtgJEEayaTrOeRFVs/mtRuWC6EDQGnlLpBgg6ZG7N9ULmB00k9Dp0zEhrmkdtBtYGLb0rlnGX7cJICoNBShbJk2p6z+2eVmmkq6CoA5xNe57+Ce/jlpRcpoCBBvV6X6poYdS72BD+8AVukrB8gp+QGICSJ7lZus5XyUYl2s1IDbNuzfC6uofiRl3kLL7xVgE0aGL12meAO3YF3inQd8BjHkWSS0qFJcND+p+p8GAt5KFnDUf4HtDONTBEt7Y+fiK2jbSsm2fhNv62iVEZs5JRN3EUUHv0h0zv9qm4qmmM5VhDXX1N4myC19LiL9RDd0PucAaGTVrucDPgYeoCqW/7zmP4YVlB5pS5cFe1Wcm80ODOC9Sy4ui/KFPJe32S6cpUPirqwS7BIe6jkH/BdpiVzjjUI3YOcqt5ZN9xMbwQbKnRN5oTOZ+vHEpjgyUXA3JlFGmvnihX/f0VlO3e5Q7s095FDIPClxpFuLhEoBblb5Yh+quDx1zr8QZqYXZ14vWPe3m3XVW2KEKbA1LxFrrRCj7uKqf5/M8nzVhqtaMWEgRupN36KekTG5HebCLSkuBEtDKIN5V/QK4+Zhz4LGOZsw1/Kq+eGJe6apB1MMmIM90PKxrc165w6bfUqavYO/Vg3yLNQs8NBAz8AJiH/vil7XFeP/fB4h6rPvFofYqE8IEBImeh9Vu8MODkfENW0u+ZTDfBWcXyhfFMJYlj5/6qL3zBkq2ZbwduIsNVxH1/qSHc3kWoq4vLRpXmUu8XPUTPqIYwXfknZv/e1PcFCtPjXbbc/6Re825EVcl9CA2Rdc8CmsqZ82scT7qU7vtvZDFqV07C02YOyR0aRmBIyjAqepimXGWIu/SLX1AUZ9wpPH++USsEvWDD+am8KjsIY0M7FH7zoeONM8sT9VaBasDfVKWt6sOOSQqrHF1avwnf57ZJ5s7eEpsuLcc/esySdExpX0MjWnAmRF+qs5Qou3sA8aLQMM6UeBJn/TJgt1ag/c94MKaVXuedKhai6tyWionAeULY0Y7jEmqQJ8t+BiJ9A3CN+TbKbBJD8PQdxea0T3yGsL2dFei5Irc0/zafeqondsbUedaJLGLnBfsCznN8lg1h4o7Cv4Q/dWKzKQSIBZFcRVbapp0HvVpu63jUdAZ4ylBGj/EK1vuZ/A9mHuiHfPeP3p6fhfAvu76RaiUEqYjN5hqaQi8LYuVCwpYolfYRxJbyjauiylz/VWQSRENDHSlAyxy73oXbBnIE/eQQ66xkqYFx36AVl2DG7uXD7oYjjYSbXHLzo6GYR4fpMG/DDb16zPVWZwn2qC/sIpUwFpnBoYJWEaVqM2GnVg9ai9gzl5xAt7DKtDBeNjIp7aefd3FYxjDQSan4Gw+CHhOojQ5Afm5S3cQ8z9JN1Y8d6rw3QrTPDP50NVR8MUmfBA647w5af2pO4aqDveNQlFQkAmgqBXwuI0JuMenA4vfwbqOEgswSgvFxs8DsKta0SQOA95Kniy6COkKhD5MFN84QXwMwogFefGorhroCekcUvEtbdNn1gZeXP5bXlvIrt0RPjgGPjHpklQODTZiTSuJYtiAowuCEvPnWcQGcdxO2tR07gRlGMieswfdDndz/venDY7Ikg7LckmNaZmxW2Dp0RRYRZxPU19VH08cF0GqYWhwloIGTdrcLK3buDsgI9BxGLtXkj+h7WO7LkxA88qFAIpoHPrPF9QjWO2wbeT7idEkrAvFHiAsGc2nGNwKmX1ftCQYLhK8XnyRVa3snEACkkS4isff9onueIN+18FIQulLWRB75SKIXaf8rH694H4XbKwqr21hjATRO4CZTPdMNG5nev+PMaFxAgJSafV3qJPVjBqx35wyEuJHHkRX3OdDHzAL3/UPIlQ8FsynA2cC0eYcwbgU4HTh4Gcq+ARUCGZONUPK29KmDdSEwCHFI+mjIBsLqAfR5foqBM6eS2ZsrqAFj4QzBqu+GvZ/RAra/PwW1iikeVxdK8JgyBnlVSbzVHhkhwhUf1bkp/t2bgJeSZMmHnWvSiv0yDrmdNBIUKaZP0eBIS+EdWA+TvgHcRcAKKgeSUcIkQczkYzyVAq0j1WyUSW260ulMUsb0c0tQgiBy+8t2rya/k/rpElH+THuUkg+KNsS/qrz7ovnYaehR/mCbqG5lIJaZQ167wsEmq9Tp0i56R8tVWwo+2MwGk0SxaGtG+AgsUCQegv7C+Ibwy9u8jGh2aXC6IWgUcBjqdIol9pLdL2mugVSXh3v4mZkeuySLtqiLGnSy6IwyCS4FK0zsx4zFhm6w885GddinPrAacLwEGO89yBbKY2Tgn1j+cddV3Bcva0X9RcHASMMKl6ZvzhS8b79YpUtWPb9cKbZNf5ex7pGDidv8J1oqnTfFYyZWR7aoTnK7n7aaEbjprRtssrvLrlSfX2AF/Nkm0ncEfr6rCq3Hfp2hrSJRKt27J0du5doBhbkN2e1kRzSaRIF91rqoPplRQG3ElRfZsOT6jtXrYEzQahPQfBKuVvXgSqOtEEIIc8qZFUcwgqA/8S/UnUIh8rCodRBXr8GIb0oaoRrpcIRqMzTbg97hVoD98MoDzowCVfQ7KzMYBalgrIL8ZEF5xr5n2USToWrq3QEoDK/9LxDnKOhrSt+TTde0iZVX7s7g2O0IumNx4gDfO+0OO2p7kl8tOmfizesdaW2qCwzZ9hAd9SRVip9w7B7nrCEYS/ijH3637VO4rNhIYwPGkoF6DlLI5AGe8Q3CHXsLce/p+1mU1E8ePJDZm7aiWF+bKBANkyGer54+HMSnvLWCcmgLbkQQi6TiPyPzKk3zxi936QCo74cG4QPZ3nDmqBGLwFnfatiKYfoVZNlQcq2aTlyXu/DhbsdAfMKT6B6HKj4aMA+7UEatlN7BwX6I+SaCwURDciErHukDYg6RP2EbPE+XTzZdfcfbuVhi1B9bYLuWUbKcmV4iAXaZ2rVPt65tw/MqlH8ovyAT5PqvWhSqYBkzti8ih6xXyyiRiDcb5NtRP6p+2MfbhPGTdNJ8xqjFOV3yfJoVdvUKwkWcPgG1L+Hn/mv21JJFw+b/MFfcmYlQqNrC+p76kd1GFOd6WyIHK61D2ObRhEjDBxtL3xPJA/huykuEVNejZSwyqOsKgkWpEemIy4t8OBj4bC/0Y4EiRnJIYnb+HbLMT6qPbVnqCcQP2DwIromuAIBcYBZxacqRu3W+V5xXGGWWQZ5b9dh59XyLWRaFDfMK1pG1QlHRysRPyomzswHAMXnXSYCgSv60PwEGQENhh1EXVyS2nu3VV3XsWn/K/Uh8uW40n+7B4VIdC6FgM0WzVBwbKZ3N0VfmleWys9FDwn7R/J3SOlgwLU9YFbZEf6/WRkLGrvHPf62UdBRDypemq40VEWFa2IuObZs2N63nF77crYu8fruVjCwkXD1sR4OsGrbfH0mTg+npJZyBA/rzGB6mylnpVnxK2Z1BvK9Q6+AnIgFv8q9WUzAABils2h6crBWYJuiexACCmagb57JUeuaqbiTBobjKc/Oz/7FS8HNKRv2+veW1chJFBIN5Gpc6Wgd7xjAbWbHepriYdgPnA113Nkr9htPGsoxgMgfY3MntzeSLjC5BQOWVfiJn7UH+Bv/UBOZhCBOwLdFf+o7SRuHVO3okBBt6dqRGhHMvQi/wkddKLNgvCPHfVQjxxtpt7+VJbEo+SiiFmI47dwOic/Nry3Chk1vJivuYKtbro1T02/7XGyY1nRoVWSIpwkYViM79h1oT2693n0JByJhg/5+Dm16QcT8js60zztgWDNpeAXlUawjO8qz8UVaFffsErWsqjYYGOYC6zAswnGZHtVJ/4Yzpck3A5bH6BH0+dle7l8RfMZkptBEdKyPyKiOxsQxdjbZGqUvVHL13M6yI4H0xw9zh7DXEm7PKoIK/YgpuF6Ddkg++Hug57FfXRkOSUUYzZsBVAxFOVImjK0auqkotZh6a6MhDjjdPAwcowYFMLXHPTlB0cDK4BADRgrVKLh6TaUb18FE8Isud9SLjWELFCGcMXq8Kb8WHM5vDZdlvXCQSAMh0vwF9KqpX+9UBo15g63B+edLWdLIlnX2h4vYeyVrD3yMVxImjyka/ohERuE7SyxdIqd0E+gEGgzlQmf0bdaRbH7ObwA/Mh6emfnhqNSAHKFGGLtOF5HD+bT96Rfe+HNcuS9E0UBqmJB0qP3mocO6ngG6UdW9Y1lT2Thw8APSIFhZgqWyZJmq99bZKljS2g+wIRv5fOGdZtG7xtAWbttCAUG/E3kGYAJKhwo0Be659ZZ9CYJraUsaIDmMPSyfsrCMSHwo1iC4XzN1j99ImSiIeanDV72hTJFgfAuJidRf1do2R6iHsztQtGAj597IdjmMi2lohrfLgKQSkg/qF7fEu8DWIGkmMm/7RzepTR/xnPAIZ1adA01on2VN3fZNJvOfPz16CkI9p9WS71EuZ5Fs0Fu/VZTGVtxnwUiJYDOUFKYIVx1fECNUIuhyor6VkMM8Btlut98dch9oQtU0h0LsPRl1HP7Wn46je7Hb9gNAD63pLNvSwIF2JM23DZ49BO//vvOT5gS3PjHMP8lsAdEiaOwx6jFJGTZuGsYw5YnJsf6EQB00FI/hr/EtHu0zscLEGs+gWF9MZHT28FYl/uFac1un7+mkgjy5Y14qNhi2B8ZpCk6uABP27tRzf1Tg57LglZ1vbOkYiPKCY2LDkICCGDh34tNK3J7e08vgN2pUfklchSQKrm7Z+KPLx1iIPSkKRY3SVHMDBa26JgUawDkRaPo7d8qYHj87HMUFU4L/JKO07NOCwwpwdabceHGAQqsOHg2Y7dumnA81qb/y8ypFbnmAr6gHxg1S2X/Nik4xlo7u9r7ompkc/DzCuDsUVIEHQ7doaAsHxbagPEUZ54yFC+ha3W5IyUl/VgMprilF1OyeUs0Uw/CKACiFstURAfvK8mmH2s2OqqLePnzBhSBGOuJEqPcbLw7Cb2wRlyxmlIzGSinqBbKaVBIs821GjCNPwdJkLTcUKjXADLhTaJM//0o385fZdU8n66goETidj/UzOXADqQ9xL8eQVc6XNeDZL7pnTlsKe3v8K4Jb4MhUIQ355fh9l31uOlDqBc1bvCuzDsukGaaK+RdEcLSaq4D3ArYqeWQbWfYvUheg7MaYa31jUiNQCf3579Xp9A0+0qYdM6EDq9WBsTDuLNJXftXW3E4KX4y1iWeglDG5srYflGungMsiZ7GUp/EmOKgw4uiGa5CGRfE7MTr9Z8R+7j/G7hAIumiMAcM2icGG325gXiFIG0ggVUrgMEWlLyN8EDFN2CQOl2Cnb1C4EhapmMnv6Vxw/dLFI9OIws8Lrp43WSd3OkiIHLFP2hXiIFqtr2tWWpXqfmQviLz6snY7JvvMDQDKiBQFz5wcVmp4d6xDU7b1E6rsiW/zcRgy6UQfb1d7znx+295pKXuILNNwa/Jy7aDQ8flt1R0v3SkMAZ6o6u55Ej+xYM6FOal9PySotXN36nEJ5uUqbqn/hVTkcEfqTTpJa17h1KoBmCZqAVm+0RIEc9AVyhHy4qTEzBg/1yEaDuWjc/9DOFZG8g9EF6aNGE1Gw2ahW1hp7kSzpYYcUSo9VYn6eN5TqeNLO7U1Q6Uc3Vq3YYTLVuqL4Y6uCEL55D10Vi+iw8nvI2CSjYMsoNxCqJQNHFS21SzORSqlex+IKbyFoKl72Lv/eMBcr+cCOY0A1+mB9UebVZhd8Z+6zA0zbIui2PWvJu0u35Fzt5uujWFOveMmwm89aHwx/3+UkSNyh87q20h767UIXYSnLvvsnnQ6J4R4RqZrEhOxls6LjZx8BF1uLpowUCkh48vdFTihAcQgyq8ikFp3dTJzEz0l+0mxZWm4FRa8G/P96cy3ZFo7plTj4RwkLf+Oftx4phBpp8/B8GgK8ugvg7VWY71Oy/quXXk7eZa08RC9w95mtOh7PDdmNQe7nLmGrtZhznVI0gZoW+lLhwAAmDckILZjHnRAK6UVyfnF8m6oEFFbmOmif06J+syWCDedQXkXSjwpQbLcw0vZUZ4JW2WNcvqJzteLkQxgaj7hfGqoiozlHiYPuWNY3uPeuzO7z+k1vsWeX/rHeWXCiwpBvl3Tvbgjy5vnFuT8QAL/5RuNrwxO2QjUpk45L5oMfvJjG/ENc8uGpt0fZEl65dOqs/r183l2YizQKYjMT0di29G3iqrrCKjS3GFIMQhR0X1996e5RRwkws99a7iQmDngD3QHI6vF6NsNdSsg0A+q97kx3dXQrhX8ikudOasz1f6sTBFgTqy1RdVh8HYkiYRGVjY41pvthHKUan6xZYUGwexEJn22utSKFSdPVeJfwFhNujgR5HNoupwNgPIJPJbgbuPO6QTuc9QMMSKU89odNN9xJmWF67lrCpXTWEOJy7hRcX8rcGYdEihIEx8d5HUG6JVZF/OEZ5gliKssQvP3HA/nmQ/82aKaZxaGMR9KiStkOx6F1C9SZG2u2zxINJRpW/Cj65S1N8pvlHaVQCMnZdoBrti0YRi8zilu1B14/vhIt+VUUlakfV8Yfy+/2YPZpeRHamHjqM4lMqLEJCUDvUrGXD61jkPaPcmqavOlHaKeKMglr3rtE0u0YtpCVxklJXHe/TvDNl8nk8qqmVHDoYFUu7CpxI6hJ5T4E4FcjCCTD9ExXi50voysvRz1l2MyRIAjStZO9sWQRKOenXPNAM8LjkbLf/XKDp+r1BiHKxSpb9JG1/qMRRUfEoQEccr8OAFsMcgq9HueFmwYHVyuQ8IH1/AT92J87ENPUuzilEiOKu8LkBA1OYkCCTITNQ0pk4O7kOi13POb5U9yav3cg2pV+hgBsuLgcBDSNAdJWlm9STX8HPs+WVgD8BTDypXHa/JpReZEvkcpda03Iw+mIIciMJOmfKmFBiltfNNXgEw/ehMpMoU2EDlKTFeeObnX22Irmy8KetK8BceT5J0v/Lp56ySUeZxU4M9TUqPYenYvWX4w5MJiSmOn2OSaGyaoaQW4HQ82Tu7FznlqJSBo0prikSio1gZRSy53WB7yrSPCLNUKfHC3YkhRze5rMF0Bq5uq6cCoCJkPACu/VwOiK+udud5bW2awlA3+nUfttV4EFVdt3ntS5abaGSXGaxXZO2cIsQelxRfjqdRA0Y+vXovYOaG3zLohasbH1g/cj2N8NeQWM60BcWHhoGl5lNLruz3P5+DY7N4MVAYv6uK2T3HZi4K08usyoWG7NKpZL+I1f2gzEkUppL7qGrB9RHAYGjMBk+SlbR5ECdA095KVpjEMPyV9BN2t6q0BEFSDgwtxilf+dh6+6xANTLMzSBBKbdv4c+rrOTN1LH5GtQENxCFKmt+Pf5I8gQfu1dYtfnjPwQqjqWs2y0pO9VOcQfQNqExXOg0MWufUZeogunVWxc/w7F0msIKkzaytMkYqBnzcIwsk3l3we0IVvoio+xn/aPYzl1G+ybo3ObcinrLb8kOoc9w1c8QpyYa3aK7ubF5Gw2lrRE5NOXf9HKcxePysPNRwtcWKE6aFb1MdZKuO/tGciTjlkNcFL3KEpw5qJ8UGqTtHTIU8wKbuDrrK9J8LaPMFucgVBjd+kG9tDgZuV6o0F+5Ia/H5Ne19q02NunQCU6PSN0OgxoX2xUga9BLC+53CXHhie1GpwaWvz3nKgm1m0aQeTqUpWb03q+gcVyj8d8RhrHqR22PAyvQ2+sVQEULkTmyo6NOfvCwT+YE0C6EclRtkHXxzBzNiJtus5ww6UQtyS2NHC1MpryeHOVNKI03QEqajIr6Sjeieolqi/9tKoOF4j1E1/L2WpHoTy1F4ya/e6Td5AoAS5y2U9SecfMW6THZSNiOJ+7/U2T5vSjcqDmr6/8VoMD3/ixwuu6dqf6hZdiii8g6+cwbftWE6g88/uYDeRf76fkX6MKi738zA3CJ7fe9Vq0Q305XkwYDZm0idYsV7EccEMRUETpOP0xGYBYjoPxo7cbJGBNSM4haoaaC7XbScu7WwYpR4HTFLFORz1Bwrolygi/H+6Z5EdM3DqqBBlrlbD3bbl4JsO+aMsZLCTQ67kNSv+14VR6Ijqqr/DN9W3q9kuKOKMIXBbLaUEEEFr6JCLdiIHp+P4euZIDnIxWjt6x8iGu3B4gRUL6V1V4WE1yfPWA+lYVMNl0IFFC2kDDtR1DSY1Gzuo9pmop7xYti2JHEjSJqlXSqUe8xku1yFlrghcUheUSan2s2Ed7elZ+Z+jIf5uIBJhKX2FU04KokHcRvwHzm5SWhIx+L1Eq/0eRBrgL8Njmiz5Hxw7it9nAN27eURpTsRBSHBTPTKn8cVqRNDXJoEBoWoChW5zFHdJ7ToeThGtnP3pWs3vpSqieviKz1GXnoQhd5Mi/FcsBAHV1gLH4tiFrsXNSdJRtZyArdkwVAcuRLfagW8NSasVRSSVYq2SOT9dnfmqJvQ27hryfJz2ghtSyFbBSkh/4TUAOMe570oR7iHHuzxHBcCS2XmHoO/lwF+AaRZBg35Wczqcz87RLSC08gq1YGnqvecQ6EskSAxrqMB4r5AROxcLpHHTIowP4Y0jhl74d7yiqJFneRbROsH798q/xgEiiObkSo3P8zK2Jf1EPgKmAPJtoQtQTGC3hcMr6eiEJQgYjE3htUWTF/6xuIyOSck8AN7eyyvYPS2pR06C3JBnbD5x+TiafTlbE7gxt6y7iGtiUGQB20XFXqMQrh1XU/I6i1Z15506l6+YRtUk2bAyReg/yBXdFDpJ9quLL7gHA54l/nwKYN4zFjPddSaLLditR6Y7qKZoZERfFS8h4ar/E1ExzBgoT2IddWA3NChIjrXKd3xL/IM2Ium7l2JgEB+aek3eKqwOcFdWRsECH8K3zV6OfVk7yy0+QN8bGaHpHi7CBDw5qtKDfORX/y16m7pb3jxsrYP62YOYAblS9Gbn9/GYZPzfhb2hIYpWEH8jvKcJ0i2p5SigmKZGHdBorh41bPfgVhE0Ojdgzun9vJJEXI8MsPfYmpAwfTR+TZaRZWeoVfKKovUgPDdwmu+HaZs3ZaVvjv9o+MR0/QZMgFZmDFRyGJfaRmxwcWW9gGp8225zlSs/TRfJvteAKCifFoE0Nm9QCW9xCYKIGXAVs7d/bCnVjeZrF1638exvvSpJ+yP9bFu9S1eaC12NUXD0t86nNOlrZiqvVspfBqkjSFcm+m9WdHz+g+3afI8lLQKpcAD23tNK5jcaFff8zdIbxOQs9Yi62MeeTOWsHrgIrnca42CQM65p0jJkMQ4WhdNmSE5n9EoE95USNUSOh0VdWSVErA0MEW6Tm1KEXnW1sZhPjse3Dg6Ls02gcx8jZ66muslyULjqTl2k31d1VRJ3EA630DIC1vT70Mds4p/RR5o+W0KlwoKuluFeDmNRUrBrmT8nFEEzwv7xerjSxW8dbKD44TadtkGGmOfZ6YaJ+GV3GlmXx84DWQxXQTKVuoupRhSqkJj7KFecosNR4CxG4UuvNtfCu/wVqrFRa78cSKCoiUWVImb5x+q2BDOr7EjcE044scetx4n61rj98y6D5y2M2tNGe9Ru0Gqt/ZNoOCaYupZO0MnvXQqAIBVTICGlQL+/u0DEPmsQBRKBc9yiOrX+SJobv8ezM5DhKXjjqqMJDVPi/ykB+YeDCrZqvHIoV+0xSLOkCChVaQRUSAxKzTlNxiUCM1ZgWjWYeJIPnr4f5TUHeL6DwjEaMdJ69ejX3ZVVJrGQ07fTzOZJj623qPcDyUpb7ZHfr/6xy/yyPOcY0oKMR2DpfXvoN7n7X8MdRASrtPEUb2puYfGtC/0epLDXNQ2yVJ+oXfet76ccDXArRzqJKxBaqPPTwZ9+kAJgD0reAOR/JrUFD189NTDwgBXhtS8XHkYYTcFc69iPYXw68QNNs+NGd0r+NEXxP5z6AMnLV3AYUi98nfxAfWzqYBSurSctb9avPlpnWtazz4PpV/CqrDdYiYy4X2dO+LPW5+WOQeeDST5n4D7hREDn2hV60dJm0GmrnTe1TdC27MHQbiPUCMd2JpPpdeC1UBT9hFWg7r1bqcNj59+6azTy71nuLIb8sb+bIwQxi0TXdG2si8zNUywd6PAvNpz567vsqFxNEoGCaxEAP9jIaxSI1SOCJmQYQ9PUldjocpkXuKdW3tfTpSRVkTlRYIgytREGKEASq9ssWsiy1GtZSIhG3BhanAkn+Yu4K+8Ov3KXoCtO/bev2B1qBZAmhd2WvdJn4oVjss9/Artehx6CmFRfcwsG8as3N2brP2Ct0K1fqd6QJTG87auWTzCgOAQG0C/V71RU8L+dkZ3+VS+5QSJHBZxDlpdqfMKm2ji/76GORfUjwib1BQC45FgHBx6WqnD7HneoaLLp+pJ52DxEyx4Kr3TT8mqMN8aWUyucLssO4xvRuLlBcgGkBOa175kMaXoxHtEAP2NT12HtgL5P9odImfo/dQ6+/LcX7SaYmCSp83obMmrYu6jS9QD9aDTpKL87xX4G+7toljZIpjqXdl8kuHBX8GeiVq11OGZK26Ik08xIHeHnfoa/zfOUp8l6JEIbOwzpKoPbQIZ1RwBVCaid0QwTm0fDOkCsRA9YrFPiQZVQtYcZq6BHIUq91DcuhApU6Q4oHq6ajTehmS3fyN9DjyIrr3gOtNJ7ZydebUo+z1WbiUCfe7xk6UpiNCZKSb2mr5oSGUweZb0VpWfl5ogpmbm3+PnBwTOdGKWINnMtgPf/txL+uGoN9bsWb4VO/vhAMdRSS3QjVsf5+K/5aBUdwFmiRvrF+5jpNDQRS8SrUt+NHSRbSXojB8IG31nNfpeWckmGI9gNb5H6Cdy8TQgsziOoEki7D4SoytTSr0+rOdOmy1hPKn7KDIecyGOvpE0fcxcv0aKPOHbr+q1V2uwYAIldKJssGZWXGg3QAIq/QBMQzZtrKM1ut2Xtld8ta+Ilv+6rwaNcPp8vagiYQo6PIP/Ut81DTmGmvMWcTFaqw6vVZwq03Mc+GiQsHCTKzL9F997hTqmMhknJAjCDZg4blHxGn6F7n0iKSd+dcdJP18A7wp6Xf+mqbygHPdQFDno3JsKknOxYyonOROz/g9ZJPJ7BWdOCYQ3ebASrHfVc6h7bydIGuK7l3IhecQjL35PhGHfB/tmsknB0H0H3ES403OqBITQJlCrw9vt5MRafGf1X73b1a8dE9Vwtk79L31YpVyXfIYwkNTiBeijkbYOITQ5QJ8HRk+t/n9pLSZ5lqto5B5TqpoZGCKMHtwNKThoISgclWmDAnD2OIsiGHH3sbVX7yejhHbBH9yjJZgFdE9fyYz70zZhb/9sxcKOuAajVSeooIfXsL4HD+ipJNXHfvhjzw6v4mPXSTpn5MBwTN4j4b+PhlHCCOr2SooZdiq6+ybz2A7ZRm4J5GgWpsxkd8wabLmAaGO+nIume2Pgg1M5W3J0ECG3PcYAfnukHwojgZ6+cZh3C8WTwIa1SJpZUa0zqnUPzGGjieRZ9j1WCazKFjhejnrDfdhlLY6Co2z8HQPP72j6TxsGC/pIfVBI45tvMzb3TY7+x2NB889bUx2dEx6M40WBEnroS4BJq528JQmVazFwm3/8kT9Pw9eUAj9UPW7efj4ISKwTHt5ryiUGJjqJETWAUq46LBx58QKaBN/aTcC8b8ngC0QYivQqfH7P0igq4yRJtm/sBHEtwEk/8ShIzH4eTVETREc+GnsGAWm9JY7WQDHa0r3VDjq3lew7SOkqcMcTJizurgTAGombFBXzyDaOQncDmxg0FoT25LD9JIcq1KmAROIfLmDVMm0tGBEWWCPYG7lP7ysabrSO6rQ5eX/m9lmmccC/3vFzw4zziC058XP39QeZX4LFYyEdL0lGtrIlN8GpepbVN68KctM0vOnw0e0JA05QJWB8qvne8nDHJxOkG08BLfji38smC6tyAG66n/wIr7GtS1zk41PFpXkT2lF0/R8jA7QKk7jQ1pRXpFyPrWG4OISY+AltueUsbVHpgJqmIc5rRFgjorNPNqVCmZnvAeViC6CYLhCsgjPq7Q2wmM1HRMs59QPIe1iDTj2ATeRdSw/WcWhac/EXKvRoPFR/fsjFnUaCGuOHlAkiLv8cUO93YQGdE/XZIiV9FBB5TMVAhvfwgE9MfpWwtxEiN/Dv2/1qo4XcI6ATEkIKcJdsg7cROkjn6e1j5QOjqWI0xXQ6H9WKQYg+IW5FpaxOUYXrPJE9qTCdf8Fuiewa8TEaIpA6PCccrrWS8mBcaWicbdfJukQ+1QrZ6IpaCFXrLznclFjZgrhHNOse1ujDBhvxNq9nDOyOfgAw0GTGDkJCg7uingeSlWNusBT2L1CuheR19LmrD70K6fhzn0Kkqrl29yZWXUIwy306BoOLA5dJROjBsWg/BT+RZ/myWwttRWtTt6LDLB9J/saSa2UtGwefS7bPPd56RjS7Pq/akwK0NxkOmc1Waa+PfGO0L2m96Xrj9YoTjbE5mdOKpTuiA3BU3oZPBKwG1eslh0D4g5cOOXi5xAb/mmaSho4gol9dxpFEr60b7/10287zlcU5yTMttyFGk+Wl/t9qA1m2Ku/Sih+3SRi3KXKUmTdySMUxwnQJQhOVLqqHbUQsIMWzlrk0TVcXwnUb3+dFrgMv0qqXz3Jj9b/or/DMg8xerLwdVeti85+J3M4vWg6AFBNpI4xhlKcw3OO1piLKHu78GkhdIlAIPZvCVZ9Wt0Z1KPt1JdkXkT9uf+/2vuvJaULU6O9MZYZV7PjyUGnQaLNNDcGld1eMaUV0aAh91p2t6tmIylbISQ+Kic9hoy+6huM3kmWLBkIuooYeLymPusYgbzsGh7Bt0LsmbutOq/053q9IyL1cB3sYpqYpGceE3I+4mKxOvB0kJVxvwd1zGXpS6yHPw0U46j5EoWpm5rBOjZhY0l2kwU2O0GJKJkbOC+HMNN0+9Kqoj4NKHPXgaKJWOhi/7O0n8bheEC7cgXTz1XpWoAqCj1AehvsnwTidbKz4lAUtX2sugbrRyZhPiCtAYxSG19U42MXPkCAsWWqajRSEZ0N08f/HgYs+OKeAyd5xttBaNiM7C2Xf5G1FSm08w88b0So4k8a5IAnIXQCrTJMMU8x1SKvDvZQmCIqlilROTsQzipx1jSK6boSzphdLVveKxL5U4YmgqsiBIizgjhyUAYnfUBDPMaqOLbD92264iNSEOvK141eWtfAcMnFQjDFLcKa0l7JCeG49PhckqH3q2U3q+ZHvoQhe3xS+WM9mx5zANQimA3HrKftcAgoBmsTcQe3Q4EdDFDBvy4qK1Dh7KvXwYRWREJ0SWm23Ke15wsb+6RNuHhRaAUj2lISjvXSAwhWO3LefRz/ylQdw2yw2gWz2LsoCI2r3JWMva0eErZUHU/bUsy8ppITjLH2LSioSP+WbP4Zk+QNemKzRWyTY6wghxL+/f1NKG6H92GPe5fmNmm8W/IctF69IzJ85vfTFgmEVHgTKAKOEDKK1XLmkTzA7ndwZsglPmVPp0iIBz/vOSA+lT+AduOvvJI73uparvAyPZk+IX3IQaW8veAV/Nk/w4Lr2qVIy0AHBn15UssjJ5PvohWpJRTwYfn8fNOahIMFsbl7ryFRklrqjpn43RjWtoQyTZ4uCBUzqhp71WT38KoRYJGdfcj++pKO9L/uDYv7rclsCqnm4o0AAxWzUj4AfrcE68z3hA9uYCncRVmSB5CSX0kXiSoW9jLD6aAnHodU7dU1AjtBsXE2qYu217gS+eLWu6BOgvV9e8b1DNChkZLKa8hviH4xQ+hhpeK4JbS2EmNOSHYZtpk/jSacmLSy4B0pIcHkh6pdudxXIC+GSNtM9odQEUo/JIRjFx74CExixrVBgn9lNXlXc51332t8b2FCOxh+ZZ0bHtHnv9+od6DScST2viN21+VHd4gw0Cv4GeCXsn3SXEz+Wv082waVBI8nFTMQ00az+KdbRQeSHlSIMrhW/iWZKFvjzOE3BMGVvCf6lU0peuEMHFw44g46dGxH2Ws49W/Xd/qPLw9rQjeK9KZ5ctmUBTJpMPkQRB6pe6WHVfuzSN4bTpN/VKq8omLqkMdUW+OSq13nWkZkhcD36Y56ggk+pMd4WfhT77bQMiQ1+XNUukKt/xiLgMHXJlHgGX4JvzYy6v8OkcO94sLht8QYuj6pZHb6sGmXfpU5JaKK9jI+fcJySmPcUT5K2Ht06LR21YbVxPkVbEJmiy4kiFnUWmZmFoYCPYGRS3oDR4JLU67NUIYElh9McQzp9g89DqtkUB7XszoF6i6gVrefEMJZuLLUP/BvZAsFltYxoE3N6bsToejIsTX4IL8Pzd7VEjMh0q9rumjdMKubr0eme0Xbf+PeJTHhjOqV4NAmo9ZHjc+RokfCGn+P3Y2bbCAlI8iVrdCc9jUCXrBQIsR2JbhmCdqwEYFFiyvnFO7ND1kGvWG5QlfoFqpNgz7R18dOqW3lI0yiu463fbCS2j/HecxLFAuJlMdM1VSUciNnKX1vLifFCLxmwxgcuGS5msV207Ch2iMFGclragg+2edcpa+4gYlVPnaEwq2gtiaOWcCku9rUN01mC2EqZ7eYpgfrcoJ6RudPVyKpb19f+/4uJ3EM4UxTJdgJq6c0pjapSbnvrMunIuSDDqmLMbEFauDX9p78DUdLDjlxVwpObrV/D5sJX87T1yZq7ptMtKkY6G1fIHcp28ctm1Lg8E0e8kCGDXeSNe6XBxzbUhIRgLzP4Sd8FT/RZ5zRICEXpyTbEVo7GdyuIn6jb/pNYy5jxxV5zsjsuq3YiVXXasvPECiCzLpT2x8+M/vJULHYjaXyqFKKWOLhDoAfRGvZgEhq9iJS4rU26jFm1LsdtMaPDBAtlmCIovjAnXEfK3wpAcunw/Sba2d+kuvguDEvdSEwWttdnzSCW3/hdVVFd3zifDFz5eFtFLnMMsmmmLvI64gfpaajzVXlu70MjQap5VtVrREdjti31O58hOa8q8fiQ0GlGJYt1yqqrPtJeTzE4FenQy7U0Bpf1DsDcu2r+F24Vekhh2K9QrYiX+gJr+/2bV2/XrLbq6gB6WqOr+GAcYam2A7QUT5bAAWc7r7X/kIAc18ZLXk14lJxClFnYD0apNz27Uxd+EfPscikvhW85qOmRCif0bs1pnEM977Yz61aWNoLmgRlrKIQajKIKOinU+0jBvOmrHoHdlmyvhfXcMsCGIVQVocXHtH+drHVq+FYQJ3sjP/FTLCyO5CZYHmr9bXcuSOoNO2C8an9nQvtodVNLh4ljxQrymZVchCSSAB/fHwMERzQj/1Yh/21kJXUbT51PMUU3L1r0NYo40jkPfMJ+P0OJgvRSuQ0QMCsNCjQIdsbvsjNFr7cdJ1iFWAwuZmnNzB00XanRDbdgeta2MC79txesSHNxQA+V+09RsIvTOuucBoqc9fy26aSXgrUjkYbe21lpLB8YahbH6ZTtW7zLLP0lW1PwzKpS3s9LtPEYux8dpv6m/qXLiUVJquWLMApHGGejQ11q8eldWF+7mmAmKTnrkbofxBlJ+0BHyeYysK+CyYHM9b/84p76NCE8ZOCZKgnzrCnRPToPAtznEJ9NgJNDxzOhKaAIk1+6yO5sJ4ZhJdsVFqorTsvwg2EOI8BVXfiK0SuYf37KC4dWTBF9q/I7OiV+9QAjgk79PRR719dEMOxbKjJMXiaH8B6TVQZ6RGgo8FBrxREM6JFuEWgXN64NPGGGol0U0FYs2VufArvIM364plQkhDz5wA/3Rhe9IXVG/COF9QynrkW96NVKlK/NDXV95hsQt+WAqK9fd1d/q4RHsd+kal40+PXtj+m9euIcD8n8u4A+9LQkOzzyt51ThYIvCoQMhYPQmQNqZxupJEPhnq4gSfKxbcDd6Cy6AL6H9YRnYkyrm2gDKnClbuvpieVcOPQWug3yOaQ7MvytMY6sSp7G7doamexBnrO+vV5FzlYpsolKTByUGOZc2V4UiGsMTBCO30udXK2wqxuPLzFLuTf2zHPvKKF4du3J4VQkNCmxzamE4pDzSc6rAehRy7MAHtRRmusiTCG7Vbw6xOlmIyJfOoEXsO5XAb/HQJecXdC3jpPYqS3Nxt97g4q2YI8y53QKL05Wo8QvvgAUqxHqC5TIjbE9EperyS6oKTAmcXxA7mRhy+jquqfQIkAiSueuNo1ULQGK2B0pUm4t8rOeUpilrbQIx5A5z/vZq+fXfdrri7FRg8J+SYiOTwjEwr11yQwgnRPnLkHBcRE3SiVrDXY8ckzrrO5/DwjFnLUGdCm5ASFStlXFrh7Kc6jec84ZcPaQphIrHmmGayLfz+pPXGCiem3m/zOzx+JG88MMJia7TcsrgPQFkeFU5g3UIkVWRy/U5x0H56t63Fkwdb/J2rXvSmzaCU9d1INcIebg+UkGD4vz9Nb2qGHpjZZaA8PKQjGIhJjateyIx1achB2nkUlTHOAg44U7v2/1jThNm70N6ri+gFm4PtAWuhkr/0b9t+HaP0yD5rnD37hEJ+XH4zTXkEbbdlHBVJ+zm7QdVJN90u1y4xhRkCKvsUQ5in6KK+IQp3sQAAu1Yt6OXmP2XKvlRpJ4k7MTPIJtbQuggjUxj7/psgzIWI6mLljEUiAD+afvW5k3WKM0bB4Oh5kMNNFNiFI6zpFf5vX+bGVDgmtHndtHz042tEzORs0fOvtuNqXlywpc4TbzpgaR8/xmc+KmQ4hGgg29TiSV+1BA9VFjjT0hvFoob8tRCu+WtuX6Nd8zXzzzI7d3n80dv99Bsm116EgCniVNlqNVf8friEZG6wzucqBO4wp1wP7+EwEJ5oWMEK3H2rMHqd4m0aW7QgmfYSqlfSZgchpMye2iIL6cy5bWaaRRVIBk6Ua+lof8OJzH8uZ2aDF7eKshS3SRg4BNsnqbAaBbFEL/Sd7rfuq7qqlyFvgXDH1J1OeB98nJB+v7qrc7PfJW8UxR2eYWl+FQmqv7DuPEPynjOQ952OtoTxF+Vj1BwSVXeKI22AFGGuAFcD7Jg9ikty8hsoyWX0Gdxi+COR0gpTefk2HIIoHAZUJA8dZCyiuIZpUHHBArsfkHXwiJ6ExL1DTr9/xkco2JeIsFndUUQGZK4q+f/57UxuUaR/G9O/ZUjGUJezY3gKIbfwZ88Drvy/dFOatyC91eDS0ieik7BwKySf9gpUDiG7gT49GG0Odeu+RKvqPGispAK5pv+AjrSvrh77sEdDuuYU6Z0Ze4ihv37CvmFzarvYjHXtnTp/TkLxJ+Lom9NqpafaAeVCT2j+1XE/EQG3FvB4mIGHiZbfH7d2Yf7lxk4J5GbFM2EOkA/P5uCpQGMOVw90G/1Igr5A/uCpyKgv3bm5L29Fruy0PlPOTuUtYY1hsncVR/duTqgyZdjZ4LFlluiUzeW2kW2IUMjs2fAleIq0mc8zcjeb1fC8MRbFxw5xuJ85GL3RFCa9p2/AjnPpa1I0sUo0kIypL/dAQu+rjYVfS8/wbWExX7GbKPbYGoYnAveUl3+GklqSEe3tDsiTtxSwsnCDqWohPo5NQpQ4O1b5c1gzpwuioemswErgbxUW8zeosRUMLUirj585LQQljzBCO3xtreUOvdhKkL0YvdF51tp/AdA5XQJmO0SvYEybrzMaCzr/Cx0rM0R/j/YOtefb6iN5zBzPSCQ65uSDFiyD1g/Eeh5u+0uI/BQ4rxU7DRMeCExXWYcOH1/Rb5apaJcnNQx6Mih59UTybEhLfWKfqABiO4hdvJfAoEkGuSF11SYXO/Uc3ta/+2MvlrWuhLWQzCHWZVycYuLOEN602rCbtMZrj38cCi3pFVpFdwlxXu9hVB8SdivIlBTz+z7lvoKMfGLh4Pd/94cSsUUdtAKF2XHEktt26MWqaYgWobjrEQXg8YDnyTc+vu0Uyr4WGRUUEaYdv5lqbmF7Y6NYSBKxmjuygA13C063va8LRmaSpOOrnjJUFgOHOgJNLU/xJ6RdBw79UvkuJUnm43XCcjrS1AgjWwmkOd9uPeooyuoy8VMl/8lFY7+BO7PzPfe2MnIQ/ZgufFAy/wUPdgn2QnmP+ac/lSrInAr3AX/3eBYDLmyoFn9znMFV5hQgkBjd4w2sQCy0C41AbVEAgpMuJr05o8DnMPUTVJYpUS9BlTfYbIT+Dp2q4BxdCXADJoZfv8Q3x8tzxZyDQDLTe8oVggNGqAQmEeqPcFwkFSPCmA5inXj4HD1AC2/D3g+eB5Mx1jwnzCzlNspEbJBLE5eeJ0w3Yte/ufrKNZFup9cxZ7pQsDevLf/XzAWj7NlKIpB0r+DLWB80k4r6z9u7ryu0SJZmUwowcWylTllBVjSZ36g+BL9T4WBGlypTxXkagK+tZ+lPirHRKaLYBUpy+k7QzcE47wjwhopa5Rpqcqb+uGqonotrk6VbfrQM/rv2AamFmuwQf6mMp1RWMRYoYkuOu5PtBRk0OOmjH/ftAQpyPg5dNULxfz/2d3vWsUXoBCqVAzEN/Ai7jwGpz9NsXQZGHM7z3LUeZ6CoWNiRP6eyS8IJVgvc7n0XYhgqD9lslU911XWuO7Twkim+Fdz07Elh5/ESzf5ITBRSNkFvTNIOGsqvnbdLUAUIBdp/KgfkI1ffc8J88qgsRyycoMsdUUgxd6YdccuKr/RbVsK7fThj1Tp95zmdodG6p8DwxVYCMqoHYQOu0ZZZGbvTm5SCHVYfzgkjtQVf9aw4qjNwgvU37xegl+RySUm6QC1pfnBJs8Yt+GXxgxF7kit6kJo8btGobDvZaDBjBJ5Lc8jF4iiFnlY+9GouUUYw6y9ggYQ4yUeyghFhoesrpPTcA99j6RBWemEZ/X80PybV9sZisosGVzzMJX8MklGtr39SWirOPx0NJUMn7gof3VZ/bC2m+BrmALd48u/2ihdhgfr299YhOwLjHgA3a9E2FHzCkVVPpIg0XCHFJi4Bzb6TQlmtPSQWtdjw4km0JuVolHWZQ6wxNRH9TjjxmXeDJiIGcvxLD96XKgdRmrffEuiiYN6UoCN2Awcls72bUo0dVQCnt2jf3oyuCI06q5vH4+wcCwMJrD8GCRDOf6jGTUIBXMzQ2skxKyebUDqx9vy1YESiz83cISfTTaUYURhbQy5RqfvxYQ1OBDoUhIwf0I1yzxBj4VBMlJ2eAvwroY1Lor3ZxG5+1ltNn7B6/vLXGN+KsO/i2ohDbUkJaP8KwUkacyWykvNuXseH2VRYusp9c+PMOsBkp8qyCxSahEjRJeT+HO5msHS/MYxHbKkrUa5y7CfJJS1vizTRibUyWuh7Vi4pZsuMH806eIBm54xlkr3HpnOi9AD9oIF31M9O/7ZDRUKRSynAytqR92VMkgnJ4/Awknr5KPmcJBysBTOZ40xrYBxpuqUwLtb9v19k/+11u0ZdMv9jfsvAxe8ht2qrt8g1DxbMiQX/mR1D9fEALkgxpogEcggzgaNmBeqb5CTBhRqxDC7KhfwF7z9mo0WBy9NuCJndW/1kPkWrM5hJ173ValaSTD7h2R0pKmNufxERd9Mfi1tQMwD/enu94yEtgpuh8fQQXuVNc9ao2jcyccL1hGhG5C5/BGYmUX7cNxyW1Xqk6axSvYha3YfR0xCMJ7a0iNefPrRD9Qcq88Y4QcfCSVNT3p8xffTX5OtHvYzJfNM+fEfiRO9Sw+sr/AQAUctqAojH4sxuXLrtgMAAWIgFkXDk58vvEB13a8TDE7uwr7bBxVcddPOfpFN3Ja9NzmGKyhDw6TG0yjbPMAJkMuT+qgkLguJaUyN0ouCHFO0Q+f8LIkOhmWwk0P8lVDovb02DFp+t7yfWkEW8/GThOtJevIt7xqwqLZ4ZRFasE9SatwdeYawzyc8pxT0AWrRfFKEDuERSPeeCi/PZF7fLosV0kToiezoT/mcLuFt4uplVCDf7LRYJn6y6LIuLcaEG1j3WGgZ+pu/gOtjFTOazaQ2FX8TGExBpsE/6ZrK1Ojnd12P/6NB9HKOfSOEDJENTiI9MMVlXxBhjc2fcI/ajm/QSsye4ihY4E/t5WxPKzY0ZGIwCIbbxQ6gRO5qq7bOWtzYF0HynRw3S4V3egiJQUC4e5Ss90JzWBzWyE1s4d89xhMiE63MwyWsE3XzcrsBMmLqpX3BX13CGz1LhRm8a8EqNuN7DsPDmnb1wED+i1k9v9L8j6MBnX9MqVy9fwxv9rJNH5Ju6Hk5ABORi6sJtXZS6Dc8xPQpAGehzk+nX9E/7Pi8zeFnAgD3PNIj8u7hp9zTq1KHUn+/cFLFWXMA5uEgUEd6ki63wN24Vo8xei9vOQExw0uiNPa0hc7E/G1Yo1PoXoKJXzRSssK99dDWxiniiXhxL9+H7si+r7tN7j15tXF0GcwxLLUMRaoYoXOcWty4+kt0k5IZlZp56bbkQXKl82jCaIJ3qLzraZ/m6msasxiGWUida4aaWslltIiaeIltVt6jxFs5xG9Ub2eQzwgcOyE5OFiKAldC2xB2Z9SK1CKut34sth0xi1U9xEgACrNrrxG5IQeQ9cecZDqV42GyaYbY5MCQZ7pbDh34HXBjNb+kPzH9PGKZvKBHIU6pbzME3NtA13vymCLKqIg86oiE2fd+mEk/40ISNqywOBgE0dJatDdQDL2KIQcHIr9fiJxq7IncoqkqttUqF+32j2mf6TFR1lPmti18bkbGXS//IIjElmIksfyGTTSQQVi+SrtC+HhlpNZDM0V3HGMDipEvo8OyKKOiH+Xh8Dc7HpU542L7LKDamLrQVP+JWOuJA8O6Q1Wb017fH3ctl7/FgupVuVAWPdzC/pbj1Uctz0Eyp2w7fZ3jjA3tx+v+Q2L+jljjLzGCfRmT9aDRtD/S+SawE0rYXFUSmOiHTzWgVOpSUWug6DANYXXdImq2AGGCNqsOgXwhyYbO/e1W43SxzSSmo6hFLDNQps9jMdkIe0xoGrkYU7GIPe33bawGezqwHEi+quPsBMoRjnhgx4xbI/H5cVo6A+n/D5BbaZo8r6DFtyiA/iFVUTSLVC3NLlBllVmwrhQ3s+7RaLtH6J4zfzo5am08Nd+XvfdUm5WTRM11q1iL7FuUfxyHk/OcDShDut0UxXIzB4/v2n3RsbUlWgNR3okVkPYoX2cVqHTNM2waZkJYE3lpWrvlpeqIUiI1Ifat5vs2rUOlq3CDrAZ12uDU0zClQ0dsG1o7OEN7fVXBhNLjIQ8w4trAFr88T6hd2qudcd/rZ1bAyxrll21AdCgTfhJrRvGoDfEAJRzg3cphK+2rBq51W6u0DjtC+L0F7i/xynxPSdgN6SnrDdJ6/ek9XzjtOhx/0r3Ncrpw6cF1Qep5GnJubwKlwgyC4G3PwsGLLhjRlrYg+3v4VBMeVIMxL9gKXp4bBUSHeiZNyv7RxuD1l4UdkN+QpVpN70IzpYZVSnx6Xd2olWmIATXnz5HUysNuvj+GY2H5Rd8U/inEkrGYLb7U4IZXxxkk2zl4ggCRiEcJCsvgU1eizLINIHlu0iRT5dZA+qnA77xCO5iqG+SZR0H+2myHM3cQnMFl8qtfvuCmnozHgPrQ9yDQIgMdt/CuiAohyDIUoqLSF7QjnfoC15mB7mpyKsHFff6rjeLNg5L7OgyQdkiRZf/dScKn+0tCWfLm3Zfv9zs+URRj7cpnb8XIoW8hBXafvBenZYIgHeU7kgRvCkuONLvO9PxIh+ioaoV+cCPL9swQtgLrIK8hSSbaha2qVojRMqJ/L7RD3qqbGSQVonzP0Y8/VlNI7IpA4TsYVT82zV0/xzHxLb1eFjSRKSCPzEgzr6+nAFyO7CddrJHVTxv6OI+bSRr33RxjKXaa+SHz38NTmX9oBsCypPB2KgaLVFn5NNwOseSaW46VVUt1+IZfX3RHgBLFzXjWh/FCeJBGcYbnKEHj64P8uFkE/e6sIU8kr7cc2wyvewbW8ckL2/NmAi8GtRrLzp7lcgaAsUbx+L7nKyWNFClyCEVv1vEFyVIYUimpYFYZd/3gEhElwaL/XzwivrCv1T5+HLjUoR5IJ5kysdQGwRn3Q6HSAee3F9OFkh93zeV+SdEHSNhweKxXt6eXNbUshq3eg9CkxLOqX1uJFDCo6+qpKGY137mLJaSFPA1igeIqvGpTsOMdsnRaUhTVCrvVlx87tyksI7Oj6LD6DE8hjGnI4x5GmaMSeKi40pK2HDu+Is+rc8/6QaYVBLsgTIVIOnxKZMSeXhcU+VUxA/7iFbMB/9TInmFPnGzGUL5AQ4GNHsLFw6U3vfIKvhPNrcRlNb60GOgZ68h4MAXzq7zFsL6ZlEVPil115ryEUTh/tsOtLu0YQhR21Y9KaRSg8Wv6gsKRAu4WiZuGz2Y7hFUuSAQzJa6AMgD26E9gUJABXKU5uZhglDQQU/chslIxvg399d/C2p94P3El5cqfCMdJ5yu+YqeuogPm1anFzBcU8lC2/Z7hCEjmQ/LXPvzKBepXj3e0Th82cvjNGWIccPtXAKY52WilzjxqQSk0CceQdsK6o9odgU0fu2mYo3X6v6FMG9QHqV8ObR2K32BPI6wtuA0ze6HaKL+LyhKqDHlZ84zCyxuOEezIPblUnJGRxme9uVymS9TeyWt/AyaCwA0j5wOcVVWi0d4yrPntzuYEHa6f1rhPahLnZjmNVIpzxvrYroxJ358zzLpllWmk+LeYFWrpAoGBhQBYyOmpy+OxDC/MkSjALlZroraZe0i6juW/6xW4zhBcvj+Jbdwz+XXeo9AmAh+5Z90F5gM2Yb987iU8pc/RfQ871KscMRllOHVlAr6q4kqEG4SnwrEDZnjSOaiWPB1hcohO670OsM4vxreL5FWBue6CmHJ60/1zRbCXjaDSN6J2kmmxS0wibjeLHBXfWkX4RuUfNY+5a8WrldjJIYSn2DUX6KYHBzmwh/ax1Dt40lIj5Y6aylRS1mPkZrewQmm3WWkN/c+1cRMu87ri3yZQyUB0A7EdK9BE5L6WKuJvhlMmIG+bkWdpJsWtsVUPUPGB2x0LnD14dte/TRmGOyt0ehUM+HXU6Tv4yoUy8w7ObfhfpHL39V/mX9f4oTPCUe6vwIzViX7pcL9CglRXjjryZOPDfQmjx2VvhMYpls4Nzyxjv5JK2WaXNo+n2zoH4+fubgfoYVmYbOBsE+O1wNaHzaatCnW/ezECBK9CBXOXzncnHiLubB6uxJZXhHSUnL0il74T4Z28tKMd2L0mnFOgtQmN92l+CjTRhbpIYMIYjLC09HfP44d1xJscGwILV+TMMqUTVpme3ZvUTikqJf7lvQ+cjaRIXmixUyXrTjqOUL7dNLU1VjzDFCfKkKPtVniMx1kQYMMTxuZc3Z97k5coSkiJWm1P9lcBZ5EqgVmxQG+OgKx/dtAyPK9hJHlSmaqCgbFUxl8o9//7d9nEj7AHB0MxTaMnY49nVg+n600PgBx7/0iDel3cdFWax9n29UhT4r5kaG2kt1ihOaYkdJ5zPA3yInZ/eLZ95mrdz9aOAjCs2t05IUq9/dR6AZdf3aT3I4YdstkkL+xs/fc3b7yGziU17j6iomPsVnzBdbY5ZaN+y13dytsW9E4Wltz6Zr9zNnfW3QKz88DI2tGUKQ6xgZ4tMAtg0KYSAunew1jJPqnQe/oTmmuMuF4TUNA2M9Z1aKtAcAGofVWy3K3/O0k2RVevpq+uwYdhW1cLOuKHdVOxxfaC0nwT9Xnnss/5DQlv0PP/W3u/XL7tyO4zXBIJMU8y4+rJT814KMRBxBLxBn3CodOVtrq9vYA58nO8W1MoqBnBxEh2eFhOvJLr/iE69mqo6cpOt/jf36eGP9RrVmSc/Jer8R69ruf008OcQ6zMFrR6QMuGS05u15q1XxrrwgdRBvzxR/KREetOV28cWRemleKFyW9ZOIdJcCX3RwTl6E5oMSMhDCCcohp583ttWqxeBPTx8tg3m3fRi2g424h4T8mol5PaQUuiaRnXQaYxMiYu1pyW0qkyHezoDzhG91QriqcpQ7mSHVjKWikl9BYY8b1mB3Q54dXao1rL44ZOvmL6ZAO/NMREA0XI9qH6kPPIzCr9I75gfhk0UtBCF8gi5C4H+JmQ3M6/1a+Db4vE9PjljLS3/ppOnwtD/zFU3G0/91IPM7je3G5I6TmeKUiosjl94gQPNRauVnuhl+EnVQsht0TESN9b+wlDIqDfhlgn+lmaFcU0Sr72Hc+CwqidCZlMHhuXsAYM0AG7sgEY4drqwAmkM8drBdNmr9ttAlMmZreVvCGn+L9IIRAwt7eHrEvnU9CWI86p9Nif3Ow0PkEVM7GT3A6ruYGCT68a4GbpXQ7HbcIB1PbCpgEAadANUPGdXE3riJ2WkbkjbP8Y8QDcLjuYeYCVEhbyBottNV5SgPBbmDgX5ubs49pMOsvVFh8HuMELw1Cobx7vnmBNH1CQkY9kgZf3NAp4b8I3QcxTIWtTjmY2crZEeChthyKI+smpzr2TzwqtwsYKVo+ZfiR65UF4jt9SR4a2AHeEeVIV2bENaFKUOshDJO5yMklOTp9dLtesCUmgiI/+RbyGgxYs50IaVGZK0X16oQ6bDBtc2T0ctdgyZ0ZE6r3kmjjYKoMiRrRahrmPy/ZZgNigcWS4eKW22FvhcUf49WyI6ZyCp0GV4FUEhQuL1wE33oNC/H/CywaBDGvHxJs04RXYJ2IQhserDpz7us+eLbhNYoi61kDjvV6vYfmamlcbd71gtKGSe/EM6OkqcuIux7Xi+EXCEe2IvglD/PXVI3xFHgSHCkI9ET9uGRha4A6Q5QwWbaicOKXhCdlzjmfmz+d44BhL5F1RPnefhzTTBXxcV9Oa3CEVkq/6EOAErEDRzQ2ipwglLmTf2vYBe7P7BETtdYNoELJHxcLbf35OCBIj4tXZCmzBd2aiKhBm8ijlyHyDZ1Ooa9NEctfwj2LrXTwoz3MDyPnTtBBRMel/jNAoczHPJ0iGgwOEKrwv3iEJAaRuPoxXQLXsaiX/eMKlfdAlK7pxtlG+IiHUW1rpiP2zn7fCqDyJvCNtQ9oFQODJWIg8M/Fhq1aH3N4e2Qb4aHO5QmeSlssGcE2oGSpF5f4oyYHrfjrZsXZrZ1yG/1l3NByMm6/pTr8WcUVhNLDwJl/tjE02fWbWELWMItPyToUDk0nCLygQN+6X251oQ9AWUNDJvEU+5VCJaqsWu5hr7dX0P7jdeip642KfC75otQQNoNC2KX+TzlYGPocm7VICrMDkQXJcfNWnx6yLql+IcbSo7BkoFd9jMiiffROYVZBESWTW8d/vQGTLXUzKqQPV2mJSk8DQdPEifUHf6fJCr/yzCqJLPR/Xegd4aWalmYLWmHqvXet1mtBzze9jhT77gL2ntYA5FwdTD6QtBzLpIuLfFhHvIF5KKp8+kA5LNtJ5wLYyoLZQ4b26a8VeuFWcvthUQddZ/ptwLyJZryakuIp2t+oi+lI9csh8VhsfenWmzhen2L8qG1lgbJff5xLEFaAabWIbY9YvnvgHkGXmqjixDQR+ziJ7ucV9Rtc3voBzj1IWxTi/1DAtXT5iJdXZk7m/8G5esjwrm5SDE88qIUaZl07l6OdWlMngcrBjFCXxvGPofIb2sj4cdneSH1yRnnG8hm0AT6/kzIWI3+YJAxAEPFZMkdUSgFCrv4o2a4LFEhvoE1DsrjvTrJZ1Da/JJ8XwxadzQLkpNYSwqn/B0vLsW/wH7GXJiiAUxtbW6YkUGkuDJsI2i7A6zjWVZ6NkdENIkwV8SRG20zxCcOfpLulwmD+QsTnOlYJ38u/G3r8sl3sk8ubklr3GXfqyA/03oy4kJjdQBcOkc63WKorlZ8nS0af/BmjiQuKYjpXIBHXiNrGHpI2enuD2fWSTMvmfnw8GwTm8iiIIYApP5/qvflwVgDkOr8CSYnXX0+kt/f4a8p3BaP60OoBVItlrN1uW7Ic7moDWNuR+/ZE/825zq+2eU2ltNsamY0H8M/bq17Br9VCUHKfTtT8gnttLok45GVuHnLXe2fU+/7qeruusxF5JDgfukIZmtqIKAaOCcWTM8aFmt1xv8IuHhqxpIbEgmSCGsX7SEs6Uz/l4t/UWy608P6e95wOiu2I4lI3fu/WjrRs7LyVNP1tdZ/t55v5iMxPxsk9Pyl61migLUJkxiXdLTweapWEdBFie63G/q7hVBYYq1ePtGquyhPDUvlHmV9qt9yf5656gFcTjbWVvd123uCrXP7AmDuBZhUt7ajicsFb7otewfa5pnoLhyOnjoH35V6hjwyik/Y84HbrMonLzyzp4U3U8mxSLmQIRTmKxShem37M+ouc48ujCY2JN1Y7jJPeViMaRctzFHUOkKQdIgeD9QUcSYwWKobONIybwhoM/TlLrQ0+jqwVZ2/gd3ilkD3wxPc/U/TfQanzZkKzFkLsB/P+mkHqLuQohCSd8CBElvDnDWs5Te4P2M2IKVAV56oRjTy69Jtb9SpJVygxXcN1mj7ij0Nzp6paWyYHOEQUe+rXCuhGYTKs+ODGuOpwBIdPHcVSjBbVqrj1xCAcibgsuctMc5C6/K3YEGIIPkHRD7q8rYP6kyUZY3mQFT++cED/btE01La/8L2mfhWAluFIXS2twzU7ZwopyDc66gz4cIq2yEM9mui/TKn6fSkRu2S9HxegpYx/PKIC1b7R3BzS2QVyroXYz45zZgHAASI4d/15p1PuybBIpI4Dg/VkzcpwNiA5ol/ANSMPtiARDrNsb1ldk3aTzW8L1T+dcIzsL8RvzlkfFRJ+aD5F3wUK2Kt8BqQbWVImRV620TaNl5MWTOc89vUpCaZ1rNry/UbzOXmfcoXVWbKggguUg/9qf8PORbJabk3ugA5yEGPzf6OoVWHY6GSnwtpDgvIvpdvwZK7ZtKwOslowvlknjccGdU5RChg/3kRRpmhYdx3sQHWcaoym5e5wNNhFL3UfQ2XaVVj0KCHG90qj+P/DAcjcIjf2wwHo5zZVOryLCead86qM1oF0Fn4ju6NFpdIpfFBxQZrm/cUpoa3epuXFIEJRoPZYh8soCKoevhjC49AE4rut5UajFry1nHab2BeDTJcPaHEgGVmy0r8W24ntgmag9xrvjzsQ8N/MYYI5XCFP48epFoViItFIxkjdF/1h1ZOyMb5l8OMiwSgoMAcx/oJlifJiuBK2jmTHUSWiKQC4yALhYVc5BbtPj3Douf9KJMtAqAEiDj2SUwsDmFUYNVJz0y/7CJdvyMOB028bpBcRkos1b3Y4qV7NjWgg0ySyswHT8X7UKG7JbK8WaLTEGOXh8cCJzJkn2qfVuPL3JOIzzTHlZWA8KLtGexGpyizb1VgGWgOLr0N+7ffqgRumTfkVj5VCHSFo/Mh96b1zplv5pV5n0XwC5cIJll7KuJnpWsHIc4dvkf4VOIczkXw+Blnc+u7IBxbpg1PT3h/KZfClaqKMJHgmfd8VcAVOXmmTA6R50YCcqEYHgji2vcm4JQ+tRBUssEyKLSZ1K0bj6+k6gApzlaruVQ9zcZ4q+a1ca3tjF5E87nftg4Jlx7hG+mKINP9V3WKht7AeCQ5JeRMC1mqkvv0V44t32p0E6GNXyFmHO1SxonTRxVLmDt/CnIJJ3Dd1ccGWRlA844wBn6p7m4gH0hVJIUtoQ6oXuHX2cUeIa1ezClHGfsr/e0/Xz8V13PxkRWo8ehrKVbofdRe3Wjg3iR++N4hgTVIrnXC7qnW0jBx9R+vK4sJuP+4WYq4nmrOQ/ypNZaNmiqrSPD+8di2nY+t6PF92exvdNE47Yrm+4KXlwGeZP70FzS5W8KH1p4WhD57KWEdSupBWNCQo7fTnzj54lN1av5p7H44TEXk4dsAsTUXCHJ5wuyy7bc4ggUkv8JAo8AdP/dDHjNHyUQ2EzMP+EFV0PRp1AJxu75xU0MRRvi6STnauXFZDZy4i0No2C9Wkn9ykDadO0Wq5/cxlJYmFbs299NdS5CT0+BE5uE7W4WueimycuWWe77q8L6JbR2wWDoazDeG949N+UJptw7/pOAbpjlRP/GKAAGpcwYlTf53HB/p8g11Ynvzs8k540YXPqz0un+73UprbZMqh1sYTA0X4IJota5zjHJEvdzZicmC3eBgYeTzBDPGGxbpmC307prx54bvSsTfDWOWFuJf382ueErAq51YAlIAfuFwyA7f7rnj0wqDyrlj5DhikVCfO0ACZxWjZFuXoZySntZo8aEgBDFSAI99V/ZXO7s3RVPC3yzwD5bgNSp6XfOk4lk+4URWZKqY8J+ON86xfGlhzZd5okJGoNVTFTFckI+RllAagK+DXASTxiD0U5H2Kati7miAiB6IWpsLHQsi5BVf/bWZ9zhUwd/ilM+9BQvsQU8VpdA6nm8Ff6EJZrLmPw133brI+w0lUtvPH9e6WNiaI6yJ1LFS56ZSqfh5UASlj5NJ8lE42BBX+SZ0Uf4Rmr9/C6yuZkNxUpdwelfRsdS35TI4VLG77K3I28/mw0wVtTCSFj1p296xM4vo9KejEvZmC6CVQwbvr5EiJrGTkOEC7lJ9F4Tz6YR1EnA/ArOSvqkS0NdIY8vspoZqXyvXsxdQ7ISD97zygRClqLazDFouqCLglmb9SNfMh2tFENTWmQosMDwm6quFoChU2V/bb8pFAg9ta3BnK/vDJULBNrYfoF0w9ji7FaH0iqjJP4uMnwABvv7dTmP3mu5rn89LjXGBTCH/49lobquK/K/UYUaRv2ryAvwym10l5xeHjUEayMEkQ+UeJukIHUqprawQVkpf5f0As2Xxe93rKFw1q8Yn9Vo6moK2OMvwZ2nwGwrzWgorDtRngBbTS69TpCEToWq0deBmAdT+/YhRo4PF32BN3zceiazVBwgunmObhUhqAwHKKOCSatKtM+uNGBiWY7PUQA6TgJFx+9bQgB08awSiQxfUGyRk/Y77FqZFQeLBXQABGNvNfuTi0ON/1WpEA16eOINZV3SioW6qd4bvfPADb+a3Gr0TUU3QDya0eWpBSXsNE3Gb28b9USqQZZXQElG2aIaxnyOAmq8bRVsviTF3mmZ88SpOyz4G3hrpN5mBqE3DeMp9F/bTPEbgm2aeYO4HlWNISw4w/SV9yh/Tdb0JiM03LaR20H/Y3gajYKlgGMrKs5vWwKJ12/1/KgPWuSFxtX7+7PhHJ4Hy29t3BC3xyRLEnfuHzaqyTe6jGgTevtOs41y4zyVZqI511qF7R8/Jq40ITwAChWFrOhEGZ87uAIQ3N8P16fTWhg8Nlslji7PQrzxvNi1xrvf1TvYUyxEkoteYBDfYxbvp7g9sYTaEWSU5VRxIw2HQlAPEzUyTVPPKaDMvO6XYbwu+cpXf2JNyYvLZDfh9BL4ITwaWnAv0MaLSL1D6iSahzjZpfRaqpBmB+Wxedxq1zdJwpHa3NBJbvZsz1zoLel26hXIa/4aKRWQD8dADSH8fF3pCHMH11kdcX3qieKVIpXpaPG4/upZEp4rhmOILKHS+kilt9WB87qq+tEeUgYg12zzIl90Skb4ne3LM2g34AG5Euy3YrTSXHrBZYyRwWLt4yqKYdKQnqZfQTJ4hQaKk9xRbIrdAq7ebND56rjc0StolVDZKzubkyM7iR423XkLHgr92qSoFj+f1PtzfnPdPnmAZ/eId1R1D806/9Y3N69loyihIidsEWOcCG1jequhJsRZ0zby4Mo61CQbrLbP3xrdcGzHPgDhg0lEIVvHaSd25Jn1gbitwr/fqX3enj6cH3Pj5f0PhDjQW3Av3eah9aowRb1N7Xtmu8xlaS8H6qbm0UcaZhMmlSK/cV0cIaTvf2sCqyxyVJ2vXdTEJespYrE1rNk+xOvy8Sn5TUMHIC/165kH7qhF7bmFqAtw5kTYQ+UNNKdWcmTj4vCJDamBO50oZIOjy6fHwjucXe9C9q19EKU8a9r1rVMhdYat1cK4SXSPTxNqsric7wHBjZCBF82dAaiVgOHsSWBsB6Z5vH2HoytaPTSxpouc3nhuf8aZelXnDKUTW1fWXc8qz2v3HeyK+amQkmgfpkBpyDttlRJQJ61VBnqu3nmcK5bi7oL3NQSwFJpp1I8E5OcMLij4rgTKlsI78VLEf/aMRX6+e15uOBRKwx3xzV4f5HIvMakSLF2H5jzQXlurrocaWdFb1DgTvdl3SuwYyL4TtxikhQmaD9M0Q8H9uYRK/XY/AHchzOJRJwbUPM9PQ8MsvLecdJS9aq+pPQg3SQ7SxBTaM/hIVEd2U8N25UAQxf+uATBkauT3se+9mbs6RI5vY9/eA+hil248GicJ2iUR6rYt7iLt3lHMmQNH9ze82+TuSoEj2bZJrTdNXGfCtAveyfjvFOsyzx3QOC5bzJgx8bA1qfpJ3Bu9rkrar4GXpXIIoUrLxLtAQVkuinQnoPmlR1Hf6P1XlvYXX2l/jhEk0fEydpIiEKE7D4lROtKy0ZuCk11BK94o/E4H5Peohnx9UXvK/w7CXglmLU3EMZon+VknBhqkWr4gWY8asdQhKxIyNzsEq7j/6Mr/jS+6BVF/Pf+dJuiFwBfMG7eCVYA8xuWxbLexb4QZlNWYOA97ITHIrsZDWWmSeTUpxvSaooX5lnS018G09WkA8Di0tNJ/YakUh2x6VvG0KP6h9sSnS9mZRlE9PgFdn2HRE1HaOtAXALlFr56VVsE6FQBZzWvozmfL8Ok7L27ceU1BWeNjrhHRthaAokuhUcZnoMIjdW9kcR574JtCqKet/Dyr/BQEfZ7XD6xbZnCl0g/owgaOpcI1IMRTDMG9LmP9JTSEs2m3p5F1PiI9aZ0upcdZXoHQ87Q0rYY14aBDqfv1KOIfcaNt3ac6DlmhTd09KEN7m5waFosTVSYuBJ1O1LlI9l6+RvmOXCiD7ikFFerBStbY9vvtbsTF02cewwuFsXUIhUspQp7qim+Q3KxM+qA4oivemTjN0U+W4WqayGdxvpBdwNhyg0sqZHQdkdsHfvTyQ59ac0KyrDhtVgSo7/UCP2ViHi0UUbLSFsIcN4lMVavn9nIhw1zs5KfsLr40KNebzBqpvhfS+3v86XRiPGYnOB952hnvqy9r2yvXuZKHGG8aYRNAaypIta1S+DoEA3yAwf6ne8ADsADyeg3bcCvNnO5NG1dkjv2KBsuFpU7mYZM67JBkVFW7NwOlMj593Wf6pFFRIoJlN7JFMQqSLwJ0dNT4PC73Cq8HDS2LPV+pI4wl+kul5tIFeS9tHh7PSSk1FIWNROxlGJWIrqc7OLE3hn4UhQS2PtQySoEVzao9eltzdWj6Bl7S9IBxm+uDCcsTTCfCEmxnfjDNNbkkgbN3p5neEEWOQeMpiyufmGgIKFhUj/hmnq3/kbcfb2NUseFjSjJnjjBwssouruI0XktxbWTmbbPi3tcF4zc7RVEinA9cADyxFACFpqC0F73h9JHzQC9k7mj5hCqynL2YTXlqYBuics/67YpH0RqKpiXETreO8aOgBhlHUQZ83Fj/sq4tFAgB6B1tvX5g85GqxYYyuEMckd9dVh41jVAOi+GXlWS65UgC1Xy43Lhgyqjd8O6WRepeTNekxSgUCCdA0LNLdwWz0ug9c91pQLZYCILivrPBsRZdYXY3J65ugeRs7qBo4n1OT2nw1HJ/w4l8iSb2nPfc67hCGDnEIVXAhCZf6sp6sh/h8s4WnDbiBejDsw1VYqBZY+6ExHzWRU6ZoycLfqirSYo8oVrprIcGdymdGurn3EYpPWij0srqsPQ7tm1IVw6o88JCu9g06LHhPjHY4P9qgY9cl/DSTcX/acw/kQkw2ari61dyDFS16L8NKln+88vS0lEDo6bjwAo8qULBVu/IYFfdcINt4pB6ENM5dVdenB8Chk3mC9ZxBC3DP4ZSCI2UzkxFsziqJjY3AAyGhB4plROx2dGgCmC0K2bhO5IbIQBmisC+K8pXUb1zRwPzCn8mGuxGocqFtVVVnzsvSfyasUc7JpCEgZ2PJk6zC2ieTbYpXGqN581ZGEKVf6T/qBkfNCV5bKdgxkyj/X1nVraNpKkgt/pC6CKXnb3jpFcfPHkVXCF9bEk5yXp20D9ELzfoIwZTgbkM7EWjoYZdnqUiBGAAXkZDvetfyYY1RTlrgX39vw3Mcjka1twogStEeiVrT9NFnsHcSg38q9D3r295qubomGiQciTZe5r7YRjFYKOGjnOPMkoGOJadTPJVv3xFYvP2dx/7Hh1wJEXx3+pa+ePxBMwp0vS/Y/CXe75B8VpG9t8hUu/r85ma8Y3ETf13MMgzfaiX8okvRyuvKho4fCtVmdgygu1xbHybe23ze9+fM/QJWY0kKecFSu4Fen1bp2YCDW0efpOpti2ntyKGd7h9/6vNohbnTdrtrpdeH7fAqXTSexGMXruN9g7XJ9REvtw5f2+PNvkaOE9X25cKwivqdufF+i4OpIgovbaU8/CCLDL+1Klv19HXQEKMEM7RstknUZ2yuUFB3nMQ1spqYMmrNiQYyUcsmrkvR7YHOKaQun/AD7UB6+e3a5VLrtiIody5HG4U4Y2R0Es+nfa8WtZIDnwiy5TLlykNXPOseQxd14qcvio0YJKnccsjp/HEzEYm+l6D+A5VU9OJlCbDzg4q2SlnVnrXCXuDolyVOhge48jEw+M6Yt46xbjAecB7sxFLTgoaeb0cFPSM05yStb314XkFnzzCuxWFgsE4wJ3U7p7xPBTQWAskqj21Z4wGPwuHPsEYYqEZ1+JIlRhW1rKUb3RGUwCQ0AfHuDKW58JaxCkJlP8s6qm7nz+c1QEOxKGPsewHnYPpxKV/BzFHJNGX+gzDc3tIQfc6XnelA5e69Q4pEqrHX61x+wP9J2EuKHBNQd519ii+V4Bo3WBNZ6QFxAfgeYUSSG6VFzLsl6EtVkAG+0K5EVyM04gVdaQ0xJmz+bo8HaOuRK7xY7ga4CpNutIQcQEJGlP7X0KLP5+0DJUh/usoFwmQX5NgXSAy4QRT4qE0u++EayjbMA6djicFVIcFuApspCNn398Prbq2FiYNAnUroUDu07s7giVkdlMIdhunTLNUVWNkIqA9b5YmwwJtzplELs2ObntbYRHYzWcN0gSG4AucTWgZfP0bjebq6Jl9mo1TZx9wv+eC1QBbtj6nWeCkuSIQjyZ7wbEqFevu+yWag73Cg1BXkIJ1PMfPLrgn1A1LUHSw2TNVPIvgHbphC8fHlsZGtemhi/CAr4Z3/vpv+w/c8bzQimtzVg9qA/zyee3o92lL/1FFJj1kHdyfX7cH1gu6VV0qNtz49YGQqwZ3EAPi6LkgFCG0u52chwYHTxsRseRWGV5h/515LWqrztVYztujNYo1ZV5eHImRu7FvWnGa5X/1M+Q8zU0GOU4LDozAa1nkxLN0NWNgdKc+tiNqr++nwdif3ppjnnuUjfzfQqg14aPLLdEi4lQMHxAWfzJQXrPpSSxr8sQp0NhUUDnVeKbtziVImaVWXiPEvhEfxu82/3RYZN5lUnDZ+YB+M55pKmQxrZvXNQTHRteLCTh3gvwt6DoBkJf00qSHopPAEGLIYL4ineRaEy1SVXSTryoAzhP1sIqVdiJeNehn37UrwZJ+wDzUCDVpre+17cF5mWiW/g++Dyk8ICXQjfthaPTd6X4WVkhIOFgejF1w9KgP/K62k0MvlB+wqez+LgKiNXuF+d7vM068aKOIT1j2+LzalAi56jAg3UdneJRQeAiVrXhEbVuzRvyZgBDzl6XvAU9NE5mfdCnbyw2UDQ5cO0k/XxqxnZ6kHD6NEtadnHza/CcJkh4GD8PxXfvfz5+zbdLWtnFkTF2rcVFYIe+m6OGG5vubkEdiQz9PuSXZC6fFlIfMbRyUmR4zZuxJnnZtbO6K0GRfb8vVjUF756217F482FyhhYTJPmp0FNihQ0MTR25A8b0WJ0uaqwdkqkADe5xibVB3+44MXW7grEXfBw470O21NayP2XFha3cd7Lu+yPH+yW5Sv7qBSyGMzttvStX99HU2UBRrGvGsoCRALpDV9Z3+ZoDoYQTG9ORyOxoP1Aze6fT8YeWWoqyT6W0ohGeOTVOOIawQNzy0dVvmwl1Hx95RSiuARs+ktwpmadlZVkSi+QMcV0DjhmOTkh42eX1s33YQdUfJIUsOceyPbIejsshpc0GpJS896fMCIMtAQBNeZ5ZJFPFJDomtI2zZvf8p+yIbpjpYEDJvJGZr+kjAU5rH7mS+Sbt3kYkQUdLafevOSmh+MPVygbW5XCtyhBKk7t5Lidf1/xKOqJiWkenSdS8oT/DfgJHKXyxF8JpXi+AxL6a3bHGKnOiwPXa/XB3vQf5OjKObFkz9dcQT5X5KafF0OqXfVDJEqXL3BYkc2b3GOBzK9LwSb73u8n6TakEmg+Hsxsg9uRB0T2fgxm7TvgtaimQ1IzvMGpGZEg/hWbVofTR6G4bRN1QD3F14YmBsNfr2/lBTxpzhKhEEajkYBi3lzA87cd//LNUh4kjdKPcLbDPkJQ/gh5E/ujaYnhOy8UEe++47kBXBKCrFsCatj9RHg58bpAVUD/VLDfrwG5wRjLSbg6DMtrhw2KgAhouVBSHadSqhzXIsaUq8EaGPgueonazu6QaHNxR7rHalPP/Q//gM0C79npuk+Mpk+C9jbSQ0DdZxlJOVywm/yRWPgaGlYA01yOz+YUaL/isaXBj4yUrSmEpSpK5ZQ7IMv0ECpmEBVIbOXOOCj2QBJQL7KVXzoRBdcO6m9j499t7m+G5repfsFiwe5/3H6bAQcQPW6lKK75/kbYbE0Q2+P5mJN+5WvgvQwpi8hV0bAOhXpe5Ul42yWnSsrVipbMjYvtuagtJGf2AOG+4KJNX6AN6wXTuCUO1+qdNWLF8xqjfnnqOBOl2+NaV6AqehKf194VBXCL7Yv1b4BZRDlGZEnf5Fufn2u+h7WMjJUgZekWNQrI6DSbw2S7TBJ0Q3+X7cmYrZyQDTeE+ud2Nx6SF8PLSxq3ZhXwmAg23Bys6eC59me5gA84qR7Jwd60hC5xCH/PZX6J69X1NW+7iWxQvJuUyAjw1H2X80Y/ZBrox450vzd6XZsN4WVy4spQtazH1jo2pFjS3AQ4zzF5lXS4t1gBXJ3LSEn7zf4GqHweYiEJrhmkfgjySo1unxctq/DSKFAdPbRIoW4DwbOystyJe7uzYGPtZyPGiQ7OS/GW0NtPPfkMZEGSDFJMnnqMOfn1A5bHvTjvHtITVV34MdVfcBBwaQso5Eg7qBqPW+XCyCUKZ5/JmnXYMAgbQKjNAAo6Q+XSfg1ds9u8ogP9EbGDxf2FgrHLdpBx9U61BmJl9/0Y7TVeZfSY4VanI6zxlIscAnwysij+AOjv79qcMfmsbzIQu85HjwJB2RGziQ5Be6/tjEZDVQ+O1Yf7hYhkW7KRmOMddui2WyTAnZTzSi4ggavRTCzFDkLGg8mTIxxJfToepMwwJS0Hr6Mw/SNg9wVzZ4fzgwXY/RJBrSPEvzDhfKtXG29vuPSrNsBb7srZiZsJrjBX0XuhuIDdfWIMVoRbxrm2bCc/WcQFwxK2IRktCnvzw7+7tCvWqa4V9sADZ/c/C48cIR4eLwbXtxFxPUmvoEpWE4nlMd6e1bfnhoJRnBt2kE8AGa5Jas5OcQ8mEtF0P363ug7Ccgm48l/+sqydwGPdWqIKq/+eTQyKHMlq7ThQ4VoBPXVWEa7QQVrABnDwCgsWq3cO8fu2KzmKvbWAC0doqj5mqNvGawg1GB8ibgezySmUgc2aUP/Xa16TKLsub9xIkVy9VgM6B14o/P+NEVBQf7fyFjhGF8eqTZkUluwlRqqQCAEuFV1uYwTKTDwW1tFy3zkMLjMRuETSjvR7HEjG0NwrGxIXRpttlDBvU4/Jz7mCJkAUnyDa4VlJkFjGZAsPQjQZdU7a7AcbOCpBnmWVpwhxbYBBjd4+BQ8LxZo4ecCNBzUi31LBi3psqXhKWz6el3oy95ykLQPqBRygSI3oOv771fL9K1GuafNRpz1cYa8j9mOVVdrwo8HUxt9mpbDn4JbhkkwVuCmJEwUdBJTGJM0yDbhCKw/b+Blw4fph75qr91OZFKiFYLxHPiyY42y7Lxeb3VAcTcA6AbC1QyoEwEKrOVxm5y5WoT6kxDPdqqErNyFb1mH2X/UM4bnxgPo9/1ZGyp41AlgroYLXNVq13lZVs6d/W3sxNDvvXRcY/tA4kmlBrHlouKtamt6loNlHr5iszhvf73a8LeNoTOTeK/txhW2CTxxaRqFmhrCDLo3ixMdAoyryb1quGDUzSN6SDtUw9U4ouEBwME8i/AR0srx+qmyf+D6rxcUeEdz2A0Y22e31ZmgfgJsU45ti9h7yQFWQcgjPeh2BaB1NwXeSYXbZ9pXLBDsd17LiftBpVpoXCMxMCXEWxC13uCHWuEiz4vbUDCXkWf2l52qNEdcH6Egz5J/Wzx+YcpYhZDBhze2LVbzRQMg4duEqq2EMdMCVbDWKy1PC8fglvCzWM44/zT3tHJh+ClaOo23gCgen1kdTriQ+85I3LYMmIwb3/7SpAcuA1W2d66PAAsckSLbi0Ax8APDJi/EcMSzwTRW3RSxLrRZXOmU/mUdhAHN0/dTYNw8e9pZCzRXUjDftRykQAD4UvbZjntoPpXuGs+/MsI59SIKRIKKIQzt+/biOc66Nm6gsm+pONvnlWtaZRrE6NueMGt8/sKcjJAMQ8J8ig8z9OKL6DQOIUfRER/xs/KsLmT8RvWGbPlDR24wrR0bL2Gtz9a2y3I6s6+uDPVc5h2V94Ex6s4RtftS6X0AF5OPhe7Wyn2Zz0DLsqoKcL9BfXLTXkVVP5qt3015SVV1XIY+1m0qHeZywCb2WSHMyhJ01DpI3qgnMOZQ7RHbDsyqfRTd1h9C2Xs3eiksBkoJOOLtOdJdsUAxXz4vsZ1YlcVc/nibMuAiTkZa/xk8NkRNE3jFJlYwyiV9JhAQBsQFcihCUW4koaoq5DesuoLmftm/IaCvLw6WOAnMBxBOwDWIG5zoEwuELSmS92pYGIEEDmYnWTwMOLvJTmxumwfFAt5paj2uMqi47nTJLiDkQxsfVnS2nIcaktHAsmnFyoCuQQG1wfy32lEPqsTFFEVOdD2vXwarZ+z3rT/565yZAZp3pJ6spH0ebPehaMpWM9BZgc1pOt7YqqJJG+2D+Vmx5sOedChmEfTsZ/ogdHaJ+C5umL8/cQsytRlywFdr3l9FhO0nXK0SqKeP3L8qnshWmA8IWH4BKGbv2D8++4lwXC77PZRu6krEYd/vyulx0r6Q++YeMozlOEOJUZYap7/dmUbM8rQ+Hj+oa1UECBSdXi7FWiR5V7ygMihe+YDff3vdVJzouC3KM486obuqU9uXJhZOCSnFntiiH3BuV5EONP7gC8oA3DUSvaPw7EsTXgW/18o2MamfjKgVvstDR1qfMrdwb+U8xZKcqWK4re2s0akB3eDN6DC7PgM+HKhioEDLrvxxtZctTAgDJ3H+1b9/zIYp3ysJ4Msn+r/X8cpUJLzHk01t1Egn56/nz9j/bQ93Tyc3tjFXtbyngxQZQ5VZG10/esmJNgneLIl0ewgGGQ+UHGYHXndHxHDw4ZfBOmm5T3qRvhi9ZHvadoxLEJ980A0s5oCS7OewNr0zjtDZexiIVt2Q2XppTQaheAujJrMZVBAh/HEhYU1K22g8CBU/8y1XRNFx05g8DwGsbvwV1M1R6aAWz1VwI65jnzmX5q6IrxMrAVrNp9T2DQ3MSx8HBYJ041LQOa7YtkeJzsEkXiExc2RZiIPd3yp5GAQ2okAjzt567hP0p/Vb+lbhC6xgh/lymbr1Qj/ARgO6N1SkYUmVa5fKhFuMCrUil7aAg3msVKir2bJtjjiX96NHd7PBheXM5WtgL9cnV8I4nCw48YAz4qdxxGhCQFk7Or+fYkbV6MZyAqnWGIMebY3JTJlrpAxyOkLxjYrij+4ROVSBMjzB+oTsmnYOkKs96ErR2JrdPElzTr6OvfitAZcjpKcgU2qGtLBH0Mq3GgaONKsyzsSMyxudNVFcin+67oms+VlatthIXdxYjx0j1rF0K6cJ8p1WOJ+ytm26blwfhQHEeZuQYl8eKVyNOKPgNNt/fzlC4lZNrMQcmFBelrUEqHBfhzsEqFRcFJMqrxm0CV9r6koKuDX69n75UheeEAzCVCR121bY1UUkjaXIuYasWuV4zsxrBauI5G9jR9SfFaKmcYiGWwg7Ogcv/rkmVJr/fbB4tcyb1LUzd3vl0cMJZtAbVnhatPqJzxjsUd3JuoDuWiz99UYbWiInAzotAq4OgIr+n5t4LZciyzjjuSrt//EteEcVSjVW2lcUSfSfYf7MWqiJ6XSpFG9SQLSSSwSXnBf8lWCaY0tQhd0vJKN1YHeTfgSW0rhR4lhcf80YT4WQsfbYcLZR4QyGuhkawR7fue+RDZ+pHI2RTOFe+AWI4FtmWKPC8cDn1l1kuslYc+sr+leN75+XA94w1yHYsr8b2Nya6MMldV1w60Dnojpryoj653EVDcEPtV6ZuDxUnXEh4N1MeR4zDsOa4lVG7+bgHztADBUH5bo26+GU5Sjpi/EJvmZiWaRs/mxvEpw/FBUxuacaJfTvVSzyQDZn+FaTyAHd2AB6KLiMzpdHMCQkHvici2UQZJ38EQ9iSEdEfIesTCdioReRY0DdAgGQ2T17EA+h7iWnF+Dj6FdCAzkvG3CDQXoAuKeQaiKTmufEVNYAyTuBJcLBwcZbZQ250F1shdM5BlrXCo9JGuMwmqLqBFU/1fQaZAwYZ8DAx0Cn0z9J87iBwpwjBPyb66tteR7RT4DK5M+O3lW6h9O2VcaHFhbHdejFy1ftE8kyzjaCthi/T9JaKxMHa3iy98TedXV2Sf8hF/pqcI//3TmBkkeDJAD9SiVrjRKJ5Rho+hIyUMw2TOetXyFkIpiwTrx199+sZU54T7fdrf2Pzu77MuRRP7pxwRzs8CwVvDdYTsnRKCVmVWUG8CtkfF9mXOPxGpSaSFW/h6hevIfyPvKZh9SWIi8iPoo4QVhuYw4nSJEfOq0FCQGVAZwcue5+YwfJefE3vUjuFzS/aDBmT8oI/imsOYsEU20tpt0YhIAob4ZJ0ND5XTgC9wkFs8GnTHLDEvZO7dXw8/wRX2kOzJju5VqOV3i5FuW8pFRLTv6heRZQydFXF5psFREBxPpkghinR6+zKqOGvrOb8Wa8cWbwWl52cfXB94BcbI090Kpll9FmImQSGokU3d7gtUPUEN68LIWpPFeySQgTBgvTjb805LVpjqN86Ord3uIJvTSB9hl9kifsQBa72vHtoXIFxRTo8om95LcOvbq9Gn/DlIp5HG9YKLlacotOu4Cd76msYPtQTUi3fra6c7AhxVksYYqgxe9CopcAbwU8uVQnoxl7sx1IjETrNQ/CbpOjRwOsi5VGoBus5aRFCw1582VeCWgR0GCdGIGkh0Jbk87fFAW8WpDSEjDCpOcM0mZdMc04CPG+gL/H3vUWz5XTPKHOY1BmznFqMLulAiwiTaSIs+tBqY5OC1nRGqH+WgEwCK81LaxnA8O51iHzAFmJAp097cn00b+EPgNtQg1pEb0BSCrbV0WLfGX/zxqzhaEZmUzwVnrDxvziZdyaWw7lvJ+xpP0JsBdPBW+MDzxYOV9GoWnVp+x9zhmMSLBSuJrvTBHYerUhyyRUB+y4qh+4Dp00EBwUj5nbIcDJfSQOjncgD2YNS7busmJyXiGCAVFJP5+6y1Hm7plKO1awzl/6n3Cuqp9E5UYryihrY+PoSog7D55kQOzOrOxjJuWZV31X2pTOPC5RAJjmIZLcMghNqYrE4Yg94KUdBfeLNQff7sEGybzrERyuS7L1uPNI+ATKPHnnKvLdpezzdoP0XdDQ2tvOX0licb87U/ugb+p34Lifj8Yrj5Zc89QOyeRVUKwlLZNNEnqqGl2iE8YWZwutUlK5xc1F23s7KPHyUF4FtwzWnX0Rf3edA/xHCMCX3QMHaDGLvjlQoaoN2u0DuN4N4cihWi061o6V6AclPY0AhTB1D8IIIWRJ0Z4JNHVuco"/>
  <p:tag name="MEKKOXMLTAGS" val="1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ANCHORELEFT" val="True"/>
  <p:tag name="BTFPLAYOUTANCHORERIGHT" val="False"/>
  <p:tag name="BTFPLAYOUTANCHORETOP" val="True"/>
  <p:tag name="BTFPLAYOUTANCHOREBOTTOM" val="Fals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ANCHORELEFT" val="True"/>
  <p:tag name="BTFPLAYOUTANCHORERIGHT" val="False"/>
  <p:tag name="BTFPLAYOUTANCHORETOP" val="True"/>
  <p:tag name="BTFPLAYOUTANCHOREBOTTOM" val="Fals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ANCHORELEFT" val="True"/>
  <p:tag name="BTFPLAYOUTANCHORERIGHT" val="False"/>
  <p:tag name="BTFPLAYOUTANCHORETOP" val="True"/>
  <p:tag name="BTFPLAYOUTANCHOREBOTTOM" val="Fals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MEKKOCHARTIMAGE" val="FILL"/>
  <p:tag name="MEKKO" val="MekkoChart"/>
  <p:tag name="MEKKOSAVED" val="1"/>
  <p:tag name="MEKKOEXCEL6" val="False"/>
  <p:tag name="MEKKOEXCEL7" val="False"/>
  <p:tag name="MEKKOEXCEL8" val="False"/>
  <p:tag name="MEKKOXMLTAGS" val="1"/>
  <p:tag name="MEKKOXML1" val="4HooU0THZk28POP9trq+pbTvvzd/gcV8t56cq85kb3NDTsUhojRA0EsgEHHMH7oYP1SYpn09ysXVivguJdhTvfyVMsBLTGvcX7WPTor/CmWiWcfk2RmY+GE6Q6T90sFUr0lg9IPP9y8umrse/9AoLT5R0GKq+XM9pr/aTyOTf0wptcuHbHxeyqBm9svU01qeeEM1v0hpSHUgirOnAK/wunDqnRi2rF3dC7/3vzSMoeWc7pCKX0F+d942NXGsvNxutEpLBc34F4BrTQ6G4zsIKosRoVu5KBV8s3E2/qe92MZOYboHlILOFcCwXXd4tUBO+XvZWVvUsSf20rFz2ZwFhnL1v6+F2N/kwfngH0FerW2FTqrghRmJH/APqPnHHLVvaopGdW34KJBfVpXQ4nWghHyk+9PM6YDE6Ox3x9Q8dUs1wsarYsjIKqmEMcnBQ2Iro5rTk6F/qCWrGK464VufoxPE4+dX+4rMzoXixGvThjcSVBwQcrGbGwNg21gDG8Xz7lWHAfspKy7SB3hEFo/xKzDLcBh7OuvkqLXgFDWQ0rB5QNd6uBcrPJdVWnu9zWXyLb/wq+G/JCd36mn8+iKCNG7OUG35ApA70k19CEh6uU65iNZz8TAR7u8x+NJ/T76hhV2UylAejJaFfLLRNIHSvfJW/Zfp/L6me5cUx2a63C8+oWj85BDCqn42Dd4jJbRWUjK8aRJ5eZNqbq7Ur6QlklTRm4wy31+VMW4JXrdg6Ig2JkxotVrOHfK9FXFTEdfg/t3SNHRL6yrj4Ym7cW9z8WAPC2SRkO/ljsEV6X84DzUDjdIVLSCBiiAW3lc/XziU+yUGwVzHcmbXHVbQHEJnJPSL+jevYUTC4/yIPstuQHteVXCaX3/5/jp8kXEkCzhrXq3SMkcsgcEh3sipViKjVV70/GE4I4zrSnXSbtko4Q8rKfR+DGktodAYgmsZRAYqH840EeelKhAzLtTLWntcVkoQeqzzdPaqea7yXZd+KyLjg1m/ULRHzhyLNvUZrFBzPiCIvm6VMB5TielaqMm5ZAOuBhg3X0BZRyYvOvG6iQrT5mRi8hU+FsdL+XCEFDpsru43fCNca2isRaivsluOCkB3jZLnl9SsOT9jBnFgXzHlyqUkLSuJmXk5bSfbLQoGhEERZGb6ySgiDuQ+D3sdwOcs+iUVwzcQEjvAyBBK/2NwIJHkKoPfS09AbdauyDjW39eapnHPVBlcD+YTJscmmPqfMTuGJswlR1wXuKWQMwHR4a3r07L0h/a0vTE2eH1aq9k2Nuj5qMoOD9sOOPuwbOMDCcaxqxVTa3cpvTyW9SVOKqN0zDHbL6UPDfe6HKL5Ld8qwEa29Re7Q30mnquSxtnWeGjAPygowaeLkQH/pdLOXkxGBX0j/GfWrzTd2PvlVEFfscOoO8nPEBIwoY8SGgilOMJbv2+BrV3NQMJdFNgm9maVSA2sFJPbOkYtfV/tXVVh+oZxUaN5mzaHa7n5M8B5dFLnQzfGJoU+zEKcqVmgLnOxRkDax10VYR0v9ZlSBhf1OLMB1aKUyVFIzqXjw9ESy7fi6elFb2dq/XIXXlHx9QS/+NuEMnPCFPHdJ/2jA9+FUWHgBlY4LU10hOwOZGotjJ6QOpCCQLMTFBcyYYIcqpqVmKuAK8WBBbwT8T9AqItsLaap5kIFOKxL4PFrJxupthf5/g6X3GOR34HsfxFySszvQ+Cl5MBAbSv31NgZUS/BATnpA7SW/S1hvyI7AFOOWygUPnn1Nrwg5mhuX1EVAhVxu46LPq3yikIiMZ7bXH71/HqrNN+w3LEAbzaa9ib+9+ijEV0J+UoRTe1uHi7V9UcbFgj45nWvUfXY+MtX/uavXZywcTLB2KtRTbdLim/jflRHYAShhbYRwK/2MZ30K5J8gvL9f69loXh8PCgt++Yks2vY6f4P9i+HRb0EbwAL0/AbKDKYh51aL95oYc38gQXqK6sICuekk3S93/eXpMrbtuQ7+g+f9D5A9NH2uKKVJWNAXJqLnHrteMhiAUt08c1BArOJyepW5oKTT6VJx21AEXydvCQuDdRlZJrTKuK3DpZtFSni3Oqif0iJfGLLP7xBKBC+wGTwrUEhQb4/+aSrNrNwTkmnKkUrJ+gU5hjdvOn/uASd15JkdoH/Luja0KfKd3GG7yFxmt7PSEacBcsBjzBCbmUtAdexbfCY0qFfaM/1H/ibrwVPieTdfQW0nProNP/skwVWhe7MV2USnenVpLmfKoIVrsvrRbjjUYZfPOj/t4Bv3hKHF/kLYx31P3W+bZE2EOUjaR6UUiU9flu59r1YKp3/GSV6QBjmnCOZ/H8ya3qhcZ9U6jGNUDHJ/jIQYnI6Ce3tqEXSvgq3tbeU2vY036XVv1BUEtN0u4BxpcUaFximJgKmHsyiDLPd70Bif7HCuMRse+bgxyQGPC9BOGEPI3dx7oseAqoZvERHlKsxx8gHnjPFFReLQ7R2HtpQBOTn+OYlWX8AmED+5QbKkacPDn/SNgMirbQrek3ohutxCBa2MnD+REJve6hFUap+gjPcGhSSgWFHN82QsKMwibL2a+cVNJ45pDKvqLBkO15jsbpEKQnPNbyJB8nTpBo6i1kJyrfBZrukC3nySIwASrdzyngnRLQnIQkeCzV7yTCeHaQc9C/FfRaF7Udn2LJ7wAoM6wegFP7liqNapX8OtqsvASv2ouUHvAUnt1A5gs8UzkZ1ykIHSFCfq7CSzALyHELRmNjpB04PDqPauCOdI5ujxn6JyDo+3V/mgRgyODBHCJiOLkgpQKi2GOyEf6e4cmKtWj5UFDhRSNK0XaSIFiUp6c0Sl+DqmYZcZ34t9qg171Lt5eTM3Ftkjrb4raRob8TGLgEMRFB0nPrD4JpS4pK1UeEyelWESRw9EGo4kgga2VbIAxelCJGg5F73N3JRT/Ncgx5+N+Es5S2OUNWnZUGnHqGSgMXSUPKdJ9zjQPPZAgUaTELF0DbZ7G71fWEEuQDsfm3cQF7a4nc1X9MeRVNtIeF6Nq2J2ROcwS4R96L1ZbMMKSpac9t4QtqUSW75agOGOHtKHxUQXvnvJ3ZKT5MtLV+SachXMQ/IYSu6Cgtj83XwSDtZohCtoQwkk1OsAjD+sHY5pX5LMeDq8qfJrifKumxCp4sBlz+XPjx6BXHAMFL0QurGIX+hnnOahd13mV/7/RywcAIxz7wSMqGTPDdEX80q7GBvfXbY6+z3c51LakUkkdEIwueRrqQYrYa0/jBQH0IPmguzVHakFcr46mQOV/jr8ohIwZyD7vRHxPpBMQUqOHJYiPJ7PpJCqG3CK+sBeQ9QrgCivLDmhE4/9BsCjXvqWftlF4u82Vi7UVlbwYY3xJkS74zcucqpVL4WofnJhb/jamYJHXRLJIDdTEmlypXbk7Ut4dIlP4dxORoDyQycXZEnXRnClVTnlnYJrRYEMSYtDo6CQrLQPtUJe0Bvt18I6vTr/tZvnwSml+FgZin2THCJyHjOPCrwNEJY/wpZBebOeIwGG+8ihaWxocq4Y3NB+moVhCLQ1rJ+IsuinMt08dC4yvDToAtjnGlW1ZSGiL8+WIPCT8zKwdFYM+yxI7looI1idCSIuGUPLGRe28fbexPo+83oa2Xe//xCGKT2rPBl1e+TyEUFi+8uasrqAIWWapYs8BHbMJWl3OPK78NylMc8gn+J828aiDs1mHuhaKjOWPOTgZlrolP1lKxUGxtTUY2c4zQl3EshRRv+Lx7f2CjOJUtB+mGVWDZjYw++DSi+Kq67ky6vHDa78eMWKiMw0IOae1UwrYHzURLfs2Qz9BN6kNPFOeXnRi4R4Y34W2mIUbXqPY+kXMsaIBD40csl3KqDDB01EZd/VOu+a3Z+mY/J1WRHvE9/E+1h4+rQp7+PyQFav1HdcdA1FemCXMTWhRu+VAtp53Iv8ZfedEeePpzAuA7mhoxTF7bMr5cjgCU+sNlGwp18DbolpMJGpKNLJlNw20bSahI5RTE6w+bVSLZo9XG94JgG0ls9h3AMOYbpuNrBZujxUynEdov6RVeuaqDDRuJ7ch6NFLmyXXiBFKh8FFMg2r40TM54LXL8p5oCO1HEtDl49tXi7en/cRMky9KaLr5Tgu6hFWhMB/lbNAiQwBaesA2WFZ0nW6JBnbFb9yIDDTtRX/zouBLMpkCJ4kxqUch6jIiDgyBP2yZjHorEVhXm0j4z6nlYwXhxsnGE/hhz8NLQFubGtK27oWZuUduNmyIKhduWbcP80srJHmCkLioqXWysG7fpRJLrOHyqnbFQ7e1JA3IRFgha2wtODGEVtwKeuWEIcfq5hF6dLCkgElti8wu4FxF9+YYmI1YPzd7HPa7CDP76TnAsdS8EiCm97dlOrmWNAEt5PwZ6r9czNdwLhUJu1T/8qbO9tu4k2nClar/EQdMgR0wrN7oCXYmfbiZWMbe2S1DHoi6jID9ZctJCpEmmMH8EumGRN6lmtvRMudjFAJIvfzKkFrHbvkZSbfdcpWh8xD3jeJYmcRqUZ3lTMrm7avOGm2CN8i+45U+w10sysmM3LWpctUn6Kit5SJEzGljSTNZftdV0WB48NwqNK1f50EB5Bd/hGsGuGz5miEgTdMUult6bdIeLEIzsGU83XH5D54uP9g9n21EP2qnx59yhRjoohqD5ZOygz3rdd7H7jquef3vn9/YP81LUYVUSZzUfklAjXsn6Zf1hI9BsOFJbn3cIE1ACIpVOSrcfmLD8r+eMdUCmJXAjlXA1NmHAoLuM4AQkUBgp47LW7sAplyBaaMRyd7jWlNa8398md6cIvPA5etKjIEDHFUVLCYDcVynbG1s0a8C/JwdGDTY/4ToFA9N+QGPQAaQoUlDTs9HVB6Oahw0KwUvRJ5gRG8OGRVNZVnhXclAvr8vtCwYsEJFytP+5hUcnpLwe+r4w3OOqSDTisD9nJJHDCXf32LZc7ivkwXJXnhXrrQ7dqqGFqaE/pyuuczgjVFpqJZ8bUI7fQ/mHNb5sdvjnvYzOEwf289PNV2XEMZryK3aIK/WdbHbhNrJq+aXt2Ozms2c1OXn5wIQmYphqaKNbgFFpEpc6vLEddBElcAhz7SFe7cRNWtQQ5gAUfh5zf1t0M5rxr6oRsGn9z5qW6lizs/dLmE3gF34GbJz+7mYYmnXqaLwO3Je6xMDxvRTNAxQVcTO4wAp30cKbbzakgyB6mB4kg3Pe494pNm++PtGaNi/NIEtNrws7Um0yzCO7m7UN8TkNTEmdcsT90EQqGkdAa6ggHvgGbeBF1hcP1TQvYCvnjdyvwhGeWf8sWuRDewwaxqmYLUeJKwlHDcP4erds2vtCU7/eVzAFESTQNVlRo1g9uZ+z0pSEMjcTio5uBjm52n+ifg5QgTxOtSxenOmEK7OZLqEf/HUnKONVC1KMM8dm3MYYPofADgz+lbEj/AxUBGaeO0N9BWLMeI/I1g61GZDu6iZ3K8gb//GvrLxXbS7KZv9URvIcyjx49uyd3hUMVGuzz4v6vPSlMRsGd3aEwriDF5Ja37KX2lwp/OknLFAH70347TUPBRVnqVLao6nON/opudAZTkwuUV+dSOjzael0fjlQDFyHlfZB1gWsBnJAanEnR9vr+Y0KXTqJwVTjzbcsHc88zzErS/5M4u97GRpiTda9F/dJxlOVkO79F2/Uvcez80o7qIEsJ0EeltsiIFQB8R5taCGrE70SVeM3q3Xi2+W0OdeNwgbNPEtrW3Neelr4MB0nWkCd0yBEh4I7D6Fq2AvtvRTf6rGE7hMlQKV/gXWv94rPE1iqcxfVnNmksK90fCYG3Kb/SfO7OIRVFviguvOmEqRmKvO3CbUez8rQdNXssUxNUW5KlMU+oSMilILOZz+We5n0OOeGRuaKcpYCKOl5Bw/TKGiVhqxNqFxydkBqeTwXizQYkUoHvogenyn09f2RLz5xSepSHIgjhHy3IZxfDfNbvc7fQyiXQ2yUQvfLiuhw9ffmIlV29YXL/LfgtLTlDzQKA3TkYtes51dUQQgbqe+bz1xb3cSN1T+CEy9uUq7NPMa8uhghdqUbaYK4WvabfYLjeEMFSP+izcwL5mxyleL1NRL4EzEhYyeVDUjZb42MvbHiKOKq7zXR3IjBcuH+h2PlYAvw6f2Nri0+807pVuyR2auoZQipytT38cve3DcC8MjSJWdJEbyLbrf2AoyktKc+DlkX4AgjAbGACS52s41FWGRLc5RiKtYsXYNiwxWHRbj6lGbzKE/8MAo7A7y31shaUMvIlUdvfLKvtsKu7ru7mB18iCoF6fNfry5EjOxvYqy/KoblqCiQMIQlfFNxICQdxrZq/lPlOWX8BZnPqt+2uX/NHBCmpk+LbTkOVpBjBtGuEIxXum3Q/aN9wv0+H9ZEkteDqTuB5aayD6rBJPkUXrVVRq18PbQszp6ZL/eyJxb5ZHb4YSbRtiUThWhMn5Wvu9KdW4R75ufpXf6X9HwPugkYL0M+eE5mEaki92eCobgq7Tczyr9uTY6d8xjHGn+4lDrFhD0LZzbrLVlo+rb+kdK02dBfeid8UGHsXXWrWEelITD1jh9O5bXVRMP5ClqSCWTEV23tw60rIMKUGu8j+zZfOy7wdaEadt3Ww9zD/O15KyWiVX1h39VCstEk3AmDklKJ6NYqLT9nbFDjdFhN7Z79KV33MHPgWjtb3adBhpH3ftoqVYGHfbEepIQnK6OBGECtNhk7elDF5YYVsBWay789lAppv03LKYo4YkPaMqAXag6tfwiGZFjPJsFN5GwuHfc+onfLaHoP/U12fH3+wDEK2rCuuhArVj+4kqBIqdHsug+IkofH57vQ6mMKhu+UuBPvSe8xKh+syiIomN5AUgQgYFvy/f7DmOYD/y8BQI1kYZvlXlT8d+8iAPuBKFim8+vgSfLLnDZNM/Hx0OXrMbxe58ioL7k5iQ3pAsDaaZrhYo735Tu/rkLhoIy+kzBSoVI2ZqdxJqHJIketzkKp9yse7IrtYT12HKaH5k5YPIw4RoLY+JP+iAXQCCS15QF1KdHzfLWT1/3Y/3vEl3wZP+YNWS9nPqRuK1Pwu5wYSJtcgjmp6Ccsp1qh9Ehpk7DzS4lpIPbWlKKXzYqMbWmZnPK0KAm2I7r/DrUqGkVEYE4KZywskW4F1li9f20vFlFhezewVL1+SgHP/2avnvBzI5+JuQAXy0K0vo46nVnjuBjZOizfttScjHqADToAjVWpG1DbO4gatI83s/ErBUeUaFWl32pVHZ50qSpxBMLS+0ttVkm8n8gxXD1z/VXoyGVnwSInfg+yiq+oZoUE//syQuzlV0klRE25AkRoLIFSYC7gAlLIECldIT8A3Ih6XrKGtin9WJzCxWp/aFcDcGvofvxrDWCrqcjT2IRdQiarAaOfGNsl4y+ySC13RM20XDCf1+yF6kphfOB2mDnBG7BCOdDlkCI7VTKew6+hU2dvPn4YxTEL32Ys1a0fyr0HUs2UarF3bxmGfe+GkPL1RmKQW978cTKJM+N25nX2vAdVHbinCijHgKDIWwvXGGFc+VplF+2vUZYh0ApJJUAIryWoT31tlDMA+U+cT5thXgD0kiq9VJz2tdDb96kiTqoYJeSztaCQ57zGnfcUNjd6QBAR6gI03QTatmBza2bkAVUTjK33vUD9S8PKbTsJVxt4jH8x5Vrx/yhMII2F34altfq5m2lxt9CbH5VkaVscjnfNDjFfRHsWJa5r1XucINlco84128jj9SnTxCZ2YlIDI3hMkmcuU3ucTdtGrAuxyToq8+4TIH/o+fUqfDujWgcqOH1Uml+W8GDR4TH1IDDffXbF8KnCsSkhoXM12W3dtDP7xDRsesvzU7dl/FCb9Z4k/d1Lj6zrLJDR1ipyefEcKc7RADzQdUSwn9FO7gmchLR7wzgyGwhqb6gz3a+BHMvq8LgKIpwx23v+DjJBjq0dMknBZTgSdK4mU4oPQllbnbxRc5+mMMo9E6HqRljFFeTi+sAetVNgO7wGAHJ+JrmZKDcnkvHAo5xgIOz7aCQg547Eju50TjM7Kz8Xxogb4bkRVDLBHniyweRBI6eOZCS7skHf3Nv2veixX+VICeSESlqZN3WUkpjFVyzGDYgfc3iYbQUpF90L3p/+mxwkDOG+Hlmqxbp0VlVgCN+MXJOaiQrJc2fv/9ySaDQwsFVsE2CxlcGu7HMC+1mHmStWECfRkPkjlPjDrOjftM2VpjPl2F+E08pxxUc2YPX2yE9avleW1DPAIJyHArk/yHi4revIaOLTJ/fFA+oiBgJMjidrpvkse8ELWxLskZ/z0cKhBBmRrJ5IFrMduQTgu7KRNaSIy8+lL3UFbd//ZkeT42SSRfUmgTD8UmIV3rbHYfYMlu6RYeIkKC7hc0MPuS9W0Ofwd/XvgZiCcOqeUK7Zn4ueN6DTVVbnPKUXuRli9Xq6/NRVrqViyLAOi7XhIejqFLx/srMcWSIjeSAuKNbi4wRz15eTj1gexxQrLFUn+pytak2wnZ+tamW/VKUfxqN70IXsHmR5SuQI88uhWP2uI2H8BqQ6bIuGqHbGQ4eYFW7MUvkXTsZKg7u4BxKLRbBKIOLbMNGbI+a3W5loO1LwwIbtPr3lqhBXkx1FvLIic0cc/zHQv+2by0Yk7jqy/OdI6hBwNqVwdt8t6hSOVsM94ILetJKfa22uAtOBTlC5CdTWEuGW9SdQKaCa21ZY68X3snrHhbKAMRigGxIgWS50C8B9vp6PvRoPmEKpbB5XMlPeaF12ToFSfsbHLHDuRxdnYwJ28a5d9W6CdhzAz/zM3lR+6Acagu51RV58gz60rerCLPxx5KOGGvOPYIZ1M4e879YumcM7kc2cEi3CjGvkd9XPM4yqH8ssEwSGsh0VzdShIpsalicxzZINHqc0etefs0cOkRjeaLH8EevL+Jje7JpFqH7WHXmkROt0uWTmo+6K3tVHzutHKo6TaN+QrtD2jdLZ3icv7aeDjVVByBD8eQd95HC/zQDObxtZ9whVrOon7KVhfKBFRQ02cGPPkRT+ZZUq8g2GYIBZRGr7eE8O6sZa2+xGcq1dIKf4gjtplaqWgSa0Y8Sv/BS5CT+nZ2MZN8xZByBphc63KmleB9dr9dPUbUc8TdGVLWSkVDI2IiLhfXW/OSAXfSMOFPytjg+MbZiwykK2k/y+loGyNUXeW3BS/kiLBA4epmbYTUOdHeUv+jxr7kxKPleeDccVlkpUs8ELHcp8amgeO05Z6XDCssTnNJ2VCBmT/crRfQzgRcsNFdYHjDNfolXH1qIT7BxgG80QnFRtmKHpfHXzMuo8zpqLDVBmjVbERlhmA6/3N4uLE6rybh2+Pmfwa9GAv2N76f79NigAw2M8o9Fv5coo67XVdQ2ylVss+xSgqRa8YtLQ10xfCuCCfYTTc/GTGbeRZdCD3qxHfqhtTqFyCp4Y5EB0VQ2OzFu9UJLDNiyxtlmz2x8CrjFrDY7XD3XmRI4oJ5yrwVW6MWkLG1hqgBLeibWMWblpOA1cJ0BabJGHpAyiDc/5ghAi2SRXkKWpk0jJJef+iBTPi94Ax+uEDH1Znqe18CRwDS/KLiZjobUnX6lPxxfQ0EbWuNYhV4+bVxA/4g3ao+oSVkvt34l2oUFZVkfo0KkIbkIsBpiLi+2Sdm6+Gk6xVm5EpG4V+HPVgFneBsZ3otXkVJ4YjiWfnG52X7HZ64DhmLaul9LDSIbFTV7pXzozzC+5fpvaxi94Uz4w5vO9NaVN2td5+bMkU09BUbF4Q9MdWGsifhcxMUFHoNKtDBEWeEO8SspOOIqIo2v3p1HkZWgftLpb27i3tLhQK4xPKxgaToUH+PfuUqthBeUNvrc72hHXuZKI6JOxPzDaUxro7mJS4xHlxxcpARMv8rafgoHvWTbcTlMfN2BpWkHEJvdjd66xTNd3IlO6WiAE5bQIGbvIPD+JwPOIZqK1IsE/34WGJKqQvmocYgLCBBoKg/7rmSUV8bEL124E/M41deuUtDcP6qMIrBbyQhL028fAmM9P4j2ZKR6k4yg8uEIb66i1xxhd4POKF8fdbp6mSOk2sd/LAhq4iA65QGSDGXrSTLeiQGsHDveso/xVafp6f4v/siY9TjDY3tCU5PYZVriL6yAVYDIkx0h8UwLvMZvrTjeMQk+wmwle2WJV6qs9PSTJtCdlsLj4Q5O8bw0o7Q8atD9t/TyEznPJXHUoV5sH/aA8LR/XwMSG5NBRP0B1/FEl2FeHSib5Kuir+svSChAW2/nVZjT3yShE0QPq/ARiapucG2eqVknDre7YhRR80/6ZwgiKh/XKyBvwI9G+7aROh3xZUFFY8LVfYt1lZD+5Nm+v4ZQwpZt2/Rw2iRqcr9yAQfiCi1lzAW/pfYXd9VdjZx9I8ht5dv9vTPEDdlt1GrgGRdQ+gTSe4/so84t9XIxFIgChNcCk7xtS8hRCwrvOZgC5Unvo+Ep36MOaO0P3ztlBQGKGOGZSVmc+bCf0DugOQyJSyR8lDAZsMarfhgGVTs0AAhy00NAadxGZpk7xTRjb0/cu1/15YyZrOnFfkVP58oFjwGJa/Xrc9K8euZed6jiPgWFloiCrieewJ9P+V2PyG98rrIrGyu7GS/xqD2JR7nNVjmVoST0VKo6bRdTvrm4mlcbYxcVBJG0FTCu2sXjgjFD3KpHviHdwz9dqdMIMaSV+ymdchPReJXKOQBiz/bmngOktVqFO5eapdiXfnLEfG+BYxEdohcEk1WKjCc4wmogZbFxewAsfpldtlFFqG8CerURsL4gGVGVeLffBDg3LJ3FzsJQy0Y3nihQk27IsB/bA3pdtMb/QryZyZcWPewIHmPCL3qfXepeNu6DYDRkE8Jj3DMwalM42qkO/vewyPZUj2Ru4bj5U847KcLInpc0yQUTJMBkMUppSG1G3hDBC29/UETYvvm6Rkf8SRjvEC3TCfrFh96bCbywhqzSjJ4cQUdQ4ITkWtbfEOBk1fVD3DEpNSj6tlNi6EYa8X80DcF2JLqsHEOeleNWsVL1mtYSXDUWH0gaGBw0tcaHaHAb2wWuJSRtcEuYyxgUcYf7cjnMS2NMyLtkqIiJ3zbHpV2eob60NsiS6q8LDltPugaQ2n+wrLXkg0aKSafzFEBm3a55P1LqdZtwxycyfpf2Cho3PYVLovt2tTUbB+PtPerHYjM2LoF2tszmrcLlmmB5jkugLaHjMxbimWRsz32fpQ6u8h5Q0Y+2alJOVaZDuxd7JUYmcwIVLOeasslMb+3/yi0Ojk+RhGJe1JVUdJKheI9DbfHLRucA0YyyzYz9wok/j5Gz5x3+uyfIynFrHTu0ZHKq5aperkXcVR1zM5TkjHX8Cw4vzo9akDu4aiE93V2CqmTBf3h7G1gk8rVL/PF5wSL8j+GA+RprmoKOKvIUmM9edoVI2WCaL9UWQZxYjunlo4/saMcpCvRlZJwd+3ZKW/qV0VevmWFOlq7BojRZMJn7SDsm7YOCQ+C1qdRltjtykPQNJyfb06g1cSAY+ayLMu3lfWdvY6RYXnoKS0/K02WNJjuLo/d7xGCxQPiH2uRoXnr7tzboPxmekhnYpOTlClr4eiOBrmffiYPgR6Jxa+23WTQbnS4M9yEY0jcvcs3fWLmgUcIFyqkXsScCNx6dQ88cN2pTbKmUSDg4i3WucyAvqbQvs4T8sA2wHdjcI/MHJGZRTyReW0EwE2xDsS6dcDDxlvD3jXjhocsvHf1dOkyscv9qiatrBEyN8/SkH34Zu9N5gIU2sl/DgvFbQ7PrrbIM0xzO6iipwZRvWnncIO/kgVQGvXtFl/7HBtelOV/mTnAH1Izp5mFimQoQz8EDuVEl67AukVGxeALt+5jXZ6BCPX3VTAkmB31uwQRakjdqVQuq/Tw4LsaVH8XJ6hKM3BHoA6bs+nXwv7g4Q2v4WaesuvdmL3rpkFzsPbNml9Z9vSpDRxEhOgwh23aRWl4fjz3GNk0JZxml/1c+85EKPKtClO9Y58v7fTz/rBE2CNZzFT/Ibpt2+8t5SntRorew9EvRnp+c5ErQTKxWTNvoJyLBJD/X8KWKIg0ab7DwcCNYnJ+Y2hT6EVKNo0p/jua9vZasNht6RAoTyVJ7VPFJO2MTmNq7rSnKRe4smX+Gt0UCdusLwTXRX2ZGJ4rNPzOz6U5kc8GKsk3FGITjpo8r8hRkzix/Oso+yL7GLvyfp0kk+cwWXdfXf/WYtKcP8R701LCNOJXy6HdTXwxJtQi1IHfbKWd86cjW0OXKUetVRhZ/kEuqZSJ6gXC4cLiHhKv0ngob3TtrNQRXnYu3Quvm2xEos3lWkt/9zISVCQkg47kLHLCvyEQ3zThagE3nAMOT45n/tdRt+UeXF8/EeNXAq8B4NG6zD0F+U6ACK5GtWRVUzxe1I7FG1nm2RFRc170uBTcuyxCHdyL4A4B0eN55P8CdO5IiCw2KNvKKFicZlt81ei6bOmrijCz2RWgnxZUqi5DCfuG8xUMqFpyuzytkmS4sHugu7IbvS90XabKQzjA7Lb/JzEeRif+A+26HYZAwmySZynffbp7QY6M3m18BeiyYr5I3D/phEBLUyuVZgWQ/joq74pg91XVKaJxfHFblMefuDXUtJzelNxT4seVzyPVMtlhxOrauHZOknRRM23yA9IYe7C0VgrGnXM3ofQwInqK3n5vrCabSL1vdnJeoMdW7F5P2p598hKnjyLl8E1veSb98IYYPRBuR55bgn/mHn39tA9iHa7nBQIch+vT34ShRWfkBvp4Na7SFvwpYSx4KKWxsfigHf+A4A+4fmUIMbFMA9vuiYGtKX0HC35e58FT3tFZQu/R1d1IGEhZmyTnR7zaDOUBlp9gNJTJu/Qx6fpYCuoBU/Il+RbORRE9F8aHl0gS2eTCPuTCBZzSRqHRPzYIxX7OpXwOUb4Mr1oGG+k8/ShRauqMQdfu/sNcAmAoRxRzAkpNQnJBmlzXOQKl9vH3aKqS0tpIiwBTqiaP7plfno50iZWHmbUtJX3d/Lcm8TkmzcQM88KhAXTwQknAgsCM1Oqi2YDl1q7b5a3/aFD57pFReM7pajywMw3AJ+Y0L7IKQa6/sNNojh0Y6CLNPe529vljGP1Ds25X0NvZwSihBSwBYzphM67zJ07hsRyHnDe+4Rw+IbrdtAObm4eYzldAj1nkJ8m3Dae0iqzUIR8oknhStQRVkEBl69Z7fjSdaA7QBLKDFE3ZPRpY+oaPnCVttNb3/1lL6nVmebAaBzwwphat1uTViOHg33KUVuzmwIOXOjSYQNA4FIY067zNT5m/gJESOGn10hMNxohbKu73GT27ZrMlXoqvqCGyoV0U/DKWXkF33TbLlJ6aLBLYgqOqXAfN5aMbEtxDbMKFL9YR8r5XwF1VtDm7Q9XwZjwfZN5aU8PWjFEGpw/+djEaCDTbg15e2dRYR2feEEipB6rEiKPS8aDC1XTgnrmkm9OPhVlAD4PuSGdgsaw4WGL9dTINwTCnZniBEtPTaiYYX4TCUwlrqwWQOqrrScCE8r+RqJZAvj8PtvVMv7X8NcImlb3UCdoW4td4iTZe9yQS5oKcx63tnFCClkYdr93IoxUWDupVUhxjZNrbJVPm1NkwYatiJrIxIhKkSECae3MGSsxl6RATMI99Itmoj1exZ9sU281sdgLdSvcwQnKfOUivwvYzU6buFjMrWdZ2oDAVkHpCZSFCjmZu2Qn9gK8Qixmsqi2XKngwnzZXJ/iFCYgxw0Jestqjeow7fBgJqhX7Q2XSkRmYJjbyBJHztUOQEHiY5y8p+alqmyJnCnWEteqAjmThgIw4+oGgo1TEpqPsuZXDJ/MQCJp8JPilKvkoecvo1o0enpmpxLpK+nUCuoSlVWp6o3yZdWS5pqVm+nmsWSoDbytWTVHrd+Zw1DXw4e9g34GO8hF+50olhbkzbyV/29zziDJHjf4WwoDONLL442Uyj4GYAMHuUgaCJ3aflyRvbpFHkof8q/fC/2lL237oq4JuQUtDz7AYFC/nlrHlcMXCPP6YOZxOzZsdJP9iJLT/MhoKy4wfSoL7lxsG1xCCLfh+X9YgROHQx9ale1T3xP45XzuLzMY6QkH5W2Mor9ZIbKAgoFaCrLxXl4UajaS9IS12L3g7MjzIgOYNNZ4vEFyVEZuIAcjbl+j94/ZusUTwUnyFWKurX46+jHQ5Sj9i05cEqovtWroF3XZ+5TAHiQwUjgz3l95UlRL2sl31OuxeizCHjpEdKV4Ca3HMYJXhEf6BWBpFwC6Wi/tAT42ARbGHoJ1OoI8fwVxxfDYRcro90PoYhWMuWKONJxlDbFuyDKYfqzHP+hxJRjNdD2G0+uAyAxblFUc1DMn4Mzl/khC299ecexidP500KvduqcwhwrsUEvKiOAU2VeIJXlQGR9m7yHeivviW+DZ+kuvpNtL/Cwa5Z21KKCBSlyJ3veCibWob1YOr3zVmCdE+2LHW2fVYdMbew1/WmHbHY/s3QE3i0kjGgXKbgW6jWVkJGyDjaYPNXalkdq7wrYJQSlhPZWqI6Z77f6kPYfV8V8uS1T7A8p6W+fbgl/lia8MLAwqjOhjkHNs/FmjpKO5uwxEbMTeCaf5uztKj5DiJPtBkCoReJh4aBGnl3BCG2bobqiPJK0WdeBElO9w9055YuW7U9h8cOrTe3rfC6f3/6oQgAmnjAYWMmIWFZph0STak5EWrwWwYyW5PPHJuD4p1v4aeVxR87xM2hrZ+XJVKXQmpm8fp7Q9ppPZY7ilxB0zJQegKFr+ff3AWTnIrIN2lzLH0qEC46hlnTb8VKEtEQRJIyNbdA00A8hOkwmKQzSbAg6royCetPwNiNYHFe8UBQuHLeozm19cxECAxhHzWSj0qfqZoJtkRX7mrdFlfaWnguvQTNtLDE/O5/ChGWk8NnaMFUbZqs7bXMRSQu0ZuHTbYiBUdwmHGZlMfjdsJ26zoiE4sRRkW0KQuDDN9kuQrQz/zi5G1J7Pb8wG3IHUp7e6S0zektJ0rqYitVX+jntScsxkO1o+EJ3BA4xDjqb+bZjV8SZ6Wbn1VGydPoIgNrav2s78yD69qXXasrWfc9rCiTxw2fbBiAlL7YewbH56r7cmX5vSWohmx4qcHbn9E5OZe487QD+sXMJZxT7VkVYI2Qc0qKANAMEM2n/9qIrbTWT0/l2939MPueDXZrivcJwW7RGBC8EP7TIkquIAH9QMJfV1yUU/p6RFqnmCA9fDB/6ZWPZxJQ23GJlCxjtZCQL7DefJHrqjKc6rbYJfNwtlD89jsyXqdgXkMF0SDODtxK9bMA1BRCowWAwgKuXqx5EOJTGLOgcCZy0Ycq7SAFM+Lohff47Nz1GBgy3lNgbtp1zebvv7wnoCVAHBuQaT+XSVoFltgDbylbjLTCWhkhoy0mFkbzfiLPHvtl4A8MK2x9mSTzGZWYe7VNVDtWj9m/bWncs2Pv4TLffvMG/6Dsd+j22MAADnMYLklQVdaGB1q+oySgXLkoJiCmnDoSIJOx1V05aA6cExgv3FnTa3KKm4a3zUG1tFf1nMgtpaRvJkYAL3Pxzfft3OzIuV0vSbUt6PjJuRnjMeIUr2ZTLD8UtO5UDdZs1z05kGkD4TLk9IrBk+Y562pzwMbk2WwSKEq9fFLEUcsq2aXY+/q17iPLHC6DGtl29WCyDGasyXDKF+k4UxMFiL12kEocDrGdVhWtZ78Qz24u9aGWjynIx/1VUjWEP3OFu2F27mm3ltZdn7vpDGfLPki5J1TZNy4gj4HfDVvbMbcqusbifgkkj5ic4YNXJtsrb9KAy/GFhQNpOGn1bBXmn4/G87p8cITROstSG+N37Jk6erenN+H231h6CO3KdwZVKUY9UH8znZHC1Gv/5LMG0IyJILiaXH4TD1bIwVHNq9afuIwcAZeSqjHNqCMtYmqMW9+ZKxjCZdHgv9C6K7wGR8AcbJkzjKVba2L0jCMrWkADFZHLk/UofwHQEIIugUYbP0zUwWMLmmKgbeBhIsweSTCPw+rxJeMeSU5E6Q8fixAnqzP/mEclG529o8e6MM/Eogha1WxXQMWtQbLQbwUzHO1uvrBLkjQdvOcK+4jeg+M1OXvwobmGi74T6AZqHHZC2eHqOZ7qbQTIFhIQXJ6Mv+QWak6i/lLaSJqL1JxJ+8F73GYGNjcLwy+dTEr450FPflyfihUvRRsBdaZhzeT7SKjEbHibi63rHwFnSx/tG5TBL1Bg8SKzzbXsdYllNEGpxj1ac8F+cx1jWdwzocTTHgAQtvcJj8Vc5hQu17q+m7jiuE6ewaAIIjGlAoHXFxoXaGgrYUaOkkeyZwPGt0FsvDMQ5zBvED0NibvmSVkj3zOJnAzOHZSEpCQR2fV/fxcyQGWAoGcEphRO8RgAlwkpIVILktrSAtL5WZpNMSvt2iYVtaHf3smt0e7zm1f3MxuhDnkXLktyaXGu+sKU98s0BxcFVSFpCM1NKKgQ9BY8vLmcU5SgRevONDjK0c1tAsImxHkCzdb6RMPqsRkhnt7PcCUCDrIfY4vsAWiHUaQ6FoGfwetI+lvHU2uunO5XzJfxbjTmmG9bD/KE4dph5kgF/BUeUiSfhk7Gpqlfp6UutUnU7kaaAgFK99LrNpm2oe8zLQe9bFldFOvVVEW0VxciMTA6RVCFcHe6erf9Y0WC5pO4StWGrS0qjmFR/S/D7niQu8X9KzW4rCk/IyuhkjA2AHZ4Gb0EYdVyBUb5zZyO484pEtCFSGPOUblXcGG/fDkVVpJ05fMtKOldZkMHRm8juiLV6svf/tLAZmB0+zfxzwTHoAEP2FrqFor3Z8/v1ieqHOzzgK+7l/ZMNVhnF6WSQ5SIcsdDvgYBB9Tl+DgcTC9G7lJNxw78bbTHSv89FXv30XcEZwTS/K7IRSW9t7iqeLeuqqPcIl+wEXtPbi3FudWfwH4UAlQqOwWJ0Tjcib9+b3wz0RkU0wj1xQ1JC2I7gOkQy5aWpnvpAJk8iLV7942fczQlDgz90BBlezjRUNLxpGVns8tLAGGDyrDLLOX6GHhIANrdftR0aFpyEYyEaN00e/XK/FPBgbxOPChiv5TRuTBMo1N174reAgulahIV4L+gqlVVvXsEJ6IXyiBr4FrtsdifnL30TxR2GvXaOVMjuyX6alj8B4fILorD8dP408u/36zT0A6ssi7sMbv9zgvfIGWr236YXgtoL3LBos8pS2zk0uLbsc5OXPx3EUyGUVU6mdPsno4u66w5nnzcZDpDEMLDIwjmPKbMwX4W/yuM7wDWBlhpI4rzC3YTdsxtgwhirfJJGrWwPHTHJVvA/6HP4d1Mjc8WRM5H7MYA40OfST2HKrPNv4xZunRF3AuB6kKv53IDBadVL98TZtj0nkjwU58cvojIYJopvvNkrmEs/BN1gr2ZpQouvkyv6M1MNiekU1KN+QXoy9b3Z9fPkrOKiZrU842kOgrl0ltV6c8aqNp3AKbdsAb7CxFdBhUGSr/xYQQ2tjie4AS6FNpK2ATT7hHr9M6tkEiMfJqLYEQYcZszhRRpC9uzsiHaAYbgJAOJV35biSyrQpbW6RD+P1iEIZyFtMHoEh4EqU5Qc52VgBSQs+ozBa6BqhXhGNUJuklDY5/BjSPFM7isyj8tMH269o8oAgXOU3BT1LTK3zKQ6s0Zx9TnY0BB7TQpwOQNLuXCuRR+VWEwsv+oNwC5q9ebP4RH023a4nMvWR4LKYx4bcXy71VNX+vVQcpyMfdWqL2O4dknk7ETeLr5deTRdboC55YDkBpbHG8TsKULwwMnKGqSkW9/ThKYgNoxdsl+LM/NJrRp+pDdaZKGCOqHAOwKXiRjuRswCR/QlyrwwTYmxQT/02SZHsGjAlnE3mO3gVJAg++pd8dbOPenKq3PH5/uBe244r89qXef5eCy693Jo9xBGSMxdfDCVGyzM2k36vRXQa2uRJGjpwEZmP3UMX8vs8x0+R0Zq0wSw0q/42xi5fZfpTUhq7qnTus7JWs8AQKeUVgAsrqm41eOKxG4fzNN8Zu3qjY0cUwLmWXRVVVu9wyr2/x2OhbXfS27RQ5EM6nbkgwI4rQYtdZAuK2BatR6u0hoMXZy2LDCCb4x7OH3SHVw+F9gqLED5Ow5AAlre1koPHnxWhXmR2SroFBGbP7YUVmlkPLqBn7UaYD/Id6kAc9dmMwoIqmAY7kJnYLLLx19/1aRZNkkQnS024lzpmsuppDUMMOw6gVe0lc1fNGetrEpDReqr8iTEqohDsGxUBX8FHnBhX3lBt199xdiSXwMg2lWEHyt4DRn+sDM3YzRv5Ps3rbspL9ssglw+1wXVEi7im39rPHwzcvLPYiRgNKjfs86Pe43fFNGvDhWT493gRSPh18HTFa19hnBE9HMOd1b+gcQxjsA4akEX/gtU/rJ5KfVOCVb6XX3BMVM8OxXpuvVVGUqmHNbVAzsAoNVHUczMacywOhWONNII48V/ASY6mWUv3//2/7kgnuRvmeEgyaYMQ0AC/ckSSoj2QmclJ8BSMNRD1EUAFgZmyhBHufEb4mXvX2VBXgJqpntSHHlt5KjdPhF9zqZzqgBViMDHV8VXBRo23cfdmUOVhfZ2t+vMrhcOcD+2DPwEAG+gA8nJeocidtUL17h7Qzz19oGHr/VtrCJyf1fyLkGHBbqTQW47K/Ir+e2SyCIZcE9ZkeMmZjha8KeNbS2OCCPQiL6G1SiNwPs7sOO4ZVSa+n7TptBPE/szNczHepjk2KP0S9KN0B6eQ3do7K74fMsDB6kjC+MZi17y5PtWvkKRrqOnUEC38HqWuJcsxwT3GBK9++Pk9kSe3QxxsfB/1fkPFY2/JipxntFv8/xQs7f4DrXMp/rkVK35S/MQNIuI40yUfFqJ5a6ApgDAsWXn1N91RY43qgQIW2Hl3/65QT/p/PhZM8GgYER8vejkPEQlS9Pd1qt0w3hoDWIyapiS8EP1zw+MYuWrhZR3U+SCe+aZEVCUHyChL1/Tplj/qkL78zc8tMyeYYBDiXQ6h3ZhWKkMO8n7n/+sURdhatWw8WMvtcEco62j0eVi16iIfcE6ACr4yTA2X2El837n9OdlIpR1VAu5OUn+k9sNhoBxa9jgXOeWjZEuwbQI1AhWPNzDYo7mLrS1jl8FDgYpaSCZj/t+sxkBkvBALwFdutJ2xTsk+0WeUg0cpCLMpBqjmyRLv3DYv0vKDyWm1vnNrWyKQFiUxAvHqtBJUwXOD5JR6Hg2FSGbgZYi6lz7mW5ntciYRd7kc2+L/dQuS7mV5wyUVrc4PMO8b+qWa9JwL74++LF2otHKZwaSEPnEhE1X+If0n06kn7LOKGZQYHpXaEgYVxXv6CX5JZERH/NdjuvRYaOge0sCs7xFDVKPUMGkVoxG/6WTGRoEM3O0l1UtsFmcU26FtbJ5Wc08r5uXNysUndLUcbOn2SZffMSShIZD2fT+TV33pVZ7hSBnwxXEarQJpbLZ42T0bQ0zoCudToooQCk0R838Jdsl41XD/AMgPdBXoCtvaqHkvqd7ZBi88DHnMbu3zx5RR8QNkStemhU5Xxo3XfveO3zSePatOWhLyCQ2RzYIrEH5OPiiy1fsOJns7/8EWserzHL1ibeqhewdgwrXLB5rRvUN83fKoq3TExIbQZpP9ia4gGRZRbQegAzQt7rXjABbvyTXnZS1ijFXBXbbvgYnWzX1ZW1DgNqEhFRZ1ccSW0OoPdS3OBn2QMEBct/wsqKf3GUSrmkFov2FzRM1uLHOQErlS4mu91upKTCV/YBUL4zjCbEfEErJf7AwjWkF0GZXC0utD0EnG9e/ncWoHdh/yCaCQs5kOJrF/ivTtWsHUdrl/JYtKJmYc91f6s3wGoBq9B2ejQ+D6Hmmly2La3m9gTrXtjIQHegDFvtCue6z/y61L0aqQDQ0oQNYBr1IzI4XuWSz3BeLp+YoBjxaR/J6ZCejbO+JsyKZCFiDCZj3K3vvRt20NQFgF+9qx+NJjEW8LgoNg8zWPzd65C9qqApLJYfKM1afzKujLIz9P2n3Y3n6gCEPZl6DZsq95dbFnh5BPf3pkMMr8Jr5MjBFlXqpHcOEMdTXdXH2MF3T4hvBNOuI98h6T+P6LrrLk5yiw7irdy1LaBkR9zpILYFzt13KlHJuhOR0RE8o7+nm5hVkK5Fk+ZUXOZkM5bOwkwrx5bqgFSivWNrCnr+iTBm7jpelYal1Y2GdyjDng9JVgWujhSZc2twgNcA7F/jeVHL+m2QGWCUi4Kw2Y9AnjmCbrF0KO+sG49ieacUZO1Vr277lviT+1kFEvwj5PhyZf5Opwv29b1hgy+E182Bns3OnF2icpikR4N3WgIYuSoFI183vLHNRJ9BLqtI3TiIwVXZINxqQD1pF2pm5vNgGJ4zA9n7TvTC7MOwb5wuV/YHYr01OAnPov1SCrwwqvmjRxxW6jr0KTFxrD8zRkE6hJkmhYa2N+0jdJ9gL1++fbY29QojgFmP8UgEyibExqD/u1nFqeiKMCgPVjb9fOYEiDY7YVPvPCZpoeHiotxyWMNJ33JayolVT2PD8NHvs01ZtZEiRvjJv4zfKFt/lZa7KYIAob2I985OuYdpqVE2UWQWosFaz3GgUwM4dAgjRD20Xsmc9YPZlledLgOQA+aUDrxOgbGzlP2fWI2V/H1qFwTmrlS2+CegfAFbLoDmFfLxM6joBkWxLRLVMatrRCGbi5t5KfHyOxKSIUh4G3/aTDhlcZ9AapnR0ELai8aEeS97/+Y2uy27nma3LXmPS4enU8vgQbE8q+oT1F9/4SVWsBYQbnWdZRuNVw6B3z46c/Aw0Lm414H7bV0wnblluocnkcrm/zdd7n1v3txFfVkpdv6whk0BEZ1jJgulDBZSVeguWpZG8mfty89T5iwUlKduwSOp1wKu70/b5VqUOWrQGC5VCtwrs517kRDwFejXU5ylXm+v+Va9cVXN1Ht+0jzB/+uEkxcLrBnx2UYobRZ/ujHvrOSbO5vUy84rqGvgMM/OOoxSqiJw5BDEoyY5NB87HZ8JDwAtjUSdtcCXyTAP+mCL3UvbN4tx3lIDTynszaAK3Qq1SoU6B6s4Hg8kTES7jpRycg8wGb9BzU396oqt5ry9vot1UL+A0ZdsfrZxX0HqKuILBRbjnZ3FFcc5LFfn1U7WstP5D1KAkk2E6++RICPCFG+o1dxLpMEzY54l2AL347367GGx5ejSP1Tsi/bn0mhHAIRC7yp+TRO2PVLktIC5wxQTPf1ISmZiSSt+fVH7JzQ3ytt0/P0PM5PBdvNPs3xKfHJDlZYZiGsUKHzi79+N2xh7a3RYLM4KxjUC4EjI+Lyqjx8yWb/EXC0S6dyqxzXnSnuk6OhFU5KKh+ORIwx+jJjkUAdnFIFFI7R172ZaVxhC3XMeGFxlHHLGQ8GjLTVLHz/SQwwt2AD/JtocW1grkyjrCINapjtoFfVtHG04/oiKEY6ql+SfZArJRTvlVaOaewG69K3Jq9QU2GX1yifBwk5AowxpHvnBqF6FWONqdI8AnQEpLoK5fav41b2UzSwz+9hHKJ41Uf10ht+RZ7uaWnZFmOE29ID8Qkhv9RrmtNhcNor8LtKn+kWdhfwTYapdFEI5zVhY19akNAGu22W2093jxoGBCIfUBRkrMrRrg0B1cdRCxWX4Hu89j91T/UgQGOShRXizWEZnvSK1ctLBSWhm/wWbB2rhQm2ms1oIPFQ83513KdMewep9vXWg2kqLD9Ccl/vdmTClqDyIIi/LlTMP1ILV5IzJ/jIfWwrBZU2Kj33bJRNa61FM71Z6c21PwIR5Z3+TbJOXeDwN7VD50+m1r7c+M1dCZXUt4MLQj7ddDGMbYsvS9zeHq5pg8ESCgcIzG6Xgkthi0znt70JfXD2cxvW0LSaau5a8l0f+5LYkOKRs2V/BKvnoSVEhh1wMGjSHeI8hMIgiCZZ9O2FHqK63kct4dxFFkB5P8HKuW5X6I7yHvyUZ4jHyn/O1PMg4EOqNleg9xlVaeJIsu5mpx+7VyD5nRg/TLcjEQQVUUH2Q4pdoz4DUm5q8zhYmVBFKYDe3/v5WXkH26Zt3E4yPEdtQ89aNW3bC2tJQuL3M4uBmyWnjwcOUYRPD/R/dKXPpv7nR7uxuHDKYh/XnVWj9MnVYiAGOo+Nhd4kSNauSxKEBB1qGFmvYr3PKN3CH2fA8Ej0unKYHDKQ6UVW8rc7F/ieR0j21BwQ4iSj82mTeF9EPk4cmmrErqSwxEK3tvTHsntPtM2wO/Qp+FldqhbXhaDY7WGfvhCqm+azSljhM2VA6MzcaLR5MbHLJe6ciVO96JYxmOBHvtgpY95ailicS+1WEGUwlEmRK3m9EDyQJ8WNn2xt4OPd+y/HejFYd+Q1t8yhIKgAA8GUQVMnMSkz2xN1rHzXRDwZ7o+bercPCeIxs0LLMWUGbtwROekCIjzv3ZIN9rPEFI/vP0u7xTJY9cJ4NkhRbuVTQ/YiHBiLyF1Eb67oAsWkOyYTPPpiH6Hu74g9hmqFv7LorSxwE96R1az9IhCgl3kREy14ht95wzx1oLp4brLdho9TZvvXBRFNW3+rl+cNYDCgr1/UN+GDtI6iTx0IwICB0euXH6fKN02SG92wbHg332B5t6G7InKkxNfZry6Rqueu5AZhWbgpXs5w/wyySukpb4lSx6lXGt0h00gLgOLrosBPDIAy/cH0nJH4CopHiQXqMXbZD8nrF8aUjfWMKh1y+tXNyF+T2vYMGSmOxnY1GsftzWnp5P22BgmjhckXnQNAXuwompiTw47wukjgxUdPZ944Uf2MdF0etuhw4W1DHITQuFIhZYizoShNlp0/jxXeaO7aN9wkrzCObDiO/WGn+J0muUMqOzJ9///a9X9Y5OYxLLVtaX/OWQqfLJa3f1ebS0sqNjbkbQS/xictIb8j8Qrz6npHezG+qP6C7Z8lo0ASOqmWFHJAGNOK0fkeneZxuCPV0Q/Ltri1Ipo/vzCvrnUDH1yqvCmhrTA66GXiGAVwltV0EyuUQq1gK1czx47FfNjbo+nWZX6umoQtSWPtCHrNl6+BZrEgi8ZUZJwdFpTvdMh/rzTzlTyvnCxeZIXBmadkten3apCbaY4yKLMYtn1ICOsz/GhX7P8D5vfH2l0zJ8i3wchY0HsnJRPED8PydIL8O10r0LTaTHpmGDt4NoR+EmKp7SPwzGG6yJTo3v1189azIpDqIPQpKKEH/kxpfippjVuSw+UAextSvbuSDEiNFAii4Pp78lch8GnmDWGAgJYI917wpNBJU+gR4b1rUfJps3R/R1EkD27RKlDHGKPEXDp4sHDOmfI6IuhSeULTQxOmnVbk2xQlSIowZjfFXxaBkX2abh4Ne3155ol/IubxIhXrkyu98kbV4dNu7xBKRyB4nNF+qNn3ANzmADg7baPc27AflARryfW9HusOr8FZz+XwgbKsek4Nv4klo/iI3J8JV27ZMdBCLDZeZM7fjJbUGgNUJRE5uLaV1gqWWj0AQGOzwjT1eWkKMI07rSXS3KP7IGMLxxvPP3JO7c0TeQfq0XLuFieapgSI0A3iUgZ+/kUvS80H3JGT8KEXqh3Bre6UTjmRE5dsRTGAStNcBO/hLPBh9hNAOO51YFfONx1JTEyoSF8m9ArI3Fkih05CvLbxtJ7KEwnrL7QtWjEGlUrkvFBUyBhMGzIiqO0ZCba8IGQNbUVM7Hq2sNRC5MGeCY6gN056EvcBc73L/dYsLLI4+SvblrMfxeS2denTZmkWFVY2QdMKkP6WCmR3cRyU42SLyLeKbOTdNbjtW6gl2QqOMRAgJ5jaz8MjrKXIV7+1P4dRauHttxLKmGN8jRfXWUZWRf1Zah9jAYbShdd6/PuPr2Ea/bTAi9V3/idPPAi/vmC/kBiRe6s0A7EWls6jZqgpNr5T377RMpSPLwNA4j0mwg3sEVZl/1Bv9KcZPNO6KOtgUlXViONdHa8cT1HkNY5WcUczkLhwwn6IiDsCVNoSTGO6cylPefjoADvrg+AACw6DgYTIIjFs2Jpv1JMfA2jVekVeYGhtXhgiyhJt0wOseRr3S5WRqaK/NOPrJm37wMdb2sFBBunl6yvWlXgea3+w7SSa+16zZzu8xNptA72ZPB3D/bh3ZB8tHaIvVVJttTDpbGbLhhEsaKckK0I+aWhx5rIlkbLqt0dI4PlMPOMg6b6n3M+V4Jmy5UYN0/MR/ZVL5S8QwMsw2lQacQTlGvqo2L2GEnmjTWST8yOxMaev/T8mFcEILlbdcmOX0DFbhgYMYBfjmisLefXWyKlm7JPjkk6k9xpUKWEIk8ACWYBJkg9BvEx66M8Bl7rpd0i2Pe4drDyYPq5FTAawtt2ugUbdbEaNlohosVzMmhtsrtZGjbbbgeX/1bJpLqmRPfAymnF34jM7lyyzMfcT83oWpkBJtg6HV4T7K1LVF93GDprswEY2mzDyAbBGZq9SKn+cfSf+WciRBNtPJpQXWkhzY1kjgTzmExB3fllzJRkDxTrCMnH3r7EPx22QMFChAX2pZEQAt9DQ582KD8xhdKwEeq7Uzs8F+DwZIEXd2ughnhj3c4WpPJT9a/eyi91KNfbWNapDWWbwEpoX+Mnle+7DF3kZQrfkZt3NR7AVJpTYLSVeffgcxaI7gjUYcIwQe4BNrEUosE3zGbO5UEw/oF7sJ77mAAHTORycYqq9fNW7O86UUjpgvxS5R0BZnDpotmJFxAJCY/13NOmGbGYDdfoAsdMOEHumoIDvXp2xO159E088ysEpVp0+JdnQx8Q56DPx8sjE9zAlYdFxev9kxDPwIwy+CdZkaEst1+AK71IZ06U0H8AOjboiI84iVkpWUK5jbMirRnS+PKsptcjMzNIR5q1BLxbyFgka7ZqtC8XqKY5S5oN6Kw3ef8c1bL7s5kb4j32b+Z2wMRR53sO0TAIajCu2xY8W/GU+4OjQnJAzbUBY5KbA08g86dR3WuxBB+CYjPE9Ml3I351aIgOhsV1HQgu5Gdc+kAQgIRVQIX8GofKtcoFhImuQ7bZJWx4OJqOnlOa2+x+pwyi17qtg0yBLsLJNFmZVzOXtgUgqW3V0HHgS95ZfF0GgUHoM8qMIpkVerJQ0aKcew0GvSPHUWs9vFoMCC1u964ZTcEKJyBbaynDcIKJFI+NaU74xNXvDOz07iy23NvtOBFVpYW3aQyxADu1M5Uyxx6+CUxNDj2qzrm/mg0JKIrA+yef3GYGdaInYXGG8PUdkCGz2PJa8KKFoW1822MH7TIIDwXLiIqyjtHUCj0IB3Hw2gqLeqSNaUHJGy3kKx0DdHIQUokX52gOlcWSQonP3c3CpsXIvHXdlgYBdAQ96LdLgumwnuurx8Q2gSdbyF2pN8GL8Fz8NnhA+jT+GMKJCIEd/nCIbpxJqD9cOw3kl+EqaAo6HguXilXKFdxfd2BBhxPiI4CZ+u4Zz+3QhCdkA8FU+60ipqNZtQrh2ENJ1XhBDKZNyK3RVYNa29GA5KL87OP2GozCYuJDkLF4YMKNcZTKhtml9v9uqQq37iEkBXmyfZtGgmqtkg1rXu+uxu8Mn7bJ126wCDUQBIsYxg7BQZcz2RPdxS4oekmQ8RrL0maULzAD6HmNiMRtt94QpfjB3Ssg6GVZP08zv4p4VBpxhbXMlDBnAY51UX9oDLjQq6JSWsER4+XbOeO+ucfD0BP8iybbPThWNEkRVbLhgcycH8UmF80bCTV9acEtg5iQmd9v0bdWvEPmKX7XiTw7aYrolvhdtwrAN4tltUEHUJY+L1UAfX/hARXqX30kkGgvb7La+zSWYRcSNPtltG9KqMT7p2JMSWYedPKHeLHnNZXfPruVBiW7QhfTW25SniNTIWTIT/UCQiabfU3Vr1W3MMDP0wPE+caMVhI1x68ex6aPvHK8j6yWdOKdR5SRbqAsCcGJdGt1G6BPjl/vbYFPIctLVwhuUjtyDvuefZgKDBWZT6gszyrMWRfaBqGByWT+OfFvnz1GmyevCZ+40HT33kQLwQp2vd04rkcfvP5ncUxn12ciqROouz+19xAmZ+25Y8OlfHgDQ0InPcNBDPRiAQMst57+cDrE2Fwonrn9iP6yXD1ESt8XYGEwVqicg82eM/+J4z9/GKAZZ/E+kNV5F+VWGyb+3CoHvrePScLU+h1XrqHsa1gko7XzSeujD0C42E+32ZtUVa2m51PXRymV+7km+Xru59pmSeYXIemoeJRinK4jLPqi0jWDqn5yWdS1gPtwEzaGXwhRGfBAXsSekls3wEaMYpwADMytfidUlSyMmwIFnQMcLHstmvqHcjk2azOdhZb5csv66Sdb0DVHqeyUtEpIfuHOt9BCBWWLE2a2QQpu/KLsSg4pj/VrmORbj1D+xJDXaTpsSZgnt/T5zcsQBl81WGANN3WGSXwuX9RKO6Tup3tScimielrnEf1KLKETjRWCkOIJlG85srRgmS89SK3xszR4QS9dAw3S8Nge9KarXuyFEUOTLBmP2wpx52hMLJAq5EebJaLXcSO/04dwztmUIUtSGXnxwwSJsIfE3pmNrq1XbEW0xV8gm/Fx6RLDM82SuVbJcKTXDTJrexVxquNR7HJ4F1No7L8zMn46c1HK9nRt0sA5QP5enqYdbeYWn75MgBXtW10DTxKREUCqE9TQ0XJsYmDhBoEz1L1z7IYpbOi7Ydd0kGS+vJvav7XFBSjjv+vmcS0r1sh2ehkswz0XlW9AFI6wTWJ4EqVEayi1ZGyf7N8CM1Q0sR8Og8ztwo+sWIIZZwn3e9c7jr5neAohub7ngrQRk6gXFXuQxqwvhN8qloRqhfUcaCc9jN/iPdXMuDUZc+vDsmxcIA09Oq/lTVaFh/3ESV+wJDDTkFCwZ9bheSBNYzAVz8rN95019i1r/lddS3K784EMjZqUkJA8UqHEPi1YF4KLrEeXw9gl/jH8mDsYZWcEbf5idtxxHsAyCZDTu066vbZHsqi9rQo+bIN0Cv9rV2wgxHw7zap4KGTxHTJdGvQTPJScIeJclv1LT0ewcLrolEOPehkB5DUS2TSc79rJx8PSUO9iXJkya9OtkjdR0q5nuurA1ZiqB7oFjluILzHqEh2tMnB7Jb/LgP4l1qAyHx2aQmjM9lRQ+zqU42ixfAuuG0djERD3/drnXg2+GmowYqEX109hHimIMtbBj1ZYfspB1SR/OJOeObrm3aUb1uQt2rf6WxvR2qDzT04EJzjF1Vbe5TuWL9mgnUIrXYaFIAu3nh+E7WetAO2kHi2RHVtomz+ZKdff1aZlUXkzSWRRzkbCFR8fufNKfjn9NCPsHlvhyHNHJoDWRjTObidaoj3C10V7HwZhmIRGIp9vjDzw+HVBbMAQeiPpBB6dmXcpSbPc0VoZU7+UWqXgX8Msg8NMs4VzJ/5ofca3ddcbKZlJdRK2o0yOkfLLsQD1ABI/xGAMDkagNt34Go6sfv37wJa+/9Sa2rMkqWMBmP/DUD1vYtMjKc45+dyzoqzMJBNqYrcg4kTOhR+ZVK05LmyEdjvBk1viaIIdRHGo9abUREEF9OY7mOUnlfknIxB4oP3lAmUVE3XtwzwT9f/eIGvMNg4iace56s8AQDo8xksJH6lmURlgHwf6wVg58Y3uzR2HWqNmPrapAJwBN0A8GFmk9Fm/jD9xHpk06ltFLnUYzFCKAafhopRtXx4ENMtEPvZ+qpo4mxh28yYidDh9gu1RqkBlqV8rCxNDNTdLF4okUqbOkYrugbm0sbwiFfJBW7rkUJf745dEF/MdtIq9EUtea4/UJ5EHrHryVzT/dGtXu9hXd9syW0f46UZUZm2QErY5FCvKInGa644zqofson2i5W4K58BZ7AywZQSU5h0yZmiPmBZ3M+MkFn6dIqmHqeliS1iQ+it4n8UmVOmTgaIiyJnYueLbuENbL9MUeU+rdhQfjWk+q09sN+riMs0rdFtSAYWrncbfK0AX3/R8MgGLmGGPGmEoNN5Lp0CsWwkELNZSgrSAPJBGpNkq81UOHBjTjIOlFea1IHU+MoZVayu+MVHKdEhHtbC5PlNgOzsipGiLWinLdOH2/3rJBuFKSxvl0BlvPiXcdu8u4qu0p7cutxpc22saKq1z9dPUgMr2ZnNf7almCa+rgRqClBIL7139EFEsIZmJEgvFsnUyJUWeHAeFhvddROmTW8Dlb1bJhomfn3mUdh2LZpXmmGqg1XCtAXM2NXOuhMpnu2Pboiu7O55NTG5vdNJc3i19EihWCj0SCo64L2Sawy3jwN4v+oLQswIivqAwETtI/LhTkLDCRgiQOhJ5KI3LsOiAHSxC9Xwi15jXsc5w60i9Ug0D2WUls2/cp1a8OJz/ul/vSgjCbsNbRNW2S8z4WfJLrYahAsx79fcWebakV4KKRpOv4JmFRRQWKudp0V8CFL0fmppMg/d1nM/faTWYdTNsMWmL1GKvlQ0jXIneGK+/knsJBRKo96+9L7kMBwRgUve6WmhK47/uOo1kF85g1vnS66xwk5wzkCM2/73n0wtm1y+sCy4n14dpX8V7bs0hyyMj6aXsF5fPL6qN/SyL/PJoBwfeUNYtU2DHErEdt2UE/i1I9wRXG6Ee1w2Wa89rZQECeHx0E75u3jhOKfuXdSJ+22hfeW7AV4s+i5zlhjSQTH+wGUJhzDWZuH855KHd4PUPfbCPbJMIywl5wsG8JVGuVt8aDxPN6+zp4OKfI9Bh0L769zbISiql83Mizev+N3uCIXkFyVhwYEF9Vki9OhVDOmBWZoWqtJLza5Gz68ZKBdONX8PphNFTOmzN1DQewBlWbwezDXvIt23rbqlt8BRCtbT3MV/T8rmj5mPc/9+DHzzPWwkQg2BoWQkd5zMRaoVrzBentxosV8OSxGT33gOJV7JkPSO0wZy5T8Q7IdHa7Aao9mXH/Jom8KXI2Pnap7mo7jbaEFLRbJju9dCdFeVDU/9KVGLQ6HPVCshwiLwjyrvYZKLJgbuDQ9OkPYUqBmNH9Ugb9SCt+8QYCmBl996QQNWkfxPwCtjKPNpu6TvVy8bNExrtlMIPpN6+mvIO4mj8QnqTsoL8SIBLbSwGcddu1Xg5QpQBX7sqZvgulmjdfJ+LD2azZskSA2untkekKaxrqbPne5Az88Mnz/86JxumIgdM7lySy3CMzKLrgKF3zE5pGJvxH9SMPPvcLJAuDtdo/IP0q6Jiz63pH+cVl29Iapkdxx03oLWVuiniaus+U1zyxqaXQ5k93/ReGnanfzbT0QsApx1uZNCHPXjOWcpxco+TrNdTJ5eLtBSzLUMr2sjk/s8D3ajuFC8Lb5I7Wclu3gW3AV2Gt55RnlSLxgzhWhLn7tD3G5oZeC+lg+asaiKRxFBW6jc+D+pUkk+3aKmHhcoPOzz4G/oft5QoCDbmuSUQlgiEXLE2Y+Qt1Lj15sgTv3g9M4Q9TdPB4YBWFmbAadF4LBjurAXuVfVGF2/OG/lPwbKNCRXpdYf+SjdzMp72nyn7j7fNhlFXlEXTMWEpdEcb0ttyvBxF+IYViLL3HnN+yP+wYD8BuDSdLYAZOYhnSAHSfDdgwR/5b99KaW88kqqaMC5wW+R6Qb/S0njga1UBtfGg5/seMeGAcQjCr+pDPLRroMctxhQUga1nxiCmXh+GerYsIP2xag74AJSrh4u0WhEyBA3mGJ9gf9DtHcuf2Qx4VM3Jri2J4oUHKhRAmgrHwux3qVshDG3RPc31VByfDzET5yRtxvTJv0arCOUoHQlxRGnRpZdF3ExpbTQ995kk9mE1hMm5RzVBVL2TsRsIR4/GT4T5usemgNOx1aa+BJwtJHBgNLwSyQIYvBf4dp7FtzhCTra3M06TJ9rvG5q/Mrrj3GwCUtxqzDJiKDMaEczmPxmba3AnHWkAVFkyfBhayKyyKR+QyIZqHCz3t3bbcHAjR83a3+WFOQeFhc/JlngTQTSWjqkLkt7H2hfGcQKAeUgejKgAS5EIOYVkuQeUHfBggqcJzd+sUZkg2tp1+reXFWmGdw4rRpauegdWHAAIQbXC/aU52I9aB9qYbXBKp8w1gcbhu34oWj6lnAW+n259HhfmaDCOndmnIRPn2UUeQC+/8n+82ze+pIJPRSeKtEK8ekJC6IZdry/t8HP31RVi4QUTiglveGUdT75wqFvba2jZkU5coiBBHWVhGOyl36gcnsooG0Toj5MfFrdnEZzj1kj/GF8U5NvLowlDrkhFfkkGSIRA22RxQXS3TSxir8TsQsaTBFeFFebXak/UfBC7EJYPMp1ht4JV8HTA65zYu5LpsOL3yfr6TuqZhgxblN+G0OY9yJudBNZNPfkw0P4yMHAbkbj1xuIlfhKtm2zl2Wek56wPzKiVpKXc53tC+pVbl34x1+Xxtpm6TtZI159S+sllX+qFDbS1clZjbaT3ngpuZLj2Lrn5WZ5EOph15nEeAUILJp0WPZM+nspsVE0hdhVfvftFzbc4yauYGQP/rB9A+9fHNHfSFXHSHDOzSH3/4hFSmx3/YkZ4Z2DLFRe/ryFv1p5CgAlKv4/zZEDIUQNPDHXN0GKZxcK0IQm8IH+ahKUW+5n2/GgCXMWDfy8Kh9nHvoOz37Im3n6I1z7K0fVD+2h7ejdPyR5UMvUzn5+XyJNxVer5qsryzq3dowCWNgP5EtTk0eFmF0DsVidzEZ0Kt2PBooHsFQONa647oj6KZMMOu0/MF5nziKw5lgaNPV4k++UVln6aAdkpzmcFMMezVIXqHaizPemUmIx8SNnFMUDbKE+1JWtDeRIIBNlBTFrI/inBB6/OPzAcZrJig8zu3pZ10Px10QePHcpql0CVvs42AjZI8M2vsxJlxEk89vFRCRAkyxd19/qWDOhuykRcpq6hEjB6+PrLUW/41Dg26BmnUcPCV03hxIl+K04m2huuHrA9K49G8+W1EircLTNmFhKQlWp9/IrPyk5civH+Y9VSuk1B3bdfCNgd1MLRyw3tbEIWEA0FKw8UkfmJEWjnGDJU8/Le0EDOR3COYc/7F0oIlNbITquSXZ9ZPuOfRgdthhaMtUA8vn2TKvpIWcw5/XlvCVsCWqVDQNplmv5Ril699kteuZIe5rEJHKMpdSClbqUSNj01eyZB5AJcAkxcdi9jZU4bFTv+AySDMIYEEvtQqnXVuVlZpiqE8obySt6RlPsmmJ/Dk15xc2rJEeLXURboNpAEkBeyPGigpOhj6LLq/DTedQFy/C87wri+GnhWs8f2z6sZaUTZEFGCcvKbW1ydjBMmK4olP4YVPSqdsEQz+kR/5F7DrjJ5U1O7D+5435msUp2pDkWeT/dcl41vuZgc4MeUZD8JTU2uACo7PN3vmMb3XExeVOySTFunSHauG8wjHnRlgfMxzIXzJREwCeitrRCacyiBHHnYpKyRqygVK+TkCiC32kXOWF8GpSv+Flh1ttyM4ZuVveNtQgvoKXp32F4abGM2m5tYpYj9lYQ5OvRnkC7vZoRtxlrgKz5zk5pev81urd5RySCSrbO2lY1qfZM4esOuQ9u0mEpzEajGjeV7LqVwGAr0+Z2VngUVjiaazPsqFwDrWwo7/FdOfSaDEIYAiXkLnF49hS2iRO7kabVSdDl4h5AkLqQp4mtbL3kUfvGflR1rANdeaq1ydOtDjf6wjsNMdCVul9ECDHKXjVbrAJO1K9eNfEJ0tOKu5HLH6PK6IlRxPw1pxy/58ZYb25lpvPo9R3uzPkn93iu2vhZbMr3RGOC94rZnJDQ5aLyG/n5fRUbusDJD+RqyyhNnOUIdq7ulhry+Fw9+RxMW1sLKTy/6OZQVCf7+4w3UxIjfeFhbQhVmLhdaRqsuCWH1dOj72y51H9yy0snuJ6iiKO/2AX4GTZ8g+P110mbnJBd8J9Tgg+D0OK20uNtTIMqAhjh2vIzAAD2S/Uc+QKYYTKKxzskJF4ed681E0IC++WjAe+uQ901RYe4HHbZAZpubw3rJ9nRr1DTjyLQ7xgZ9v3cIEO8nejXEiSFzsNQUORYx06z0bjFnBXjsuFHJ3UH43o0LcwwuDZZFEhbXfqEQlsIRLFJ3Rs/kiUfj+Z6HiDm628o58j/BhoUnmaYM0bwVvXHJJT5Kx1StUa3HLXJNYP5YUAvb2h/QQn1U4HEu9nPwQUKwdBK5BiAIIwVsgs7ottrV4Vsz+5NwoQk1O+XbdNM4abENHrJx5dzRBuORr3Og4Q/p9ixa7ApuNaRdA9nceC3OeSTnRRvwdSurxoOtpzMRrgZBeLGajoBREiOYyrKywAytDmI0R2VKMi/qmNVMVSPr/lYLIMEybVij5sDy/7UwldPOY6TutPwCe/Ax7MKsMy34fBkAzB5je+1rdDC4AkCxgdSge6RulccVFdtU89EIHdMaL3jSzu+RpDwzLRxCjL0cQFp1P2W2BINip2M+dxSFAj9noXqhV9RZHVtZG9/IeiELcKZc09Lg/aOmkI7o2gD1/giLV8m5XS52HZr/h00/TczqxnHaT4ePvghFZQQhARcxsM9WeI0AHwpdYqz3cIaes9g2PRJDKW/NT6+LWlWWYERNb3rbJrqgGCeipy5UOGL5i7zv4uYniyaj5HeeVHwioym/ok22yMjMQFwueVaWFAkChKTUnBRBjT4eHbwra9hA7m4YNmaFLTB/753yjpZd+EPAHPeHySipvXdbTqbz7sb3KlqCsynH3Vulke9ZTGKQxRjM/0KqeEI9Nk8uiB/JJPeTywjwSW5cjAC2AAdAPekiOhno8yYq+aHxYtWj2WNhPuoEAPKabFWgPYy1W6TVF6YPeg6O8C8Xdvzk0Tnz8B+ZLhE5H+gnGnd3w/qX5+SvBGrvP5dO8CHzDNoYpHzCDTfPmOxZdJ/zSgPMnRS/9zDvG1N3giTrAYqkg4UYAerErsqt7WTJOsdM5mjvZlo1lakTjAiR1oWLRp++xTfDJKRy8wiqITG+2fs4fWOxJkpmQyXXnnhakc2HxinYlWf7Zb1WxEjG+PqwI8QlnRbGqoEHXm6wwJuhg7iIK2jpC1+NlwzLgBO30lj96ssjGqRVrUvLGM1UK3m2jfsprgzT49OTZVG/aGuO/i0otDtskEoev2Ijxa1qTEz32rJiJ+3ndZJi2LjGM//KUvBhsKPAgCttVWEM3hPLNe6E52SqLKHhTIATaza1aPmknn3Y1G0dx0DfY+kn/qUNBgoSzrJdDLc5EmNWG7bC06fTdSJU2+4896EGrvFL9KaXr0zpji9pGMmpxlxjWbUjz0iIdhPqotdhglpMFc9alREWfLPsqZXLNhcOb/iy/kijJQxOfAQJwd3rSqLVl0Erdh03xu9/QdIGqvZhLAR+s1d8kj6cZxG3egNVasqXcegEQU7+KzooaoTK8bgqdejugl47PUYHkEOq1F6CU75WRpSm6vYfvx9qJoiu24csJnQ4+gBy9XaXdNdPKPe0uNzVRPxSJgIFFNbcjHZJ9DSfIqmTo3ssGo8dwmWIlobwrvM6k0P7g3AB6EPwHepPIgOpjeHy/M7ud7lFzUVaI1EesrKOkLaKsWTAqIKSGrZe68f6OlFf4iC36/yIRbPg6lqVOqIuYqd5gx1Pw2iaRu3A7KHS7tLMSTQYWh4vpbiBwHbL6in3gdO/YsZbF1H16+VNQLoHEySTrSAdqgJiD0GVmiZThlOAUtSOCoJGIAGXZTA6LRx2q2fZQ6eULJnLvRTEmxp/EmX0qgS1g9qKPtzBORF2WK12B1piR1ZSw5/OSRUcMJ7Vwj/IYcWwn7ViFYrmf7WTvf0i7v+SvSmzJkqAuJjwO8V0zDBsdkfrw4+kXXob44e+kN2adOpi0nxM7tK6QHId8iKOwsECulP4Q0a9ZgjQUXcXUn4pf75z6kIVmsgJU+2obwfVtNv4dv9bRsQun+SfnavFNF8BDqkEOfhm79l7o1DbuzPv924T7cb6GC7Oa/lTKWI2U5CRoq3DDBZCg9HyyMWAD+paKtiyFZ6oJPb861DeaY9MyIfV+g2ksH12UreThvt42yrtZ8FaJRvyJuyibKIKQm5l5ePhcCzvuIM/q2woyVWTZKDR6TXkQR9dBj4wZLdCFuvYgeoInxGW345fK9O23vqffTMZjHRHmJj05o/PX0orpT/GHnVXaQWoeT9mGyl/FlPrMzUWWs97wbWgBInREjahxU2ANX7uZXxoDub9GMxaLhJlsqMNNDram5Zpr/7tX5WZUoEDcWMgAwxGMs0GNUACoztKOnpW+fW1izLUXaVUilnujjFt6NBdwZkwP2fdOITkR+hnmxH1eaF7kR4c6yarWZxgfqNBN0B3RiXm6EghO4UpbmXdP12Mpuae5IdoDr8A77ImK7oXb2x/CXZCPGUHk5ckMB25SeyOsIKSc6ax3m6wW+66nIY06T+npXpqcMLOSLbf8JZmnyv04gOi4J/dEEnGV81VFuZAp7+InBLu0QsQ6ze1rDnbEMRLCMC6tHCGkxyB5AcLe7jc6dXo0+A8I/hFsiMH/QewYcunmBQwlpgJqt9WPm2xOtJuUmh3POF386sla9otefmCOrAcIVT3ggDRuIcxLdRwLeBgvxQqfYKEpOgZjRxxzeMiqckB60nCJeqrjc1kF4QqA8njzykIS9rwxJq5ecxRyZNutTSxGTFgrU0MuiZBQwtKqOvXrzjaTdkESErSXdJ1QwG+6aBfgBGTpPNcFWjpWMLJEFyK6T7AWBJTnLGmRMhCK9zBrBM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MEKKOCHARTIMAGE" val="FILL"/>
  <p:tag name="MEKKO" val="MekkoChart"/>
  <p:tag name="MEKKOSAVED" val="1"/>
  <p:tag name="MEKKOEXCEL6" val="False"/>
  <p:tag name="MEKKOEXCEL7" val="False"/>
  <p:tag name="MEKKOEXCEL8" val="False"/>
  <p:tag name="MEKKOXMLTAGS" val="1"/>
  <p:tag name="MEKKOXML1" val="4HooU0THZk28POP9trq+pbTvvzd/gcV8t56cq85kb3NDTsUhojRA0EsgEHHMH7oYP1SYpn09ysXVivguJdhTvfyVMsBLTGvcX7WPTor/CmWiWcfk2RmY+GE6Q6T90sFUr0lg9IPP9y8umrse/9AoLT5R0GKq+XM9pr/aTyOTf0wptcuHbHxeyqBm9svU01qeeEM1v0hpSHUgirOnAK/wunDqnRi2rF3dC7/3vzSMoeWc7pCKX0F+d942NXGsvNxutEpLBc34F4BrTQ6G4zsIKosRoVu5KBV8s3E2/qe92MZOYboHlILOFcCwXXd4tUBO+XvZWVvUsSf20rFz2ZwFhnL1v6+F2N/kwfngH0FerW2FTqrghRmJH/APqPnHHLVvaopGdW34KJBfVpXQ4nWghHyk+9PM6YDE6Ox3x9Q8dUs1wsarYsjIKqmEMcnBQ2Iro5rTk6F/qCWrGK464VufoxPE4+dX+4rMzoXixGvThjcSVBwQcrGbGwNg21gDG8XzAWh2Gs2a4+XEd0FTv/1mbW2HPYJRix4rlkNsmRBHoQZY5SPzS6T/pnUhAo9JM9Zy1WNHnj7m5MbLodviXR+zfgM6MtzeFOAZTUv/4DraTUx9AurL/IwNliPR/TEEgjSfccyneHQCowhUsuXpLXzLuKUhQGKq675F5MTgWyoc+970V69LxRO8bcDA1+4Sgro9EpBpj+6zjajW5ciEmhnzoyTpwaz5bWqxWpxnnakwvjt1GuFcVkpApKlM9/bFQRSwbOnmdWBGj94BiXnr+Grlu29WoO+NQxl+ioWsmzVA7pUQmYoLzCTOgmceXyTFpPhrxu7YEfrhJKR9Z2+5UJNpKKFfuT+u5fcSFZKlags5547L6dw1++at2B4/6EE2borQtX14PoOOXDcs/9t8W+WlYRQjGzTen2+WL8rYbjScbz2lFMH8tuiOPRtJtt5zaBhbFW7U8orC3obBLDviYRMDHu0yg0iEJki5Le8EevoEAAQDM8vhVjDBVX1NlA19sSEAE91Rdt8So8m5ZW76++QAQh1MeBaCXV/SP4Oh5x/795L4Yva/YPTWcUYemgs7v0GFZWwHTt/1zC3LxzT48SD86Zp3sXY45Hi/fnglL7NmqvdzqDMAf3N0ylPkzPAHrjVEPo9hyVriGeb+TtTAgG5VzU41LNNaakTSY7RTROrfIZKSeflqTdPuYvxjkb3XnNwp5s86qDAgFPRbXCZtrOg4caAkv/ZaetI7k7Xj9dtw0o/dtxAW7IOP/vaxdDSa24wAAZat4CO7/PrVPT1O1FyzYGV7/ldZtTEgUxgUpZJZJwXFZHLXJ4Wrs39p3sRF9dL1goe7zlPtIbVgAtJSIIHhkvBiMbcRnphr4CHdoVMAyVrRqHH84oJlYCL7Bqe+aJI0xfbVjavg+OLRsdc9lLGtCdLpfzdMPH6Ahpf4CE1i3ucN35YUyVAjfb8HSgeSjtms1a6m0f03ZOO9xDrgh7dIK8KRzAIWyaSoEyItAT0OztQZz3wqrgCK5bEurVmZ3iv7ilcRTRONrbp+XfKa9fuUP9Wd4Uv9rY3t+rgOBCUCTdKTTdomgLuGmCyaMtje4oAKnp2StXsIB+ag7iHB54TgDCqciyzAj88zY0ZzZpbqtbiojrOn9lDzVkZKPD5SIgHsNjeCMYZMCRlZvr8Xa7FycTby6bdAhoUiiWewaPhcp+Osq9r8YgFovHIqGra5wjmkA7OUPtuQM+HXXTWFe+0pqvd5L/iSUJaVwZc75c1L63FnaZgjCpwVYPlnJ9ukwYHrO53iMgq+InOVU9aTQ43pMDqBMnoIL+UbDBnXxBz8ibPcqx0GK+f82Aq1g6P8bxlPb1hcUfHzrBmY5m/D6mUBYoKpMhCPNuBrJDj5f0pCtZXd68IzmiDBPaj74cEu7hwpaVQMxsLeEegEJ3yYu78Uha27xPp5yh1NMYXsPy5yqOhmrnOXBwns6YoegJrVdBDwjn0crXWIoH8f6CWfrzILEfD3k5YpOvk8b5g4x8NFAfa3vK1cMZXQn3gCSqTFxzd2yst0xX0Lm4pBvIYMeSWvL8qKrkVynigRXz62zya2EC/rpHTryDc/gUHPOfkg3rFsC38ydbm1OmQn2nM7PYOjuvziUpE5i1TtzG5Pj36kG4qJ4w5ZkjH47h4LYniOW3m1CORYGR+CsHPVa/wT+N+snhUkl6XSSjijiJx6q29HrekY+GvA5GaMn1jvM29hM1exefhnqelojeiwgbEbYi2D46jVUQk7CkShgZLG+UZjCFXK15R6tMC7BLzujIgcLuyiHmYb3in+SBJ+8cY9v0wApJxhh5tggX9dk5fjv0takDKrVb70iw+ctY7Cw+4e/k1DsudTKykaLBMiJqtGGdIQLnSVCr7WgbgYGvu/2ro8wxX5Fz1pJADpjuSGDzyQOBI5TQoY4TP/zrHymAb2XUNtOdGw3vsniwi+3/HAwD5N9NUntivAzW+qWiedV/JFT3sZIqpZLxaAj93seaJg038QkO2F7x+Lnfly/c5AvYHvxutt+ER+b1NjQ1CvzUuM5jVMHh758Zrq2zwVCqBYN/ox3FrG6LRvXHmC5mhA+yfBp3EltM7t7uWiqtTPDFWdUj2Mo04jDsOAspMq3PG/eUyi1hklCQRpHRT7ni8SNeIndNuWOnO//a66h5CUU6BhDm58FoAFu2zUt5BLoh8L5FotuBvYoWqmgsSvP6v/2VgKOys1uM2P8vxsMUE272m938OrEqKDZqcw8XL+U/Hse+MPK1TV/L5YkiJOQUKZt057QveUWJVSLnnYGZb524TI7EOgLkOj1aIzJ0lPMhIfVmrZydorfsYeN0nLG57fJl0KYP2gdAM/DRpsNHyApieEezcJHPmZ1nNNsk91BuIZ/Rt1Jc4vvTFl6ZxhIQyW2bP12n0wrewCxjYBeVRoNXFYtX6H9ByLqs7H1BVFv66aSer1VkjlLj6yNy1CS5i+2ZJgxHqjzJwUOHe047vQXRcyyF2NEXgoSsZjnyBqiwc5ujaYdRQ6mZ5EbdEJ6zVjg1tuzcceAKIjPdLTQ+K0t5b+na5dmdojoM1c3R2l8V44QeQx4D9TkC4EbF36klWCufWkWsZAkEwqOxOtt5Fyy3Gv+LdUaW1TqafcpPA49mdB+iaOHt5R7cb/9KaSzRi2MIyndbpVD4E36/uvI636P3tI1PXFrXHBaxqtj/WxKgemYbLTLHNrPhw0Z0PXqK7U640CDjSNH4tKLox2yYNibevRSjIr6Lo54a+10WZlQ1SOsvvnsvaohYxusB10Z8rxf0aHR1q7uecZklC0g9Uzo6P/8Vn/Ov+RVp+QeFya/w3xBl5TCw5qyQ0kPceK6FfETMVsA9RYrkgWNPv3n9XJfIvlV4uyr27Zl7Nwr2qfx/1WFQfkBv/TVALe6/ybDdD4fnfxManIrTqZVt0zg4e0eHpKrEa2sQ2gAupC/pBynYjAo3A0/30Hkg9r1TavfJDfEYJ7JTAfqgmRCSDuHbdPrxzRuaheEwPSclTWrFbuw9+1zAiBLBfgIxE3oLyZ96qESYGCzjsIwkuySRq+ZPGjcN1acEXeumHs5xjmZjrakDsnoavMqp1XnGObDSZNW2RsZHfWHibdxwkKYrjslmhRWXancfXFB2Oc/np5iqpiEXz6ulv7d/ZoGlLMC9NVMVvNeM3exjta/QL/2xDMyLciNxiFvpb//nyWvILUS4NssGd0UTZfT7Pv/Rj3oQbsJ1snoheOKQF0dH3zAbXta+3KOdLMI513i2tMKwJpDVe2mQ6/h0Py4gj9EnliSvAz2FgB3ygcQSyAf9dUjLIWpyBALtRFgxx5yEuo1NKEcveoCsT4RufxAYyrjkkXiUnWzJbOSyA33+CzoqDlPiONHdLLoyoDhiHJTEbpZoHjF3a2ExZIJNLxQP47jLKKv8hZYs0KCnEfCz5fnF3hawUoAvz40NaCFltOTMuEdNWRhVWwB6c4AWdUAJzS77PaSsa7ZCFEy2IuX1jWkI6iv8FbGH74gV2MSLVtWIYq1RBLHHcl22wUdHRbbApXOfHfHYwIiCcEFRj1HeXFxGXivY9jprUkwpfK6+Qu9ZQyT8EBkVISrFRzkxeWMBHCwMeZvbpPvt8+wpGB3jiOvWDSiJRzSOWYRlaBsexUdhdSSLAYnK4VDDxJLGN+fp/txxWLaCRwQKB5nJPG1MqY+6JQ35qt6t5cRjnf7lNLJ2mFDKJANyxpKvD1FLBNRCQg9z6FEu+8PSyBmS5hKzzKqS0t8P1xzgNmHL8hjlchfWGYBQYJdpAHd5SmRvVhF8jBHD7ChLmHo8Mrgsv2CtLduCiZqJ/Mwk/G4BNZFHP+OyvgvMTnmzFUfZoCUwvNjVxuEfJ/u2vxOhwHmvZVQIYE26hWNvH1llV5+6HPaPDspxvCuluR1wZZHbi8QqyQuFy3Ax9LHiBbuEKQ/O6hgcnI8QqI5efgvziMRnRIfnof0DSgkvC3VjdRWvm5AINVqJ4a18YdU171q/zu7ENXJRzzoXbzxisrU+T16lvsPtYg2YnxPHwG94jbg8CfGxpaD3ibWUf7uIEKkFsdp12Z64UBEm9EZTLPE0EoVsn1MJ3LNLVP44EABsLwGIZ0g/KplywLJZSfzJ3wmaM/azB9r/VqhMQgOK6WTRpsn0qlw+VrBYFOZ9tkZlWw428Wy2RlLpQPYZtnQr1e+V62NOddg0XSv5C7Iy7hgVX7GDKBftiWf9n784cALWfLlU1VNQxSf7qqxk3pv9aH/yu2qycytC5bn348u1zLQHjLAuH1EWQ8amWfoit/qR8qDgcCqFvREMzqrXyBfhadhuxKqR/Xdw2GmCv7p97vlF06iuoVOq31me3UrnNJXquoZlfQJceNNqQGH2e6y9rX0SR2xuLKcHJoMPLJSySlRiMrSa+GTBLdaZegxYMsUGBuK46wZ6b84j/YDanvu0QFSH86gfa9yZdIb8ij7aKbb/7PJT5/aUqcFfCcezlNZqQpuE3bJOK6yxfX9lNQYSukhLV41s7Fe/EbGFcK6nWMujaCD00XhBOxjMa9KfTqtNDqNldHM7deoOZI/lq34eP410oY6pav6gfZ1RrOzV7vyrOvET9Aoj+mbk+xSkgAaecvR1rY0pl/18i8kXJAhv9AUtcNag5tQ8E4zlU46DbCWGojnRXSLjCtTYUunzYTtNsH/ulWhtRCW5U6Uuh9GswVt7CyuPChyPfuA5NnFVHBIM4NUzuXjsVje7Whz6Dx2/UEMngBC7/oD3WvjT/ugdtJC/3qU0Q6SdWIc7eiWMbTXU+FJtJ9lDlf6DDEbBqEbo/bAueMbVxzJPBCMdMFdXMrH+dNS5REsa7v3H2vQWTyJD9Tkx1NC8ZVUkZkvBwhauGIzxm48u6M2dwqSVLj9FshknsYx1tvM6vonizEW2Sl3R8CplH4CouGC86AThOANlBUUbeUkIgiRy4czJZ5yxupLdqsiiKLyicyHaHe2bPwiUOS2XjmyTTS2aF4KegtfJq5ziJNFw9nBFB0qjfDpgnzi1W1GoQ24Qr6GIClqU5ptcuMeubLhYHibIlEK/DhV1X9Y0s7c7HHgcu5doNeM+Keo6fW4PxVC8m3UL2FFlWYxSqrHoefgDaBxznBCvH25+ynGKztf3AD3EtomYNAr+1/ueetCaEmVFSdWlbRv2EgkcIHAjLH+uaBoDTUoafXnamC06MBy8Gw7SGkdjQfGZp79VsY5Lri0o1t7qSbw7P6Ts9OyX3Nk61TpjjI6a42QOI4oTTI5ojjdb9yKfm7Uso6IhiD8m3C7hqIX/18Pbl7KL41KCdDWSf/Xs+6XulTM6vp9UTO1/rMgSC4z25AzTwXRhibKc2xzWqimnWvCw59krDoc/oaoaP05RHdYcVj32OJ4vyojZgp3lBqM5+cFcYWToboy7wJWFvsUURyDn1F3XvCym8ndYFvojgP+UZfXdGuA3Oeui7uldWvjWG1qIueQMTlGUfHW04OA67TFQutdxlY2Clx4QnI5TSQOz4uwxPxB5ozIB/6SSgp1zGEesMaZ93VniDOQ9PG7wRUzICtuWqFzT10cDDsvDQLV8sSEejYwFGHoC4EuOW2SNEHXep/67ble4TbjQ97Y6yMBR1U6wSIpxOU32gmHI2DIFN7tKXoQGIoll2ui8ZJhoWZJYBkS3QIEGQaZOIRYvxV8aaotWWf3/n3z5/pO3NLOq89iopsbwraY2e4fLWVX2q42h6wMayOoTkjcZl7HE5t3w5lbyF38pnS4c2zRK5yfR7jqfDwfFqXX8qdBHpTic5NSf1Af07B/rYaaz08myMlSUnYOSTM3fwBYCaLRLY+v5ENFW06I6NLY0FSDDvhTzeqERlqjja80LLwj78fDwaS4bW7LnmZtgKeAjsBqZguplrmIKdOcRYhYCaH8RCO2NidaKINP8GgkX0FSpTbI3En7ZI4qTmRtu4zRq0JrK7yWLSGo/yCw/YAFQo6qoljkS5feT1txKOk6VUtOtbr8hLk8erZr5JHXllBfXVXrAtpTDZfAsYjF8dwgoM3H1I9dfMHPVZPAeUAw6eNKkflpV0RmNMN0JJ8/h6mnsnPmNYXIr22+RgMr3LgXLpgpPhtpm96arPoewF9q7xJetn47t99abdRx04qkmYLHsbw4d7v+u6SuNL8vtYg0WT4jgVwX6EFosjZC/yKIyElEmnjcN+rNwGwKyaI2wvyx+GXtGhdz65ltgCTACeQ1YuyvRPExuo6QqSWYvQI5xG/00Fc2KB87TVvz0EiZeFtsQgkaBpVkeT91+dk6v6RfSaajmDXdjIk8w3SjQwfNB+/qv9FlgZ/YQURogt4cfVGj5AcOx7Xcz1nYHIEtfQecNU8x2AdOBGsyPwzLmJEKy985Y4RiwHPl1hDZFoQ/Cg5U9cmRhyk4Kekv4vr+BWQ/D+JRKjgW5HnghRYVVZeaZmHyZXQAwQudvL/CAhtz8wk0PaUn7HpPrDB87Wv5Jz6mkpUxzcmqJv+/h0zRV/sMdotsXCkNUTXVrd07+OFVyzpZIhIxLkjCEyQqyuUHETdzHDGUVxrzwG37WxzOp4FXEwX6UekWPXHiQGZ+Reb50pxh+TTg1tFeON1heTf6KGIoGeXL0OF0Fyt/CIm79xocHMO18uYfD3AubHNtw9GkI2Y7z0pRXdGiNxsTYSAvCdAxXmvG5bhYlNwDJmTjSGTKUopOGzgtr3fcD1Ia9s2Ef+i6WLVdD7VjNTSZex6DiFafBxPdaTnQ4qMg1vQdYmZhnyPIxhvXZguCfejQVin5Lq1PxoJVlV3EFUzQdkxJMZCFa2cqnXg6shD4aSifgj2L6vWBr6ixRSF/pzImjo1Ze2jFF/rW8qJ7fIIXf+ydZxLu5eXuXcq5V7PMblKPjInvoJ8nbtuEzr8ftQYuaLFX2eKxud9tE1f5e9R3Z/cFsGaL6Z5iN1uS8t771vk/ohwLvwM7HP65xJ6cExTLqJhZzTkru4o5U0xXiB/DHvdWO4ogepbT1YbmrwUn/W6BmoyomnIHsp3RIA2aHB20W6h20F3XbYo47hepsJDTqvxz1ufWuBPoAac3G51+L9G5IPCCowu/ZZwaDYjzoDdKn2hnMP2QdF5YLkCG7+K81ttTxV5lZAKGHZ70LBEA4t5Y4wIyCpdk1Fy2nq91KNXHyOE6X7IAta78NYAhDnnodvisA90pZKX69lUnuJTOm55+Z/ZYXfM/G5ROqVsa7l5wzn3a9Iw23JX8e7rw7hV2Ce419z04DE2qS6nkMD/kZRn6RfgwQ2gYmOwNyAMKBI4CFreRXTmJwN58fLMCkZudG+jreWpBylGwrSrHoFPCvFkE9IstCs2Siz5OURmRvV9IzKPjHHGFP35OAxaisRzI/xeMOsJrJFxyOLjwT5MBZIS7qPHHhyikn+8Rkblc7rmOzXTA5WoGeS2rQN17lcQHKyBqEV3jKDPtOePgG4rfRSySUiStNP+1R3uXdk+PXZifPnUHF7SRa3vE8FYXC9gu/f6vbHxRSCFkMvVh8ooHvTkVQimJBwQYRYBw7R6NBK6Xyy6XijjckHyO6pUCV9wSkD55JAhxpVbuEbDxwlMASWAMc7ShHh0TtLoi1XoDPDYbXARDuPpZ9I5hS+Lj58aKnNE/S4CO6rk/FGc49jxOfAxrMzU0f7kT5/kKy+l9U7+j9lp8SElCMOkX2IBiY7vMObLlSpQGmkomgtRO5Grc6M3lw6fQJfOSCSMJmkFIBiGrwNb9bdzcMmoD4M7xyxByZUK9pMrrdo/UYaflD2i5CqEqjGHPwwqoeQJoTL9fgycQgHFy0Icqv8Si7G0VfzSsfMQWcYDrHU81wfEUFYr/P0sBt4A5n8yejFOkKVjHN4pq5OMuHJy9zPkvTzTQV5PyV5UCto43CfWSgXilWPbxPPjsjpqTjoCb24ygryXS9sAGMi91wpbJ2EPXgWRGybsqUZEJ/MRvdqNuRgklIE0xTeP57RQ7sV7cY1XuMcLQwqQV/6OtiX2/3riyJ68cR1oMUqREsvtqyXxTgEoV5RosTJZ51o4DxS7glkU2+GlmvDZ+o911unLihH5tyKJCfHTDz9xoync/iclxX+WIzpZxhBtrSAyXFZrRzMLz4LUXV2LsHsCsNnmsav+ZoSYfo2YuI8q6EOcXFxaeQvrRTt5J5PYyhm+Zcv+9wqiJDvPlOnPiMGvbfADie2kfRBEKJrSQu4mZ8S1gGHmv6dRcqXz7cwzZ5uceV5S5Rb3+RYUW24lflX/2jczlH0HYC9lAflTc1j87N/9A5qXIXJRjdMTimco3/XJwCktx0X7ADB4hfIXQ+x4eU1mAQhMW2/4MIUPCm426GC5/RTO0l/hkyIRzz5iZIL+rMbHRstB6gBmp2Zm0rA8M7JHIETygBuKXt+q1V/JbUlWw5JN8FxHXbN0/8F4XfTkkP6k0CJ+0FDSfQJi1DmKRN4+xn6iENnot1/ZAqzIW3gVZn+oCnT1zRPnRdZtJl4SIH98EL000d214Uh9kANXA+DGYUk/kC2MhZw9RtdEw6T7aSAQJFGIBrENBH3hkC02FpEtR4R4RbVjoQrr/T5Sxra6ndfyKGvDLutxRkcYrY1lBV8RqeBj0HVAs7y6ae4N8rRt3AdQqm/u7WHC1u0pESoOK0bxToEyVN3vkw472uPMPltxXmQbOX1dbdDqGL9navsDshdMJwsak3N2LQdJUe7VMlpTCdsAMOWbaHN2fW9Zsc5AmL/Pi475uBo8vCNkaTNXF7UNEiCRJSIgGR5YcUqJyrPX6c/VfuaCsAGAtgG9imLQL36W6mVWtjYO3WddlM0KwCsAXwHAdMhVqSe41kBLu6JHkWkh/3MgoxB4QMGl1w1o3/TFwvDoox6qaKdTYA/pwW14P4bqwpE0F2fh2o0SoJslQ8TWKn+4DfcF8vraFhPO3Ch35xgmeAWVyb3ehLXPEYPfo6ts2NJFv9cQt9dTLFH9A9wtazam09kkF2J57PTWQiJS5y+DXV4aZ+1khLjcXtsEGg0z7j595Rdat5TI0Ii6ajvZdvN9KYcd+nG0Okc2luE4D5IAOh6aJn2fS6Gn4a3vQl7j7z9s8dqGQOo8uUsV+1sUXAUTSmBqeJkA94A3gtEtqBj2Q0ncQXc5kqVKUOCZqxAKQUkVOp4Xk7ctLfgjqOBAnOweB10xQVuJ1ysqTv2ObGLhbRJbdrJ3e5JG7rtnFubzO861BnmndUkKX3U/Dv+pYkgfzK2gmidcyI5kSrQqq1fIJJeVVtfh6IZDVCU4bCHTi8dqaC4N9nPp0Dw2QFvq92xX18XN8jOxrOSu1R0jFyWTi+mNNWg8LOVSwjyq16MyTAEFm9Oe1mRKtnsmSR0UH+ZAZLeygFOUBIFkuD9GZBpoIPAOwr0cTWzRznodAEleFrvrIK8p8rto/h6470JWDXGnIGdlJDxSlNZRwFFdykiaYwwx2xl5SvSxFOGbLE69xrZ/yPZwbudYUqDLMo52VdfE5uiTuKrHRjKIAryK8mY+hoUmrC9/qUWoVvdqkBZFd+7q4cTJ6zfmLbTmhm5kHMXxLd29j+jduF0o/4dDoFlORqTrUXcWVKq4yacMM0rE6Nsr/Z6yVKTrD4F/k1a7I+RMRF1jpOLXsffw5GkmNLWewL9AFjEJu2Cy+jSVKBL+xcbCtWwpDYhIXrWeX8GcDvWhP9mWxaqSqMXATtGT0yVz1/Bwoa1r8N1bi8GRs7Kewf+5TaQ7mJkZf9VCURwRyEQ5GIX9f6w1V+llTNZgrF5/wUYbA6T2PJ/lNGiHjiieofU5orsA4FJt/54HRbsY03qPZxPthMyWp3tlu/7EHteMHyPuRsjBvAaJVLG8Vos+4IoKKrYO9dMz1tDyeAO4xVlld62jtD4dV4JbzKBGUU3ZAQaAVE2nLVpwrgUcr+k1HuobX+DpFYlsxCpyaimRheNpB2EBmqBPAgPncLCnWPG92SXbwJtD+XpE2jNA3EPxCXRiWQvHfF66myRLExMPQT50yAtjxRsZSM3ELXGT+PI6o39zmgxKORGoWci6Dy8AxrfS12EeNLErLJ1lskJ87EdSNEEgiHoXhDzS1khmOmLQaVz4XG4ApwJ55WJ5kq1jxuMaKyjsonzuOz1iqJcvAJYVtcDcxfmDA3+KQUqyxixz36UbwX8KpJpOrcby1x8mxRUVlDZN29Jk6jJ8t60g2jG3vj+y0qkTpCNr4yTwrmHpi0Rv1T8KbkHNDeix2dQCL4DgRNsvA1TgjmZLPV01xEwlPmoK6TCp6612D44cRkUSzZ6NPefL3dgHo7zbdDk5ZHdHFOwAjOTG1fyt/2dP5Ehqu8+DD/E6cV4JuhfeJlsFWxw1ytrzwGHyUWaq9IybB3mIfMZMXrLZowEFWw1El5SvumNSmjKgq2Zdw/I79TNgnHfSj72NrOAV7EvS4m38Lu6rgbyhiDsssShIBlOxm7Q0f2484P469HPfFLJruYX8U9ZEzbxywG0kecwzjYjW+aWrro8d/sowuOqQSeO/R3nOjQYaT4Yn/73iSceTI0hvk+l/uACiH1cvyQFni9OExhDHCOH2Ojo/IujE6vwd55c2xKdPe6Y059FwJ9Arr8zP2UvdOn4dz7/xgT6O1JxmqvZ5mJ/DfE6g5ruluMEOhojm9YPev1qyGsRQHGcLc/nTDQoFjn4vAL4Z/Iy/TmEC5/uQzqlKXqanTg019qni+3bfIguyxgEP7Te1Ah4idgdr74SezjdvAKRo0bzF7K1dBxc+M+VzA6W9Yj3FlJaVUGQ17uyH7NfT6k052JxZM4iQzo0vPzyNGjPadfddxVHIj7s+ka6hdP2matktvigL6KsgXvMZP1gLyigznz3UvChqcw8OoYHYqb4bhOZJc6TugoFahXzLF/VUqIX3Ju1wuzJGD1XXdhkEjHz1KGNCPRFakhy6xas8UihwpMgt94GNg5K04j3MLMxv7p79azkEUNLp0lTmRjve4zzvF5+zUpSTr0CWSoyWHuazQZMGXCbDAbawjKTsfsKoR1RWKpzPrWh+fBgfDmptikfiWAgPgz+jKPtUaayDAgxEdGZQ1CJI7gwMlpcPMK5NVt2+r1gnRtHaAGGqaim+a7fGiT+CC101M8XkyW5MkuU0uno8+O9+mgh346e3ueJMQDaPLFHSvMbsRFYRIYRtDN8e1eJKmpYYOBJfWeEc/ceobmrrk/T4FVXgB4aExp/HhRANqQcfLOiZgCchmvaCQX73UqUfXrHqx3j3syxL5A+EfwNnUjIggWW8/4a2jcovz5JzRTMIC1DC4YR2lPHX2DkNc3edaXgriRY9jwFzhSgW2k0CdJskyXwKl+xfMulJqiQQ7LhPoau3pUzaMAXBbOlLSY/mZecnOdCfTJMRrbbFpgbb4OwXZtLA7eb+/YbrbaX4W95vlqjvTZNEzf1BtZ5NF6ad38Pw9+fvIOGaUgq3SlURNOlZvSJ+J/iWnMEDlXyI22R+2MwnblPBsw3yFuyFeTP47rKSKkyp0JeNxYtTuhyMEfBIlLtBt8zOURuvqoWQNFOl1+Rv8kSdIE/HGN5EKp+gHZok3K0taC1kfb5nOfv1c67WwBmlLwAJGYHLwki4A6rWjr9GqlvWRtUVLDfZrBh3wDScpAOZL61mKQ9CGNaYu+g/Nvfhn9d72l2yatePV0SWQgAoMMvX02Dp1XTAC7MgrZKchFZ3ZkroQDX8vns+fq0fGIJ751csaOTt1UMqXHg5FbSsI8KMBZk87BrcNt72TiJawOOk0wkM/JNBVN4AUMaQIbxSfhUs2N5L4XU5FiFYNR/lb4ImU2kHTtAxbiUCvrZtUXi/PNYbZDX1cccvZadQTS//hPTMTDENvV65JSudEjneb7hQmKmICwzqf8HonETDZJ2492fXTDIZbaDyniIzReGItDjdxfDssohD/RYIloG+UGpTgeNz4xddHie8OHf0WnnhKb7o7x5nRCkwl25LJoM0E2FHdNt6I4YVE94Ze+Y0mcO/qJjNp4UiWMWZKo560TPncfYb5g56LL8kaf3uA+DX7LgOvAUhDsIOrfEeggjJiT1VzTfduvV7GXAC+B7RVesm5bKxPZFDiSJpyTsRyyMhhWWYnLv7QIl9VMGaf2G6Hn3J9V7bEWOJivhBC+w+K99YkxEPuhz7wElRgEJIOdggh20RsVQlnQgF8rRzNV0fA6tOf1OljqkzEgWbku/EJahsbMe6LOVWfjdw1Tnc3x+YXLwhCXWULe51i0Kc2znmsKR1+4ilaJ22mTDVDo+KCi9TRcM/U+52lIZYxzN4gMuCa5roR0QNWZMaVruk+yqInzmVPmjTOqrZwwiA11ytdPDLv8x1JFi70QbSQ5Pz9KHAOnnHO5dUVh3Lx9OvxPy4xOkdHMcMKSimiSxh2i2Vx4+df+LEdkOn4iKEkzZq1HT3NT6sEcuee/9O2Hd7asntoTV4OtQ9O1DtRclLSx31NbgzcTPkLWjtZiyTRdCAMiY0TpOXR6S+XaQ2fokrkG4H5jeh4QMsgc4ly3ciT83g8u1CKayMgyhkUXiR+YYb7YdQfLEmmc/tB88RV/ysVzTMLoCi4UNZ9FFrLfDGDdTW10DZmSpacQhue/zPK4XmR9xh9rNYgQjSCxsFEUKqnVbgPngRrQg9pGDlxPVYGr2tto+AETEoJ5PHg54a4Vcd3bd73C7vOKbFhF/VgINfwbV0uBmk4M4R1FyApD5Q07UGTLTVcyj63TZLNc17XcneSvjr88/PNtt9Jm5qbNZaJqJqLByXEXtIgL93RlTzAYvpiRcUXh9RKvTe6ozRow51yf9ex8FA3iTWb5tN8N+Fgaw3u9U9fieA2K9oy8zjpDhgZThCgaT6Nzcr7AcDnKzAncONCfS3esYAtU5PKI2L/7kdrgtf8VDdJ3hIaBE+SOfVvkveipyzvkflC+O5PYJBcl/IGP7/0r/BT18I3anDl7tqNNO4jW/n1/xkPf1MgxBz6aMtrxf0AJgpZ/HkfLwBPVwtRE2FeZbNcsGs+S1HOjudEuUr6Dj384qLu+xg1ssllf+NWe/Zcr/3yl6yoqa5fEle1eCQsruONzdYrQnDUIt9YHQGOZtlSaLuJw5OboovcsXZrfzeVyDGHC/Buiao5pApDLJFGlqCRGtFeSLh4QjHY9hViJkOOSUNHnT4D9Yap2VYokcj4jp9qNiAHnDiyythCno8bTl7ywHy8FWINba2iSTtQOT93b6bdgiXZNx90UT7M4lSRRYsYxTk5/KrK02+dVjZJter5S847VHPIvAtT94dG6YFcGVomQvd+jOwVKf0P+1Hu4/G7fzVGgoSaQNPRNoUREm1kaps5GqB4tzv3tyavRz/6M3nq3jHKElqLmR1h1HPB10SCUNjWOdAjjzMZYYdAy/cu0xlFQlk0MOf2RkcThsA3jG7lM/M/NzxJJV89VoyuayG5RjjqrBoXw2xa/4R0yn99Y/EFvaCfsNf+OlE0vmxOvgGMWCGAxNLB4AEvKga35JXBCaEUxlf9L6jk1rmupwwCEciQUByNSLYByexq4mOyW5XPFs1bi/0CMUJv1X72GOZb1TPgQAqpv59Kwpq7mMY+ajS46swHFacupD/FD/uACRKG4/pljxwhLW4yNKiScsRHnRRuJsXjI4uBBQAM7rliOQNeURKMTYHsJkUeDBydjEjGx6+QWdgiJ2UVfp+2QVrM+u+eab51x/DpQFs4qI7PzUwDuyyJfrfBlzbCDWJe2PfYFxiNXQ4uNWC2O9H826WUT9jcM3H0Jm0SBeNiFgkpIMG92UR2JRq/lKTxO+XZqn29w1FbkBqLoMa+n5McFi04/ZtGwUNkOuRsCbewdp3v9FJVSTuucjtnaYyAJw2WfTebclKr7BKz9NfX3SBLefPoFGP8Ttuv4RmdLwt5JSPoUO516RA9gP+XcV/4QbYE1fwpKI2toyr2SES3OkesgJfQmsPgByz/LD4F/JqLwMhwgfYbTjO4d/6Ej4ng95QngS5psbEcVq+gfNouUUdeaMb2Np9PQ2cAjhMpVUfc0deha0HxmS/Y0c4vthtZJGZzNAnOLsa1VVLye87znkfnKbjI0a2o7esFkMqEjkshq2WfbOjzx4qHptOXQNau1yfjOMKlJzhkqtTKkFuAlth8wwgxgludfn85M+GSE22HBeNYnt7yXV3G7YpRO4hVeSBR41LfCsP5UamkXtEQv8jkQUPMr1oY00XB29tOLlt2095D16vaHt35usPuOT2d02JFVBrPwsO4vxfL6i24knPgiz9oHWlQhg0Efj9vZZOV5LeDJ+nduCT9HAilyVy0qIm8ZrdLiK7EML/dsb5WGdPsGa1aVOHQgKSRiEVSTfkgRudw6togyAGQen3i/9dQKaDT1ErfrohVgh8D4ZyEwxZ89WT94R0SUd+4mQPFienOcGJcDlTDD1hnfYj4hJ17MZ/d30hEgozLcIcHzY+kF2j/ZHtQpoDOAInfK0wcN28+Jf3yLTfOZZ7neyNpvyQjFBf7I6/NoNQGFsM0o3JytEuANdoRg6zAEmwo2Wal5c7V8f8zyVRxwA2wBNWnbQ/gFbNRBtEuiRAaawaIKgbe9kySeN/6dcexC87Sc355phcP+i2UppO26nsFNim/TqgjQuhUf7/FTcOuDR12ytuX2iYzvoBOF9Uj+5lLwxYYgKjn2WOuQJCr3jVA4tYNz6MH5GzAHsqZvSjYcgB3hKnwJMYgRA7gnAN/19tRqtcmWipJJ5tNMpNuBDhElKYyWUReyYPDX1QqO9oIrkwiviau2tGUoxEc+2cp58b9QD7PCaegmvc/FqNgIZgiO6AZtgM6gd8wqyPzBYwIQjikRWsF/N4bsD4YodUgjp4EWGCWYWG5TYE35cwAjpib+bqKh40TRS3pvr1FHdVGz52eySJfg/6sKwhw1vTEQ4+1rg6XwVyWAZhhquS+CJG/1jVmg9BBy4F9kETjaHv6zq/aKZ9QNPpYn3jRs8HQ60x3hYaP+tzX+8YboE5QR3tJkbprCa5ib9fAONtflNnNyEEyOQugu0BIs8bLcli4Pn4WymDFTtoNf8uSKdHRWquDsvTGjDsLvIizRlDiYh+aiqlamsmb2UVmm5Y+mrs+jwkOlUs7A633QgDjpAK5Hb7AAU148qOPj+O4fZaysNxWejwm4NyOoCUxMF1s8FaCnVj5Gs1u8FAZOQzmwJPBog+bZprMMtUlWZfF4z7AWqaaDZkTmCf2bwCKQp3O1l7hwykYCbo47mhUwRMDdf3aCVyOuQVp2l79pmINS5SLC25H5TfHEDXGt/yEXrejNlU4REgdUrU9NXd6/goGZ8tgfor36Zw64jDwxLAzGVL354F/FBYWQN3NPoG5JaHDtK9MLJ+3KwQguptd74WATEhk0Jcl1BD6JJm2535Wi1k63fXz2SExO0gBRDUGIQ4RNdavQBeVjLPma25m6QFWUGLcCj63lVVyv5lnBmQfxITZaRO3ng8qkski2aVfvEQXinyYSXu5dgABSCoZmwFE3AHPCKhpq1oEm+kHm559y9Nl/XU+PtWgZtN+8FwFP4uRTvrzWSDKxIzDjkcSlYPfRQgxD30md8eDnVrZOxhfjYjXwkI/WPqkrqVSIARg95mNQvDiUGI7uUcfTJsEFoTPr7F/pBzxWZjuLRBdRchN6bhnsK8j5gAkBJu6cE3YZhwy8U6RD4MeBY8Yvarbd5EiJCljpygDED39z8duMs+/jsJrXu7jFoaF78s8J6VSQJeL2NQ4FH2w1mTSbgmlK803V1o+43ubAEpEG+DRgLABnm0s7zbotwd4WCByQfEgg92jbuu2ufX5kWBs8Rj3IGkT5NepMd+evJCbD9UgRWLPv/J56TsZMYEtOSx9Zwe2UryAQCb10NU/CzqM3791JIEeWrQqWgQ7T/C117LsoO2qTg8f8SksC5roe3DFbz+2VItDNTWm69KPXcgxqsi2gWO/HTHJQ4fHVuSo8TjMt8RmAxBzRTKmfvLPgttZj0mi5qe7M7Ta44b8tBv34aILO2I1Iikh3IZUZScfB96Vj9BufUk4LY0a3OQOKGs4sDubjy9LPnxnGCAH93s3HSMaXbyJKQni4rDFd+Q9kaxJ5KrCQ6z1d6YlXDfSqWoJCU6d4hz02FHpvxtyLBtITFMFi4Nld5TN5KzXqcA+6O6Lg2AAdgMo7lbBuKq80dwkkRRQPwvumCU9+m73BJCDIP/X+AgYE6+J8elxfy+oyx7c02iYWzwqww5P5e87cJtShm8XbZsWteNlChaz8ErOVgc9rXXWCw1xmUHrPKjyVBGHuSSXke1f8xn1nwpydpJZRP/poJw6EuRjFWkp4DwxSFbdYmIC1SboyjLctRmJQYugYvrxTTikfLxMgkqHMzLBqvKmG5NYxQl4Xg4ShBZ7MWTeFozzXln1E58NZrYOZNpoxP+WcbYv3msb8duHB+s0xWm7pSOH6SrNHEuNHVCEBLo8wsC/QoDOgBeB3qTySh17NUR+xUi+QHvuB+ILpEcI8Y8irpwCEUZ8LX24y54BUrARWMOS001Oar1KaVVyFUKJ+DyIZ65uXrqxippbd9Ub48VcVqq4xycmrpy7KOyrl1o7wAyXKng8H1G88Id729SvWAvlfzh+PFKvu7j9eR7Mpo9bZHH1v6BjUXmEdTc42dWrew8cVGmZ4HgEiQW44SO0WNgl7yj7dG7DcdoODFWUufiFzBOfiG6YkCeptIDiXisP1WEBXA+ESNOsaCeqVW+rEl+g0rfKg1R6D6blFuW852f/kej2xgeUhp1NcbSF016y1rsu7vB1WOkSZw2alirfONzECzaBd9i3EsFSkkWLElWpZW2DMQEKku6rIjLwq3UgF6ctSROPFaKmOifa5A2MtJrRIyxZqLruSq/nX4RNG3MDn8cY+u45Fagj8iG+rQKAM+dMQ3uZx5YHMDF+qa2RSeB49cV1hFh06cneL+Gxbmo76Xu0aZENtmhzdOgWmk3yq9KLsL8Zfk2dyj9gVJLcITSt+O1TAWQckHsrSpfvSnx6Ar4qbpVb3IJn8ZbFC3bsRS/YwULPZIzY+8+p8aM32eQ6Exb5DbD/JI9G6Ry6mSFLZ0liQKPWx8IMlbdWP5DtztUc/QSKOnrTkA0h5y8T/fDfd7iIAGmeaUJyaVVOt/Vw0+6UMzKvXcB/x/aHkQ+ujhh3PetZ/8MJTrurFliiLqmWfpPjTf5YpgeDWDbN7Fs9YdeoKtdXkbz+TJlGboElXZwyn1FVqPdNcWjKk4ex4eJCUTQSrLObEOh8zrB0DpBif9X59Ny6MixcJQjCRzzVuc8vPL6/n6+7yRbue6uF/DPTRgQCfbCVVeqXTQORe9hWvcsVoGUzDZtu05eNDwY4okVWZ8kJNCr7uXDifkiLvI0feSJ/qetG/KXVXoJ8g05bM++f+SRIPlwUgwy9OB0jZxUrFjYDhHAqeFEJVAppkdfAU7DCyx2KJogC+ZicYoegU9ejtKMDGHRj+h65DszqPXEOw8vshyg01HGWiNVnIP7nEW99fQLAXMCqzp0QJ0r05+et+YBY5uHSV8n6skvI2Rj9mSumVnfGozIhVT1W3tUhd2Pp3riN1HM8ST6ukfViCaHgK6q+C8xbWWQJP2SDZz58J5BqyXoXW9Fz3MPagN5rFtOrd5ZIlJKgm4w+x49W5YO/gAR3z+Vpx1jb0v7sWzlk+dDmRqNhjM1YhV/B0ZWqB9LH1gorpTgpqugtj+pXrumEWhJZ8+2tpW0Q8M0WzfIBhAznHHAFpmSGrBA24zv7c7mnPzfyjs/1m7p5v7zSqyrXMZnGTzFLDH2EFj/SqI05T7agVKC0W/XkyySga+JYBfruYSzBfYCcDHPpvQiPezVhJj8odORMENjoGh1ZNWv8SFGXujaXq4V5lpN1Cj/NEy4mVrh4xqOayuWinsAAzkp267cN+dr6fvp+Bv7lvC6HFie3Ch4GIvFz8aTAXYZOk/JLiXlIBn3XTKi2jPT+lhnWudUfuBXydQB+sz6Jb43OHlUZR3ECH9fHtB+Y11cN6FH1w5s7A6PHthDK/BDe8Z73hM3Jqd+Np4fjcpV/gylCptwhdH62cPDP9aEsO3BUiz+hb7KPEkU+7wijQ2wvVKqUi7Rksv9NqVACFcqFDf6BYMAt8LdaTiUulAC9WjefK5EUbDrAUoHcpe9zVbht/6RsCP/iR4p+msiFfGwLOPQSrhHe7nQwRVVe45IBcoQV+uzNPoblySIOQNEHor2KZaB92DdenPWLydfA8sI4LSTrC6t66RO8i2ZTAuqcjPtG8yglg2kCt60fS64rMjjd+a1l4VokNyK6HLNkWYcs+gx6PkYjdO8HHtlDIII+Ob1JLPUEtbPHyjE66IeVZDE+vCkKQrz+GumTZ31KLH5XOufZ397HSfrptAX2mfL8Of5wNBlnlIXnrQwvzGbr4Sbaur6uHHT3oMKHuA6Hxbof25qXCmJgQrt3GPYORxkEyno1CMM2fu0nl8HLRzUzpspkV28JGcYq2ePSvQrocy1IWNmniXiCi347JwONwgMna47yRlXRcnNNSNyo583o0TttZdCAGYHNyzcRtFgg4YFNywnuwZvWyQ477FfMEdiib75Z3gBtJ97LgdkSRMjwFhxt2P12LBZyL7yhP5UAj+AQhswcQIoWiJ47JJGC1hURqylB3faAXdlC7zNdw4jWOj0QrvLu+RakstGYDIY5Q8uozVft0cEFCUVlE6ga8vXB5+LVulBSZR/on8hN5pqcqVkXBR3ViYsZiH0KgJTnV9ceZMxBtQ1WL7wo/TfGG6H6klSj2oxyuUpOIvAWK6g3GxIn7O0J5HOkpfOLb0mT0frI7GotA4o6q/Wt4zTp3M8XcBT3CvGgzV3WbeEZU1To6igz/+NZY0gPIjKgLxcAjNIESQXf9v1Nnndda8YzHUXf5pjj5xtbleOvZSyJBC+PDXRtLPRhhPmZ+Z7KJ6R+/kx31N3IUeU2p2YQ0JIcJp0FLks9CZsIPCbjeDm/L4lirPdjRBLk+K4vF58MfEk7+epBVdWQmyQSG2ZJP6LsQOhqFVWhTFxon14fSWeup3iel1kG2LzVUV6ABANDBsHtHWb01pKWElHtUzk/rWGm8xSd+hM82QJ15SJsO85/HCuEIMeezKF4ZCjnQsnmqOd8Jt83S+BNVKEYCj3tYHdzriWglhRPLEuiw6M0cspoQBv2kzmNSmG5Ez+dzy75gT3yvJ6tLYJWjTCDMMsPQsSHHtTkFrUjzfQsUjhjZYDaAv6bydAJhhKzZ6MjIII7nPLN9wK1UQQa6xJqgBG5eNI96ugYSMR/OZZtf/sZbbi7Lt7PbZKf8qke3SnkSFiExoCmMFELRX25zCYFdp3MyuTizNys1Hdu2FWy+7mVjV9UEBIAl2LqpvEf+H8c2WhpY90W0tPk8DGujQqmt58KUeOLjf2XrrAZP6ai1yaXUFhKmviigoHJIZCIEFpX0k+6HG012yIVTKwauYxGCaGxVkDdSq0LWBIU3vdhXzoUUtcltMYNQRnhyrLhRihy8nOgqQTJNU7jFo5QggH03dDlCfPssahRKsBYP7xUiQmtOx7cmFY3oPQ+70sGZMJphTCelHEgcUoUL5ZipdzqsIzO6Re8d+rsyKyJbp73xHQsWOVp8t2qRqdxCpP9PRVGivO1U+Ybna5c9HfZBNPGbkasM5xStEy/+Tw3hGujBwJ+W72g5Di4vnlYgwh1pV1Emr9hdtDJT5zhIAabhoj/wvfdm1ifMg7XBLSOUtQfxrEQWpnW7UNEJWlzon+6KBXyHBThIewnf6gtcJIsrdjyjnFgmtb1RhB4QoUaDDqbPxN9F1HFkx1646JIbEx+PS85QIYsuefKYPt5fkY1pKH+IJmK/pBeOad875w9y7ubR+hViuOsi4UoZCbMtvWl/PwRjQWkJDFc4+lC/dTNTT18AJ3ey9E/byRo23N8QaVxapqmjyZwsFdpZWk0Tdu5YgOvxQcrcD1GwSnL6A5ktyEg7Q4U/tiMlOQML1/fvTWrdx0ND2aQ9tC5L+EJQ7MoMh3p+YNSHx6dVGMVZMGl6FV7knFbD/9ivfNYtGmwQ/Cb1k5LBD8Ro3kjVp75t94q1YeWvwxjyKO5mKMSYETXrKfsII9emUkjGwfXAA+Ao7egNlqisOoxlZRlc6UNinsyYwWsFV1hNHTmexOkaec0r6rFQplI/LHsZWjKiG6n1GXtCG5C8d/IRBIY8wR8u0gha8u6D/LlOGkJMUXnofFv7IRs1AzBIqFxmw1o+7EY27RGOIOge3PjQ9RfCj8o6xZPsc1VfAaMVNrngxC5mwOiAwlO0D1V3kSlyvCN7pq/LCIKZciVwBw3AU9eDb+mNph8ZBAYP6rS607nRKS1cmNrHuv+G+AI1z3WNMmAgn0ALGE+tuatLtFcmFh4fRYtx6lmxhlsto/skQTohd2RG66D4xk3o0flk7F9rhPTUcNl6kVab6Xq+OjMPS/RvQnQMlhvgqGnkCmcEDL25Exb0ibrI1QOxp3wqTZqp1tOgry2dW+EONCZCyNCo1y7gwi2I4/79LP3lzbLmceEBdnGkPxWg2dacvjOiJ3+J1epYetRGBlglIB32+g2YqqiGYZHQetuRfqs0n8/eFurReGWEaXCesohkF/UGc+asayClp4deOMMNlvTma2FRwXcxaYowf3dh7vRK0BlRu3paxvhL0Zpt1QCUxwYBIX0is/shSCVAt8fWaw7Ji2JZybMx6DALad0cE84pxcsFuXtD9ecO3XQ2RQtve6mTE7mkwfjNaeuB6t2RksDg8fEi82/Qoz3XGXrZKuDAnAequhzTq5jYqQwuAH9i98r0wAXr60vrVnRdhj5NL+61Fxwm7Z5wayKyao8G2i4zS3S0KwC3QH6YzBFnsq7Vl7HdXQkO2y3UOrVHSIEE3QIzTtTnrIR3Z4iiarWrHSBX2L4g/UkjumVQ3HPHWg6OuzdzHOZc8vdd1btMmbBjhnN/cFnhhyQYP6Px5Ql472j71ds78+BBtlDWVhwtw+HpU3mizOiLEjGVNHGGOTjuW8rNBN5zuTs85Awh3f/YiFKG+F2nWoIn1ly1VzSes/gcWW9XWlOFWMrjU5n/xbkELATFRtf5hS7mMHxu1hV4XrGRBxylR6ZEpk9L4nKLqWEkN3C82qILALtEZZWMTJJiHKXmujbffLI6+uGwIxB7eKGI3AuSdJR50IuC667OeBfQ6EME3K9V+cbVEUf65JZFx/AC+t67m2YUcXjnLxMeedsDCp6kXchLla+wEa2xpS2vJ4FmDsO0LQ8bL5eWooPoTrj41YiD81BLB6sYExubGS7l/er4+ezOgOldoLQ5O+CWxyXiWUCYdsf4GBYvGKEiCLQNCJeVysOJV1Idp9gVVxANTeEL+AKumY5wOFVsSQ72qW/4q4M8Q+6TX/T+pGFhIm055Yuh97ZIjVheL8Jb5meFQtJyUswf3ctgxU2T0RYBgQk+jr59rO6DP+1kJLqMbGRTGZ0/M3u6rqmmA6GRloVMChwjfr46YqEAVIlRHwuSiZ1PqL2paCn7amQUD5zq68PCzx0idDg0JIVHNFVHfddVPZ+fX+LSzqqY1dFphNmgu+FOYHGSBEYpgMvTiuwZsUTR7eCIOcZJUTmVttMMgB/O/Ob7GSwUEYk9v+G+hgEhQ99FRUOgx85ha7GO/Gc4ELjfVQCVRRGi3hpWVJTm0XlEuck9wXqLMAZdFKCsb0Aeh561+w0/OyiEHQNgbNtBe8Ca1uyN9NZ/wO0WzXK7cyFe1tnFuUtvo2BxwNTgYvdrec0hnAvpmZhjCnLhgfGGSvzURJXCSslUNhJJef7US08WQWpopKgd9vtdE+ulvPgJd2orYY7i93GzQF8PKj7DBu+e/bL/dQgxBasAo+ghaBMu+T4OeYXHGVTZLZFQ7gDSdoEIPwOEKehM/mcLmbnFtLd5WWsPqlEebKvvQvDqzFTpeGLaS3qdL3QUDpDlH+4DdRHy1N2q99JcmNjSUvXithuMJSlVSM35TC00XnlvVfO9BzZOuSHRiDYs3RdJ3+lVO1Svja0NzJDgEz3duDJ5iEO5bfX4AAE2eteISbUtdAaxG02XfXie493nahAF+tseN640Lcdq7SYACOPVYePbd4aWna5u0E87BrKVzzmaedN0qtHHBoE1DWWV3WOl4x+mwc3hFALgSGYl0Qret7kPzcWwsjI2eSNIaEMqOILat53LfD9HDZWmZchSoMBtM1cybP1YNwjyvLQcyPX4A4gxo1DwdpkH6MPzcQbYj4gginBCXqnSc/X97sN+rfMbpmSim2TqHQO+ImXmn1tP6JLdtjB+eK+h9A7q9uR6l6EwXr27pgQv04ku+WU4FU/s1NzNYVPgSO9xrN/HDHoUVzuJGeEMVZVBq9IPsdwTvXkg/TPQ4emQqJPthkCRN1re0xZFC+T8h00yn+gWSrGJTS24P8Rw35l9iIKI6TUnx2hZ2hzdRpn1/+Fw612gIZS/gNQV0yRoVOZfuQdPrVsqnZztYli9SRGKhtNLQl6BJUSHMoezthUebyGsEhkEwtZnhZEZvFzTvDOsCRdUBpyrsfOKV5qG5AIsVb3S2fn4Ldi7NbsPqmvZobC9Qrbkp9lBKt00wjtOmVbneSq0LlTcwfw8770fYL9oozkgNPp145NzlwP4TRUTpNP2+wmY7qPVjMnXAiYseTLfEBISkdfafzANd+vYQ7l3e3xMSaSCjNBsTUtniAG3jc+D5eTq5r/1kzC7l8NrhkDoYgjllwNK1+1g7PVfIverpwvdCUe5yZzyJRexyLignRENOtVKVO7uJWzCHffzz41JWOlpuxn61rqkxFORJC35KGjrhZnQPsdlG2iSe3vQSGNCcZEFo2f/mGJQsGa9MWyIVESmN6cP9Ku+f8R/AvzHOKcSQZbx/FLG3vf7jNZxfV0BEMf0NWJ+pU3ruGNBSMgjLytjcmWLXIgyi3JGBNQQwQl/GD9m52wGLm7+9u/0pu2JPxOvsrnwTclWOIwk47Nhs4i30bKC4DYSTd4R+wQXGEQ6xguWYOJoJWR9oPvPffGCRfVa01VBkEvvHWe9dNu+TnI/SDONLDJ29UiBeOEN+za5aABneCoS/dVSJ/p2SM9+2FCm0DwFb60I3S10eYPmZ/fPqVxf18+8M/HiukVa7gzdsG46s/aAEX60Po677QXQMjhweHYy9Lpxnv1YKsarpa3go9bA5ockuR6+pqTMOkwt9KJkrF1EkokL2r3yKIadfEXq86JPWONUdocP/YnSWE4YzK2ZoKhonqGk7Fb+FvCBJimVEXmv15t91LfhxTxAhP6uWin8bvLIIUhDsDhrXiYtNLw3KNDJDsRrV6ZEdy7NqmFWuw3f/0RrLk+trEY3iBOjMAUI5moM+isq/yvqWNeQiISO3HTpQiSM/fgFisWSWpvowD4KFkT/xIg4xcrx7zoGuCT4MSPzoAVeI1yCkaUOjrLsb/5FhbXnP+EdFsiCHCrvO9xcWDGImY6ZxN5/Zdw3sl7z8X2i5uB3ezBwwFHJlxtiff7q4gqVH7lIqA5Grc92mR7tTfU9ICPLWPkYUWUlZeGXHDC3w7PTkon1c9mYBmXA41NWfjbRgQSarLtg4d2AUMd451zqNVce3TXrwSmF+8uuM8iO+ze2jG1+EKIN+kYBm0E8itwi6h5x3vvwbXmAMGqsQDaNLLytNRGm22yVPH2Fb9w9iHGNMPtX7V3m6TtGRzojAMJQ//VBzNpH8eVxVpv+b+QTRGv+1xD85gCN12fWC/B/5pQ7WSPzsSQEKXUs6PwmyS8S1z3VeVBYHf+xzMngZ+U/UFodJ6B4ISYkKo+G9lBIL4pfK9yR67szfVJheONfiPD4RelcKn3thh0piJYTGAltVks//YlBHubG2w7HXUW5+hrltrvNqiBt6bIMTBtNNSsIwFjI3JZIzOvLZWA+Wou+NUkrEMu3FMtjH36IyXupNemqZ9/26mQ6lXkRssOsIO5kOId8qLvCCrtSFnl/Ba4SVyPS5V97XQQNpt10u8vyNlPKpIAGd9VdEYw9h3CQBq/ddH/COsjScSyl9ea4/cpnF3ECYgpZtMrvTQh2a2TVAk4GQy2gNu9v/kJPzVdN1vUDtASLL9lQTWTE+pu/5oAHOPMKhqfUZEIBgr6NKPxeYOQ8DQ0KSXu5bD4esKGcVCO6f5BBm8wt1LIGWEFyVhfF9zaZXiN27Lup/URAmgs6TWIY45tsVXkdF+WHppzuY+SSZHE3Q73uMQepcKQEhfdl5t6j+cDK7HmnRE/c7+2mVKW4+liKtSsjMFJIUrGBoYTROJ+ADpc7/1z8j8s/Lfui16INY8HZt4vYF9GUITDuA+iEkh7zZLyZYfTuGYdUwfZfGPP+Wlm78KCaGB8qiBK/IOU0y+G7Sq6Jj+sW0xe73kiAQdz4lJniFVCKJ9HnDQ3qnZ0IdpQdMkfHBfmJP8DfgZKB5P92zbOr4TzUtl9qIbB0pY8rDdPIcR5r8A1QDE3FoSy0hE/mtffu6OD/PQu2TU6RBbtWXkgCq/zwRe5UM2k5RwNGLwJsGxPrxHGjNSDoRFkwA7FAt7b4x37zvV6q0hBG1H3ZJGb65ZgpWJ9qVAZLlgoHZhNNs7TqHZxc/93O4OR/DyZhtBHeU60xVAPXY47c0NQF/g4x8pIOz4NGFUIdXt53lRSd4C3DnpI7pgbdXcMSGPm3FdRUMaUt1mw+hnfJWSoXSlXw/VdCEWwJBY9AIEAvne1dr0uSJ+t6AymJhyWM1KQnLbAqtXPQHx0fCr77Rt40Taom0iTuWtfKWKSx8pTqeCM0FNBM0v7O4RLrdkGhSZQcMkezhPxRCExX3CqZyi4QM1FnB2fN/4WGHWB4AGCRAT2+gmpiw8Wa3d9Z3x6LFI4AX6g+URLIg6NWCYYoNrTfm56Stqakcv6rqHzw8SdX3nv6bXGKSn0HbrKMmGoJy73TOPGWTEHRGZt3jqWf11hdj3zJxLROwjzSNRddn2a+5b1AeJtdSRQl8U9WpVEabJT4qmgLsf7GgUyogLFeTc3Yhn4b4j7CF38SeMiCFqriGgF0NY7tN9oPbr6cBkqTS0G5QdPELfwJhDFk2luq6l21TBguqZ9CgBElpPECKLDvindqzznQdMAMDn9Ry/zEJdESmp2xTRlRa8FwvdXJkcjW+Xs267lbw/fTKy21AOZ69V5sG6zx0bHOAmWK4pRKDrW8E6SFusbX2wphyNbim+6nVOx7JKtQ32Ym1uzUAzYkls6OLBHYi2Ra6fosd+WbqtMBKx7w88mEQdruk8wR8YS2kjdDj/n/+7lataZuSQFnsqqsOHdBdTe08RXK98o7eTutyHmOz0lweO04rS+n/5Hk73mrKhe2ZVCRCmIecXsbx6YFhX/mV1iDfN/b3xkpOE14AasfTlD9eRc6yGIbI+rEMajS7zds3M3tbF5VlGMHNweHjcLcURqGpfdCux9r/yqUJzZ5b8dZrhUihLt5CD3fOn7eDVgPhv/wGgkZVpSBE92g6UPVr49c+6xND4zIe/Te6sNJdApVJXdVopFIe84uli/ST4WZVrvmOQj9tvVrfGpZCC/GOx6eBoz2tDbT9QnybDnlj1HWospjgttrKnoFjNttHEhOTEiGjCF9l9MDSUfD0EXd8g7Wf01K58z7NmBNhssCT+S4uj5J1bgCcYDHCfrpcOQNtCT1ZSqr88F9qW4RDemyhatkv19g80AfWJtfNxiqiViPfqIU+ZYYORa10kfPmqPPcXkwfdyS5uOH9LTHiV5PhdeDsJfA6BRyrV3YvKf8JCHoWpkNMxd7T+IK36eniSOhX6xJB4A4gBva3t05/HBOkZMi5jp4wQiANQGaKgKYVRMPpTM9T5O7wDLzdsNt6so+VOQ13TfcdyqXHqXfSf0Mmd8mGix8efGiAQ3dmtCsVAv7cKPNasPlsoDz7kL3hsGudhWyDB3JHkBytoaIUqlbmgt0iSqjybpKCTMwAuU3MvlfvL5K2yiGRrSKPE3Zv8q6JWbKwMXVxREDsL0oKmryLk0YfWgWW9reRMuUk+Ty3HNhYIGhC53Azr/yy4n34B2MgorWB2kR2YPja+klEq/OLDiSj1p2kHHs3F6vRitYqOw0psrJTYKp4W0muI9HQOcvkkiRawkOWsbH6Hp5zuZ8Q0Abw4Fs7m2I0NWSxbfihV1PrMhqXFnHMS8wZD3K4GLUmVd23VS4IRYDdbFAmFBaNXqCbkF84S7H1l34PuRFxh9IXq0DCE+F1YizjPzogHWU4NbvtCwad3+t4Y7pR0Bb442Kvty6rV83vRJXMX0glNibmqLKNgp6ZNH+/nXZFRDWiMtg5mKsq7UyN3tRSsbdKfbLkRd0zVy9/Aezcf0PqWd/FTsCNKtu9QUOXRWsR08p6DBRwbkhHwqvzktf369ah4TyGU23yZUhwSOHGLs1YKYONtVzlTBucaLqMfvIvgVbalBXBb/6Erl6T/K1DgcBkj2CvyC3YsD7s/nQTx1mL+kCpXtgEyIE99SDUIDeT83Xz+ffuaMVRIe3qqnug+YQIwxFmBm51ZI3IUPfA4CxKVvJh1GhSFHZCEbJ30gZ/hDqtGmjwzwTohXoSp812nJkHDgmf5iWTiHN32BeJBWhA0CzJkuXZAe2YaGmOWrGqDBWRFZwZIsXcIwzv3FP8+kAlKqDxkYYg0QKLfct0fta7XsKiuAE7iyUIANqmFQyANtQkXI6Xwa0FDpuvpvO6VQgehzKVb0lTI/GyMAhw0vdHKkuVkVb5TlCegVYAUqlTxCyfsQqg+gGmPub/d+MxnbW81KCG9fKxA/i2jtrW9K5533poCayO5m5yuJbLwL2IPyf6CV2KoGMqFuZMJEVhG5m06094apNRiMuGrGqnudGDj0HZsjvFT/1U68uar7YUzcx4A6Mkn8vyFlDU/kGuurGlLXwPcdanZO8poQXu++beuSeADRL8PC7noetbQs5i/MOUj4zM4zRIMwOxRei5VD21YJaDiBRIT6IWPmrRUxK6P8VQm3Kb1XP9UET8hqOtnwxyL6oFBcmC00DkLI/iZG/eXPZnzorrEWqb5ive9SXrkGbpyDrA5W0R/hoAHr+3du1wMjHumVa+BEcIsDMdMaihMQT7SlpWpz9Rx+G7rV59Uh7fW+zkFXTDz79n329XTQgVCHxRn6uk+nAxl3BhCdMneQJYPu3/8KYZJdsaRtrA++fL8nI9cuvNL1miUNQiPr26AQYt3RwkLgVHU9K7OTAggB8ginDSPexlU+sC8pH4wHZg2OtcvVjKrzpG95WzMmQOuCyESkMBC7jad8n5IkiEaZJ2m+4g1bVkGqxXGs5wqbhlmq5icDLmwt1Q12VQ/j/ntey7Mvj5Dsy4JPxUBekiCdIA/kL4Mdr9lGcrZSsOqRMwK676AawihhmYuTPloKRygrfQEwi27ceGmj+3jfrvNdPSVIBv/t8AP5uN/If2uzgZTDLIJVpKlXIGhy7VPUNR9gZwpjnshJ94gxmO6qZaUWncUZikTH0RMctpAeS4St3RSlXkyIH1YMsrPI6aG/+mGqkTPAlxjcWUvtxj9Gq/u68TkDvsj0SMsUGldtsiMb7pM8iwacpY2zt4JB+9MCKgtMUHXPadp1cmh5gzNy6VxeFhCfKXirQVzIpjzVwzEq/P6c10zImhrP+bampFvMZGrWJt1+lIY/QZc1io4e9eWy5hqDNirk3ca+Y6UxRZWdJXlszxrwZ5LbyfMdHKNOJwjWfK5KDumEQAHPuLk2t8DyQxYH2zekgmpuBw1dShx7m4K706sSGU9PpwWRWxpmpVTMH+ef28bCGes6J0pD6R9i0Voiq19wiPBNrbmtwHQBAwanmWdqtJFihAaO9231PoVzOeq9wh0PyKXJKIclyVduYgB4c4hcW32ibmSl3BDkGwBSKietyhlzfJtSCYvIhN4NQ9Azy6IlsM5hhCUTRPYdGD0SIm+zfR2vVIsdTqWCTFUviLGbaBFvNzzTV1kj/beaY6KKaaWIHefdbnJt+fvdl6vgT4nlwYNS/4evhXBLeNNzMiyeCaH4NynEs6kI9HG0CAcLeMRRCCgYL+Ig3NdkdwCjOw8LU1uQLg8g4ehqMLZVoP8xugxRhcWnjPw1zuA5A7wLcJkqh5h2uFJt4lYIb6gC2j0LTtPfCMKgrE5cVKLPgUw38DXFmzT5iRz6+UbdT7GljyjnoulsbqV1nec252fG1Ig8n7Y2i8viGNXF7NuHiJoxqHDqOVYJKgS5ut3W7lIu7+ZNi1BGRixQ1hoU+GPcnvCf3jowoes9EJqcavkyHJ6nMvZqa18jqNO3BHs8PZtEC7PJivIjAyJXV+slFzkC8PVuCklFtOiRVt8xgPA4/2X4AsNC/lnVT8Jjmzkn7jGGodaOIV0ep3dBmU4FPK8uAjGfBgZt5lPRqN71EqNEt9wJLhnDGeJ3pGsI6N9wIAlUq6v7DyUqpIlhv6Nrde9m12D/eww+FXO+gLuhYaYx11EnDB9QK8QLHUzYcN3OuE8IH7mpxGryaR7HZLKAhzPwn/CxbUBIoIiIVnwP14eNKyv9B55oSQPhACL/uNsP17e/hW9WnH9aSedtzGWALjKW3KZ1JfHUJdgQsUZFpQKAqHRl6m6ZoeBIwJRZI2WP1PVQtabXfInt/4PHMYNkoNHVPFMbapm2zb+fMMJ/hg/saeiI9Em98ZM82yjy1Khf2UxTuufgbWv8j8jlmxIspfOiq0E+LixZS2zbkjbaTOFLQ5WvHAm/7T3RDQ+jgyQRDLwWxsNCwrI83X7B5i2XCPe0mQacgyNd8SetMKLgKVj6z9ZecAAcjV40GI9vhb6SoWx77W0WbFhlizNPWo/OrJJ88tfNGe9ngdFS/l+ebQ1E4rWra5Pk5SRxT3MNbm4tiIii7XoOITZIcmtC6UhRVGjCbUA5ez9DIptYCK/jRBkYtz7DYX9Ob4dTfMebn1MBtoG1vL8iDgEwtEuq69bIEI0K+9bJKKOjJoJJayf2AYUNP5S43gmEIT1Gttn0ER2JaeAYKXncQx6IEuh2giDopLqEfCjscWaM93/BlzqTcyJhJaVFppsOdxEIctLI2Z7LUd5q68JpRT32q/psdXZ8Ka8j1E57eKREzCMbMHOhOMASDAUPVQVCmYK1kYyCQXsnOjIS3QpMsMdUOyqCMDBZUkR78mMnSK0AXaP1xKDdjsduYDlrkbOC5mbcWK/hSW5og6u0RgIAY6yBo5QTCG39cR+eCRP0KVhkz23XPQnVva2YQpbO4P/cX9rcfx27SSjb5UBK08Y64f+NHsR/+aTDpW70oEGYwf8LH6iWMZbguaHxT7uZwYxRWluGzTrP0xf9VX5z+fuycqYUoA8CTTbtaU8Xra+Dw9mSxq6/qu1FPbNjUns6hmQS4x7YsUNj82xVAXSJXZlB4nkZFyfv9TA9gBEP+2Pw24OMGPmtsxBQHeEmQDOKfJN4T37hRZBXyzBwdi8cNI9UHFAWA6t3BSIVDTJ3Y+lBXnk+6DwYhF1mTj/1Zbs8BQapuVWv1EdDWZ+lasrnl3i4TZA28EIjLbh/zmd5t/YLDvMPG/bj0+FE9Z9g0Lm02pU/G6Umuc9npL0nfpUa7bTc28fcqFJNW6lKaQxVLy//nMq/FbVwANsGNVtcPGpekAzozZ0QcSxJiZYnnDPs9+WhJ+xcMY5sXPkiKePbGrUjukJeoWczsLuyM6nrFNbk0py5PZkiB7wiO91xCZIQB5DoJF3kR5QCznDyYPjz2mWRoJXfmBE+BoFoLHk+/kArhq80slHoYbJ1qiWdxM2oJUHe27OyAIXdntLbOAGx831J2VOAG1LoGpWu5rv1aH04L+rZ5wRS9UxKoKUIDv1P9VRuwJ7RF5ISURaRjWoR+VROXnzMn3bZbiVFVSd++H4GW/RlOrLzeYF5qHsd4Jf8aciDunzN656GveZ8MucLf7NRTF0v6/xiMDOkUxSMXYc9095IycEDUWKSpYQr14RPUB4XTAC3gC4wLUzw9rIU05zGvSFnj1VJguQgirtiyrK6lxGo301tFwshZqCcTKh1/3f7F2NtLFrwwVhfyKVmXTJNTnx0ZP7/lHaBT897emykxoeUbrOcEYRrxTSGbdBYy0CeF/eFMq6sASd4E4p9gzOnVe9IlESeedfb0en+meIYvOSwxErnvzTgSX3gWAttk2Sv3GoUUTKRoMoxtttdzsBSyvLizXtWm8poPDYM7esOUqB0frakaZxZ81Hdf52A1FxfLVV+0vXbBjYLEPavUE7HYrjSmKj1BaacghAJsRStQevplcvUOFk6KQLzVx/alU511jpd32sDeyEY2yrxqw/D+T0hEWBxkwDzG2vRc3/PLIeddiHKvg7FyRJ2KLP633MPejaDplKeHusSGrXjhNKgYK/PE6ZWlza7GLhlw+e2+byp3Qs6OZVG1onYztP9IQmFYaFnYOAs5/0jRARWIt6rX0ipLnQrQzA0Avqyo6Brv+00wXXZzUDKUtVraO7MF3Fb+vOEeMM0Xm+1zx7mhNBqzVzhZqgp0oTGZ76W5xy9CfLBq8nHUQ2hT/znJbJovfWEHuYyja7KCaIBH4etR6qscVyIeQhuNFbU9nAvNvkbbnpPXHoqB6E0jN+ehHck83691QIi3hqtw2t0Bj4ujIm1XiuFGlfUC+F6VlqvTZgqrt7xu4eQRcqdQnCMHnfw2iVhUzxBrxuB6rKXssRKZzezLYZhXiq9gocfDFjQYrDPtsW8YXBmlQ/qD8v5ih7nS04ZWryBmReY66k2TsUVeMJP8TUWsittknK5qUP20hVFih4o5GCttrDq0SWme9FWSzJ2/pEHeUHHgduFIIXLduFkdv6KVS0tT0Px5kU05dzif278N9GJrMHJOKCoGIFR/dSC3QUt414DhJlCaxP2xqE9ywYcnhp71fEjYrUa4/xrZ1mqJzFmFKcU8299odNm077gAxtwPXWTEP52CQKtt5+S5Nnmnk8Z5fxt922LiUD5Pn4Dhb8Wk9Vyw/G6bZSusGvlcI34CVhaTU9nRZmyvnaQ40FZSv/U/tLs3PGET6wFYftjDkwcWmSUwIfqqs19ywxxsXs7sOOeHe0LcdXmiGM9uR9R08LcarC/2TIy8TfnmZMKu57FsxwlwTm1WH0DGjqNR5lJZp+20ljvdojSrAG7xYb3Yqntna+k3NXIVe9mzeg3QAzODc0DTk9y9yuVuZGh+/IoVCRqUZfh5oUPYpvrJOU1GZuS6WEXOVS4jFthzF3wETX0U1rILrgWkFgpRxqRH3H1P/4rpXS5jOnBWVmtwRUrlCGcahfIhp9ikfGIucRgrD0NqtmVL06F6muuFUeMy11iV7zW3y0/VLMw2/wbIRkgpgHuxkKaGjnOzG7TWvmIgWmXWGhQzIkLsqC7YXy4dmLA49DDDTnf6/TkLGXtySsm7o9tmDGHlpb8ifTTlUwJCQL5LP512lfQMUv/jnzXQbIBrCcwJ93NYXl3rGjnuPzdmPjIikGN47bxGTS5fCJfxpmCsGytFdj+UWtzwP8qKjECGHNmp4WX91yBI75OFQ2wC06Dy8340Ts6LNptFZHZGDb4CFC/eE2HvNVN+oQMUN1DrVYrK7LUGti1eDwF45ALPKSXUilCs5+ZqxyJe8UzP/N7g5tbczFTnxCG2u8xlCiPjFiuWBbyvHYyqGwLq46lZBFW9vegoBPZ5fnBWjA2wHyZAVKur0v3RCoS8sImels0QDN6u62x92iIT6+fnI85wBxns9ZQ415aDbMgXRId4klqUqaUtL5Te+QD1MWTVODgmfoztEvnfOLFJrYkWYIoVit40FKDUUpAJ9n3C4a29ctoAeQww3Gg6DHuF0JkzMGsI1iyWl5Mozsbov8KtE5yR3NgJ8Bb3igqcyvj7eB69ulZmYFThKtaw9EoM+/GdHrMJTHW4KWLhRXS2lK4+IpVd72vRbuifAmzMaLZza/qUBbvrLzxptbKyIM3zHDtBeCXUxVhlJt2LQqevwUCgXdt8xmNuQ0RaV9Mj8mk/uFVzumaqCiKjVtlMF0xK2UKmZuy6Yys9JkHEc2IxKC/wNGBV53f/Xfa1CuSdM5jjFuT8DtFf913vRoibB3uslZY98uc1GGjkUdEucxKh3vM9zECmOlXuVQYmALHRe2IDjxx4AhiMT4cqy5UcJdu0JoDKXHnBY0mFCi1L2UCl5nA/zwyDaNXgz2Cw6kLUYdfHoBzepsecv9oc8QtOaJVep8gdKQaYA6FPLZ5nxqRSNSUbjTqNxK6pDAWKRZmJ6fiG+6xCRZqVs8iHxrDOhgPO4zBROQDbvLdHBlvg9HSdM+nekcfCNZIBj62yOWUvTLyKqwUwdK6oGH8rBooxYY9d6pf+eI+qp4G5GwbabRGZoL3VAi/JoZIqhYQwqnQLX5XX389oN7637C8EuN6FYqVBQ3/wGDypoxWKa4yG33z7dEEs116ntnxRCfwCXVBTCKzkf57ttVfXure4FpELeNzor4exx0Q2u7IoNAvU824w2JnqmYdtPuSI8xhnJPXpJL67FP+nyyFDY+QCEgY7DzApwIRqWQ9mm1IOhlvZn7Lb8dfW/g03ttJJ9r3pNg9bNfeW05tSDF3bQ60uzRTP57eLrcPkvQzlotXW5p79HgxsGbxw4dMQMWUSjeKg7VsPsn35YfJTPd1ZaJzjZCtCGicTAaI/+zDA5oNkcfvCBRZ1jcqYNBQV8qZGCcr3+kkfMswBSxx+69iP0jS5W7d+m2RV0gttFQ7tzVFNm64WViKy/D7Vi/l7g/txF6y9Zkwz+Ftufhc3NL9Yeg8067v4gm0I8WUo81544nGlyptHJyZIEivSxUKcM57TufZe8bfHjlFvhU0T4Hzy0Qm42y/tS8+/rNDEUX0EHDfT5C6zGRUil6VX0sourO8I+kIxZqWLGYbXjnBD6Wys3Q39l4n0vCzw8/F9GqPRE+4nGXfgKIDg/afOfevPIIkKEPE02nn0MQfjuF3cfp3E1GbU1yZ4VQ0p5McbnX51QQ04PM+luUHo/dG2UeuobWBIkYzK/6ROmC3bStvPDfIUm1q4K7Th4eZSmAjTAamvUMa/1YvKYDSv7/O2zTuZPTUfPcHMft0LyZgx4xc+cD6FXvJCukBiF92KkQrpkSuo2y9+ABy3nktwTyn8ChNL2IJVc/QSZLv9A51XVc9wNSWTZqJaZqxQ8NiY/Myr7y5ujpR+SjgEPcIC288S0c6tTC89KmWbG0xttx7WBsw5MYtK3OezGU9QV3/+mCrhyT4wyg1QW+XrYl7oh80hVh9XnvfSa1XVAkCJggqhZh4LvmxCCMKkzMP3+AnfXQF5/IMdob8pp4+u/phnr2nAWvQsHmCAwaHHjzL2tQvgAQw6r3hwF3hD6vKr1JRgKHTa878awsreEJ5yao0pVYtMvpj6LhIXdkPwUpPIQporFHohPdb2zhvz0ewKRjo9FV+F4uu1E9+SfuhNxb7mYigW22krSQ57nv+f4CoO3X9WG0jDqRdr3INGJERNnoagjW2UuXSUmGq4IgqB9Jw163J2zCR210I6ncy+zraNC7f/98OSY80zotk+BAoUXtrtVUMgoYCo5b82nR/lE9uydB0bQcfQplfmkmdpqDP2p7Olvok2hHqX/7Q543dc9ogJMhxMgWZK0o1ty9b9nz4W/jZqKBS7SJr83GsG5EhyQn3Z/kBbeaSSvePfpzKCQygjqr6RId8ONTSn/V2qMJeBF5iIhtF8wJErTpqp300zT1e6bqEODNpS5vEsFcyJ17M57VsfWDwz9lnHu+wSjfGydV5MnSbKu5ftfo2/KKRJya09Un2DllfT78TL3DFG5rvrmQP3CIQq7wq4NCoYRAkaFa2+b/kAZHgdxHN2LbH/3axPb3pGOiF6hrVkumANz/gQn2JbD2mguPLxbmy2CSoxAfFtNT82PbOeit18hC/flx+TJ3vfbzXYnrCwCsLj0WPYZU9yVpkyQoH94ApXjOTqOPTi/YM1YIe9kxR5UUmu8neVz8Bc/HAT5VSUpfUqzvqnEHVhObnxFvbMqGEomNragDMyzQ2b+POLMLTYgXjHQpQ0Y0crU1RlKoSXGLsiv7nBfu0lZiJ3UVzlbeLL/f/BY2THAAVCxXgglif4OeCXA8K2ej32WApzR90644naBgKUcYjgBUozsqahzQdQ2gzX8B7IvPwdhIA78PaZJeLUO2SoCwe6cU71VGo9csc3T4Sxayi+JDfanAxRQ42OSl6tbX5pmCPhxIonJHttHwr3jJtytyquJMVNZXtU0RaFt/beQMtiU+a8pi4yEjrZKCdk9sa7rxtmxWtT1lUBm9g3j8vARGs3nD9CXIZcho3g69uv/YlAhYpRHB6+AaWpLPOD+FsoV+m+EPWZdAl88EjuBKIvbmzVZ3kcWPTbKP1juJ5YjnsnIIRL8uAe8NMZYjd/NwUruR3WiehAZEe7NA7PF+yU+vuSoOvFpkH8jExzw+KZ62yudszNDgHMFLA6w2LcSyh/gSi9268O7ffyao0J152/myxnEfu5FBAgcqLb9FtoIVPR547nKRPfsOwm/JJvo5PlABlsXKXBgRyAKHg1+1KnDelmpc0gWjV3u4Et3EvrrA5XVIoHKQh5U1UudTXj/i6IrMMdDAx3fRvtohYB5DRaqu3oN1R7vBeFqE9/aDbdt4B89AYpApLqAUMth7RxzJ/kIWKHKafHAWNpukzwoc5TxXqESBCBea6Y5ZzCAQz+C8cqdo+sN/qnchBTytuCNDJhERztIcBiDRe8eao5aYGJuuTxeKCjKN9nxoKjzP7IGWWHzEqMdlabTFyUSJ+Y4poqeOE/TeFiy7JuvVC0azNZJyP6FcwhhqYCzU5u+45ubcGB0xyilMBZiSMm8X676FYmeJsUneBmOyJPdphLdeLtgYJZ7YsmryBYJHChm3FZC7xyVUEOQz1rv9jtee2GMym4/aqeQjccrF2b7wSaGj1bVuGgLfJoEa7Ymj1st68s1gPvOfMeOvEIPWVtE/kSrhuy+sLB+LkzRY6E1BPaEytE/Xmiv1e52hMXmWka2HBYwBNgSf45jkKqFVxPMnRy0q/PQycaDyvlT+xBY939d1uynIKh+9afgk4XXsX4f7CCpQIKBYWie+bJP4Seg5gch0CWgr1G8pAmA97jyfbhig4bh15KBUROoVPNpVzVLJovGjkRkYFXs+25lgziseGVeazfg0eCxRNEZkNEXmVKk9UHCXHsA1U+ZqXNDFuUvQpFYfDJlMpJiwdC1sWDdrKCrpogRuIUDOZ8hHcwL8FuZEK9lNhZyMEB/EHWVIevoFvm6olnqRrILlW1gjFJwF0IFlgb0QAGbKPqVVscavyUrumlXl/T3iwQBcirZDatnxd1PcsCZg1+fr7G674D2nmGx0k3vSw9fe35vMuxgmgI5qs7KrlqhfPoMUGW/gtxgB/oU3/6Yf5sEMj7NJadvNPk0ne/4XK/yZcZjQm9OoZJr5POc95DLj00laoRlVQ4++Bey53HpHbo7TpG3gZLkx5I34gJoGtZ5958v3Fk3Lu/R1dwjAu43Xm4wWA2nmQ1NXbfcesxJYSjBSL6V/URKmr1oK3a+fCxpYAoR7pjBJH/RMxDmJp9r3G8UWsU1h5jkv+68wYyPedgD3wruXczvHvJInLEfVwOsFwuG2heoPzd6bjL9scb8Ep2n9HRy95EVnAgBw38kf4BT3A4dhtoemoF1qWHpVLRudRFV1jkr5gE9uTxTNxRHZP8BMxUrR6HpYmj13fjjb1lRnMdOJxzFKzQQohUJfH8htHJinxQ+mAUBhqp4tNKsiBtLGIYXUTDC4i2h5jnK41RvITgVjQG6RhPus0xh/DKhkUYNMBXEHADf6WFlNEbwpKztFh/bn481C1oiXoxCiJsIqb2whc7k/KvatY/L/W+WrklSy/WoRTLKcEDMAp7w6Aj0u1Ty3toF0VOMD2UbmVycXhqfURMe5B2aD5L4kBz/TgBxj0wnbovimtUxtCQVzyEOnB4R0jnXBXOIIyc3v1O6sgqWWoNOlccWeigZeQ3PQNhxx0A4qgzFNPq1x/CJR55JCZyaI+V720teumpHPFqO6bqe922KpTcHJrNaeMwBF9y/KBtRt3m7WmSEzYSL3UY84eFGKYitD/fT5+O6nzMP4szIMTqdvdUG5X8t/6ySZPrH3G1f/E1bmJN0LSDBNgzbn+70wdURUpxSwy2Ikh204QtRrEtSNG4BqvSrN1sbW/fH8ZsWAcwyy3lbJ3SwH64y6G/exfNkiN+f7Jy+9ouwDKcw+bhncWX7xdfMhf0EZeOu19k6vpTKm/KywjGjxi2Y3wZ8284rHNVNOmOeowdsYgz4o10kDb7FLbHy/g66bp7RF60fMyNp8VBJCE8xuLe2QGzu0R5PEKHf5/3DFnogVaZ4NiOAFbe1F3j80gYpg1zpMI6kMbhRUxMmxqx4M7K86UG9xUiqHYZEvJBeP6n7MmBOUvttWIPGJz3S8SVleMhelwJafEq4Mw7F7m0sD33pOrOAKayfSnf+Eyw4+JS0VQzQxqQ7P+pNUMpFB8yy6KxkKEebN0VTRx9mhuXTVtwMDwxyPRVFBs3A6Y+VHBoQWQRVTX/QIEKTHloXkgYtIXioDVdDpmh4DrTV+I/Tuav6QkmYhfuGM3/jwoFecjOW7ncePRqV5Aup2h/MTNUSw/uWnwAsVWcSbEniI2RPkZa5lbdQROual0ZIIc4MON6u4IZe5IVUZ7iN2zQRrBzbjX6YXn3fz/75aFWIpozCYO7scR0SyLfpZjCfu5Qoug+p+kuT7SWTcTyyG8YJOM/fWUWDz6o/DnxMAp5qHZ5VSE5gEU9odMe2mCX1g2a6D0hb4YDYpc4ovwAhOqmFUjXZofCRGYR5Ms2/xwi+NadNBo1SGY/BgFh+gRPDXggAyTycy/XHMz3yVSfu3Fkcjq5Q35nIojZARNw1TofcQFZW4kB/IwPk88ANR5L/C4FDhnw6A7eKv2LQi1KSuLva/ty4118Lo06puHHLqR3VdTR7eGEjNsRylltDPmvbsz0aEuKj8e1YLoDq+/LIQaqnQH4XJV0LwfoV23zIuyq+mC/fMemr3YrKCD16DAhW7NZ/y7R7wSf7i79BQCav1Gwogc+FfeqiCVrxsGphy0UNDo8OM8TZYSL9w5vVA8gQqOxpfk+BPeng4onJ3JnviY/JI4XRTnZFuEHbEBLOmzyQUG1ANTp7pKDiHE6AM99l5rYY+RgPzGz1nBkX3eCGbP4EhD0tq9uh+DH5C/7ZKybDdgGfZiQRdr44SFLCin/QA0NsyK93VPmmkScXt69fG7LCuU/cay47PJR3OXgMvjjc3EqqV36gg4QoFyJ/qembvgGps9/rjKMoinOwgsGNXN57EFxkhD/JISVPzMdMxZfhr8qS7BGiCNhnLwCKbTwPX+xNeikSEbksygykrU0UkHX1i9jkNxSDoppD3z57bxG0grHkV+GMcgUqa14CiK6OOmVT9hyui1p4ld4E13Oh6pD63s9sTUTWrWaIUzXz6N+7fEVRuwZtIxxaAI8sDjvwsPneaEFz3+XZmE4gGonm+JthFgUXDuER0GEufT+LmtRZ2yzLkZzkLDVonb9mhy4n7C/As/HHmfScooVcc1ZUTi17hvNChSgmWz34F72hRVFZ0BLJtOlGi7yN0ZTJFG4uUVYMGUjYdneOUlE45YqUeQYpTRwJf7o8OApOt+auWjtYuz76031ctdgHPU0D3pDW5ju2vq5RymkkKMBU6MTMGhxo6DJy5CSPvRJ1NqMsyOd9l6TqBEpi2vaFFq3rUw+HIRNFq88eBuuLNHiDAy//sAbfjOvTyj7QX8roB6EMDtdBLR6b9i42ZDP8quLLr/JnnO2piUquvvp0ZPjmd+GmVISUZ2EM1cL8sNEkTUBZ/rWcwXGlo7myxVcXAVMZEY7RRD1wdfFgYzoK03yuMDfDdO6urAISXEQzHSI9Md52fSFC0xfc0uSsqF4cVRdje1qPJ60AmFCTcejgeQXP/rYK8Zf0ome3x2RoSTSZaXzq2PhUdGy3FDV82Y0XdaRgwfCZrbAmGeU7uk2xTJsl2nTPtacf5iM+TfbRlr6NKtOI+okzagpBafoGe/EOBpJIN1m/B3wBvJ+T37RIztQ2/wFyMd8Gd+ONkFfpkxvOKOyRkgpY4/6yvNyJ0b2kTQeX3psECOgz+lDcOt+qAgYFFvyw04nVSV343ulaTMSR4cN8A2oNCrDpESM+SYKW/hGCBgR5UzSmlngn7/WBkg+1UxyOGNYR1CXLKCGtIHUPgFIwIXG/NdFIvMcR+r+aPIFFLmmJPcZqnvY0d4K8HZbq5HQiWz2gdAPxhqI67WPUwWUAO5lFAlpmIx+QLHxtS/1dAXZIpfhoX75FgoPBg75rUDMBCE6Ah1tmw7PEDD39WC/fa7MEx2PKY5Aiu0HnkkNMDGWj8GMlLbjGnKBNn5R3TaMUUuKjAynKZoHRlURwkQQ74n8/M5+EhFlH7ZRpNju35Ifk4u72OreWOx0Vdf7U+ylzBVu4jqe+qaljKWMzE1PfgAPf3GtM3LdG+ejLd0n5VrjyVWTiZRTczp+r2dy5FDAqtv7oXIYDC9ZTMd5RrZOCU62XUn0R3bRFaJ9rKgsSqz7FblbevaaUno6xXkL0bjDO1e9c1UOqPDsLgimaiUloEJ7gP+pkbK7wLYV6N7gVOqeWlIlob9IxxB29QjcSFDDVCKXzs3c/SZV2k8R89jxHDPpFyK1zV6NIQEWg58XAvvSTApewURY+h9VnyUp+9ATVayQsuSxLW5U21xO2GbFf70gjIx2Np7uMaKJPTnKN7bXGCm7qxsZ7oc0NsjsADOwr6yxEL7wNaedl1Pm9AgRENmYeMYV4WphX856w3S3hFBCAtodrM4lJApLdFVgPkKHfyKOhv/RsnH9GMpiDmQFhX/26YlcLCuo9BNRh6pSgOayVLbUKac2QUzZhrXYvaqRkHGpVxhUCMK5r8drM73HMrtWDqf0PziYC/d6AmQuhanO8NmNkg0R5/3+GA1O0uDi50RlfWk6Fx7bSfRH4omGyMrEOaEjyHBLyQr4F7o8IkbqSxcgKjw1t/T4C/78+26prClADwjVq/r74rRrhs7jUiYigHOAKY4PHd+WoVNTy2ZSB5h3iCLVdtgst/CcoFh8OnSV3Nf0r6R8fiWXW0D6RSUt9qkfK2GSF09abAzot905179TXnWbZ4wg1XIOZh4WSIiNU/oTK1cPIjAPa+M7IFLJlJYIzf2neFoNWXMycrvUzMUQRLSEzltEC3VdJ6Kp3bihoFbeP+O8G9sQ//aD626UB3Xf5UEIsnjwhAkNxlKFZpr06XjgYHir0OVDSg3rpuJF3aMSuZ+RMOWynun6Wj/3aNEjF/eCcKGChZZGFDTsenOrO9shQ2X0GaNgq2gy6q7blskyEB6aKYcVSGBMK5nxRdlIgA6SFEfdmNF9TbJ+mgPNW9tS363FWUxHDOl1GwNmmF62pL0S0wEBSLHN7wz0iAeqP/5Fimct0kDCJrRdxVgdlXMbKpcFSKLOMmX15MEF4FtIgngHn6O4F9UkqDHSKaQ/cPNVcyVJmok9gBo/MWsDvT+y8IsYDX0bnDHRVNJEHAipaBFLA7aDIkleWQ3PTGg6nMi7Dxmm43KSMMBuSANtLTPKA8qRSD2fiM4RgDxR4h0GNGYdIUuFOSJZ0W0zNdcgIzHCM7z69an4+5j5n74z/eeFrpHm9vZre+lbY3nuq6PBvBDZc8z4ZDVjN4OqmTOAXL5HmDsmkkBrj7MaSsZ/fiObxD/0r2QSYt+HcSMA73X6PzDCGzdKPBvqnCurDhmZHSShWw7tAU4T8q1cbnsx6oSqmi34diOsmwgZbZIfqAGEk1DI5dMUdcoZW8dlVzMJARB0JPO6XWFmQVsBCCpvvt/L5LYCn3CtXexcgzRco/Uf6x3/67HYKP/GKkpcYTXTIokVblvcQmnTk+3Rtqd5xNbaT7yMOXgBb4fpqQOat7GvUAod97OBFgH55fYbcYUyFabxtCoApkVejv6KNoWgL0FNrswdRtzeJanuoKNONGpG5xcYR2KKyG/xK6226TkEvzz6jTVS2F5/oO1kL5aER3pA8+ZE7Ftb7QAm3uxkoLl2wS4sJH0ZNmfsLwGzK64PH0b9aQ5lbSG0q6EbeQeSbfCNpFXi3inqNKxBDOSqhhQxTr4iIxl0wUQ4d6zbon7QwEmWS+Wrj3I5Wz4DFwT8RlIE2BLUmfqvQWnIIgnfkSDYrU9zl+Rtt4Hn++VjU9SXTc3DVu7FCQ5pX5vnvUlmvqkexbjErx8Sp/UIt+fJZwqLfDCubHaiVeW6xdVGp2eMbDAUgYHQpa0/hzDryKDiPWBPEaJdK+ryJHK4wylGTrGENB4gyV6vJSABr6EyOa5KKydTR1s2Z0dvCjtln5qRPGxhwW4VmWu5vQkOygSnUkkU12rXkw3XUsCC4to3OSexapo26w78I1zeCnLg26D2iRdKsjD9JW5/mERUDSvvhDMhQDSiu/RvEZfFbk2XPiozn7gq0CnsSZWLl1Yv0mfpU6HFa3p07zbinbOCXUWTKQABu1xnWVBuOirilTfhECqMDg24VJ4j+Wa8SO/7XOkJ60qRcXZRg6jGsdMKoa6hCzXnbKEv0rWJTyi11Bd8JD22yOCn6a4sfKFpF7sPO311clawxSDx/CVYBM6v3y6+iV0msR7Pz+mSe39Gw6i9ny30smJXt8FeF8FjjB4+exRBL1+egh7yMlq/imIdCuhbKwu8rfYWFU8AguyhN+OuSrUjgpINOu35z3fiO2llqGFk/TBcpNZfBc7Nsf+xdShhEqXLchaZngNhIyGZulALlqtVdHZRaz7xsRju+3xW8xz2e4syqOw7Yv8bJJxV8sqDncfOInD55p5BkOXMIledPzXax57sbDLbh5yTUjT7Gzr+YxF82QEzeSy2I5H4KQto+kQPXMyiWzTepEivCUuo6jfwJT/Crxypn4VfHX4ZEo/oShZQRtmhfyVJvad+LwM99wdiD50adRc273VkNwIJCbSZHGIb+STpG9HWQMBvecUiADSH/7bm6kneLoJUpn27vJSJUozHg490wiWzruLXWUQTFZE0D14axuKW/1wUPYZ1SU71XPdvklVji7o11OhoWHFja3TX//GPOc2LBBgI1kDmHz+0wzd2V9WJ9HObKBWnszli4qCDxqyiQnF6rfnPwVssvt8aq8JCfu5YfKEiiYL36KBCSiR6tnlFtp/TA5/WwHrlTSG0u9erjb/iKBYyg+sB+i3jcBlawwXtr12JaLexyIFVDPI7bYQNBtaTuJEiiKuxhjQr+iRML6iOz7iXRzg3G8PZj9DkIsomZJ6dfxbEo6/W1+mKI/nrWX9ZktLVSyAVuPPbNGpT6VScMu1wrmUMXn5YEYZQ9sijMmm515IvoAdKdLIXEBjaX+3Qcy9moTZpU+E7egejzGreXcq1lnR0iY78WjZlWIr4iZkmL4JaRXAy/893AwNpD4fgkrOfPFaxEXZbXj17pJ/XnVdWF9LMx59e4T60g4GKCsB/glMvtzDJyRNWgVVhzaRv5mrLyT8LPl0BbrvBFbhFv4r2v6Lrl/m6jsDUGApkv3F4WcORWePvcEuYv+UrTa1m+6DCTm2qyYTL4A6ULZnQ6sTCjbMyodujC0EqTCVcAX5Sm00KuV1oEEL6yDy+L3JQoKv071NCpTlXJfB7Y6OAbSq1jZaPHXRcKplmzz/KdOz99M9KF+0IfoYlf2mhCIp10FIXII0ju/yXVoPlx/ceHuodDqN6kCeSNttXiKBIHjIyQ83juPlj+0lX9abr7D5MsgWWHW2M0YR+UauNSv7L2JZO8uN7jJSPK68+hmwoAkveZHPeu6e8+YQfOz4N/ChXSqauW9BDMXCgH2wFVhsnSl2BNURQEezzEzgl3Oe+BENDFNvRXiM4EOl0uOZzt6AJeARvUVRbYzV0NdQLnnhyR+U0MxefTpB7xeqdRJ4Dy1RkhOpLZaMS3eF3waFkbW7ZhOTDuMaua1E3fKNxGuzH9/xNPh72xx1iCsx4sVU8s76QLlS0n0n+XhUbGktbuteEqL54tBCKuCOcYZEArjcAwsDmUf/PL5GVovHncqGyrRXHeUOJTATmck1VzdI1W3Y+7wMLRjEzLq5myWzXeWqyJ+mvyhnuzz0ztTKsavayUB/0G7W+L2IseTQEtvliuxwjN8P/2yhdWN67DbKVkK6ZQLvtKM4d6SZnhgYzNHBakbqQcEmYK4aWjXZ7ZmxYUP7T946eV+/cCLADkFQOUIHdeZf0j+XIsMfzxeLp0GR8nOJaKr57aFOXQEX1Hx/hAwPYXj0KOZAABfKJLObRzCrenAGNpBHvcbJdAfhSz3ThdCfu4Mm/YS6Q2qMoLFoRo9EePvcr7NEKD2dLQ+iNl2yqOXlAiZXrPlpkocHrcYGc8WwAeixmMo8fJZfFAFx6xOE3K4OHPph9nD5GRcLuSpc36M8E4GXuujaSqih6SxfmtggZV7Vyw33aHTPoCItY/KvdhdhgoQuiakC2wfspSAZBDTGxBlkI1OJr6bauqDDDICIPXAsUb7FMxEgW6U0LwNFqSqcQNFOnbxm/zpGazts/i/FRYJJKI9COyfDjdlyJxX1Wdf9RZf4b7vtkat3XAvYQDVtrP6Izm1tBbwP6XNKq+kYxTk7dqjCc99bHx7HCGh3tOpTEkN/cHdJJJ5UcsRX+TEat4FCqTCSCoUFDGksourGb0G6XTBkFzicDEa59y6iNC9yp49uuoyeLBGisW29nPtZq0mD8ett9XtqS9oNz2DSXSpE1NIEAsAXnRVdIot0mJhp6osnIkbFPFtxycS8xRWhrppXMNMS4AqyN+jJvexnOikANMDcozf+fuOFF9bvY1mXUeQpF/v7GqbuXU1g17RcjqPCrd0OvjdQRzyuR+4TFXQT6zd476pv9W2ea3xF1p2amoQbfFjSqYB4a8WWqyuO0GqLKohAoBPnx0hXEEB9H1RrzsFSww4P2xGE6YabUzs3PZo/3olqXch8M1EpBcoMY4ROcYIHwTQ7r8Uf4mh2TWukAJySLVFbiucAybGpuvetvA/obsrpjFPUwzTZMQS463ztRPanxALot2nvzLFECsIGWp0gBv7wNcCdF0Kqnr0iREEuEL2cgJGKrG/mOej1psVjRGLk1YprB6Y7kEhuvjGa2mAFO5jTP4sQv3P5XvdFnyhO/H02XogKKZhT8jXwfBV9LbKksPpRXXqlC/jg8QR5OOoGmqM0Fy5k/VsIZlJSkJ20k9p0ObxVmxxV81tZKOloOc/iH35CUKyhiOaFPTlVLxBAoCSHOaRSjF9YyVsFYHC8VkvaLgXBmzXzmN5O6fwzSFALycx3GsL18fJdnnqQKO4rQUbmL5sIQ1Q4p6ibTKg1YX9BPQAvND39gho+F0AVUb1W60eCgNZ5IleWiEIAakNyuUpv153tDT/HKBIZ4tXOT5EA0gshu6YNSUXjgY/h8LaYGEGrrIp0rrfXs2lEKZW2sAThiRgerCcwSVUVfAyElemF/94iO8rQiWyTDPuxbYeA12mmFOF4xSmJrSGnE6jB/SoKjiotPP7wlb2+HGSoPnKMnRuZbV3AuNa4XA9ps+ksJm3pv/7vx1xoE6dmO+Pq0uCz0Rr/GnTT8zQ4uiis5aDh2J8RuICKUAB25DdJnuqap2GwFhalBtj4yfY4d9h3EpM7V6E6P4gthP8MUWdRC63OYtT6Fvxwnveu13dHd7ERKQoOo0toRTt4jpqb6bcgWLlEr5N8zz1S5o36Hptp6f1MxsUTw1LH6u4aIlR1GdbIwfCQPicqfNGx016ihisruyAkaMVZmtgtrS8pZ+zOcNnpp+gNK9+55jPwTbt932psTBJME6cLpNhN1K5xGDFpI05DxtUM1G4SppjOZrNiZZtmEbADddW6ygGW2KaR2M5Gwp6plZVYO7jimvweOhkmkHg0peHSvoRdKG2M2ZmBs1M2myh76Pd1NJyRmOGm3og9yqByscvH+b5GPdRiiFXfXfaCQzUxEPvbtERXgCplXe9Gm/kq2ljI9jJrl8wZNM/OBxL0UaoVgjmptJ8GMhD5ZuV30zvV5oGCkj+a5qy4J9f2M19PfJecAb6GsfzuG43ryPl10vLWYZj17T5f7QDlv9L3VdqRrrKD3/iQBk8jSKbZGHQ544FMim/5zRN/oMrUHbr9XxzK5004FLUmurWnbUhMXSu+swGHgCtVJ7nJSYuEdUK4EjEFR5w5NGhUZd4bgTR+P0IPVskRLa26nxTV3m7kxe0iaNBKDIm8Omr5SMTEmHFJiEIkUIuiSK+do1OsOUEXES+VR6wiG4bAliTPM1SrqTZITpMSv+Xj5OM+O/1KXG4FilmxJJ2Map4U+7aaLASMECoZQgxwthDALhSnlbg1sw8+ZcT4Jdvblpfembc87HRpFx8b/ZspCP29BmQT2tSJd5bHeWnWE/OTmpSgWsm9/sOTZpmdm5qlq+OaITgQ9tUCIWiSvtx3jcAHrHpsyNMjGFtk8RbohQyTlNQYyvcY48CuoZMrz2Wvo+jFfkQECpaEOY5fu/risSO1kKfxvVZQuBfa38p80/BQhck1LmKo2Yx4F3MJUyFnjaAdF/im1ryDawaVJFzxPKCetkFNLvmSGztHUtjG4G9h9/FJdo7vUzNLmncUSZnW08qrXr1ZHzWl6h4X8cHGXh3wpu+49CnA+hGTHgMPYQu/9hdxJg/F8kE0bHX+2NFhleBwxEb9OnuvsRaDoF/aMURdb5pY0LM60CsTC/E8nealJ2te1loZAdslusYjZD4+GgIByochooEefM7rC5wWRbmv3g3tRhaaab6WBJJTinly76JbqdginrkoEb67LA1vGIYa/sHH6Q2RE1uQmQrazC/Vkf4JdTUpGGkSfh+wUf2xxlLoiSnaiuCOIfNP2N01Xk4kpoGuPeoCaZjR9bV3IDiPdI4rMyUsz8Rr1BKnEc9xpNglc9SCNoUu7IvcDAWF+8dOM93svh+RNdbi1xgVvmrRpjHw7pGsTVtw84ZCOgG01wOBj42T+3vsoceobxHoYeL8DF0QIKw01ssbN2xBCNV1VKaEKAld9nSIm3WIR2LFWTAXd9bJuisnA2tvpW6JEWlGzJi94YTzmfD3PqEhg2JA3t76spErDPzBEmHfk+ftca5afIKjZ68fdL+22HStPWUG1SQaEiz/Tu51xNRi0qXOYaFlcZ/xbvDyv1Jf1OogRextxnTSW9hXzJ+ks53XORURhjMRz3aQFuCqpELsft2/kASd4Xg5Uu9ib5/CWpX3PsyfJRbA3HJjTTwlPo3NQ4Ye3V1S42SoICSR4lQBn8TqutO+zZ8pMcLcF2XZAg1vQAU4BGlC2RoJWaD4Lcu5mKcJXbanCl07V/HvBLj4+CGjSjOAh+Pny6jWweUiKxhMSZCNHhyq7gkh0JpLflK8/PKowcIzaS/11qYP1dJYP/S8JSFOQLrr7iUN3LZ2a0e6J0H/GD92N32WhZ3rsuXC/EgtGUWrugzkzd0s+kcvNqkPA1IFYkIdNN1HHKH2gn+AjIZb/THFi8jFa2ZKGjLZLYlebt8Jc6tWdfnb4XNxtwABo2QRzPyBEVqWDFRvfpRvGhjlafgfyixDMzCMMcDYft+7QTOXOwqQpdgfdJYguY6YXfbKtnsCUYj10cEoYxnaZjzFhXo7MGgJsrsDzv87V9qUreAInZyScSaa8vQsG37Appxeiy8nkwUqN+Gn77On+Dv1FaAFxXC4sRCvoKDYR3V8nn3FBhFBaUsj44n8bpP1rkuGaNTEkWegE4nh//1gTjNlSMGjH6VQoMMPDAULgXWYyqO12sNDndFIXMzsCRtNeuCMH/Zi/VBRovwzgYytgu2KgqK8HyfTgwRkD/QQpN3fh+J5aOPuHNwFjOew7R/PGXeiL1BNuL57jLJh1VmrUEtmPd+b13FxhwV1UO9EXC+fQ8fIgU26SW0pSuhJ9Tjvzyz9u/cx0KEXO0hhjpNy4374EUENybjA6qqIq5dAw1RtvUmx+w+5I0APdvtLFen5XDJAwmrcLcDiP5n6A4TMV3kModrpSJK6In9tsFvUedCwZTLrr9amaC8zUhTV8QowwXF8hSUSYf6SdgATmyRMl4WOic4E1zv3gZJnQ9VN4RH7mlcSNx22vNkOBE1DZyXsWA9xnyDIE1wMjwqJaZ8G6ENdr8+3sOvbVNuusEohFnh3pQ4fmmf5BF6z6bhkJnpK4Hf1D9naO7aq9yrRh5PnRmM7HTMLoK2hPpUHc0O5JhgS28+YFmvP6/HOASuU9+dSJcgnbecQ5R0r+lrrOT0GZ8cjPlJTsE1o9rsVGhGeStI5rhwNmVHfDmHAHpiZB6yQlfOcc97h58YAcP0tIuF7h45du+n3YAZZsfcejw3uHr0aA6XL3QuZvEFjJRFJf+VHUArEE+0H8UAq7LFHwWnXvI0+c1feOxPg/VrVZ38ypBd3j7SqbLeHacwzMyf5eDJc3IwR4qF223QKtZs0O5mNNZ/sRsUOlnHY/leMjv7j9LF+qZubGSWpgaU/V0Plk4J65YJgAMPJgY1BExDdsZ2UErBFer+uOx/pbp1xV+bhIGntIazTKPq7XdnZr3B4ZH1aje2u/NhavivUP90Iq016qCy2+vnSh+dMpGSpweDG/CdU9XkWV03XsrXzhnPY3cr3oR4C7QIrefNBW720SGQv+YgZBi/tk7cr94DLiYEMXqSb57Qr4/fO2pc39wUVYjR+WXT2dN0lHuKGjCsnV1agoUruco9Yp3mrSHOT+3Isx/UTlFOQE4aolfc747GkwfO9Sb+Wb9HS+m4gBJ7mhwaffCwkmN3pqQw501Q8/oWmyQEeg4JtXPA71kek/YEwGBDBLcnKxUwtFLi6hAklKUx/MdZo5nkhcQw4qmMCKGuXScp6bOsSeTIBJ3kAl/vEjKWFB/AtZ6Ghgwdai0/iNdsZcnNGmIfItLru51hnyLpxylxWmMeQ19b0mwe+2srvK0dePNKhd5pdtaeZn/OjGObqyOSUL8WPxRVK/s024vEJZWjc/1ShXt7Zfjz8dAbSZ9hK0jz2lnu8cRjUxikcu4OvZmBgujTeO/VgK/olnbmgtIqxEXKQIhrG5TYs/Nu+pMLl5bI3AmrsAAQgDmntMy13dpfhTxFsop4cmoh1za+OunQXd5JccYlE4KIqJqreuc9w/ZN3nzKkFe9TlQ2mbMT84RgqE0FeGZ5KE4fTnfK9I1R5v9CyEwRGRVhuiEvQyuaKOrUZWmq7zAfqyvSvqQ8sKpb99SQlkU5M29xRZFDOoO69y8n00I/P9WqXzOEtXQivz/DMPSQjfsjqxaUOhh+pqH7g0IZYe6xLLjB2KQKsdsNcgfa8q+yPiqrJkCkE/fIxFQcRtUmjTF80xHG/wSan3jHqj5lXK6984x6wE8/M8prK7+LopHGUfx6C0/TNF7K2Z08MczIqBBkWxRUhs50ZwQG60V9H2Pq9ZxkD96IS8Vw7Zl7AuAKsvtb/EFb9OwIOkL+gVMX3b1S7dTka+G2wP7A02fVfDkLXZ21+vuhILKLmKOd4OqGp5rpjSzypysDfI0am9X3DFK8+AmzRgeljgIY8ojv9e6gjXUhzzrvu4q8dT+i7WnW9iL/3Orou6aM7U5JMf5Llf7645nsY8Lx7mzb9MnBKANhxb0szdwDoMZg3NIjRUJvpkiTNUunIJlHrHwHT9+iA1K8fQyEGqAfTT1ttgJtlfKevgFYhx4i8RDPt1b/afj0POpUvhudu0PRcdHirQkf6BFHGcrsvQw7ydwtiZxtYVVDrS0CsaqaySRGwPbl6ONwwG1tUV0V82lVWAWCPN0IWhMqBNKlk1W9cpjRlLHneA08LyqvWx7ZgBGBvW5g0lcyXTK5vpi5gCytBQEcX3tcxJjnnr/UwVVqsTPN/m5waP8479T1GRLKQ0PBFHVLZ2RHvooQeJxQseO2UQKoDjvlxzV00bHa54KW/jM2lUEB9GioHLJPhAt9R2yvyhQ/qDkCEl9mPnpY+zM21DLAUSjq1yDH+QiDjFXjEDIPuzV0LJ9dEf4S+IqVxizxG/nNZJVy9dSyIgQI+nkQ8xGz+hc5rKhkcreCXuriMAybEDtxn68kUfJ2kNec4MFusLzYMCLnWJLy3iGz/6AfkJ1SSrOjNqSAM5GBx3NL0XjlVuivOMQBwBGUiTOWjSc6YDEsJytoc9Y36heZlpAaBE7pV0lHpMEl6pXmK4cs+RP2WBb72wXH9tZ/YZNSDTvM+oXdCOsfc76UnQLotR/igdxstMLDnKDvY/vyAvyfjUoqVsnyrmnjNhs4U/dXykDbkE6Ks6P0+gxtHDPanoTis16jR97RFsD8N8vN2YgNu6Aic6n5miDbDW6p9gRgarTrtmwCy4coxqRKScFFDEI+ma5Gb49ZZwX/yo2U/1IrxtjwfHOyUefW4KbK2tBlNbRj7dtvDeCWIKA+Y/f9a5RoXv6u3dn/J38EpbX9nGycKWEqF4h41VXxJQd065yEUkzA39dmh3FuO+AIrLu5vT53hAjPYENXucN3waxU5oZKbetUaHG/tWyyrp/5ypv66fO2pAZ1jj6FOOvRTvFr+EMKMfMEh+UT11hy4a1vvNfmhDcf2OpGnFjjGhbj0bjZPbadeOJlu1FCBSt7kV/gJM1YjsdY1iRfhCu5KG23aFn2iFG8nKHYXVAPe7Su2FPbdi0T9Jp6tnfqdr/GnQDBDxDnxMHdZQI6w8D1arOrl2j8rb0QO3TQ63uX95qys2aaAf9krVDJWp8a1ITSEkz/7kHCvOsM51eikUmPG7qFC5Ll8r6qZc8pCXJws0/T4bqs3LNnc782W2d1EglSpYnf36MWCg7E0GIFOVNtK1EkoeX/CBj7T2XaMJSiD9E51JGtxqZ/o+qKcRP4oXK5e8zPdpSFjM6mBQUP5sff8scy52wL3ideY2NrAdkphFxS75607d3ZvltQCOqBARFI1bAyHVzZ2m0QYLymRZAMoedDSQ433rF5uolFQUwXPrS63RWxudISxk7cWkSnKx4h6hA5K+w+dU+Pu5gvsGUeinBAcaHnzIGVSc1jJNm5fho6FGnT3wTBBPlP8x+4PUqaysJtBIIG+77TPyyjAIWlZ0DK3HoqDcGMCHujqk4cdgfDZWIEFDb2yJMzVf9A33jKzMyM7iINSg/MQHqIrLlQE/ZO50e5AZaR0qS4zzwPAg2CNdOczmF2zaJ2urlxtAz5y68dPVzzixYcMm67/MSfQrOzwr4W0kLT9BRNesqacAozjHRFmKPEJDdEaYpsG1D81aJBKyuZmwA6edViQO4sFXvW0XZ4WecGZp5QiYDco9PzZdEJAPN4STDgV7xGZGPEG2yJX49epG8sTooB/3MBFrLAW0WJzRSDjkIcFuLEMpjfqsLHWz2JilYnH9mFb4REv6CLxr0lDHrWonOspxFTYVRnM7LiAgBkyG4SBGX5Yk1w7Mrckz/zuTFFqxDeIZ+Hj5NKom74R4PxSK+Zja+3r1hpr4DbTrFqg7T4sZc6JPyk3xDuBtRYJfohgWOfxoABPb8KszGKEXHRrnBFPHAiETUF81+wTUan0L0sTSzqUUWirI/f26e4G2zv3iwmDtgSML+K9sk5u1YemPNYRjBEDKvFBdbQc8kJcQpl30yWaDmLtQd0sD+GXwJZQvlXWxNXgqTFjU8iYIVJHKHfgBbNfl2WfJs2eyXp1ARsHWa6OoMHsfD1LTM+guAd1TN1XA+u9ZQVRc2cTRGL2g9bGZLlQSb2UqnErEkE6HixMApBQfuqlXXptcjr2Y/3p/Gz/FIKIUSNHnZY5FRz+E6iAVaaVz2qGubzJg3hhAmQST8qCXsYslj4IZvWltCh9LjsLbu4+VCfO2d1p/EXjP5PZzda8zPqlUBZ4pYb0i4LS2P/TVu6aCcAgvcIFf8eJSnkGcDecJhtQBpz025/e9r9YbKjNC8y3sGSqLMhzr+HohKZ6xiQcRtolr7MonnArVSD2i4WLqkP8CHVZzdkIX18ZoQluKp7vwFrYVMlU9j4js8DQoCCy/GauPys6wv7xsV6AiLxdzSyNhtYGTaEZ6YfPjrwqQPelR8c7hZXGHXmAJ/64ObrQiSX7EOg7Lz/f4LmvtyR/8jH8ar+xbp7Y6TjRejJ6amEUf+fHjXAXzr2vFna5WAU0ZW6/0Dn72lEHqlBUWtbBZBV/QEmLH8Xnv1i+YOp8cTcgbPXV3aERsSh2wh/0hhCoZslRzGGSp2vVzUhVPgRZuyvvCOfIgldoQPt80z+WcqUkkPAV4HFLDlTRp65dD29nXJ75/T7dsqoFOQhBYGYRLrzT2WcowOaliGeyO2Xj8QpCMdLvGEsQWKPDSLow0V2RA4mn6cYGWwl6PPHolZSutlQwzSAJaAxG8HF4dz0+bS6XDzNTKaKzztK2UG/q3mpteeJpZK4IIArZC43eyv3IxD9BF5H2+BujrBC4XulEvXcx1uSIaK0FrIlLyxkZ7gVtxP+HUObygXQhnVzyKXKGtCysfhkpHjsl08VKlY75+pWUh24xOGPGW13qSac6gYTwzSB/Y2lTK9ObxJEgxj0AiVUqb/7+yaYRZo7WsOunX9FAvJGGDUexyo6oH4ZqMMVpn5602tdNvoJCZnjeQUir3t8ZHpJah6k2RUzPEo5244m029kVS7Z+bBml4CmcyelI+kfD+4EWS2gH3hnS7AdTJ7FKlDaDzHS0LZCYbv8KIfhaQQoSpijlhi2/eaNxnF2jg3l5ah+N/hdFAjzb70ObLNemakJmRX/QxvgA5lXeXDl8C7efu6QWtMTrRqOyil9DISkqtmDUM1P207oOmdYGBHQELsEsLHXu4IzdVe7EiIN53DmL/Ds12ZA3mIa2xifUObQ54wvVxMhL3aC6QdP0OBCee8RFlZq+4+B/5+6TnhgrZyri5ip+GUJdLRCOtlrgbG5lal2D4JnbircQUyjejG5HedDwKvDp8F1bI8SfNraSLiUCXaP9LS2T5HhSwBzD3E/XUVHUjEja6/UfecLwM1lgcE1saKNGWWJ7apWU8bgW7cgp/Ecv6OSaNgfMAQoe5d9Z97LQzojqmGUcDi1HMc6z7ZB4mk4IgrPzE4zoSYgNyU8HGqcSIniEN4t4f2Q1Lrrwus8fPuhYtLGlxP+GGmQcMgAZQmhnilLGE3Y/JoHDQTsF3gwWsnpBg5dCYh5ahHdQhDw3HTEMNYgBqLUpzPpe5utvqnea18L1p8ra6BChH2zJ8u0q5ReiB/OersZ1ZTIaAERdOhavRJ86lWT9xZhnc0YQIWMVQ7zg0IDZuPtzGUXnQTj5ZeqQLia4RNJd7sdIEwevUGD2VlZVMsx8Oax7D44AGu67iTRPApFi/Mb0odi/R0idQPekSjFCsWnWSAJRTB6vl00MnKIHk/FX3NLNAljr/RpddGUGmJktw9/fvDid2JQ2Enl++IuSOxRrFOGlFoXYUwF0FOMRnlkg+06+A8lCQwRfw4PLwkX8txQFk38brtIEyJsIVv7V0jf3vSNWuuave/QGbqGzA+YaU0CFzK/tHygtVchZ2/NSJXoMhyo91FSAVSDR87c1DiaqUTwyyT3g5HJY+TaiHJY89PEeaK+AraBSrgW0ISpr08CKe9pH9B9KEZ3ZXy0diRVoIMxyIi4RccUK6ZEnjpWWrt8wMv3xVMngTVOAJZK6lqPtugOzfqlTNJBCq1iKhtMiljjsR1vCnSTjZIYZP5+27BuRS/8HOg/fU4WWUCs0wr+wu3SH13mYZ/uud+aFDoiUHPwnE/jAMq+ImsaIevgFqBRW7uMFNvSgf4bPs5GMmQr2T2ScHbUl2APsQXx/d0i7rK3BJhz80D3v2AVGQiAXq4xSetXoGpsHkMfxIPRvW77fVf0GzG8A+gpFRA/69bNEL8IubAkigGcUUMAvJYyxnEICqiHq8zcIniIibgVlPfTZWvCxtx3NwknwJC7rC7AHCxTeUgDhEoAj41VUHzR7II/NnPaNIoxC+naIOCOT42MBPObkA9ti6qh/Y31DNR9uDlIpGkbOqLwy9wDTjLb4gKb+ic60BZzeACClacBXUqpih8TNYHhQY3sK68vJf+l+oICHtG9ne0QRGLE2jFmRWQYbcVm7Sw05PJbXVu6qlT3gZT94kM8H5XVun61aPa54duRcwkFEUNvlCjE8bz48tftnLaf3JVwWzFOLky8ueCvGvGt/vMHjgywlHeSRmCMKQumz6Umd0+FyFq6ej6nxEEXyggK0iDGR0aNUHQWBFaReQBM4k6Ms+uvrHQ1O0E7DX60mPc+HIzexkGbj1krWlSuzrGR5wPmjP7SpdMUYPqyo7lpxbeYF6+vFmrizllfloMbQFa+2XFQsyRTsnNClIIBjBCBaVy6dxq3FTPUf063u52bQCoiXX5g9Tw60XYCYosOLuU7+nknVHXZ+p0GTHaO3ZnrGWEY++jhmZVSr55vt5Y0SlXj8fcIuXzqgReL9FhJ4fp+ICRsXTVfDMd6DoN7BnJkM2duehVazbajD3+ga4wx0Kxb43aFmqqO5z/7aDTRyQNH4gbm5A9aMrf/Yq8/yF3nJJFonAGtXzHNVnnHsJw9SHWthnRoOzdNpPwNwmW4NGFi5SHiRGhi5sLKLmELsF/34D/WBttGm/hZIbV9UpDifyleiYHfgDsxp/h8JRto8LhJ1XFb72D4YanKC3LN/xQiL4NKu3Gab7KnCdkVW2erzNUfxGmVt0xm10XiICf9nrraMYfXCxFEHr6WGugg/OysHnS2/q2D+tdqRgekTrxvwolVVPWZINEPxJ96ZNN29Wdf86MO3v5YLRHPK2Zf7ER65sdipAC4zKq4dLSq1AwNktoXt+7738TkV1EayR7jOWGwf5ODXowDX7TldB67tGqh92RVIRBb5eUaxw1uAS5EuOLEeh9KtI9MxmzGf1pcES35exytVj024CY98tXwSl1hSJkYXr2p/7HH163UdEIzf4Z4sAC52yWYQcSBRjhL6MmyjkywSdrfcEHmUmy72WG4c7u+nsqRQ4AdQ28sdRx2b7jI8hUbq2AAv0JBvy5Gata6WUBmwR5nR6cKP2ti2B0wW/rAtRUPq7DKHprcUfm5scD4OQQEAqu98GpdhT2IqDfQ5DobqBMQa7ks5pj+elSSJ5QCAq55wuxmnXtDiJCap5QEbTX8glGM+ZKwuVMMc8sOGgjgDbvW+9ymEyLfKbSv/GQdK+1m/BSgxg93VzWK2SNd/U2lQT1IK/2nFHuHhVyKnQygwtCnLYbxjGtXEp4FIcLkLfBAsjTd/AMHu+KmQZAPCj1o1ezquKIXBj52KTVFi1o3We2a3oa4FQcbLUkuSB3UrbBOnBv78+MlZcP+4blcAyRO5qCJJg7YhKSEyGrmxk85+MYvJ58tCr9cQ6cu0j+NtynXfad3GFILF6dFGOMfTa8Qxt5x5oANb57x1Poa77er3MewYh49E9F5im8/lzTu++O8Nvc4HeIAx1tDvE8MLnepMO7lFXtUtlxB4V0Th9hmAnyEvPwidBBCtW6IabtjXDWiyw6hq4K3H2RKppwQv1yneIDYqtXPuDYYND3Mb3d07wnuxwUr6YLI0AOATqm7co4WcU/Ku+81qxZ7yM7Mrp+/3mNtSY7JzdgagLUh0i/W3U9PdmHkaujP4/S4li3gp/Gc+K1jSps7lmBiYD+megdAsihEyuOMLoVvrjiGyY7MPbK0BmvpAG2hQa8F5W8zIRycYl9hHai0FQTguhnp68dvEzm4QNsF/spP4v4rY2VYs7knG75z4ITicI99zohw1oaARoeaQ8LTEr+aYn8TLmZz84CpxpGe0HYKwqFuLGZFAF0nb5l5dOMRO6l1Jg2yLeSZAnf+gtSGO8ANqgpsUX2ccQsehKt14Z0TiTKSSc0y24AuUUVJq+5vmSrJVPOD5VZmlm2uJjXyjNLUZ8HxJzAShR7mBaapfAWXHIhRVbJyc/ujDN7+JTSpUkbrTsRxTg4G0bFn+Bixt03OnBwWRwdSYWn4JxHWyXpsV3JdDFpqsuUtEvjIRKMBGqab3dkVI50fn18iE2KJTB+WoKURl5bR6fCxM6VMesYyK0Bb13p9CM/2crpDsWl9Kajf04ILVWcGguGNiZBYSwtu/v8v4F/0Gf2vOrwW4jbZXcW7px9ZDIpmBELQfoIERQPJ8d08TFWmlI5Vxwgy167EW2eUwOBUtz6NIdHqa/gXedET5rUp2+VcBKn7vJC1iv0WumF8qhZKAOLp2JpeWYSBaeDjN36mvt54gUEgPLfPcLPOj5A293NNMl7KzAt7yLWXqNNnkM2KdqakI6Amu0moGk/PWnJrk2buRFvcVT9qgiOvKGzmdd36Cp8dS5iF7DFlPMXamvk+ewsELRrJhBYHKBqzpnso8GzwgpHCSRtLa3hhQF1uKOQZyATWaX0mBdiIVaqVabYeOa3pcU5hlJvMLkcmTTLnE0shB4/m+yXCN9fBE4jjMKG8GoY8zZsUyE+fvIZ3Wn5OHUL3VnjhYjn8vGYV10wbYVGHPkgr7t3Pcfco2dLdN8BbKuo3lN1jjb+niiW25hGVF/IDt78E0nhG9SmnxZEiXQHdWnwTV4vyzbB6rrVDNCX1PspxyLA9Wv2CsEZphjYbpSs+PR0Scz994E61l17XD8a8mOFRixGfvTXkK49Hb3gkgpzrvBQKH/6rzK6Iiz4XAjLvZ/nkSbNP1Q5gzstGVRCKE3h3XFBdX6ZdHOlDgTGs2QQwP6N/JYKbemjL4j7DotIMYc+U9On1v5mHP9nBJGpqv1b8lrFxv+op6K+9eM/7po+PBhQjE8BX3K+Bpgc1pZguKZ4A4D8KngjZnhoqQp0mg87kEvRaoY+YKcTl+P2FH9uMhWNiuGg3BAghnL0ATuk9XWFXoMM4npXmc7XsJ62IIYo4uisA/bdIklllgM76K2jBQ61lBcPEhCpgy2z3fZ8NG6lYBv2cAKjdt0OW1+abGa5mlxqZZu9sLI4H976LMvbHV9HuOWSyxET4RXcmUg2H2CrfWQtbmwULK+9DKQI5lcPORnrOCZtRZ7Ho8SemW2WyX6MkTibKiZW7km1J+aIMiFt9Z//KQgYGTc4JDb2XlSLmL0nMc20CHpPlXDqVYEvN5lXLrUZKDajN+AXgeABvyIMywuqwfjo+553rAZXY4jRxYShFnUOVJIlylw8A1gNieaRj2/vSu2MevPDXJxbVWLSjW4UqWFvIy/6ZbUbGzcwNV607uOA0CVYwFEjioriImHkdFGaJm3qmizHLF6JQCbdhnAuK7cQuj3hjsPzOusH75n11VA8friMqP/4B6MFyklnaNLVYguNvVnhgksvAheZBJ9DvtRj2/Z+GOpBwU9H7P6DZm7MNy0ipQ9SE9HEXz/vDIRkGXYJ5jGZZErcRjokr6tMDZwDH0kRYGdDgeyaLxNOMAYD8k23xrpDezxIp3/+m/uIgtcrWjQAeUqvlS5iLjP0UReTKokSiypE1CuyPxzKHCzRGXj1uhh4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MEKKOCHARTIMAGE" val="FILL"/>
  <p:tag name="MEKKO" val="MekkoChart"/>
  <p:tag name="MEKKOSAVED" val="1"/>
  <p:tag name="MEKKOEXCEL6" val="False"/>
  <p:tag name="MEKKOEXCEL7" val="False"/>
  <p:tag name="MEKKOEXCEL8" val="False"/>
  <p:tag name="MEKKOXMLTAGS" val="1"/>
  <p:tag name="MEKKOXML1" val="4HooU0THZk28POP9trq+pbTvvzd/gcV8t56cq85kb3NDTsUhojRA0EsgEHHMH7oYP1SYpn09ysXVivguJdhTvfyVMsBLTGvcX7WPTor/CmWiWcfk2RmY+GE6Q6T90sFUr0lg9IPP9y8umrse/9AoLT5R0GKq+XM9pr/aTyOTf0wptcuHbHxeyqBm9svU01qeeEM1v0hpSHUgirOnAK/wunDqnRi2rF3dC7/3vzSMoeWc7pCKX0F+d942NXGsvNxutEpLBc34F4BrTQ6G4zsIKosRoVu5KBV8s3E2/qe92MZOYboHlILOFcCwXXd4tUBO+XvZWVvUsSf20rFz2ZwFhnL1v6+F2N/kwfngH0FerW2FTqrghRmJH/APqPnHHLVvaopGdW34KJBfVpXQ4nWghHyk+9PM6YDE6Ox3x9Q8dUs1wsarYsjIKqmEMcnBQ2Iro5rTk6F/qCWrGK464VufoxPE4+dX+4rMzoXixGvThjcSVBwQcrGbGwNg21gDG8XzAWh2Gs2a4+XEd0FTv/1mbQFxXyF7ZWasDzGKhu7cKgKDOrZeSHcnhKkT6209F4G8QApsMQK/h0ObGxvYtPS2dPf7DTVRT4bNmc5MRD+jTZZbTYjTrlZcEzEMPwB/6eTdpV9A7SsoDIJ+g124J3wi3K/TDuHNQqOuxLDjEEwaPVioTuttuH0FTkQmhok/Eto6PfWfp7I1LTljm4V4lCC4slAl27gXXjWDx6HNIDxeobSsehqxDc1RzbEYRbiMkcv5hoiWwlx0+/+nvLWpSrnCOfTL2EyWRHuVCrb71oboQzM6XFqdNsZuAJlDCzwdpcPg1nDVcYBTaIbaURzZUReUYGpifb+8Js3/hFNcN2t0Xsl3wu7F0KZupe4uyHJ1U61FQm05CrxJ4TI1EWFqCvdYeSM0H++R/V2XYC+Us+DnuKpZlI9ilGnzXQTFlvnsouYQU+7BedfBujqzIhB9JhKR+QqVCHEuVXFBfh1mBUEms/sNakRqQpVbHQDQ4YR6Ji7OSH5KCSq9IzSBE3WIKD4KpFwkNI7hBJcyHZt2dUgFKy9/+zIrmKSKH7wvFQjRo8RmgHTc3WGqnC6dGEysQI+D8eBJvGRnjFzGfswIGRASxLBk9aFXV4EStaIfOTcGaTY523FJo21Z34wvm8sRtlOw7zA0LOIgp1S3WUhWGuOAbl+WmPO8qzhY6xV/sMR/LZ8yJsAszGc3P0LUbiA776jIOWVyPBJ/X7BrLnVjlrNXV48S9lffDuia2IklISsllRs5dStuLk6qhNFrtZDzR/IbSCXV1pot6yNf55B/3vPw07mNtAi6z+0yxKYPTCt0AtTaFOawOYEwnPlBXuyADsmNmUdaaIxL/p87RQElPj9hg0/9+G6OSPflN4fGhobN7WG883gqTmpQ1p4EFJlgkE21LSq9QcLt70CzOwJfDtLXayYKW4PAzkeD0LiZhLjRZckK1N22lTkbGveuSx1mnfnmPVEHn2TdaMoWZ0FQIb8yGmuQdWreFrXuI6zM+u4d1+3mKihCv/dmhPqGyNNROk1oMWkSdpCgPYMNr9vR8qs3eWKz3d5iLizzXPonhtQ2TeOMSruVo9SFdPVKWpX2Yp9G8KctygXN+cq6fddKpjzsu4THdJOfwpY5saVE9aJHESighQnOB0SAdWEz4Mq8rbYWNpFC9CsDMNgjg5nyYXB8udGzCvPXnlEJdn95BTOgJRJoEnRC+Afg8tXieOJZ/7X0NLr+KvfF3GLj6vPuU1QbGRO4YQMY45JWry7mjDTOhOWfJ5Mo60uX0ozPf0Eub2Oq7T6H1DK2QtsptSl3VlchrChqICRqqt8se0MbogVbNY32lVNsq/NI5si/4hVx7FtTTUyBVYMy6y+rMuIpSBUynUZMiNvRrwd6G+uvI0cnupIlAKcNvtqwfSbKeGdclLfETtj9lBIbamosZJSMjzEhjs1v9jzMXuRJ4jZ8chEw4o0xPFKbNm5csdGGSpP5ucfWvfKUehI/r04YXsHLgLBGVEZdFRIAkvKUxgz65z65zHxI/URUywoaV40k8QogAOxm53pTKm5xYAHPoB2QixwE25sGz06g1+Br25lc9GxumrheVFH2ab+/IE6E9WEePq7ESmyhXL8SDfMdqzSH0/oqGb0y9U8951YEGy6iUHp+j6NAIPE729Q7JbYElzRrhBxnKLtJDdWNifTxLJJ2SdL2TeE6bvpKOY3Juz409TfmFCWylt2+iftc4fTnh7oK1EqAPga4GuO6ZYkR1kRaJegCzWXq4wsz3JJc9RmQorP5SCYHJ/NBBh+kqE7Og9YfazmvmQgLr4k9fRqnEJl6/2/q9JEhET/JkNGc2mkmIS3gUcpOd5NaRjLdCi0yfWSOqu63dXxhd63yIkEb8LvwKnC464nYS1gKMy0KRBXoy0z0Bd8aLrERRbBJ6PUYK6FKSKUHj9vAmOkg9L+U4vx/Ih7wojMnbdY9JZrHIpR1RgXvmZBl8JKIenB+lnpLnCqVQbf40xy1apFH1O3dzLEB9rx9bWFZcT02qvf4motQ73fhqQFx/6m1Ek14Ydx3xMKNmA1y3Ik4m61wNDBriijA3V5UBk4cR/TeHUyvVHYgBy/YR7s8dvlLeA9Zk+3ESXbbos2WANKtYXOfely/+5RNbS1NE0pcLzCjVakPh7kKoXKsnsf7lzMtvUKMB3iZTsk/VXyy23aCbVxQAPS5PcQjcqVVF4Rwatbg1mzO46PN3S0+DWPobFAVoRFVH7DZ7SIxkXjSC4r0BuCTrUYsMcRgq4ZsZvSE/tmmqzxDamXvPIHSpd14OqpxZrrDt203FnZvzjefYYIHaLrWMEmbn9f9tyE8MDjDs5YROEjeUz2tBofKwwCGL7B3QdjPT8kDSpPX7ZW4eTCVbM4q/zF4mHEKpLfl7PiDqqp5Hu7sSlgmcpNcgyZDmbdJC3hsD4X1WpD2ImR+cJTCVb5Bbo3woIeknud3n0jxIDt6VftpZrCi+AfJAI19qGf6wAOV7IdRagV9H68ww89On4wUsDjj3rSbexKXaCoRyx5nyNU8bkTmWrRxUJMVcAjTdTTeR4SQaE6MA90hFd26AF2zGUYjckHgbmz10tHpC75oY0mBHCnS08RFRPBBUq2ot5A3dA9Dv0B6ezYezIeTcXwceLxE3QXjrksnkIQQvfIL8jX2S4n7andVtlnBg2E6Fp7wVReUWMG6pMNlachEfC8zhLPI/e2JvFuTZkBbOi7tL8s5zn9wpUXRqQ1zx1Ic2CTFudcwPGn7fP3SIscSvvT3AZvZgUHzPwDf8wA0I5B9jxXivCxpCebtKputBMqp+3mPAvqvlI+E/+GXq0ZbnsBPt2ZsgDkiqqXirqQPlnbdCuLiFbsJP8icrsUYMwNRiyJndk0r5nWFA40BHf8zP9K3+VJlIQ/VUxEdzs6LoQnFakREUD2bmU3/uwViLZ5/1eR2eQWqL2TUUyrT/9aDeC1NO8KaEBOT/RryPPUuOew5+n6I+qmCKItrBUHAt1Pfpq1DZTssNxwBYFHN4iyEKi6zozp0x6EECKGafN2ivR0QNZZbg72SywwPN3g/aP7U8yqw9ax9gT+wKsJ1xuBsUPHq2zCWy9TXhZkzCeBprzaXdHj0SRCR9oc+DZY4sN/hCTZuwCy0XuSbuFvrt25Iu/YJVo4yKVEmyMnzDJ4C2VRdAIywtKxu1nWGzwcDvxzHgHFDlgNTv9thek3v0SWIWl1t/1qEO/KFj7dmFbA1VPXEIYfCpoeAQ9VySzEmbSchnYiooXqidk9z/lqPuij2jpP/zdkkYT046riVQmSszBulQfPPzqmO5F5IdigtvtlghoGfMP1bXXEGhYtkelFxiN6tmyGCQ4TppalLNv51HiDLxd0bZ5YbihOKJxEy8Jh5qYjRsv7uHShgvHtozFY3NcneQsS0F5Kazv5OlAZvqTYsD29CuDBovpvVp9Z6Tp6RiivwABhSM/F+jBGtgXlmXkney3S3riO00+VMQjCDcrPlz0XLNd5C9hdOIW+GQL1i1y2e9gzhaUwwmJp30a7f8wfT8J8BHWDl6Y1KSJxG8ODAytPbr1SJh788us387n3wCeL8BUMewnjcXGgoGZ+WsuG4HduqQ4mLHO48VigZG2CF7rNm5jO+dTZYU1hivPXgB5lE7D1ek81HWCt5+DtATowqtEBRH/8uKAvWdlYhGIgn/Zv4Pf/60tOIBZ/DpblIB2s1CRIr9ncWNs85G5s7QY5699Dm4y2icutPqM6HEuXci4hB3F8yF7ugzXreZfm+i/8EJwkrQa+LhrPQly7wyz/hXeRtHrtQomOV4lxgtv7QHNimywDD5PvwGz8GI9zCqewZobxiHqibhqLrHhoqH8DghTXkCBGExc7lqjA5MrMC0iLtgiv2FIP+H3sv+AwBwT8gAD5XpFlDGYrUB7H5pmtaX6cFRd/LYKSL76ILHKzZeH5bFwKtMqJA1EMHENpaC84WwppmldGB4ovV+85/NyYV6qEMSZpZGuFoZjH6SConFXQlYNSxUxb19UGLkcR3EllKv/0afyBGKtO2kKKDpIbChP10dvA3wbsvVsl0zN/n/4Xs0HeiJsmscepuC0ig6Q+lzH1HU84WboXU7JpaiXEKS5uWt3vIBjhfLWNXjDNz+x3AoLpzMly24Lln4J0PQE9s4SzEKjnjqP7LiDYSsCo6YvhxwWV+dV8B3wAXK/o4Sn87qKSz/GpE4tmOocV0JYT8JxDDTovA9gZfx11TVKK7CXI3PT1d+e1t5I2VzkRu/nWTqbniED85mm/ty6mxlyO9NMD3g0ANjUcgo9TKP8duLC72wjrW0RiqrUI5xlDXdjHFUmo8SZJrY4xWCXsjfe4QP9JkVS/yh4nKAijIgw9Oe+V0RMSzX0kAu/VNMXAglJaeODxDCQSXeq1hvP8+wvuwkojVyQboTF7PsIeQwydA3mvSPT/EFhNNamp8eYs1JljeGxDA6XVPHJe/UxxQ79L5Lf1EiII1Ibs29xC1U3779homQdtf1vyIKR7TuAVQr7eHZfjDYDSZSfPQms7oJGCUZ7DrKzERZ54YvrAJkP9sQAUM8o3/s9GSbSWaawhfb5qKq08noEaTARFZh/wuk3cLvOMHoisj3pvTCfuHQT0+C0CiZTsMg7h9KEI6i427JlXlK1+TwpCU/TbnC0pGnyjV+9WLLYn/fab5O+nqnPWUFcia7fO+3qjyPo7QyY/D2yJxZQySySqR8gekvtvpQ1tVtYDz1y0Sz3fRlbo8EI8RkQDfJd0N2TUXnttz3Cyyiy1eCI/qu9m8rj2CJm0bDZizpNJ96R6AjzaKwlnaidMBTWWJB0IyLTt+njzjMiokMNH3wV6gF/G5X07CPdZ32n4Pwicd63iikKqaZHCUcfTl/k+innGHJfJMPa/LEUOBLoCeRxCwLO0uoc56FEiGK5pKcp2yy8xVb/tXo+1iNesvYkwAraJbLKuiAGHzjKkHuHXmLi116ynr4gzOSp41yWWkRiIqDL9Ua/gVV5XNeUPoxDGZcCz7kH0dFyPnr4bLvJn4lxbq5Myg0vnRLXTY3Kep7/VLaWFhcXEz1i6X5vHJ43+9J3A5F31iFpNBlsi9N4e2FegOmKn83h9zziVp8E+DihQIFhoPG075DgsHsd8BnQQdpNNnFpUA5bZHqjxbTT021+UomxJqd34uEIqwivZoX542aFAHOpUdpunqth6S8ZVyF/acIPxUa+g3nfVcQgXP5gsrjVyuetDuT2vhwx/FzibvXR/iHMqSXAugfb3JUqbx5ktMeLLzw/ncLEZ2jgylIgYApeF+dx4iDcezfM4LTjVFrjMHNdrxUHZCya7JfGDLgeliBZa0EbsJv0JbVwJnou9njlYHddqwiVYaK6bZst545i1Hi2ncmUcDNQCFcZE56O5TjGJVOenIW0fhJbhO2UAvla18jKrx0ghNYKeORJiYVg2di9rXmE8clICc/BJomxAM0GaEeLip+L/6SMcnz+CZ1r9Q2HCvZmZycc8pU1krvUKQIShuYPdhNATLsnIDZE2FHfjuYHFK35TEX+t95DChSdJOVWyhixFTmQyMPhC3J7kcJP/UNBSHIYwSp25/ebWeIRtX2Ujs87bLgsT0sQAOgKYlhTNakOg/an7qyrFU9PaM6jt4hoEDhz2EZwya8Uohr3ahe3yBuyEBq0owAABGsjmAh3MV3QdXgA4vHQG8xlqqrCyivEzcra4jhlmWpLoTGXxJ/djLLxF3AdEjbOAJqNXZiswf3NgVm6KDgLfcPNAnl+m5LQ7zf+ukmrIreiolB5qpiXRK12+WQ4EraJzdtNPWTbDFwfOLA3RkcNCIdeAvw999Dr0enRMCDsPi+RpPqstKBgx6NZKDbqXFHhkUXNDXX95PhrfAX9rZl8Nsch1mZ4CHOmlCszWglhLXuDWYG9z9sdXzPYW2W43Z7sV3OV9sQOHbJts0ls+R5FrMwfkTss8ghpki7d6ibqjMYI5lvtCt9CcHwYhe/ix/dBh+fCF5MBbOkeXIyW1a7CMLUurDR9c6ZmlFwjXFcZ7GuZvfEkv8s+hd1QUwDAhlFseME7P68Io5OAwxsRxoZ7hd88FQi6eENg2vXcKmXz/OdyyHNu68e+tsiqwZHIQIuo1HZ5mHqEM2mVi6mRrhl6EnM4uv4joA8JmcXI0MwveE7RPbKbMQIlOJt4fTfu0/XQOyrfQGiJr36popk69lDNpfScAdfBx73CnkCywUOHAwTMErM0qahxVcKU9WLCsDxncixmVWOGFhIblyV9IfITjF5IxnOAHLEwLYIbkI5kQ+mpDtLknzCGXeUwWwt6g08k/8bIMIkRJnzfpTzfT3YS4d/in5uXPiNjHJQwSzJaPYxVovZPkHX9yTU0CXMiK7lYbMuP8B76eSkrrsD/7qpSpat0+yFEqgOMOod1sXx0K74o8pBfM9V1zTtOATLBo1q3rNMWuJSEm40EAYK5B4xDZ103Bh3NiAzF5CZdSmMnuhLZphAo+j6yIOUeJA17TnBt6kt4AZC47JGYcAtMPxD275Z5nuGcUSQ4YU/OCJ1TLmiKNApxZLihiG9kNau0wlBDzwUcje2MHZxeiqaay6/+TC2kqcSabvQTu0yD1iFva+fDIgfIRQa6go3WOwIyeM8NouTtvlNRUKUhpy1nS/EGCEqhNMttYZDZ/7RSCO6dD14CF8d87Fe9RP6hRvbF9tLR4cPlxoOdFSsxyzs8VvO8kBD02TulraV7KMJKpi5nA05sIr1VWdKp3BeTNtOIIK6NLHsKGYWGH13bzUdd3M6jqFsk77ALz+38DPMtR/uHGrdClM317gloMllHuGGTwg3GXyPEcfa2lpSW9FiCNPcxN+4qQsFDS93zhOhzo39j1UYnx61yLl6mASsVlRicuwl77p+xvtlHEwDhrvx7vw1MUvHEKTMwEqVuG6V0mfkSuyrpAvQw/Qn7wLRkjRhEAYjH9c92zc4K3wR8WR7yW85BgyHaeMLQqL5l/ZvRYv0u90N/LAQ53NpS32ZDiWA4ivbyPrTQIt+dR+p5HbmX726OlXWdt04lAtDWVag403cBjvO51S5nbMMoTN4oLXpYz2SPUCeWXAxT3FKJxj07KJ4mlYR3I+ytwdYozGGLur/6SxxATTjXTGT8s1QWnrL3abw+dY8TNIxpAyhFQgj5OiF+e/3ft2abEkthUdhH9P3tjBCe6A+9YKPrUYnYxdG8AAcqi3Ru0//6scacODsIF+qPmP2xaCgtieBj73R9fH0tfJThkxTQdTvhOToVsig4W8WFoHD4aXu/16WncVeJZntqoE8PV5UQKctYhNSHcg4wP1pSdRNYSlkcogtWHyUM5E66HQ0mQlUDLkUwyjFL3W0VxkVjqVOdFZaob1V92MzdVLpugVEI3bYoKlB4G69L6JKqNMFZBJ7dxPZbDCNtw2pEu1z2PlM31KbJDGM5mUrE/TQSltEdtqCB7dZhjPEzKplKMHovZ4PaogXNiCCxSOKW62VCLN1Pu1udvtOg80w8RT4HZjMXc/Bl+bGyaeV+yYyT2yo7yiMsVfHXZljdHU3Gvvo4E7zLTQwDThKRXhzE7/1MeZTRtL/4sW4jPyABJAF5bMxAePXL3MjFYih/PQY+ejp8OibeDLBqMzl+X7J3QE1uuDehGQz/l8EFhABskoDPJ37BXqtH7X5kVrxSwx93HBKlPI6GuhQEgTnzRF4vnHQ8uT7zugs3klVHbfPYokdoHyOKQ129eQFNi1jR9IzxL6Pu7VwRTNamhqVql5cXQ/D81WUUGy5tOhutzXvkTrkUG38lelKOMlHAOmlhMZ01zoPpJZ6QOxi+Cfsh5cOlMyD4izxdoEHGiobaDcaA39QA9GM0FV3ZcTpG8AOamaH+AGczu+iW5q7txh7tdU7/LSfaANHfXWdtv7w3n0ZPzZSe55ZKZm7HJiJozmwRn+e75qvlIJ5V9htyR7WhLD9StY5aKd5J4kWqTKOfWVnWtrM0pyKWfMZ6BWXUQBgnLYXiw/Wmv54N1TthNufviS73MllEWJJzGsCpBvd8hPQ4kOHVrxhLn+YYdjDd9T3DvWdv/SgVtMOtzaISEqyFLqYXJ00lfx7yH40z6T9UxiHXS+dUcG0BVwcLbgrQSmYXrn3bTTqhFGwg4QNLMek7QZskkwclLswFxI2TdpBErAStlPfKFLaoSyoxFPWuRKgKPteqJ8DGpZTS4LQ2VoaptsKUPY8zuEkP8tMlN9IrsMb1tOvtEj055EZJoJmPrlaFk+7bSNrUVUhXBtkjn3T0yl8+FCWieMOfkJskP0OMpLDVgb0HOAEfDDK1alD8RvUBmZ0S/gju32LIzfyaZiuNlJJ+Fr/6tUo0OoQQXCYuL2K2SLIvVdNymn+pbSKJ7udMPYDHc9HpFTAY2PEOPAIrzvtuPlXjIyPfDHBDqSTRC1nirDyIHc9uGj3c/h21KLU7v6vILWRQDGXSH688CxfP1KRn6VYXrocDZ/jmDLWU0F0iDh4h54oBTug5NosSDOulktD1bOZWtZpeCqnHtDb4Zf/n5cKZSYsk63a1kwzyBYia3g8DzBXM5QdBX6hNYebBCNT8B7EyCaWCClNqZaT5rVy9UJh4cmL9QsV2SpNVovqBwyVoxbIjnaMD3dal0/uEax8PNEcLJPS0NJNMP2IgdmQUzaaBXKiiUzYUjQIEmYun2LI3HcM+p4J7J9XwZyqzUjpp7D9e2BDZ0339gsYInbuYLgGqPvJswkZbSlyS7zDQHnDlw6I3Wx+Ms7YyTA3LfHr01upAHyX+/YNbvQzr8BD7AEfnyz//RsggjIn+lIfxbZYi0brsfnwZWmflqJ2bkXnACaELrijmS5qXBL0FGouzd1of+XBmyulkwIG8prBGUZHCa+V7THfMjUURNC7aYIqSO/VmlEOjqkoBumRlK1ok/1jDjgjq0KXEut8Ht7iLbTwjbUYzAutnmFJE2kdIy9Q4C28TFHzEDqgrQHvMs1UNIXyEvp71uxcbcjtFpfNDdtaXkFO+FuMlAb4SbIUk0WmR6JtUYnrcTW/kJ97VDd4lKCGY58ieTDDvZ8i5qfClCx2KPWMC9u/e/rJq2S54mQQErneTk9cgIMEj9ex3Dw1p6doMDR2S68CUC+DI2l1xqejQFWt+rBG0ZwFWqx642o2+XLFLOyG7Ml7c6U+iPGvhY9Xg5Fo+O840R3c27nYRvMND0+dYhu2pRRQVC3Q29TveNZDAH50KssfkQV4NVIKJLslKxLocqIGn3sWfaRAj32jqclcT126/K0UCW2d/bAQhw8MNpvhWZcO6Qp9HuHADRs4UWLCMzJDZx5uH2VKepcnUoLjKnn4rQ4E8cKPjOZ7RXShq0ftaw5cepz0DCyEATnpo5q+oQxKMsplIiYYVIiid4RFDRAaw95x3ArNa88nKI3eotZ6guPr4tBpuH67uDZIIoX5YFPXJFhM2q8cU28EisbJ6KxfHJAb3BJVtsOV8P5bLQ+cHcxVWujvEo2kRMKGXAO0AhfA3y6hLKule07Zz/o7u7NPZyERr1wU5x9X1l/8TgMrEj0u/IRUAX587C747ZwyvUNY1bjUPvZOFqxsyTuDHb3iPbamuenncXpfD3RktZMxqzMFnY0WWy1A/nBZ1M6OARbmZjhkx5LnAg6KBsjwXHeZQziOEdwwWaKNMcnA6yhAxzbs9B5yT8hQh0ndmbQc/S3wQMVzUil2cH6zAsRZW2mVUEFoHVkN/gKXL3YNCyNV9s1Gz19Q9qwzlyUyJKGBbwTCvhSY2dA6dXtdtx9kVtzQSHIljK+wvDVg5GHuOCBd3zxnv5SpUcA3hzHp9yXocyAjXwSjva/gkcTgddkiaBTR+Mtx47LN4mENp5rNxHTqqnUzx+i7uK9Xb+CM9vfk/vuPY8P6yNszd5w8wWF1hoN+Rd4Ddq5Eckek9qE6UXStmYKDYchG40CK4wpLtlfB8GoukIM66E1OCgZlNE19GzxvfiHxaApGkDID34Xq/om63QtUvEmBLQUNpPa5goluDGmrJMh/bih94AFhZBZfIpy3kWkBuLs61uoLfZoCXLcI1W3gAeK684Irb43bfcFi9KbABb+BmpSTf5uYYqgVRb2hh00jn2K83m/elxxt2U3qX4zmg2JrrMyiuD5ySfxHqEv2FV5+jzeElJXYLkooN8UyJ8/X8vvpmLXwk0wXCWHOKqUytptnFKTpVGOpF+IckNOANfqKtFEMsx8trIzfP59O6+wcnrJaXr6z12Lt+TbsOvGnmqoZ3ctQ1GZG3TtMOhTuQKnOn+1KU/UBrcDTyUd9p9HCkZb2px3BT/rubqvgVUQNNbwmfxZLFNCOm+IoPOLM5vi6ArEIWVfxIi9GvJr+9ShcqqkEHIxRYWYyZ7FBNddVsrF+xDmVnXMHmupzlDpf0joAJZUp9j7z5FYzArZOrneXdVu6jLBqohkbj3iaBkghhGDNj7KXXJLez+nxSBX9GSWY74w7NFyD9fM6a/ExKm7BAMs1J0sTVpgjyjSLj5fubS9IcfX9sduIUb8rp7/mulYTZ3MkHaJ1W7ZOkw94TzxlimZWxtlxI24zQHYE48e3sRVg8EtncZQ/TifaQVpfWdg7QW2FGax7IkhKVcdA7l1UjuJr3SJs3bQMsvcf/h79rzUffTW8q0hKmzvQFy8l6qzz8X0DNKmZasWVRZtC5VLkV9WMKXwBKLAF8D59qlVn0bvUmHjFQ/peRbbo84wTeyiwZWOIT5wAC9sJZOWYKrN8pGKwiKC1Zk70jo8yiIPiVUwcxfUCAiYs7ujEj+DGXu1ZZUUMria5PEcKWR/mFDFqMRWgQS3SKM/WRWRgVMQBY832aq0zFagcgOpFJDTz7xQJbGXgQVi02cHaIkMoR5pzutHj1J56D8WSsdBVUBf4ppFVdM3GJgdpsxxDQkCpCoZCi3GUPNrq71kfoTFyxJXn2JeO+3WjmiApRUBdQiG8AbYcAEMix6rFoJze/PmFmrW7bCgD0t8C3sERPjx4RPKqtIEwfwES64FRGVO/WdIiOOOc+VKDJm6LQ6XBRXaJiweNummcnH2T2iJpu7WMKxWszTjM4lyP1d5c1/olMN12I9am7BZKv4CfgXC07FNJG4zOI9/sNcKSDRz/9cmdwHZvLmEl/QkovqZ2rUqrT4UWnGBAwCM8mo8yZCj8agj3WNIAKR/au0lBoaCdYdyd96ol7t4/01d6yApFf07QctVjhH7HKGoBhuAYERkkYgGGqXxBpPICAB9Du/wLrtSjZpE2n90lIAgTN2B3JbmCbA7qEFvLvjRqM1nWY2vJcTmjChJcJljtAjpZjWQwXclAWSHAwF+iORumt/dyEzrKgsp5AIdTMq6BtJdzoFbuWLWbCh427LImt7/reh52c6suGd2JpEz/kbRKyx9a0PnS5uPQ2864bQ5LgRFSf8eZGyjo6mdklxwFL/QYNTZRP4fSyF55I7mQXzG+gL+J4+cDa+o3nNZNXO3E5JVJqOSZ04ecS7sLjid1T6jEd0h/l0rMh+Gb3eJFqkrI7j3K8Pg2F3G36rvgf6NiMLmsCjY1rtTi/AXMNWurTDQ2MhGTOSHGOb3Myp6/gD16ZkRXKk0omkZGI8Lp77I3DJ4smeWlTlzhgn4uPPb3tBwuQITpsfsNwbEafpQ9lnUXV+HDRCPEEqT0NY9F6dttyaGyaAhCXxTk6paXs1Jf9lGvPTuarkuKsfvYHkB6L6lIONZndsZ2eY61OHkQycyhvCtYoMWeZS6Ozs+soEBnmaT+pxGLsIO391fOoJ5Z7wvX9tRIn3cgyEBduxZxBtaevI5X0hLgpt+XM0ApaRLUcdbM6Y7mypKMzbo/rA+jF8HXcwmyUfDPLE9UCTUhciYHdtXVIp0sPIVzxgXUiDVrOvaYmFFHsZljMOp1iKTv9mcUeTORQ5pRTy4FJsI0f8wRvmPvPOniGAIq7ATWfwqF4pg7kEqW2wC3qUi15n3rIf/rTB4JEXUH8vR8Usrmp6n0CfJvgGotP5eZmDpUCxBa0mdweoDUNd1oqNL2Ows9wnJjvEPuL2/0yQk8OVH8uXv5oapw7VN4hbeKStrASuq+qvZXaZMkqVOMaBBFIDVjdUt5+e7j+PAikr0a7i2KYHaBLOyD0uX7tEdvrHvtwiEEI99sceaaQqfTSguffUYoNZnCVMnl5SV0kIWoZzZ+GNnNEGGIfKR3XZX1bEIyjYrv2WWqWdhjtiHqLnCQD2UJ+4uzErKcNFDmkHqx9v86+eN0U9M7EdIxqukqAAonvWt1/rvQSCYLFzoWjkoP44BS12Hjg0AwPIdCN4FKQsTewrmzEXce+B5fFAMdLRzZObPDsgeB82yKMFMcMEoYbC4aROP7Eup6q9UEuSd/7/BSivzAITYUP/AZccA9GyWQP6voqAwJ7jROuBZrB5twktuTJu92UWnYZLoF8quy0p8B/mKl6TcInZPgcnhYvWNoioPNJEAw7mw8xCKRe6jjUpiAh1wUspLQCFpTGvGTyXFtlQ29Avq96GMnGfoNxdEar+Cu0eb/DuQ9W8Mn5fv+sy4HFSkeW1YDVlWM8iMPfCF4ETtOgjt9RX9hVcjJibqU/uk5toPDoxDERp/5J+KbtTV94AAxJ1GsULISqPDONC2t/+DaobsLXRH4JtdC1MSBUTC4FzWZ+BdOhefDemO6lgTbmCWTb/A0mNFpA4kU1ibuv/pSssILP0dV8dSGdZz7kHfTHMN4sPXE/nuakxg+D8onjv695W7Hy3dgIl2KQnuw+We7jsTpg7Ru5dGxu7+Vl1lbRvaTXnxbfRjxOCSNVrKYWZ+0RLy4vGFQDlqnpMm/Mpqlv5eBVnXDutszJ3C7Cofs3/oWjzw1R0kFCPeNrGNIMMqoAxzmij8HxiAu8PMExbG81QpbFTodpjQO8deNcsxNwfbPt1CmMrUJEWX/o/T+RlXFX1kiM3tpEFq3PFeVMJ+RUiqf0Qe9g5MkD3SOBUVULHNeApxpR+1ik4Q7ZCEnoi+vTHL16/kEFzVUE/yaxdyBqUItz+dpt/1d1Trf1JPXpTItFF4Dy69HTxyd2RJGDeTtfG1AyIes8Pz2ychjdN2ytvnMVRxUBrNZZ3YgyX3p2kFnQHFvSRJR2e6TnGFE3389TfHBXbkFyR8gOXSg+ttOB6zK9Oqt3aPSbJ/g3F6u6KIr4x0BqXilIzeiZj8DSd3VJE0V17pbeGKcHkpIgYjzJZeL9xuSYgZ0dyvys5X+tf88Py8J1bJUBRLDCOf5H0LHUiSxY5I20W5FrwlezZAEtUaJk4QhIingCNxVwY1mZxst2uhqaGSVu8rvUVT1urzqok/ba5Lc0/jjXx6xjl3ApKm5tQ3zL+Q5cNSQd/2jU16ebWBQfQyzkr9VdQYb96wuRyazTVAlsMfpOq0WRuFJS8sl2ytSMdQicttC31vt6IrCVOxjiLMpQl2el1/C0zTjGukM8uCjFUorY1obSB0N3l61h6t6o8iopxyQU1GyCxGjqZWIileQCprlKTfdGrb1CEbg/daRPMlfXWYkT9OxG9XWCXx3v0qc5Sr+MM6T9fIkKFptajQt+k/nXOsOw9t/ukFdk1IooiZ0ILmJEP/gu9L0qxeCHCD6nuX6OV+pvtMZzifSxpfKcrMJsR7NdP/AuCxbkwV/TdjwRKJ3b6Nc09ApHr4S4d7BZ4Ck/Vf1+MjHHC7uP41cqxI81TLJMqLmnSNJvrvsPn54gPkX8blTzzZEEbS85p9EY0DQjYppiXxp+wFK9naQgX0kRKscQOUsYKsLV9DwF0gJoPN7dQV/KoYLGuVjWYPEX0MNg2ZUmpYjrkTFc3NjhnVwr2rTup+1kadiPpNL9a7B/qoAe13xMzLBsCjIpekcWr78dWXjs3S9M82qr1tXGNE9m4q681zjKYnrY4T/rml9uBJXaD0Q9p5eeN89Azt+KCJaZ4XmSLmB6nVlbuxgKHxDoQpequJLuNBRiySyHBf6WLKHS7b1gD72KYff5gGippLAkRuOj0Cf3mM9yIZnaRaOdj4GiXoHXEjbnhUSF6Zgu9iqnW3rWx5aETW42q7+LiP6GZGQJ09gdxHHQ4LOQm74S7CbpuwCh1E3Lny1k3XHVozDN/F9gB3WPgFJLxtsG3ym31wfe07+o3yQ20NM3YFozsYIidNrEnYS58eRR1AySID7K6gdxqVHETndU37QMCgcIYy8XP3tl46OZ0MuFeFWeeCgXzPA5ug6d6gKH18Az/RQ3X933KBzb3LD5hwr7HPJr8bePY7uwj6pwMehXnipKAVw2OAwZtCaWjQtcaUN7jWPkws/78s8QWFFPILf4vAuCu4QyhNvimgbOTgh+NiCLe16y6iM5KrCsP/tGySM6toDSJMq5dIIrpRwfyANYodXsihW7bQ3DUxtcoNZG6MR/BodNNY1d5aAImhSnQpichrlbMzqs74j8k1xY3harlWGjDnO9rVbwuZTyZCTR/a1p90XrM99GiZ7DYuBStF+EZa13jID1r81HUDYxS2Sg8Ng1qKKTStLilc1v3+NjVDjB38o6+rNNIEGAc7oTyLRt7cFaqA1q3sL1r/cxMTN76/NpOCKRxVc+juDrbye+9qTtiiPc4/T4u0kRZzH/vo0AlX0//mY7ZMUt5Z4qAD8gXsnjyB1eJjYI8+FCuat/ZDM4V52PH6wQJhwqt/6yeZUwJJ6kTxBL9Wgg5++hTehgbGdJ2xervmI5aEth6XMXRRtc4wdtMcQlgFqa+r+yuLMJjlI/+b0LS6XJOw/9+FRN9oy5G/6ZvaNhDVBjckiUCoclPTTIQVkCtLuYurI7Pl8+344W0gc8lZXu9j0He5POnA8rY0p3IuxQ2fbzr/3lJhfwOLAzCRhdO/1Dc8cfNOEq/1yAWtusHEEFvCFbYMjkAY9Z/BXitublZfbi1nVHBmz8lMKfmnPsPZHwgk/DKNwrOaE3sEMiPnOjcFv6nPWaK3NCqNF+qfYYLbTwngbCiOkNvIMRsKfONTe59cYWY9P1uUXueSVGMiOz1ioR2CMBsKdz58fdN/kte/U52Ttm9hIvqGdicU6lLDaACQ0YDEX/Kb//srjZu89xPVzYs8c3DW/Skz+yRtAZsjkGnPvBmvVy9K9mYkOPfLsQcc2VHokb9dW6yz6n5Mhi5jMbt7a90hRTRNME0CQgh22vFRZB1HvuTVQ4foOR3LwrldFPrT1i5y3R64q16+f93PsxtUDJcOCjQiFoBIK1h8ioBCm0nLjf0ZrTYApm7x4gLOIbO5jraZM9HME+8HsxPa7JdtRmBBBKnu6oxvycz35BOPndvvRjTPEtEH+IvBbzpODhfFxYOvPB91MLp7NAttrIx3utfb8rcXSWo1Tvxeyr2u8uqvXvznrC1FZWppsPS1F2Sh7FrbXy5mGALY1HZYySg2Ylpq74Z3Ux+ZbYJkTtO7GoUZJTwOPjIspef6xUwQPxRqEFLqNEwhYJyDcMGyvj/CCCptfjBytH7f6PPnmjGDjMIJV53WcRF3rgfZkXPVS5F5JYrH/o135TPBv0nLCC3uzrG3qL730XzwvPv2lTTvvqJ3qLyVdEroeh6ZcmPoT6FKeeMYMwZVceLf5hPUzF3m7SJY/DP6qQVicE1PT6ePLG0ikWXXpB90uOV7YO4LaTIF+zKBIYnPCSCjt/FY1wb325PSpFERJZDYppjCN4PjOy8gB1eVWE/+SVkSg57XCHfZEn4OTGcNrjLi42QRugK6baUY91LJBQcDcbQPL/iVjW8ANd7bXDaLesicoPa4lRQgrLmEOlSWtcJPUXNpTxwqSURsxsKOmEwt0HoyU9qDFuR+0+gp7sbBMOUte4Lc6zDXrhUvXoQuuuCAWOZJHjpvMOXhKK2lm3XiH/TImDpekg4C+RfrH65Kvi6YBZFMu5gPaBj1kGsFDGjwFNriSY+IlLu9bFTl8/eSOzEj12HTscesJSZA1UpUoJJmcXY3J1Fz9WQbJglqtZUcRdStfk6ww62iv5kPOHeN+SX0j0NG0ALoiJGRmfHRsCRI0g04ojcDzIt/dUc1blPZ5UR/zczcKzs3baCceaLbh7z9sFv7Bod4xKd5AaJUoUuRomd7GRWC5nlXRaoBa+GqjrCjKKFQRSGXf1gLerl1vksX8kdf9uGj75y2rMOPZ1ILejbYVFGBTxopJfSzJGNtI3nBNGO3ES/LzjxGHESREFX+/QTnxHcJbtlCdkgumV1PcW8qkyjImqhSmwkn5uC3pUT4I4KbyRHNNVAwDVrCmaLYpOqy4+0bVmWuxsHjoEbVN5JgSr4fr2Zx2pHR2pJbOzMkcvZYYp4Dxsr7+EbmuZNsiD7RU7x2GYLuE0sQe6mSM5M+zeqUSi75AYo3al4mbgLWaJi3EDRWr4xHU8jhwzWT+Q4D3FoCCpN5OU6L+gTer8LfCjQLgZqP81Cd2qPz/lH1yCr3ATHfJ6BLO2Mm4QdPhhfY6jDOAsAIiK63yXWTdpEUr9UutzguPcRvca3K3ns93W1Og8ITL+J3BdjIaGwxbxYZcf82Aw/awY9Zzst3EomOZlSdm72T3o3drk9qcpOp7wCE3f+MEP/kLkHtGUR9NHppM2wpBBtycqWfb7pvSnxD8xk4SjiwVUm6xMOYk9OHM33LRffnoZ4H2VETMXst5/FDStBKI0yYyNscYqnKstUNzL2SzFWshVD7kxvxcbbKZShG07e3RoChTnislpjMCzih7PwZwstKm4pTq4glkrVRz4geFFiUqJrojlxts/n283sQkeENlrrB8rqRHpyWsUHwU/fzvmXjwWzgawVrZrwc5jXe4wdAUz6vQg9taYxyw5ozjfissDcwH0kkqGPVFYUHu9BICCBIrJWJ37JdcOskcMb1A9ve7n7gJOsdYKVOH6vvhNTNu1qD6VsZJmavh51sSiklIcGby25H7XTg1yODLQLJFtDUOHUZS+3AodVTJmwrBKifr5NeKMJ2B8gSKPC1WE4+O+2ZIKX6PUa5npsJT/MVjDtn7zVo20nGJ7tjUbgyc6DAE1f/GG6nrwrtLAMCwS0Wk9jKjAympp3YKUU+6u4bgPsSOFOrLZYb1JrHHDphLBdhQOEmKb9GcYrrXUFYTVU2n+sfQdJYWy3y/OQesDoxchSuXKnsWmbEgiNbcTJ/ovzisPORR9aeJNIP+euyYgjbekD/L793dB2hW1LrGFykA2cOkUgakFNJ1UgQ3lGgbRoSEwbRFyNeqQTkPrJoCaKk83XM/0z8jqiONX82lOtBPrFw15KGyaigbASkMdSrO28pSb0j9hS5DNPoVY5qF9Y3Ex/mjQ71Ypw6v2ZZvjDgWLKpS9ZswkRiEj7Qr40u969thbQa/dTouZpse7Wotwd48kWbQnnZamfbffI1LVv/YrYWe9CPDSheUXs5gUl4gOL0/tftmUnLyxJZpB2C6bSUtU4aPM7W+GQ9MsUQIclF5ZgYfJLj71TJvwYBCncUMrgAGk80GFT18YcIrUqBdabpytunUWV8ioORfTW1mMXgxjOlqXxi1ALhCYmPS4ffwML1GBKInBrZUn4Ec+57UvzbKdNjf5u9jBT/g8D8IVbJt0xBUq++XD5uT0rQK0967Hva51Z8PLUZFqsDqZ7UuyNyeziYv6xbEKWt7bisem6eW9XN+dCGbCGtRGzAOuVBcEbV1a/gEFTy5+TP4z9bE5QfTpXbilIAPthDEgcVxIfJLwsbeQi0rNz8dTeRhm3HZFrxKL5KLDY3WnaIBpCIc/bbt8KsDKEQtsEH7FiFmtXtFMz04/xIsWw/+DpcTrQrEZVL6qIl2Ak578ur0Otz7ulQhGj9dS2K29aUaTHSxQ5uzIPfdBLsKQ0e+nZQ8V5UsMGqwBm/orN+s9lCiomnKtJ6spe3vw4aeoL0OZdEp/swCxO/CFmO5nxr3bfPtEn+4WPtN8X6YXGs7aZ+zokimvSV4hvEp3byiE7JggKvjAMFW4mgJZtCIL38qGs8BGXtKqoIB2qJZ6C+GyMlC0rXA0c6sXGTrQtov7Qfjs0iTi407lcpqzEAiSw03FyCAD+5g0PhjZ7caUT2wI+xKMqMFBYUzQusoj5rYzVj4biZXRGoShHQQQchqFO6IyMlq3NE82HkJ5QhRM1NxLu6IIxmwyJRMEyD2g4hsu2me+AewuLBt3kn9oJgtuVzcydLcSb1IQwc+hl69w++NkkkZ7noBzSZy7ZRLoKi7mZ1W4xJRoXQzbexoToKgPimPbk1h3IDpatlxFDN2yO6vIFH59rXfTsXvZ9o+rO4J3aLCpxMgy0WbB1u4zemZqjFl2fqYYr5VrinHI8jJOhGT5pBgTiLOjBP2W4Sy6pgwR58dbSk9TgAB2Khm1yhT6X34pe2d5qa0RJtb5iUjS1yGOI7eoYQGk7La52g1BtldLKMrOVgqD1IC5xsDQixudf+vezZrXs8yYVvGlsU7lA21xm6Oqt+OnJnu+Ht43S8dQwwbTyjEoc7nP8i9E8y4rmhhX20c3wwG2UaE1Iio7uU+dFV3+7a+5G0Bl9rIQS1rTWGCzk/uKSjY6WQ9L7opwgDvsv9K4/TZ7XalRBSMJ0i1aCo9qA/wzdnllTxIlIvb8U3Hpd6lppN+7SE0ZuC+6/VooAxOCcWp49bFMtHyG9Kh+TqE2PUNmv4Jddf+GQNTPMD1dUXgykrPLS0GFaqO8Y2pTv2UWkUGBAKGE+IiqSRQHZ+1Z3E+kLzGHT5JWr6AL1PbNcs4ZAiIdaVGeo2XVOfYnNOVrtHZISOqPwT2T5Pi1DT5KuuVsanQMKajMLeeQeCA0fKYSJ6vsKi3yq0MfawX/sIxE0ik+RG6NnYIwIsE9wwqA6tQ0fVSIqf/iE2JUggje40XVJ4GhjG7LLNM/+8pBc89tEuGt1aRXRHNT7AJLidyhY/f8lzo8vhAFIf/0IxY52PKxLyein4DuslP9crCq7c1GaG9PYFrY7sAhCMoYZ6KByGSmfSXWSSHOAKbs0FY2orIqY1AER8NxHsksByQG8FsOkhhRnoODes90UgWWxJLwzTqMnIrgfL4SbVZ2hna5oPC4AbyCPJ/7slYCXzcSpiOtPYlP/aMiyEOlXt0JMI4BrK3sAPc1DHFVR4JxvtrvSiqk2XgeZxc1CrHXncTrJKO1ZBYYBJwuOn9SoSWyCzegraS5fs7YwGtHqfDumc+CRyxEpr5IaBj45OpwNL6/y2c6jvwpNqFQ2QRx20xQ6hX6rPnu8lHE2/vZYsmMlWEymVhF7z+iabWO0843b2On4tGQmVPSw6K2xpiLP8XGVmZo9He1/DaSiqQ7CK57nIyX+d4Oh9CzUpsNJx3oyqL0UmuRBaarJe0cavrDEStXm7mG48BiI7w7ed5IetRZCtdyWh/nBK2bxN9vZNgvuLLyHDf7tFYF1wHUO9t/0uNpNPkdHuSV5BBTq+tdfuAJjy9DiNNUuJcLenKV9CQIJlKsqllS4MBTPIPUj/fz0K8AnvW0b3Yqf0bdMClZwUXmLyi6+divRJj9U+6sixwWqWpDVl/85pgqpFuU9dPmV2f1y429FctHn/S7J0tILVpG9yDv/iaxRGkPXisdV9WzKsKE7aZNcKp8U6XtW5qnLwDurdzAmQVJFwaa4P3AYzq+CJV3YV0HY4Ebu6vrXK2QocEFRh9iYgzwI0AlLAiMDYw9s7nnHdXV5y05ZYHVTwDjT5/bwHzl3zCOnRJm0A4Pqo1SpYAiX5LltIRrDR5NwJa3EwC4U1CtddXrFzRlKbAtEo471Gz6sTEP1Mz6YggiaUgIN6OO4hf9Kx41rgWOyrP/2P9vQ2w1x9C7x5CIrasVMvccyLMlgVH3+VWBbjP8An+Zo3Wv3BXaYgAD/l0NqVfUJ+MEQHkdQwtUUDvHkDq5lsZzSM72iS/7/MLG3c0SklBsj/oAdWAHh/2witUT+hQ5TSQo5D5YZqZwQIBge4cPOYXnuMS1JlHxfSqdhU7H+kUbaO6sZ3ru3FIl2QtyaDC2bgfZT6SxMx+PaMVVJY+4zeGFq3J6Jzzc3qIkqX705lClLp4JFmb59wivNd8vVD+LDU1AGnHTXIYNAkdbpMAmBbhba33lW3viWVqdJdl/oLnx6R8HnxmrohQxMYAkTofS68KbjjiTdVF4xubrvU7+2d6i2B/ODmKWZHQsHG0dPAy6G/xO3wc6ruIsQw8VwvCz3yps9vrLsr+mQS39QoJRrE/e2wshhyZMSTKV0Z5+DPXBao1zKXNUuVSK85cRQzjBgNAOTkQeXDwVi68+SNLEi28nvThTvmBcEO0dbjioHVTF3vhpHm4I9KvYqAeiLnhgfNhexdZJ2JAQTmc6cD21/74w7MdFlp843AY6nX9Hu+Kdqy0gZ9XVe4tvvMpd1Qb8/tZ+fWwShZf5RLRyJ8f29KYYBuO+RQyRU2MJGnLniJHKoWJIyNZaQE1VxPnlvZR20zHWYd4kH5IOjf4z7t0rRfC3r8hFijZxX0WcoIpcnc9ETKH9KOJYGMAhul+LOANbDy3Kb/YqNWRoydRWvjLybw2NWFA9lo+m7fmDiu+mgUGKr4YIebaPRXxP0vMES1QepwS2Yd1eM47U7uAxGVLzVHPq0hwmunMxAKejVzNfT1gmVaVqh5MDtxGJPAhM2CDVL+wvoE73Nvu6KwmwMswpEKQ0rdove14iYZEtpikPWEMtd7kEMgykPQejkL7DX142PzQ02jKPIkFV44P0PctZ3AAXm+xxGtWuGNI2kFxRYnkUeP+DN6HJb4VCjVD3bR3ef5Y8hMGKBpJnFL0ucOBl+PzHDTpBRuG9NWWDLuZxujq6EYy35wEAT8Qt95qB+osqMRTkuR0GFXueT6VKTOvjN/cwjRA5Sny94dGDmAykUbfxjdPKr4doU9z8iRZfaSTANQceV51vA/Ot9BqO7GYaEv5L3CXpIWg1yrVXJ+o7JRO60vqrCzZaRqRbZXOyvC1V8mOBsx0oun+8rYLlXhcM+SZl8LVQOjt/qyhhBBTWUTYVn3rvlkE1mOf9tw4MMqgfgGEQtK3ngnm8I50KKdPk+h0ak0AZ7G4Dt/TB3u8plCfhr0Y5tVogts1dmJtUspbgJoiIPCeBFLyp1GshOW/q8pGQUgx+hAiQjUhFLRzPrRFY2iTiQo9SSbQIhbWcKSrWAeILmFmLhIgl7dEnyDPc5ST6HCA5Gbq8psHFRmuaxXRP/h/RkU9Xge9h6/S1xEe2XnqoXriHdOIJvc3AEa+Gx4G+8//UbOGw+Lgj3yZy8H34Qz8vI83ZMtOAftNskCX9F26Xw3nYZgXhnw6IK2iZkHdNoAzDCNr+Y7TzzYPBrimuIWSe60sfLRJBDGUEDZjRw2rVfF9PIl8gSY0bgEMxVmD1eZ8sCvw0SWwlvlq4fXUfRXTBvw5UHJ+MPcio8bsM7obSWxOtx4Yg58rxhNaa6RU8lyKq4vvKuM8nHwsG8KrlhuvaePnnQCWzxgRYqgs13WxSCOYy8usQAfWrdVSs1bfnmRof2xwZtk7G/UJTt0dAzxrg+yDQRAF75QuFX0h5+SfeG2RB8uoEiUBqOXlq9tAzx4wvqbKudxHpDAwdURlX+SuI9EWTgmM6VVi9tP1idgvx2ONKSu1WXP5gkaBqEwh3WnpOGElGsM9RGoESqa6uRKI1hz4jVpCPol5TCNl8GS+c9Q3txwMmTMdJTlG4Gp5hr89nXXwPgYJPqwGvdtec9UMjQw5hdeIZ5uIchk0R4cnL0e/rZ6LppbCEG8EIeJjMbQ/7X8GAxK6oETNJfzq+1DsQ5fqkH3VojreLYMOVKqpIPboutJmZNzLZkxa3Ic1JaxUUxisiiMLtlMv7eS5RTuyf7AgAwHphnZrUE795cbEBm1krMkCUJfHXmmJjJpOGBgbd/Pd5K/1Y09jvpMjcMR/OATwrzidt6Ei+bK+cGHu5Gg7CabxzaqXSYgAmt0t0rkit0QDkNtuW3NZa/Htfd8Lk2z9VFny5JJHlRivYfD3GZH1IS0FuRX+U+k8CbUBXBwdqYzO7ALNxzFPIjnE/qxNtgYA8PxOnRHhzI/5IQjlTidgeXgPWklvKw+xQhMgxPzy3K0Lk2dIIj/HFHo6WYnSUBAHNGZ4HKGZCkQVL7Hlr6TCd5HfT+muuYkOyBntTIs+6VTncYyThPIC6WOgIPC2Kb1ULl+527VwhmgIY//sklkxpDpG49FcUmE5K/N0boXyz8hkk/XbuO+i1JEftzuDCwKLJFklf6YUty4/uBfDEoYmCipSpEoCaJlHyL5VQHNqm42DNJR/HrEvsNQQ+YkbbFmEdROdzLmgtJdWi+4RDCvEfEGwKCb8f9Wouh1XFRPovnC15+xy71IHdyFNAGtVZZtRdmomtbx4OWvzhHyxOMs4cXlJH5ldNvG/6edcMjCOFDhvUhnf/WX18vQ/UhSC+vsuM6ht2Sgocn94tj5zpUBA8nu8xCDRk9DEcqt2BI9QBuLug4h9756Qf0RnOLArMcrRhdbpuBMxH/C4iJ5PMPHq8jLBAotUKt0p+QpkBxC2oez+7ihVEmGTUvuFIOEsN+PneZ8uION2CoDEuOhfmP69axdO4icunBxLlsn+mO6HR3s4ZMtLfOEvJFgNrwoodQw5c9u7UyjtaHKcuE4g+nv7W6TdbOesaWJJAhq5hrMLdT/HkEZIJak/QecbnsqIJOBhrrVfqNdOXdisX+zwR4aoWbL9UZNJT2TZrRhpSiyf3XBqokPrbIeD7IRysTXcl4sFfjrCgLBnmMHyRNVx71qofmrBdQiYOiT6Xqm9gkiAi94zPazhnip6DmJvnGbtuIN/NmSXfZA1JA30ZR6B9csh2GM2VZhGZk1nDDO+Df1rXr8pgXi+dgE3CAvea9KsTsUnMJrwN+g9Xw9/AuA2D3E3VjC3kbYoQ9HPerm+uVBal1wuPW/kPocCUPikAs4gRzedmGYxFUe9rjL6+q5hutiJf8B8c3PsO01W6csIGdzlO7EJrd8R519X9vE5BemT6JId2DtBVOgNgdz3aPX14gT0MQtF+VPNWEp73tvB9A3n0xhVnWZydm/JHxJyuCCrVBNQsT2gKCLL2GGNDJ4vVl/TPddHW5grYx2Ejp9fQwQzmXVyj0YKdTvL5bXYM9NLXjfLnICKl3MS4Q4s3VzRT+suCAjYrTosD3Sp1j8yP0k0IaUfhhJ4p07evsSk0dzth4Y/JeAXNT5QL7fL5zQcinKOZmcrzjZdSN7C3tDR3WyYItG9ihj95MjdS1poMa3UdFYGB3JQ7wdo7snwcREtnV/WIONctjgTk9lnR6GJzOI9sGAISCcvbP7kzy24jan0bwWka+7EsNO41FtCFnhwx1O47OpbWQEx8fh858QhdA2W8gKuI5v/2YQD5DiZ2kxX90BFnsC+uEmffgKGcLGqhmTW847aBZpPNf+oGYLbouABS2AXAAbHYnJZWrVyPkIMZBeSVu6OfpC0Ns+LqlrWAa4ATsRlO96QybQcxZXGs4xKirdAitDBrpzuG+NryAwKLLixszg0sVrPnaRV63B3fmmzLG3Y8UpU6S3VjRiUB75lYjw3Sy8H7UQx6nGT3nxh6CVw10et8buEBMrgBTm7YTuZno9TsEcti5URfLO0wqL1pIAuhHxO3DHxOjixr5tUYy5NKarzOnfmgUt2HVUID5H8rv/AR89r7MooCOG6CPmyZt/Cvt8JN9VJbIL5W7kgBTC7wQyL0xoGy21zajj6652kQvwkCrB/3XvXhjBKvDVS+PScfziZKRjAGmTdo/DTewjOGprnPXT79CX3mbMBCln8IoKQ/5LQy4zMK132OfjYdMRTNhxrsqhyiHx7oD389YPSrR53EWFWMH5eQeB8EjJXcB2ECruGRpxBqwUqxuAz4fBpvMj2vp1xv4CQp7LU7Zc3KzIaapwnznVu62Oc+xaDwJuwsF/FMTPqQIxlNarZ9Mpw/c+pXd21YWKG8KqVGqv/VSZkA/Te/LgM/AoLRIgavr+n8ZO4oXr/MXk+7l5Bqjhul5RRErPIVyjp2Z7XjTUomIhGaNgFu23OqQhM7moRtO5cz7NWN+R1BtKhJmOa2HTeUrL+nkfXlrmZp2zxmBojmMZAP4rk0dEXbrbXkaBHVzKXoPzfBNfhDOsg/D9pZStOFOtPv5yWz8Fi/z7ngXxDf2vbeL5LYKTBvrfTcJwLtnYrRMhp+CDN9ZMvoyzTb6O9gDsw2sibJ12Fclm94rNpd/Vs7IELOXllJT38LGXa1mek1wKbioCHWyMWWzCF0xa4Pmw4Eonp2orRGRljFwbbF9tArH8bXr5yMkUFhvncwAZ6GDdHOSMu7PeGDPo/7EQWmSyrTQ5oyt4C3CK7mCOhcxcdWi3EwlwJYPDLyeDvNzCs5pert7i0+UpHRQTt/jZcpmheP1i3bGUW20NzoO37u/vpaiCkB/FKm8NE1bRnL4okpgHYt28KWTWgILTwtESwHTntvA0SjVS8Va0PN6ElyvZcY+l4L62dSmjWCDlnkaWprb89O0IRlCGe8/5BJ7ld+HBOyAS/EyLnGJ02evOPN8zGopDIYXiCuW/hzH3PkFv5SmxUoUK/2js/lLJ4cZtAcryTVHZMglXmwS6HSa0BHOR03Z4JxOQmdKAYVuabQbHif5oJ7a6szUHp4XnIyWvaZEq5lSnmxXPQ2vwcUvZAic+Rs0uNeKa9IP82jZsjY4Fu+P8tO7Mlj57//62TUypDKnap9jFK67WEaQZGdJd9dIt3JoPIDjqTVnBtIPCuwsuh0os+gJexqGz+nfBiwmZvr9sgK98wEnO6As/VKCVLRScK/Wd4QG6jrxMbxnu4WS7smRN4TsHN/7sII6kPRWe/nV8DirceMvTKcOt1SEpx4LomZ6oJvwey6zlvN626gvlMZ0c6cs35JtHRoGtMhZqOKeUKiueP18ZDATPP3YS/FVVppqaON8zO6sIxjbqdhqzuFA6MUNw3+rgcUTVX59jfTqvaRNfG6zHE7qOI+n5xAesmoBazTGeSUTE+wlIefkIufXXpEpPkBK1ewjcCElxw2be8EP2x6xaWQcRS7ww95DUB1KGNRDyIX6+a2mzU1ZLDb9H5qq4fYvqrWdHS19nKSCvVM4CJkcCMhUd0hjhkYZy/8MHgFkgDcaDOyPYMF9udUCt39iQ99vcPLONDxBt0Y4T1pKcEqajC48eq62Y6Svry+SUSzHO8wHae7WN3KM8ygmF9FLW1sOwdAawcOi6rm4WyljqEcmkVIcrbt0c7t30cv6+ldWBcm8J9T5mMxGj8aH5KSp37bvEDUtCr6lEp7JnExVowBzkFIg5XuL89h9mClIbrRpsxeUmKcDmDKPrgv5XSPJkvgimHpPECeTJpILQqCyo6VsUxUwNNpl/pdukfdXPn7REbWESrCHL2UN5ibaNv/b+/VzbGy+DO707301QsJoSEFY28VkvGXLt1MDyS432r4JlFV3kaa3OXOLCC6U48NvnwzQUUVVM69Sy+qIraKK3gZuI2Ccj+AOVq/W9rCbK6Z0iJ7/rDyslBPE/XBwTE9nyn3p8B2NZwnGzqQAKm+LCvwM3KkdKcZD6GIcmHp2aE40+M3/aLKbWqicFWQUpGn4rdfdiOWzA5dpON8BB728Vv/rWT6+Ow494XKLN4IYfdQH89lp4jWsdjzh9KyYYWl3HfvxI1IBIIEIDQBqAyQN9/vd4AMBuz/FeLvbRGK8FwHkPWNCfvVhmflfsNZYtytP4/BSiZl6xA38Rr31YFhuno5bZiGbEJCbWyNYV53Zyljbg5PpBUDrcmFPrOyCQ83sYspNT82FLOrShX1n/U78SeVGB1AVxGSajpdMLAs8rrWfvy+Aj9CR2DQ5rJkD4EaRoJv6COfu3Bab8okhKRmRRaBU+bNHeOVyZGDQ78PeO92bHGBb02Ntug2fEcsCSch4TrjgSrAGijizRn0YsYj+BlXHFsbJJdLhySSDCXENDLG1iTw/gNPtb1rkprkolEdNPczn+qSLEsqM4CERaZzquUtEW1w9UBRTJrflMbSWwGRlot0bQdzqHxRnpOUvvSZ88ddgjhCxHoQpN+eqoARCFfTUlM4fbk4tEvwuqkBVJCbCInDKqxiY8YMwJwhnXqb6CnQ4Gu3wi3TEXxxpf1/mfEpSOBRsIKJ/XwUtuDv93SE5BzDxImaZE0pu7sqdCTSXLiz+FXTAh+RvOCMlPBIt+7yS/7YOtmzf1FVEmforZ3yb9adtyUjvrb8gSKjiWTykZvWFbo3IwRD7fnYe3TUma5JyLTL1eP42Cyxs5An5oYGo/2R6+nSgT2x/D+TQkmn4hu4jxdTUVHdrJTTuOwAgVgzvUeRSgpbLLU7jpr+NEdWWvzQ5Y5rP31zEWmKaBoZCOj09wDNQZcTfJt3GDWhxOH4a3SN1u02zy2p3juZTwYh2ZmCuG8WFYyC1To51aUcBrmqHf1Vl0IDw6Xmgosl4YbAuJ0hw+pFh1G1zPcY9NaTZYkym+FEV6C4dSPbAvpxWjEgW0HtKTr+Ylmy/yFIE5Beg6s/QJy17QDcQR2QNh6UzZnwoJedWOyTGWpbEKHZfyWvPX/b9di3l+tT1IIkwaP8WFzQMYis/TCwyUXUSgF612oujPX1ZvEPltT55ygKWy6SOTkZ3hE4vsuL8Fz6cEJDAWrr7JrAulfA3t0c/OKs92EthFAED55WhGbNow45sh9HKzcL9yaU0cIEZ1c7jY3fRvj/rlwLOfE6CnqkCmrX9iPwX4AbOkr5i6dSWXhaHLHCQZp+p8xD1w3cymKLmSKGC9349zPol5K9xtTk2RX77JInv11dCZpSGKO0NNy+7v0LS+yv3Qi5kvafM3X1a+bIeS4JJH+D/DZwJIRIeaR70JV38hjPLpJqCUvBoxZf8CH5YKgnBCoRcS6k/wDCtsyWsK6af1/aWcMPuTXfxbtEQ8739yBpo3kOnYDZxBzV/fOEiAH+zXS9Kl6G0ZF6FmvAZJ2bVFQXvUN6qo/iDSngHKikC23OiNH2D7kTAy2xAxZE7LQWSX8QQiG3MuMqNthjlTkAal6BslbKUtqVsJpkGoH4l9dT3BTcSYl5hdU4LaXO3j3kZhRGHH5nWojPxIZlJFjn+h0TU+mETQ0kh04rShTyEcNbqH0RSNbkz9zY/Tdo4HbEQwlo8uwpVougkOe216j75jZNBjOzJwVi/4clYnYH4bzEu2a+wwf5Pua+HJC7Vs+F4nCtyf4omICTUTu6xrvdm/BiM5yKQuVwsHT++Gtu1hOqTGu65in7ADh6cO7yQpqn91z4+1DCStUsoo/DkA+KC/z0y1e6HpdK1KmQbpJNUVxqt4gWUr5v1QLi0ryw7s2LP4AM0LvCpd8kuPoGSulQtySP6BdiEmXgg9AdGpJKeeSzIr8V40nnckJf9+iMx+bht/VLiHr0vXq1FdoOmeKTIb4FK/VzwUfcSLal2bEywhLtlSqnd4fHK68qcZHyco3yYMiydMWexCgNTV8q0TPbGepk+UnImxt/KDBM9ObE8xHuNfutCQwlpLTx7sGqZ1qJAWwNgSrvj6M/7fsRIVuHPbx/2GMuXrNGBxNn821ytGilCY37Bz0+Y3AtFZ7jEbI/SGcjxF/Q0AzulEpqNvhjRsSkhJrq8Cb5PXLRyt7H/Vq7ZBiOn2oi4QeX3tyF5qvO8lv+4Q6+l9aR+XFdKg7fFeWIyAOjhq3jVAvtsIc+Q7nFq4mk6QRQnXqlbAufMqcxmkjsCgdZcRZl1jX9FfCi0bTm8tqMGVDKVcXXhvWSztspW/gZ2iXMrvsqnikaWVsg3KzklMboB/b6pYvVrDC9XmO+iNxbCqig/ekb3jDLsGeE8Bt6KmLwPhxG6b2DVNE+ePLgWEwuQx6Kgq+8YokdMDmOSaM7hpiG4ejYGbJI7qc2BGvX+VlhccR8XI+yJJXxNO8uyj4F6rfTSJbb9vsPt+WXfFxKX4oaFPieuY5YcvIRWGBFBuvkIjeZb12mRskxsRsgAFAiLrUzMsLrlQ3AB/oGOgaCGZFMZG2TwVp0MMVtLHPmCgE1BOLTN3iHIxJFUb/r2JPrhikN6PuXxJLML3xwPaJgdm7XJ7CWfPib72NcpGJFsUBZ+esWqQ2Bs/nXlDNgiqrXgSnstRXgBCI+g8awz4ajrainDsDeJ2/XidzOP9Qrkk9PFm2OcWpY4NEnmugcux56H4iP2ZyYiOgn0OGTI5C37sNnH6fh5k/YNCSJr29uubKWMR3qPQphF7S0J/Bkt6w9pqgHvvZYmDBo0o9UHnK2oNPaVjx+/4hfgT4AKdPTScjzXrLY9jsntpa7w3MAD27faMF2HcCUCi37I+OPRCvkT1NUoDnNeVlt91n9ScEjF9k5mwmD/2ccsqRGlCyTEyAgYs6H7+wzIyY4XrYLOdOmWpP6We1vshjQvXv4+uKm5nzs3VT3W8fAYnavHUcSCoZLlJnLleoNHIzGJYI+PL/OfXL4mAH7ywamZz6714P0evB3cidYtNFsoakYLDREeI7Ga2MEaMsG0YjmVB+s7joRz0V2tzApOCSNExlCNpuj9SvxRhMpwhrHPa4LUj1jH3yhjW1rxGEPq8aQVd+JPRY4PlVB7wuMXRyR4MDzkXrmFBYtzZBJDTFAYVpGiEQGwEjdJu9h+H0Se7Rl7KJ2ZPdCe7VjY7KrQfrwXGx7/8Nl7EIMOnTzAUCHqXa8ss2f7K+jY6/5Lb9ox0C0rDc0xoY+WOjekzJjrAWt+Osrs30TDg6EdUybQWxUa2yQncUxk0PcCJUgqqGOl87H40h/odahCbOEgc/ou5VFYm2eQ3uf3XQcNfPJwqkRFMC9kXh0XeLm9IYK1+Pv3IYj18BT1RRHs46mmcjEtULJo2Gatpl0kpAMbVa4Ge+UJPRpDWe1QzQpAJdEpx18uqCUJfmSbtSRPiWr9js/jp1CxLTh1Z1koJVGAa+jJNes5Peerh0Qgn4sKtIlSWaQM4WkSgnfRvUj7OZsjNwV69NPLRsShprkZ6Dx9799ptsFx4zHDw4LR+HBY6dbcX9M+0HaV631o31i5FD06P0VxgKuWlQ2mDQDtiHJ2LEHwiG0QzaKmvk5D5OIav6Osl9z1mAssLkIf+Ovtz+BwZPv+iLQS3z3MxeHRZEPcJni59QHSHaWvD2wVc4E5MG0VC+yeBESXBYUGth3OgavWtrqqQJd9KBeSdXKA0KP/WiL9AOKdaUFNpv7Y/zm41HWQIlNaXusqq0bsuQLdeTP6kTigzV6P4p2sKdK0nSz855s7ndOSkvIMrZ83PKXJhpOIisHm6UOUb7zo3FnW2Mjc4IvO1kpozUySlt2R/5kq0TyEgRfEmyxcSS7aMfz73CAkGTpiSNlXrrW7YAE2pOfzwB2QXQvoiF+luvDUHmPAgwqYUxS1soKB1NZDVo6bzjIQGWBoezNnPb2x7yYmg8P4GLY9GYBY/HXWpnQ2pX1nSyT+PvnL6R5P9QvdKykbs3k5sFkIKOGoL6W9/mqKlUExa36rgUQlTyb6+Rr86CLUBV/z1OcsziP5z7BHsefmZj+a3SyqzbjmzyGgTTBMzbR7HO+kEOmsOw2C8vCcZ3QkCUzPu8vn8mQM8LAioUvESeEqXGaGF9mPizMDcdegoWSMjKc2KqaqCzw0Cx3VhbJT9Xdt3GwraT20295mhl7mIDeztdM0sXHxVGXl+cxkvYOEtYu1C4BuW8jpkd8zXQwzpNE3LhqgnIz7kpN+01qCFt9vfdyPnJMH9qTcR7Uo4WSZsBsvGOEfnhxoJ2IN0mkACQGgQ7+D+MhiqXfRUEj4/QhAK56u48lNG1wvtbPo0uHCpvMczN6ztbbvXwDjDCTTf5bAticl//PEbyDtKZPvG/xj2kNMQ2yjtCyO1Qd49QYVODBLj5dbTTsMYF4RxV0vcbhuRx7dVT+XjVpU034hxatMlpfJ9zkcUSvKdelOS12Wf5Et5vprfd/Oy4m1L7ow7r6W8iiQyT0H4CY7JMN0jf4gqaSfO/tw2tUOo/ZRkYvYk/Bnnv5XdFUwfmMTJ14CriJ8jJrmY3Qic6Za0QIwj1tcex3DvnqJT6/sTYrPjTAoY6edh6yG8zqF58KbVLcvkEf0+0SEBeL+l9aTI4N7tsf72v8njs3/oqvup3Z42NgdK42KMq58FSts0ToPcXizAmTtEZipOEdmNjxsBungaej4PPdnQRa4I1lKg8RHC/ajdYj6vbthRZT4EwlSM0nv/dUhVdNUSWj2MutbUktSYGPi1YcnCtMneB66YZ9fnpCEieY1QZM2jHmtZ1Av/KlBMOObuTDaP1Pv0vPq4sgugY9jd0ilX0u/JKqrHOTJZ/pscTESUpe+oAnVVyIC2fC2H5Hp4HnXWUYmymg9T1XOi9S3mhFBdcaAnuQwCp29AhfydLKZHPB8wZD6Oo88J8PJE5xdIfJkGW00k7A4TQwg8CGxBQCaoou89bXAYGq08P5fumFSIRStbm51bIKAOSLwpMFSo0YGGbVKBvX4UpFa+FRc5WcRjfrvvX2adAbgRvVBKq0pOR6N2ffrvsj9hHvdeg2yqtqYV+O9t6eYJ6BkYNpEDjKlLKOXf3Ugzg2aqP1Kv6jF5nELDunmiOm2J7bo2mqHElCEgGXTiQOFqd0QGy6vfAIkwLUX7hQm2+lXiNG1/LGUm9XVtyNug6k+FaEdxEiwCLxKM04jmq1No3m9ogJCcxuio8PbIn9mLl1zTajX20n/rxDYKNcKH7SBIYK7f5aN1Ie7vlhNNTKCTrursbwIWxbdnKqusi5rIL3Cnvg9DIni3H1Oi+O22gvjfK8N6kIvD0c3geNhItQoceVL1r0JYw9lZSr93MtMsyZxSHUPGw1DxnQF9Od9EYZQNlQnOGbfUjaA4xTdOLP6UBL3LpJWxnYUA2MRc5UyPHpx3UMWg9f+s/LxRGBSDQL1fnAXjwQHfq6FeUolp8aDEeLkx4nQA5shnk36Y3BSodsTiz00O8Xr0Y7ecdIgrKjTbeuvRfzL0Zo08WYZnKMfSXCy2vkvn+7RmroZrx/DOKh16AO0t3SJ0lqasqFjGyAd1Rb9JmMDTCutgFPrZUK1eHp+xQprgCxGrHowPlHU577/hwTqYsbvfTomm+5MFRg0uNBuGCFs7ctOJXrok6HkJWn/Lba6XTv5IEEUtaJo69L/iy5eIpaE5ltY3uDueBuTmyHlKhyo+FgFAaTO3HYrjyTFjFgakYwsAfECRKuJqmW0/zgN1piguzrZzFLFwymnLrxjCtqZUKCty4hAjMgaVIA5AVmP9uorPT9YCRf5rXAJJZfY2SlNsfHp2sxmu6csN7wRbFxPRsjPRzJhhovfOwQqUA8JRadAuamUkssstXfsmi7L8f+oaA+gM+qXZHkd9dpa9T2rIoxha9ksWTGHjxYJCb1BrhWWfdHJ7bO30yxTUM+pjUr6u7eA17VhzkpwmVT0y3Ml7rA7/kwYRLTfmy50R8fie4ZhIl6IIPRdKBUC3t3yEgKpUpbCPxh+a/58EkGQtWMG/c8efSAyX0pBTXWuL5JyeUuqrlnZt4rxuZMvYc6EEaxPH4W69lGFjH1Jxo1qe0CsxRdoGyR6vB3JldrK5mJKX4N8kQmDkZFAj6Z63w/uUtpD+sUee6IuRbChu1ECxk0d1Xqm6pac9rVh2sxBhDShbLGZ0q/BUNU7gPDN1z6Xoi74izvXrNGNYbX74AbyUHw41RZqh7XWIoYUs8ORyMZr/BGIyWPc+bcpz0jDQZirFKGveCmkXAvcgG4Zsp91MdJJ8+40Eo4wH99XBvoxDWvQflMfU8nnJNySgKBiruASCx4iut0Mn6Xbh2Y/Q2GwjwcA5DBLaWbYYEPyVTluNZuV8gr5m19X6LRr78gPhRHjEObyVUwrI2xEImND8wiMWR/qE1/YgFV7496ihjT9g29iX3vwMwzW3cTRVm4P2yYfYsGRT32IrFnP0TOtOTJFWTsgek6eX57V5ptk62QNwB7+DjabSZ7nKvtxfbUKZaKm6498H82GBuR/tIg4mIr8kvBZNnNJOheTrHLUoyeHcB4zwQqT5DpBkT/LlyOdDfwsP3atcWUWHxUHRiLCzUNri9EbYP0jre1ixOz4YObS0tymHkq8fJcj7j539CvPR094WBU4sDDkN/Uaa1x9mcTxdpOPEodJpfbW04O7laHO0vfxPacWVANWvhxTf+zbqGKQjND/qXv9POVSmvrES1txoYsPABR6CoHaCnti5+N0BcMl042xhD/iX+D9ALgYQ88396hhH/YMUFC17pZ4HrK3Md11/5GT53/mCHjQiEZH1k/x6oC6Z4nniOKAob4Cn2EhK7RDxiGu5DfHSfQ/qi37yBA09evMUhXPdItYA1HmWziifc/LsfQlWG6q7mtrvUpTsHCdH13sjcpzx3N3XQhNKKfw9iGniDYtleEkQXTVtLqPpE5/VGyi9TgwPctW1RiZrFW+zYUhy/w1MavM8OwhoNWWkg+FsHyl1u1eFe2+P1DSqivXTf39cTjieohSNW29FMBDTqDKcMzsOL6B2Pmy9GAWDzRCKeecMvftiWSf8BfYA3WjPBSoHnC/jCeKZ5JSDnQb5rP+CgofUVffFMZGx0R02cY7E7KLVit6MeBo6ztyUoZB1pGX8pBMqdnXgsL6LKU4KdfG+cyjTR7Wx3L98pqnpmANBmOzyWcyNmTqUxjMDsMAx4YIvRjhqbZwhnI1XRIjcHVfleTgGjlt2rONdrmTK7f/r58//ugoF3rn83NUjs2N2lx9YNA6Y4KIxPxRwWOO9gymp5lt9izLNNF23hmVBNmQ5595EiCBdIheNW4fkvQjPKsIzbbMd3pJFw5VfYsxmWmiCf7o4a2WXjpOPW2kLU46oDdU0Uz7yl6/4KjVpYxKtIb/3lmmBp8PPwY4RbD9ykAjZ3ohiA9ixz9DcGGitld4hgq/KOdkOTiX5NSZVDpykJxmY4CXWDUAQuoiaYXRWpKDQ8hL/39l0LcE/zJLDI/O8duQnM9bi67rraRfb9fhxJuV9MHJMaFpejJY2yF04fmcKXoBFpl+XiJzDj4fSLu+Eipu+q6jH5Ru/lbibZ7Tr6ETd/R8ugNTYLOZZ1T8b9jkXG+TrJLFlIB19eYb+HeG1D1lJXI3cTLrk2yXVCUfoG2ryRO+nUPZb0lnghRX5cp3nDYUzgfp+BIk2tMnmGXFs2Gf9rPyb6bmukWPtntHLv2emKD5f3aKTDdhf2RoP44tFKtwTp3FX0mcSiX53IUFQ+rh8ChlVpFRKJN1KnxTMDgP7igBF2cwaXBUG3JsLgPRBi1xWwrD0JDYEMPRwRA2q2Jcs46SHSCYAWcR7V9HzG4Shi/DfKRWsPB4ttV/nA9qshRRGLu3j2xU+W0JM85F1oSgA4iWje9SRUPqyqw6VPRt2B4Hu9bJb4io0zKTAiWHuQ1LfiuaFKfng/of5yEWj98liD0lQbssExI9QcKZZNdlitkunxdGc+vFzlvqfVsOvqdyacVKCMRM0kZn4UerTevO0w0FbdOnixjIcKlh464ZZTMU+338eUbobCdMWka7rLhU6+0v0KTkbrQ8SSZPnElawqcGWtSHL2wFu4IqTFjhFMzxmZWpdtXC/l1hpJm+dsb/Oj+xxY4EutwQghGmN/hKUSig4uAP+0DgX31x4e1rn09KYqTJJbQ2/u+yn3Lp3br+KVBEBK0gX7QqLIhXylD0RcvL6ET4hXcEbtbnjjlnRnrpAaCcOGtTY1317ntoE425+8rL8lVu+ETgGyXIrXVAOu9ZMsVRN1O+ZpLl2TreKIvFHgxggfX5zgTEY9kzf33TAFChwWO3Wh7s3gIB9rRfCvZT6IW8jkRcmk3VXCtjFPqe+hmhzJRF9pLGR3WVBcpBE3jF7gI72cRqVTzYRimUsOkkBNjte+pvC/f526+6564JFb0KXbRfYRIr3HB6jkFYx8uuG0d7Zh8FiTOIt4fsfVYM1o4wvUCPw5n5D7w/ndNeaa1hzUeyS9Dm4ZPKq30mTn+8p6W2x2YgjXi+taJ0RlojpA9xFOZGaMPT+I3Z7yR0WaS7IzP9OIeZXcLsZ8BbyqyTY7+VKOUJR5aJ8bcG4272/fVgcn47MmCQ78R+3ovFWeCOpc32K603By7tBfwnp3Qg7bpOnKrmSPyNkMAe7gTTCLsPzH9Ytrlu7FAcaiAjer0nHYUk6mfZqyXNyL5i/e+55dXFOBb2+my33j2lxm7uRkLHc2gHOcgh2iAu3rU+NJp9mnV7VKsF/D3SQL6Zq4+nr/HRi/Se4eV7Pxeux/fYHrOnMUjLUj1/OH2UoEYUxrK3wkoo7JHlIPgmKkOEzLCzkjTvkIHfnOFRoX9Of6tFl4IH3TaqJeD9xtXmgpFLmezALE++i9Jnl66dy5MYyJ44VjbNXetoRv6PcYP3wgdaXK6q9Q+QgPwV8JQiogmgBlu8A34imR9fpJxbAnAgU/YBnfEzjy3LH14CKaxKKuqjuslqlSAi7ihpHqPEOHV3Vcu3y0h7alxNDWgGYVFY7l+aZb1gBz1ejOzrIWQMcR4LdkgjzytxxanSacQvvadh+2KnXyIS/ECv9EMxn6VZi3V1gLrFl08IwE7vS2Yi3WrndUXBphNP3Qk6G8kNkFU6d2giPSmFj2YBVlFbsBjWdtpjyQBBlbs5IPS65JpvKBqr4keKQh6Q8UD5Qg2YSqbRInkg6sjS7bAZ2FKmDhAzzVaBkPKRyD+3Xo3b1jjd2RK9JhR2vX+FpMm6VnRyHC7GjQQ+ric/QGH/iE05beShkGNdKyB6jotdtFP6et73cQqb1RtNpgZgkyYCGzqtWd3ZHQW510zqCrwxXT0SzNQKMQFZJeLbPHlP/NDyHjG9DW1NukPX/mN9pOL7zEo5a+/nCTflyJDqeAFL0yD4dqBbURZkCrDmez56tgLe6E+32XzhXmcZ62QZR+kZowjLgenw4VtwDmJEy0PjAXLUJhjNjKaSFuyIzMv9PKmGq/ON5kZ8lJpbtAbJIhrPFAYkyA2djCfLPZTE2qzKESQ7WLMgo+yxskMh6alyF/d1Iv/mE4cuQzOpNOUkZ3ihpfKticpPOLq4YXjyw1+Q6XCz14yAfwmOslsApgtLbka9/vz6+Q6uDdzk+ZaVRG+fSBGaxbnnyopga2U1tYecal0Mpst4MIOVkwz39gV2Ez6ZeeNMBFkpSXR8TPvYgIThJP5YPBJ68ghtaxAa+f316HLZ5Y1Fy8nwUJKfJNA8WWd7ehNoLpJQ2wHazhwGBVv4StUaRAZLj3+XyG7aR/WJT9uJTphNj9oMnuoD/U8pdBL1XuEblMv6n4sYVroS4V+WMyPLDoj1h6ShdLHi+s4p9csO51IeT69rBkS1ZbuYQrVR9N1zqa6BG5LhLYUqLRPdsimvtJfyQDdIwt9M7F3RIkS0ftRZzdaWfqqMXliPSPLCqOn+7RxhyRWxET5ypIobW07BaU2NoMOlZynCVzkypTSau/L7nBx/vZRAVktYFuc4J21z4hlT68yMrNpyaDQK6pvtPoBsyWqOvOR1TUP8X0QZTikJs8mWo/QpnRVl63ekdHVukZcsDPGc3FhlbPW2t+YDQJSd/A17OnzPpRH0x8GUdH5mUSJMd7wDVF98UAmP0P6LnIUKgd4ZByYOrNOETZtl9jcRGI6XmcYZqNTsd6rNTeEseguUggRcZqJ+1lpuCN5OjUVG9rNCC1DAa8EhjVWjoPWzrc0aLnftm/ogAb5IB4/wcffvoVPo2uf0RHUUDTk2JRIahdkUl73oUjgW3yQNm0IP4x9R/k4AADGmvPV2LU3AJVPLyOLpohkDkz0pgKDG/bcoOb+W7hvRRU8RNUbDVLCJ+J5MD1oz0r5Vbq0A1ruRHn8eBSY3J/4eRKXUo3MnRsNhVWqhpOChWsTrMvE5l8bd67VbnPMmBLnPB7YjjfesT3tH+LhfNcfZuWPY240uVgYCRd4f4G6KJQPUvTkbiGjXY5qw8YkRRKVwmWPBUjcxMI3cy8RmJoPPOqf2N6yk0RIVzQJI3/9DRPCVgdz9vg7Z9JvNF8y93Xu4cN1iMwBKAfCQkRi+w8EbnGrdojCzQkSLDCznezZJPU902mN89YpHxGaldz2KfpVmud1iZpecv64HgfQGBnK9jtBu6qZSYE6/FXBd3cYspOMFEtuBgTw8C0ikC5cMzeM7BoLVQD/OVWWv1OceaZkmNTaiPnzbTbk6s5EpJFAlPdGtg7XUFL+BBBYsmV5eqA8cBXqkIZ6A5CRJd4G5WNhZv/RlhzrF4Nbd/Mc0SBLO8an4i7V1AEmZwZ0ANApJ/whwmT6ZIbXxzoA2ptC9h/4plzO8K/5EY6jHxRYR9jNW47HWVPOfmSgFnpSuPt8VM6UtwuSYvHTbDo6QlS0+sGb32eyWw/UnWamd8E5PbJfTjncW5QCx91rw7PpsKVOD6BcONK/oeo5TCmW+ihxFd0HHJIClwv7yRF+vPPQRCkVd4Ns6ZWrphIItdzPCAfilQ0UUwtq2UvHGsbQ/mqkf8BAaauBto8BRmayoVclXbxpVhPB0t0mcfwQ6K1pkT1/1JNViUqZBLcu4lGrv4RIqEHXPMNj/+kuPuPc7q8qW1fK1bYRxTJUP/g0a5imGTMsRZzqv8EbxdE2ckiUaFDRBNOfCljPiTRBYBnjjlpcs1NP1m+rFhkvcY5yGKq9acxOHcGvWemhP3U0fAp6bvkoflPHemc92NsK7hfN+KuZRbror4IN6Nz0TxfuLW0gKxrCd41fpV5uo95l6tgFEnha9HdJ0p1I7KZcL+anhDFlIM33okor9eFw80+tVSpLfgDbNwNHB8Rp1Pgp83Jw3ld0OdF2yxaPWP781Z45qRaia29A6+mnEON4kDpvApjWjBikjYR+Nnkm0DZ6HtsMINq3SZLQ/q8oazVX42K2xRxqxc77OSOA2Xc0tk0XLC+IiRNLXxQSwDbaBnexahsHJPJxh10DkaEpAY08LwU9iBK4RSUF1D6ASHiY37uNIyHz1+Rz4Yd0vk4kOWv6mneKNDFBxzvzyb2Y4ysx1w84lkxXwjBK7cYHCnS5Py+YfihMqOnATXhOaTLPQKiTnjVhO2Bfl63G72eUApEHu7fbvkzRcLuibCkm5sXSRrZ/xuDhs3x/qizKBbZi6d6AeqY8EpAeLE7HlIK7B5EktDG2waKTROrVyBQCn1MJu9TFwDUO9O/pdwyEB6z4wQKKiA6gwkH3jgMuagHFRyu49r2p+ax6tRcCQhTtsbDQ7mHXSwpZnXqqT/ncizWGrotzUJL8P4KxjIc/Hp8C8YiMLhPRNCi/1IusJuvBf/V37rClAqI4jttxSC3bUSlX1oKPzmp1PdHDp3Hg8u/zAVNK6iKo4781Cv3gKfHFclbl/Sy3TkvNi6m/tMqN54VF2noRUtj65Db7ll6nv/f/+5OPMPZJ3ZSjIxi1Onr3LoHppe9mISZ7DScc94zSmNKVsR4KPWOfp695vCGIqqjemrUbFh0NchbLDp4qXOgmYCds6/yDBa9nZ+QLRtq59u2q7qDV/xMzhYzRyYUhP386QzmJLVNYCA74NyC9/fEbM2xnFuVUGkdKoO5Pz8L3LrqptApI09qCmjW4CDTj8nLizidTUghxnaWSQz8dwZq8svvRDnuO68XIWM2eDvmEBx5uiwjcShY+XLGrI+GIw35ARW6LZ9V1dGJo3lftDfwrZ1abzVvt1XP5EO3J+LwIxCa8DTfG2i3JgnTcJm9qTZ+y7LVvSmpakQA2SVuTUesG1ikTIgAPflIOX4kzA7McbYK85ZYRr3VNrwbl4S2y9RaLk1Mr5BuZqCf6mNywCBk41BJl9Vprcq/ESfArB00/YXsqambK34LyFL3hxPSkf8Z1UVcP1VQJ5ZP1ESaCvSeEQ4kh2dkSVFiQCO7eFdaoqdcwVL4N2friYBxuDMGO2EWyQzIDdRYg+XobxRR2Pa86PyABwXLXAhopIde5UxCMpMHgfzy409KLvs5m0OK+vG5rdE2wDC1ie/1XCp3Iz9BIBLISiKLeRNfFLMRbkv0XRb70pjBmMzXhN3PqSqRXKuB7eBYhRGsPtBuO1J8Jio7Ga403RPtoscbLbvLcm/vNxS37XXQcq6X9ZMbxzhqTM2WF/8zwy8Yr7kD3ddTuZngv+n87JATMtIDuRjEb7JHEJAll7lfRiR9ln67Saxvx4AMwE2bjgoP0RZN8bg6UfZYDwd5yIkTdUZahfTPAXDRdc9bUYQbXL4XUUxirPlKwsJPWqpJUGuR4Pa33/ZI2Pm1IJcD4wTMMBB670ik3au1wGD+99Ogn1K7BbkU/wl8h4xuwEZvCIwi79kYZvNmQmQ6K0Br/XwHF5xDWGAe1q6fG2G9Gj2YL/+VwD7ZgfYeh8rcz/oiU5/cUMhKl6ZS2xL8pPcwByKyXwFzL4V/bR/R2ocDBWrmmw5QpeI5q9GQTLxNPeRcLW+xlWhVNvraAtu0TVnFfRGubppNVieXSaQBlTD4UIOecK2om7EAECop4OcPBKIU35EsfCh4UK+CMvtxW5kbSXsm09TtTPiSQChHi+IQ/kcKonNVunhPHgARLpto03Ez0Hx0llOtqvyLFhRTB5pnuJjXuhc+I3oLyaXXFA1X69DO28oSuVJJV5L1AkgpiYe9deiK8asqqoFemi/6z5+lOzp2UaOYxe7gA4wcXJfTuxHZgbRQ+i70s27CtotpxbKkgE9jq91IryaY+e8GCK2hfXjP4npwmu9NPS8GNIw/SagpRzHCMSCaeP6tteNxCAt7AIKAk1TzbTbrQZgB/u3O56z6FHgfM56YNylrmocZFIOu1rKTmPmb6MZBD0ynb0anAocbLeaWY4c6/nAi4/kOc61hlwvC92B1jLOkyDVufaKdBq6EG7jVsAiOsFDJbGKe0ncJAPOz0g+EDrx9tVJHcEqsrte2Nfvz8S2315U/YWIt/IKHfFk/WLEuvvoRZnUgZronFRmcN+G5GiLFNd18XtgKLUQh9+v5tHF++KIsQimTvqll9ak91DqNWdVHe6+6bBnCENDfpk2sibKV4FSe9mmca1D4vwVlqSkRxHbFNu6t5GE6Yu1BZbMX14EYbyAoYIT6ULfLD0Jb5ZmVk1OIpR4VlaH+JflatiKdwUC17mkkRkTIfWrCkPP3Yc1bMirraLKonPES+iJg/BjmEdb50Ut0na/egnblXC3ezPXcLkRIveLb8a4s6rf6HV/h++tfTQJGN8Pi8aZiusZCj9PU+VPvWI3DHn+Or0mc3g3YDjMVDcpi6ylM/XQjnnAThwuiHsrgnSF6bW6zIHRginU3b/g0qC6aBk=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r0lg9IPP9y8umrse/9AoLT5R0GKq+XM9pr/aTyOTf0wptcuHbHxeyqBm9svU01qeeEM1v0hpSHUgirOnAK/wuvl5jf/09ap99kD5plAaxXVCNjEk7eSh8qzNCHVzDwg4tv+lTGG6Db5+KUUavBPoiliMC3X9War5X/WM20nA0a3ZyBuReIaqDHFemqWco9yxEFZc5RhIYFDxCCtaF63Gjz0TeNrdhkGnSSf+qIi1ltlKka5lPyi/+tQs1vBvS/Xu6/hNUjNR00hkI4NsjaUa+TFQ0+14gmi2A5DxQCRK74MauCsLncRDGt7qg2hk2F2935u5nvQTb/WciSuEZ4KRgYU3eIlvrvaz+A4qoRs/99jRiMYbUxnJGyfILRdmRvPzMuBlRZMm0qdutO4Um/7XqPIVjKL6j3VDqEvC68Tfd0xSijQSVBbiOcInJe8N7BXrg6XSMs9mMgXZ2578zwsLk+B7eKr9axjYdbAFYdap9p6uSZidUXyInegzapVxcKR46ITgXSvovmMOhLVeK4rvgp0dBa+LhtOEruQdTGFfcqlAEHItB6ygB0vx5bSIfXdirm2UFIvwOxs3YusLCFGSHBtx45T5+B6wtIr68ulc3yQpXutsvTCbWzR418izRXTaLgTKCTOwtif3hHXe/qHBc2jobfk/GtW3OpVdvbEtLcDsQ5s8trXpqHWBgnZ1Kp5OaLwPdSATlmv0KZm9zGaVhrvXfwKbTofoMbHTgY22LsQIR8leXJNn5d8re4weeb4oP1PmuMxjOWGXk0JFHH+7QmMSb+WOPuXBZif05U/hTpnPg9ujeEcW8jJaU8HhVl/Lv0uNhnFVNP8FY4ZQ2Fkqb6/0t6a9gyT4hNMqVh6ChtnFGb0EvcLkCVfeinsw7pXgpgVBLj3Y542rnbGXIF0LYwxCbNF1NT/i/MabSdxtBve6WwOQ9Le8MtYFqMfOWuXLd0JSvZe/moy74IvFuh+SzDuasTeHabWa33qNhs9168oouU/7Pc0a0PQqf60+fd6ySqXW7gO+QHAB+J5J+B8ghbFRWCqjka4rsYu/nlN8IEP+IB505idUQM6n0n9D5E9Sqj9qaJzcRNjwCDOCMRyoFW7gzyTP7yx6WIXbNZovaCeFggf0/k4ajxuedWYGzLe4YboFCb/DygKT8UHpOupGxanNuHdHJvdigfWPvYiqtiHJJiyHVtMt/2hZ68KAnJ5pDqwwer0TuWKKU+Z0FPG2tGIz9fg+62SdmZrm+vZ1m6BmUc1nGu5MI+iJ8qrNpz7BcTGmClry6ZQc24A7kE3OjjQA886ZPMOC1cOKMuM9g3utM5jViiSMAKa6fwKg6QIXdyMvgyMlmzqN6V/eEY1UKklVKcx3jKo4vUJiCxMHeUNk9dpZip3KhMXvHN5NEyNbnHe/MB9ozzFR1YC7n6azxUfIoV8LmbWZXHrQ6E7+JOEMhG+83mzM1+vCnINpqniSwvPzjrhQ3g8evy7depuUKR2/g9FZ5G6KdxJCDagxFCB6ZkrFTCkf67ROUhaOWbPZKt6Wm2j0HO9ikAFbPgT5xSIy7fwTVN2t7ZCKSZsp7K9JFKLW7gLvOcg/E0iX1qliCbZOQkGeL5/BpX6EdZJJrUYhLLt11URreZ98qQy8TGOFgrCVn71yT4y7KQN4pZfTgINfUfSXh1qL5MkLyIOiaRgnbCcz+JXy2T72ydxuWcUfjxFhr4YLwpWxTxfqVxuZ8wFpAqSgemgfDH8QrgQ8jFlY6qO+psq4uCPPPbJtGvmn2CDXAXvtWayCm/qJptPUwzuqK+oI/36afrz/JLFmUE9FsVKQgQHnoOCJRJxo9q/LvEHlVDWnxAR9eGSQxiaqNEHgGLsTEbH4eeeWF8cmvMzk/kHm4TWXICy+1CHlVL5o6awxvokUl3O2KhadMBwYIJjaMefK3GfO9tQBZn7MSX9BnI7iGZ/lfdTabuhM9rDyKULrGEDqhNNo5ryMYZa+aQ+M7CzJZPFhu0zGrnLmi2vhSUsBEFmuxJU1cc0rNGs0EUNhLx6s/Jbe04lSYLAXcwiIxk/Ls+xkGyETLYLohZWlB2lingt6jhrt0hX6ok5yE3zXog/3QrwzpVF3q2lBvTrWps+DpZK6vtEXWGsdxHLXwglTUAAYm7ICZwiNSitP2ibfBrR9s5prSuWqflAiRrPnTPdiNCzWYguCoxadQ14r/4lN5qOxkxQ8zfDi30DEWWWcuNTWsBrKkTDfMn7Do79esIEzwj184b0IqOwFCkxPSr2u9jForJAW0NZIr47Jckm7Lrt0TdVt0YuuCXaOY6Wbuwzd4GwpKXEVCIgzydfH8NX94WE2mreJ23ZXzhPNpvmijc8h+Gi6gR6v1pfSlf44cSbdYWOPpn7nBVmJmWeFl9SfImSD8VgPoaegi82fmL4lx7B84HYjdZAFu+ThYMDb1djThBRT1UfA4mmK6ZsGRRGPlpiTP5Qyc/CGGGNBpNoipvrcI9taJDWmadaTIUa0zw8ZHiHp+KAj5Au8XhCW/gnb5C8McvHjkwmX3dFoD7H1GbBQFkIMwFGXC5ioSj6IYPzsj8MyS0ywEXg2YMaCEOMuhJNU/u8QiQWl9TBuAsgnT6lCDH/UDqTNGMuJyoBL3HenqNTCzbVFvt46isCJGWl1rKgZ4XSwsFk2u42sBVD8CWdYcSrJGbUgJcZgimTujD6f5rbEtf8hJavSkGNWIc3WaYGQDBBVWqLlEQFMrAluIvMtAzgBIhmK6rxDt9cUgp/SQszuMKDO7PaQ4nye+WIGhFylpsH2oVBIlLVMUyIQrUOvgHMRIJ1F1QYmICHFqV7NdbTv09D/ANeRDjCHoizyjcxMb//aHz1GJa1c9Mfu0+iI64ohwoYRk0saxWZ/jmMDViJkuNEyVD4EJYJ+94LnNryy65bWdrH5qxxqH6iLp+CnbvmZvrT4LXhb9TxMU1nByaHXIvfvP7npGDlRy6a0oiWijV3P2mgo9SfSlS67oeXJGx1y3IKL0rATM9gQCxT9y2sMoqTtT/sVikWvHEzwbfRbGlEAzfS4x/KiFYdk0Gy/vK2MJfk1BVBeqYYlPAeomP4ZcPIFG0QyUIrZGQ68oxWpAQ4qpg+CFNx+j3VmAAngW/b9RN1ssxyP6hFWr1xUvzENZdrD7O78gZmVwEV/R0olefmvi9L7H/OT83PtxNZHHTOfA50G8Q8osVf3elXxYIyg5NFIIvtAB+OPP+LgoAXHYLgzp57Vx67WQQWIx7qo8vBC4vTCaZkUBN60JefR0HeyvNVgCLaRDwU54rKf024xmZUeLqdusuPVDEeoDy0kPUuu5trx1IJUO2hC67hxz3B7oDuq/BwlKZm5c0h7674cveoyK1rYJvqWllN3DAHjZAZM+WcSIHtLCMApBGwTycggCOr67BW5JlVl0zddOLWyOImCEICXtV9VeomX/RNaUrLzUYdn5E7ttyF9B+ZAYHtOQc6S6jr2yXeIzV0fzQmAibkXPAEJNw6mfWKs31LnQIkOBgcydtwQDxs+95kwigDLLsaE3x9GLaCrONmMs6V9e0+CMGL5cBC8BUmLantp1BomzFCSd/3tB/eco5OVzhm2bYdNWly42a+lUspPBRqxjQc4UnlV9XbcLTLJhkNU8IAhwnYLKD4EEUNTWJhk01EiUR7wQK5DGoquTvckCnbBcFxN+TBR0BJYAEryH0j3kiab5br0dQWnwLfhjJ9YJl4JAmmIbFktrrPBl8T8voRI6UjaHra8/O25f+IrgotYn9jdlsl2XuOp83AJpn2mqgDn9Oe/W6fMcYA5KB0hvGnfHzc3ENcXSndo97EwZfsYimVDPNtGdD/hJE1mpgTe/R7Z+rmQJftegNf/3H05ocK1nmMRgCzhlBC9xDJ4jSRkqYbxrY+K2SKYKcJWJlanNZ7RoQcwoYeNx/j7mlEoJGZr/bjQEcZD1wyOXLDtRbR4lK+tVHUuCC6tUBe7ZOqWJ+4FKoDQH/e2SNHV656VZyB9FtwM/PoOhXSI2rfESvMM6QRqYzLSQBhItZ4Xaa2+KnZSOrr6BmdCL2jAI47G8lk52JEfah3vAB5BGsGbOex4+bi0gNPff3fa/hawAabQ00/zZLFnpTl6HbbGPLuMGn+wyaPuwevko0YP6Az/Uy3VBY1nNgOGbLW/cUEIkiUHacb7/dpVyaVOqF9KQemYfe87uoFJu0def0qj8NMqU+1Kk5b5zU6iF8Keji97DeNd6/g+Z/kK5eza64teLwWsSK76+1DVPMReElKdSFNJyTwns6ZSHQU6GIuy6CCG1cL7nzMUrb/A4gHRitXD/6/NBKq5+GYxz0xv3FwT5eRVSoI+CgBwQiKvAt6Ukg6zxN9iWHkYE91V804KFeV792qWQEzcn7tP2JDRWSzuOuBAman8hxTueT1BKxL3yo7gGUBuFos/gcFLYWCtqad4evpoAwKvMznRKk8O++7E0xxtXnNKmjNFp/YepY9iV228bgF1SLIRZG2t2e8RuKJu8JSfwgMG5TvDTrPvfi6K8dDKaBXvOFG2/FutE35EPOhkUhBitiZdciLP+fClSkISBOjTrxlNWrq57pXJdJQypT/JCBwqUHhIb8ZuOe682ab1Aj5ZwQNWhGUmwOvtDZBMV5Y/0FeWuDdMb0lV99XJEqITz6fYaSHchNcdI7PE+pfe1pthHLitcDbQhd05Us8H1JdpdzrcifLWfbW9n6jBWhQ4qwh6TL8lWeyTbBNK+cVvd5lLI5mBOU6rof5tgQze/gP/1HGnaK7reWvkJV54M235JiX84aruzFzRN0234FNK2NUgWh+qVLr592WwT55rV6zow4xxaOMRtgge6YQwCwLSOygHlnTVC2BrQkBa6alNZG9qb8c1i3pSt4yCJ8jOMYWkLetQ078iz79/lEtor4bQWeJ5v85fquOh6GpaN2fcrpE8tnXN96GWmmZh3wE/AAXXOC4kR0g8J6jsMFlwdxR31dVjX1+OBKNogHJpQWEF8X/LaxBBmvqBod/hdZQVrj/l98TeIl9yYShvxu8/AJDd+WBgWez0ohs0Gm+oNzekr+sEUU9UCEJUY/1aer5Hs0BEtfcxPQiPZD0hocXtWbWDI0rFeKs87e2ZHlXbuUV0T7aHeG64q0KMZaX+xMTLEOY5PUgMpYr0X7KrRdeVFbkjxTq6Hc6HIOCSRFVaFMRLUhdERP1zoqcSiQ5RqWVxqR8CD34o5xaOMDCGHO9XgsqtJfhhaa2Dvpk8Y9APlnekOVRrIPt6JVQSl9f5zxDORYTUq/XHDCkGCdWrdEfmQLzQSGa5q/XrhZuviQaxNK0GgyTp3NzglhCj5pMN7/dEs5obe0eumwf+tlTb9udZfOhVCLSfL87SCb8gyM3HvZohkxxpr/rRRbJcSgZ/tL3DjxQApzunnC1iG6w8gMDisO3C3X+9WdBCqF24smq09pdsmwqWwjvoAJRNvBWjDe1QgCxV1ZM/HXlZxPe9zOfVgnWqh2ud5E97fjYDUrNydb6tzdxLhZa4MpKSyddilBbT+ngGc8m85mAq0a+dFzWqzwAGzp2umjgohrRRaa1lglE7fs6YClXNUEO0Bjz98N7Y+kMKap0orlGMb0/Jo2kXNO4X666o3AWHWpU3EX7wYhFfETVlV/BKWtVRa/A0LKpUc9TJ1UlCsUtjKGdfwMkKsE67q4PRGWyufHfQ4C95990cN6dc2W/CYSBEB+B9O8XJA9tThKmFKixK2OSCKpC4d0O3ZuNKVQU2Yu/nuwNfTq3B4GMu30X0QP3IFRumSiiHmdOnNItlCJ16G4nCMPnhZW/aqCW6lZJXn3svF2zG+g3CnwyQlwyLZH1BqEEjcJgSQan+FXUd4K2BOWlDGBAe/WAeh+x+zpDKDLE+F7KfT/02gM+cPQLpgyhSViEO9TFCT8eZmnRxQA5Ec5t/TZ6IcVU+zNyohBPzObjLQucDB8Sz60ceqg3/+heMxeZDMvjg/uefRDKgZI16PwO/3uNCqqVF3h7bmbUhCk+H/yD9ZAXG4dzEEN6hKJ9NNjN4SAxFMxbGCRHYYbRIGhGaKQztrCfXOj8IpLsHLV8eVwfwLYOkN0S4xzfzsXARw7NDSIEfSX2lb/pskgwhrmAZmU6TVOzmVED00bufNwo6j88CyRqBsP7rgpU9K6jwzPCNC8/dYczd6QX9urDejZ9CTbI2sYUzgtbOgYYanh2qocWet4hpdq3bUmZzx5D7iiu5QQbRStyJDcg4tpEIiSLxZl+rWzntfzrgJkC7Lv2PERxCyX4E7RhKvqTS4Ks7tOpLTL1vhyzBRJXEWKyseVakAWGEDAq4S1GJlrZdoNJ0P5P2TM0sv5lYJ/WIPXAwtOJHFnbFOVTGX97Zxe2ES/SVcpH9PgdIQVBCVIe7aDRcoEEMG6Aqu+lUgnyLZBBdrbaIcZX8wHgm3IjDZ+PAoVC4ucJo+sD2eVtP4ME9XHdRCyXFSMITwmYKaNXs8pwUEkrshuwhEv8vNaHItvKrdkY1QRs4ZXxixZ0Yxb1a2a/s9KFE5WEs2hjn0iltbpjYbj3mj2n90Vz6TvU7iQcNFsjLSpycKQqifFfhWQLXtJUEpQRc4wzYpp7C+dambc25Ko+nAMjmToa2W0xgWtDDfzJCR2tTqUEljyXSA0012lz62WSILUihDKLiwIJj59EyApwiqUFYxy7MUoIAN9thSgE3HlJZGlv5iIT0Acj3loLSBeX/ExqJxA2ZwAufC1lq/f+K8d9ewydv5Wtb6cRJMfffQ3X5d5woutVNkCbvzmvCQUEm2olXK9n6M0/2PRZNamXHFONi0EEeEJYZIG3RpxeJK+a2Om89uk3UgHigHKwj2EHE9+lTJv6o/cr5NfxgrhVHaawKdf19B5j1UW0DyEkmambTxlC4Tgx2kVQWwL0iUyNp6krGkknnN53Wv3to7zJO8Wp+3nvQny9AIobQShQ2GuBweb7od1kfMDUggNBwtKVpOjO4P5T+eFIQY+RwF2zQH0ix0F3RKjgr6iPXZULhZBk9hucPV9Kwapfp2eAjYUOYBe5mIF3Mhl4VtAG3KvJL8/DB31q8/KU5y6dAe3PBxiRf7gSPnRSekMQg78M5BCV7IMN51QM/JWJz/i3+B+wW+nEiwaOq8w9HN0oACI68Q48bjQc+VRDaKUw7gXFgdu7vO01PDsX8vlj53x5Ndhsim2cxViLDIisbYoE4BiZWQEp1jPYQUmOykDQOLRcr37UM00TTShSCm4w2M3M1LPcFjdYk/3UaYOdRzwQ+ACcyCAlzwl222FZgN7x3rEjsVVFhyhN2MQLWETtwCTHKIrHHhqpp7oYOhkmIn0Gj60Qh4JkrKs5TUL1ZWMAXOunkQNfB6QhQJ0ILjwBFk6pDmFHkPenSWGPWT6n8Q+2kX7TJSxBApEY2lm5hQ6NWtP2mD8c2vmUFWBZZJ1j046JwUNT+yluLkIba1CsPZI3+SvesNn6IoRSI/jWvehIItC2LCCUfLXwCciv0KuiZouEwamsMh7y4KDFkF6eCCTYURaPJx/AAlbeu1U0y04KG0+ZMTQaywC73Et+rnp7dzKXBMmJL3+rsiQ2v7StxsN1x56KOrYxgOS7nWZwOc8Mzs+pdkPFu8DjGYKyZ752Rm57XMyjVsMJUQAN2/NgcMb4XYS/AjFAbkw0vox+FjLHdnP9Qvzi36reMmZnrRv4JAYSoKw0VHgrKVPYcuPXKZ9Hx1Uj1qI0CWQKwLqtXIylK3t+zQAH2UhwTC2lw11Jg1NlU/QOGK0xuVxxxob9G+E/ZuQJWqf1v0iglp4p45xrM/EVZCFU41hqZsobhbXtDLxIxJgWqV0kDs391IAUph7GedMyT0IWlOFTxjQuypcIzLELgldHtr7ezcChmqlAuWfxuHSQ4OIsZj1XQ0MXNTNbJZe348zBdrRCeN1La69A8I5RmJX0+iymQT8aldUn2I+GuhhleM+FZ3j3e9XP3T2n/lnKQkZ2HlN9UKVXrwB1lPGX5DqdVN0bZzrOUUoRK3plh0GTD8bkJOqDvWFuNkY5xix5YN+8kUWeeXpz1RtjJXB+9RTw4xDuuV59DNi+YTampBKcKkZnZ8bpYMipfeatvZRQWDHlWtiZE26KDukfsIBfPZ2NsGOVe6Ua/ZiS/4AAxj3dgazMCVUWhJU2QUggSnAA63+qcxS4299NWI9p4em6aIBp7bnJSsIY9v9H4lvT++RY6e9gS6CgwV9SEuAzkTCuEV5FcbgxQ9VXaONj2/SIkn9DwnGL73vRz0Zmf4SIEsiUvI0OnHK3bkww+ew4Iro4uWmpCowxnB2M7GskTlo6R4/OC8QRFARKiP3pmda5ZVlXFGFTa2oIYdzinFKaL30Eb3IT/4eCObMga1H8LrvpGQvflV0Q9gTmhUwpWhR+xZdSAp3aLH0f6Rh9fMUlDbyrva8IfJDvr/n7jbRAJyRy1x+la0Uth3VvKuYa1XL2XeL3xqJeHub0JDFSykL4idYcJdjcgVQkhcOrvVuCx886CY4ssZYQxsP/7GmDTDFb4crwYOdAy8r+CTiLmQIxvKIGnXOuwNX8etU6mzzOUQ72zCrdC3rnKW2g7djQvsXnPG2IHyhgOcQFctlUB7lw4XkGr75Q/UKJJpjP+rpgG8ReWUwc/rgBiMvDEFxgCM0+1VpKGLOa+UAO+I7UCLCAjv+72EmCRPYVAWghMfhx6eQRQEN63C/UxT/JeLrMNA474XdmbIvQ/JV5qoRqOhXuZqKXz1uJCYm0Vw8wwLnX5++UPhPDLG4j8O8mn+oKk4snH2W7Z7Zp9kxCjK427tG42Xmu567wKqIvquDj398mqlwP6wDIL13zFgJ4hXvrzbZz4uVrpJ82mn/i2Ztf+sm/nLC3YRvaEAUhkuOnF9LWIKBE4+aCLnMChAXr1v8E2F+eapD0cZG+9bH5nXoJTwZfqLGiMT1beKhYhJbJe/cFmmuaGHAuS5GkJ0uQQxUmOMxyLVjWVkONjflcpY5YxaDwkEWbNBAsjHiNmWMwcNRlgen7pkmgTPR9qzuyYPyNTKBJQNuWhkM0N7KQnasMO+F3+ZBL5NAbhNokivpFcFxFQoVtUvd8mq+HpEf62F8L8v/uaC2wcsa3wxwL5peUDKX0yhF43F6uMIUxGOFJxcQCjXx+nkxT8YxcCQf2lO3Gm9mMBkUWSxXIEt/et6WnUdE3/J+J3BufidOXsn+Ffjq4jF7Ccn3ybvoaJ/Bz7mmUYh+IInekgzmthbCOLN3FzOdqBc/cVzfyB37BB19YRkqJZhaVDcFTXm22HrEz4XrGIr/8cx2XuP9y5gINPY88j6Ck8J0eNbK+NxWPVxYYdqjJCJ45yvc16VBQXVxU7Jc3q3/2BMR6n0p2sLK2+19CBymRp4Xbg/wyF3uwZwIuY0+4FZ5uuztnCHQmE2J9Bb1uinl98ZG2hGtfC06Ry97OTVqcEVS1MjNoBzm+NUT+L+TPooSRClFpHPEaENHexbNI2txr18VhScT0V0sGcuMJmnTAK9RTYU3ROKE5nPeDS0aS1iVh17tGikLgqdtiDzNEI4jDaJsDgX+sKorPADoerGrmeekbHuv0KWUguVwY/Y87iRYcRZ1frfwey3ZzJCE2MJvJFVI+jxSqmRfL537Gb+Oh8uTJG5mUbxPf5Ad4FLwr3l+tt9fMcpIqeDt1le4RcrZUJ+dhaZnoyu27Gpbc0fbdOQt4BzQ3/gLtO7zu3BuTf56C2CCsEmSy90Fac/rVuWyKJMjyu+urLzBahsNv5Sar/guiG/jNYNlvqGkTSyXSrPxMo9HD1JjUPnX/t4KyLJgKSu7CBAufoDuUfVfCJCyfSkUkqMJO+JwDHLeR42IYtBVXMofhmXqU31y6M9uk0AnJWzkb9I1+VgwiXaMaKZ1nus0zkrJLQz4vIJwOtPeBTPlVGtylCJG0a+rjQY3Mty23nmrTNqIn74J3CYqulvZILztMJTEyL46Z/5FkOlQdglfdJB1zW2Wf/Bkm4ANSIIA7VtvbYrhImKxHX2CJyXGcRGeFnPulJNFXWO5xT9qZSvMIzA+K8I7B/+rSifZmXZ3hZnfx/CcObC3QlUu/R8fP63jiNydtN2zXanMpn7PU0hER2FuH/rO3dq/8QIy+16+n9Cvy7/hIiEJ3IES/dPgGAqneL9t+lkq4/XFsU4Vr+vVcB31PdZgYicLGf9YB3ADzr561qQfJecd+BMOWWwcDi2MUKfr8COgT3AXnbpuaPW7N3eoLq4dVgfbrytRQEhOALyRordWMFkfZlLy3xSwkTXjE4+759yGmh+y8koEhsz/23oDgQeAt7M4S2JmjBpa6q/k7BHyNBk/4kEDIbb/GXx7IGhOgWL8fwvig81+N+EITU1oh/HLkNHLUQzOwIu6Rky9rhY6yZUgYPzEjVeTMcHpUFXP1G6b8k8IvKgBue4UGyh02g4OY/A3P5kywhl/idLt1Ksxr1XtTah5ACP+yUSdZSr/lynBLBrGktG7P1ndppdRcl4X9Qd/FG85sQ+Z7VuTiEyl3TZSoK8zb3wGEC/SyfLUVyqlrA6SslLYn+MvI8LPAqpDMkLJ9M+ePzWkCjrA0NdoaeUZbi6J71aMON5WBB2cgTpBJ8IYri/GRjwKrSN8RnoktoZBuQ70tX5gCqk42n1fs9LH7uLLRy5tw9e/yhY99roXPcOI2JrNf/8Tl6+Z41eI1ZyicZ6NUohNuvFSJXRBe5gk4KAvotexGhaj07GMCKr6odJQ9oY0uUdrZmpLnXRCPBKW6scF2vqp975wU1Ipdos/05va/P593UmS4S8Mck1HR3fhE+dBXSLdfGUtn5TLMXl63p5no9GzIPhEzrZatOE3ang9MVhq/D2Lve0PerRUSD7zrVDYAluFfgGLA0LMdkhagUzOCDrYwMx6DL7Y1HTJy8fvMG+BhyxgIh7BlT/tUYCWK9usJ5+8/+5R8dV6xQKWwG9i4c0Y6YKM/eVPS7JlIW2i/dSbOWTRDen01WxsbNr7m6KZqtTZXwUfARFJR20d4SmlDXK6q7mLyeyZE2VDG8lJ5wQyB53GXYGKf3TjK/91BzOIn9lAJ7JzbNFCi3+XiN+su1vvskp1qUlIuCZHAlqf36/q3I3YH3XRCZSdlvf0oSlEws+RC+6rHozSMZtvNslU5AvlKts8i556GR1DMYKvipHcvZDVcOEuUpq+BZOoDuVUDoYMVtyLln0RWY5P4C1rYZvhF23yUyfh6dqCkaioX39B7K8UpZfbQyhb2hi6E/vGQs2/5lJmKTdOifkitytr3ebpZoJ1H+8kvFFdpLrvkUApUhYjr+HvRbdSGWwYsxrl/zdrBvf+3mwfEexTehqtyw+kDAwUUeIqqUMDWGv4Kz38zygpTPOgYR7Zw7wdJneA8xWzj5KU6YB5/wA/Qs7NXgPSpZVp4KLEXeTmNlR0Lb6lUKZmTMp4wqfyQXiiD0AZgrpV8xyV6Sz+owBWoiYk5ve0A/XyrDv7zfg7GqxU4fVNz1MHmD8N51D8Hf6RTEviYhDyuBRaYQmp0/yV/aixV2b0D+SfVDlLtkshB6456krutbT15N7mEJnIqYk7n3u5liT6yKs6aukzQWBqExeRS/ZdLvW7QsWHsxe9w70pzYmBpc6gu7acGIFR249+q1H2wmaJVGlvgpu6aMOorxXcWh7URU7fJg22PHgllC87NxwHPSSdXN/npWhnnxTkVbKRGBEQASS0eU+sBB89uevfIMUlgZ7BWIN2H308NODDxtMGHeYItMixe5Lynnl+QZgUCBuhGylAlef0ZfVQnEXKVbTHvaLlZNPR+V3UrpyiddqDTC3nSCeckzcC4+Q+uRYrk7VdMuO23Z3ZT/jMEMqHYBy86i7Ha63CIsFJmGgFCDeOMZ/ajg5rNQFesQaVq8Kla+VOz0d+ny66s4p+YgtWHXH9rRXJPjwKSSYiZr7rur9uJvDcz86WMBwOKFnvrfXE+pxC2eV626pAg1rwGAusIKJZQRriRMrBm4DHBgv59hkWJ4GWoAAFUjwCKtHWPkRQfS80VZMu5OOwt9/9N19vow9kXLtKn2im/hz5fobn4n3qe71oT2bhPS8l4udQAjE0iWQi3r5w/hA/BeEbB37v8EvYSvhsL1yZxpvsrduf96xuMput6y6tjfxh4FFVyF/W+tTXEAl6vkArDEwiAS0pJF/kNVhZJ2RjQipOLyRA3R4b1jNUTcmjf+M7g0+Aj+xrVVFo6YrkIDQFReyNQEDNwi69AAhRLqAYYxXu7mfLnfWi3Lpch+aXo6uzdg8hfsMS2I396H2unMJ57G5ja/k2qaA3kIEZEjtw3QC9HR/CF3KPyUmGvh3ypGdPqQyzaiVn5tUawpdBjplS3BbFse/O9uBPa4Dt9D+Fz8Lf3BAAx12zdD4m09Rw8ysqHmye6bhsU532JXziFN5sc1GhrPDM0S2dcTKGt8kHvO5tqy1ENekL/x/fK4mN0d8caAL4/1hcoNa9ffsJNFtocUGqpuVAqzEqldAyvJ/O+RLp3vLIz8UVV8a2H3UaB419dN7qv7zMTdh9y8o/zjHTR2XknGBAKdEQNn1gES2L2KoprjkrAVUSYjE8sw1k1840J3mxYALmkQbdBH0ipM3eUSEWFq1Ywsv9Gvmr6vSUHlK+vFtroYZ58tTyDfVtzRneiOOtIqoyACwK4zyqTuROy63c/i9s+86nPoe2no+8wrQBmwv09GejECqD4S3a4VXMh03h7qckxhHaGAEzqhmr+ynqhCzDG0dhoa9ycUs1NOjSQUHnWOuyCQPq2fv88lcU5iDkIqNzn5wYYpJQSAlJzmWJLVABxBK6woMCxf8yW8GNt2QoLmPBlWdMRM4v8l70sb8kBPdrRp2/wVOrQ41K+uXVV/9kmXUWjEnMJHr6znKx2NDYGWeARnWGo7wjFkBqVjSYi9l40zrLAiyK3/YNCSA71vRTXYJhdUoZpmugTNpKwjluzXM1GqTVXpLtOBYfEeJDzL8usspWwRn4BDW0iOiPYqsmSp2wDsuBxb3kcltXTIeVuLkiTuFyrGFQDUVKJuXJzXWEkduLcw6GEWszWbevCx3WO14bY287VDlPTU5CbF4Ywpk51r9LLpnEDUHsZRielTZR+jQcVuUAypwdEBmCFhOqlay09tnzapenC6+Z5c/1sekCN1k37NwiMJm4nSgDB/Nk7IYMaH/G1pJC5mij83CRlYuTJsSDAuqvQE4rjNn9cPfT3SXrqM+YwJVBPcu3aK0o1lrJGWVUbBTbhvb8N4KbswJfzqwZJ38JMMBHVxPeKkEIOQw28yImhhihkFqhgsL1s76eVtwS2T3S9Tx+gmfV2deHRvPpuQMrJFsDtGYosHhV2uNHLOg4Fsgi4CiSmcr2VVPj18EURR9lIrbqdEn4Hx95WV2VOGfsImaw/7aTOwTbqSwltv+N/c4in2XfOuOhu2liaT2B6uopVcfxeyucrW6o48ELCMoovS8pXFSNvQ4+T5Pu0fIyjZjjpDsxlhq240hsYviKw3C6hTERQaR5F10upy+uwSyYQ0BYQctWlVlJzYTQps09c0/kuitjALCetcPiO7jiaCHsa/kjGUY2oUCPlO2Vnr7CqZsym0snqPOWMulpduG08JY9WP+MCJM9uKChE0uGbz+3cjSFW7A/vlU2vUp/fvD5iqO6s6NlBgWGS1WBtFJ+MgAwIQGJ2qDEWSHPojHT/AR8ONUEeDzWAWM261MnBwQNMSF/5xIH4CGZJ9ojuvKkjSBKb0YjQOVnSBkRply5qWPLXQXGA216qW8kVW/4t1XMDqFmMV0nHk6ZksXrSjQZ3rEy4Mv0S5kg482OEIbdG/gp2IQCsQlh0uahDORU0/8EmW4WWnKrFwXrkh8lnF5bhwEBAecWJ2747YvWgjF3Pxi0yHA6WZBELGwsh2pfOFWNkVUALoSUGPXwjADehtjBvBu+lzk5ZIa/sbNCYQY2Jq5zCtK6E9WshvpHDyVDl5Yu6QikHoWR7jMKicUqnsr9fuDhRyD407WwAhQG+ZZ9Qyp2QDc1WXpdThOv6yQWySUMpxMq72HgAgp43ZJWDdPLJ17KHI9CycXwkM35Pi3yjTiuq0P1C7E4mE55jFHjK8Vau1bIvvZh+YF0w8LG7FUntDBgfdySFpnMQ2Efn46ZnQD18Bw5Wuo/DP1rnl4A6bdkcCz/fa4Q0R9umS3j/sWeN7aUO/nzmGI2ZxyN0bF8bFMwAsPaSjKjKNzdLPt11SDftuFnAEdle2OrV+D0nPQSpTWoGVLrQh0C5Mv84Adc4o2tX1zk60v2AQCQY+Ax5zRYyAz85PMWEJQUHX2Fbrlyj/epWOaUjprd6QCv2rQS0BG44NYub3D+1O7H0LfhaLvltiNVpPBVVNlW7//XF00p27CZ8TNjJNfOcMoyOzqm04qV9qpkgEU2F4WkIhNdB1z4D5XDmdB2UwVleE0xmOGVURjC8dGfBkzlumb1LyBeex3X1soJxwf8/LNmpJ4GZoYL2f9mukP106SDfTq4rqvYG22wbGGE3zL+6SAxq7fjErsvtx+pb06YzOQoZ5idcdYpYUgs/cb5pEb65hwOpTTlOj2OBsWl9C1oh1MsQJUOzVrx96V3KUn+2TG08iD27/JgbgEDGOC7n3ITiQxmD1Hbtxtjk3ePS9l6rk1ajNRiimTQCK7plHwTh4vJpatZ1aWS9ZCk1gjb9qaAj/pB7eOFPBhoc7owOApPjDPob1eQJJ4YZLRWJTGqHaXGHAr09HLNB5IHvAsWV40b222Kkd3atIbdYTrxn0a09ORBzoKq2vRCxPG2Rn+H9RJJEJQRYNhpDB+ai7EtIeIgK3xWO0sp+FuaH0jBEx6KC0BbwtjB5lHpyl9vwP4HZxS0UcrkGQ+vHej9Ody0qmEAYnm+pTh9U0sPWU/AFt1UyiNQ8PKCbag+KVBOA3r6RjNz8H3VHmNC9AUCf9RCdmfwxlWUPx7SR9c3ZiothTnJNRYObFYkUF6Rmm4ikX4VqHeFWWAIpHy67xrVgH3gPB51/Wfu6XrRVIifnOwrsjfDe6R5omRCq4CnKAxzy6sXsJ8gMyQs3j62TaFF55QdSpWZBiQS3P4SwhiEpHJkDccNrxjpI8ldHu/EqDVG/coq/iU/iiyhAryh2omkOK1MEfFh5NnpI5qXyo+CQl1P2m5FQw/qhct5OtdDfUPpriVz6C6rMVWTj68+0RlWcgbqdqxIt/ZKPm/WrY/uboRdq0D7hGBGifLKUdy4w4h19LEsn5EQtbbYQ0bZX1Mz7K6pmeXxQpvKLtte8QKDomTFb1A9x0Ow1M6ZgxT7ch8N2VjDQ8jBDCnCe88yL9bGnqXXiMY4rpPUuofgqntSrGTH6huQUmgKrTQ36snCBTHZ02sC2YM/brnOAGL3hiR/KqnOKJ4kdPeCSjTKliwPMsIo5VxT7C3uk6ulDFOw+W9PMcvPlqcupjyI7TjokApjBkT5UScI0aib9HQ9ZEveqFHjR69yUW/kzf+gqcSlfjpZr8q1Kdh2iSP4uzHGtRjNLI8lNxW5rvNw2Iygd/Z1O68mqIJfbVEknLQTKctak23sKu6NutnsMxD1MAGFEXAY32X8hpFfj4KmWVnFlOb7FQdrKdmvC44e2LKmexZQT48193hlM7+PJXQISOrC5grdZ1RHHO6VdtxZsVNfb2L65Pjyfn0brjrBf3f67UNbU/3grSRLPGnt5zATh4T0CX7TCfnioQYuvmtTelQkmg1blvrySEKbPYp6CJ7pGcbfcvKlI/dx9L95xTf1G7pzcl0oQP3mMH6drtcJBW7hSPgk0dKIVydMFlN89oT0603DYI0WkQdmc++xJmFG2y+jEEIlnWqFnxW1HVI8/TmVBL6P8AYqGarwRQ8CN4nr7DsXT3b6RRPhO3HTt5CNZTArPnNaFeM8lyKhzKFCpL+5SpTkRLhrbslbRSCE4KpTRL2UvWsHKd+dewLk6AE+3t0T4jyUOqCW1fiVB8q/YHQ7BqHoSvcf4PWhptxBK+fulPYQwB7CIHoapUFQzySrvfL6w8VNJsqNr0XhUaIl/JRm/do/QfLECQgSl73EWbpQVYvD5Rsz8KPgn36BDVesYRIr7vPO8JuZzkitC45Xsij1++z9DbbeHYFKiCjuqHsI8L7wc7rcpjsra1+xVlDT2qhE9m7mLafwb+9tFYXAXyeeIYPEWgxrH2nsueaSa6oPtVMongeGruKQsfQMQtJvQmvW1Jd8UZQhxePLJWUOpV/YherOJB52m09BM/nR+BtRgfZpxl+0IGQ9nm7YPHaH1bwQ66RludeIXJ1ywgIdpG9jyho3Y0NrSu2MekdGiTt13zPsAYc1GqKHK89rQtx0xOSlK4hwSbKgsYOH5ytuw6PUbotxURlMk/ka7jjybfg+AcaUxjkFC4KjQ00SfcV2LKiArXXPON0Rj7nF4Jf7w4Yd7+tQvl3UPnrKWpXYetsKCxUFHA4xvs5dbF3UbcROAohkZZSJ0Z3aTrE+XR1jsgtbgJLOK3oMBsF9K8phDsHT/+7a6TByZVH0fl1g7XJw90Wgquoi2Dz82ahHLLkpg9EsE7K6xUYYRwbHiHiJ/k6qMs2JJnwS0+o47TUPOMsSIgONfILbHjCUVqleFEVnHjArvpJ3/f+E/oMO9wtQ9l863Fa8waB3i1A2itoYWB+EOI05Z6lRW2Wl2/ttCXDibzVXoVoDtp214TM5O9xfsb+EDU62OfiYF5C7AGWDCQYHMOZAkrPzv5seIf0UQDxeGtecjasV+a8H7jGww4tCSffKcDabz0tFEn6SqjzojVzgsciX5P5gZNDIAEP9AhRok4yk/kDY5lE5/QbzoADvBttNvwSrTXmRVxd+BmDo7jlvXx+LeltetTfdbB4j9R8QeQ46pIcQ7VuDejfa8ZLpEBB6z/fOzqAx3KCcwgDWRh9/ZfdieB8D8Q2xt8aR1wr9gylbwi2AsUlAC4quNTeBXlIuGjtOhxWJCoC6WekTGSYF0xgHeHM2STKPrEPejYnDZuObxs+XxSOddOLMpc4l8BZrxjsd2DbyVtSlEPwMu4kGKHLSPPscOxwd0okkxvuoZNTkwScaa9Hx51KGFNgrnfIzShxSSlXCCQa1kMr5AVIK1/Uet8R1UOD7lse5EF0nPXNhbvXgMdfuVObyWTnLqIAu1gsnJRqNpPPjSF7pRxo4ipNZIp9S+5o+hGWn+MPlF+U1isLnJkb93YNRBuZ3NTiUhFjQp5p26AXTDlGQo7nesRshRn7oSor8wdUXL7WeP4LLzPJw6oLQXLoc3SIwKzNxeBhizLfJSoJuQqVzRPLYBZDqN4d7jNHCcSEeTjiIQr3W0Hyao7IVWKiEDja1ixPE/XOZ8I4gySRcr/bvMgJZ7hwwebEnrveZ19ivmfVfXCQUgEZngJxxzy85kCIjBduxBb9B/x0wM2kxxb3qW+icD0ickCfyOLgTCDG5amUB+6wO3qZ8UGh5AoF4dCideedSIIvRwtqGbaS0TTr7EwVbKUtLr8GoSdDY1a9S/xkjm5utd21k0wmZrc30pD7Rcp3G4i58GKOQs32fd/uqqvtrCi6XjkTZH2F82KeaMCQshAtT6DjJBmHMfDwLSFl+CP2084gGdaUvKYFOyCVcpHdvJPdw9CfQdb4VSbIK6B9HVUg+PtjNI60xLdmT6JmXH+vuAO5lBeh7VNnwFtkw4/U88aMRoLu35e0xvGaaaZrpm8LfpjaGetBuA6th3GSbVO+tRAb/5ZFETNUlcoQ4GzEkKWrKwgf+hu4Qrp9VKTE6eAdWeAZYeXPzg7yCfciX2ZO33rFBhx/lkjqxyWQi+Oiu02FTKqUMrBYpQvppA8PVYglZNuBcxEgsWD/dxz3LFnyrrNz4+00ytPQgwmRFQvTfVG12tyxaWvplKjxw4gr6dsUOs01rFw0epWksPbgA+tRW3lIooKTicQfRaVThavd5gzMEiZGpvshRmhwvmhrms2vEgA0/D0NXrTeqTnSpgmRdMHXGDPgmgGkjvoSd02emAAaYQd5ljvgNxDS5eB7ECiu2GGNrqTm4674wlUlLxMd3h0FhsRnVLhmZuKvZiHLhr/xr6Fz+ahPghhD9mW4bSmuZuY6QhD7AapBk+PucPJ6IPcee96PFULRWCAdUuwxta5fILiRvblx8PMmnTO20WIpz2sQtxAPXawkwgrsCrWz6xa7YxjNRLoNY+8vEXm+dCvGLj1pWcqJqrypm9pkX0899KOfClYfAhXr+L8hFyZBhpOMwEVqy9cTfX10vx7ZUhvce/+ITR98XIIwaySWBWP6QXeM/d/2mg4IjFgsOQeZle6ALCjc3eMR5DTcluqDBqCCZpXsL0+va9E2s6oL4SpdIWGrxIqqeiWgT9pcNLJBRiuoewPavKRmTGoQ89E1TdIU875KSfHsJEeIXyg4R5pk1SIhuqfy3B4QNLtBI30FfS1cWjeHGT3zmNw2+tzZWilLYDz1KfjNnTqUKQ9bwtCiUFAF+PHM0ArvWUkpTDzRjXPX+dhhwBtvepmUP3gSXitphsL3evm2DMqu1w0h1D5NX2FsoRBu2BOWCQpEsGnoNZ9v/MSi/hooT6f/7Q90tTeDStaDIoBC9MV7I5mxgLWb4ULuZ0S8DkzlTGP3y74PARgCheNCSrcoQtJllwIidiUXS85ogkVmVpZP8zMkiKvrw92Xi3gW51PmHAmcRiNwXgE/eRNCMYKMhQLapstKyriSUHkj5RijnY4TigZJSeH6du7LFk8XDGtS5KvQ/Fqe5ILCn/yx0jOV84FszeUZJBSdJPp+Y/XZQo2IljdI4ndmOOMROesbIfPao0YQ7Zv3D1klCNhdxA/UX2ce2IvIjJDadR0YBfMzgJRVw9bu1VMTgtBiK/WcAlzsYYLuVaARnDtbMBhsqIasDenVvOrmVmpruVwO2hpnOIiWd+J0V3x2vxwC0CneLQk5+GhJHq8OgC2n8/dV9Z3t1Ik2JXatkRE1Qlac6ifZnKq2tYjysJVY0xEjODDeboPbgFhkuGGTVLONGrqv4hpG3WV/nyvwS8NAbQ3nBytpF+HtoNwl1+ZrgG7m6yYd1YayrQaPNcqdGdrhRvRxvbfHrHfB0dKOQ18XG6fwlPii+z8MyviJCkU161P82RsFaITRIj7JDRFhSSsM2Rx8k/rafx8Ascsu/PspOLeLaD9ChPBn1YU8QGuaS8bCj6Tm1bLUa8aAyKSfJ2jjt9/7bTOmToS6jxRAxhAyIjyfk/RJCS1iYyqUKhDEnSklpeHsyif5QZr262HB84tHgVBWHylSXdXPeZrTckS0l326FFcQ6+ZjN1YUkZeZULQmXm8Vo403O2SivBw0s6akUC0AZq/Rj7LAnUDtc4RhqC6EoWSOeB1kIdsiRD5OkIYzYwFFcFqMbwDC01scVwB9rEYRVQSPieRWurDtRcH6U8KPz1iX/KuX4AUUdsBc3baRxMpsKWdvyn5b0OiGhDovDcPbKa578uq1IxIuC1rsAc4/B3FTYTnG4NxhEtmgKS0HWHtSmS/BZ4nqTgVIUdhADAHBKcz1Ectdt5QepXGwAXxO+ZEtiiIwQOS+fr/87w/PznlrDXHfDJ3rwHWgw3eXBrhq1BI7+Zv6FtkYGS02AtFALGImyVqnVcDgBpJhD5qxZu3Z3xB8klHWRSf8NnwEvHRhCq0oEp3PdpCxAqy2muFmmpZv7NfijrbgSoZItarj8yUWnXA+BaDflVWXZ6Q9tD+Uj0keqEf7Kd0moTWIfwkNnT8kkKJ0sdmocDy/BqQL/mx3Pw9FjyBTMN8efW+5rEz0HY269sNNOc9ukBvoAF6a6xL5t79SlcZxnRuR6zkbyG+g56ykxYwjUCdIbjna861zaAIbzQNRaGQVHcI3Y93dXkx8TdGoCI1femLhkmrB9K2uBsEpMQnXQJH11oFMsKpb/Rcn0SJ3D27REcRRiRHQKN9PGk1/SQiDLolUYVmFh9A1F9C57OS0rLYE4wEh4f2vBN53hzs76JdghV/ELZkQ38o3y3jF7AnR/em4p1GzqLMI9r+yIfTYvXIPed4ubwC+T3yFpNBJFmiTw8fogfX7XYczwvt98o08PidA8lpZe3fbkLxhIcG0boWNr2bLAlm9eljwNrT230TGr7VM5QQvb7r9AhFK/YIaO/Q2mOEZqA/hs/rZoJTrR4vz9qukI5HMq9i8CYyYdtIYIzGEMY7dIWJgz76+Vh9pi1IvdE0l4yGbkvaQ5CLq8Xfsj9XeN1SIzt+3cvz9yUPwR+B4AUpS21w1KpmMGWl5AJbjMx2jxcVXqpDm1oZaXI6OUhL4FkN+NNdbrjoiiASfZlZSu1rbKZq2ssdzLmRwZJzQsckuNri2N9Jzfh5gP8eEaN4c6PU3PAHLOz25Z8gA5Eel9LRbeNCG/RLrVpK8GaLzrR8b5/ZRe+OQEMX1OomJyv6exahEWcPGbVrH+fMLnXyu5Md0hvpv8lxajjoxIKAWx38p3KV5H4kbynO1El2iOoOzSg80drjqL2fA7c1s5DQyk4vDuftbOW8OXnjC1P6IktRXFuckFkRmOfJ3ECFV98hFDmxqB9mTEkNOEKCRoWWwLE8bSjl6oa/O4aL8PRX0HHoYFA9reZBwBSsx58HI4M7ujdLp/0ck0KUTyCtf4mMzHcpmFVT88dXicqGqhu4aKHZiA7/GPDcGJLmaueMXBW74HNnT0RTCwztFSZu70BivcsnVtj7cTHRaAShR2n5yWmsnwAMe930MR2UFpsb5CaOherEWhRaT8Poz47bkc8ddMwTClXiuu/RDT3nof7GMvXelQ3Ma6PJkuNA9p49cqx7SYr4H2ELUemyLF0Ct0kGGczLjnpMxlq1cUW7xGb5R8KEq6ZCUYFWKpuPxAClGv90IwqjNvKQ4JqPzsIv13os0Qi4HT0FhrXsB+CjJHF8qtQovvZAbht4G10wo9t7ul3e3Qcg7tib10vYbF8K4Xy6OonjNckdT158h6ABqyyq0pP4A4VhEa/iFWj5650swpv2fn8Eb7uRIJs0PZATPXlqXkTX60rcidjJLXOdjNiqx2GYRl6EP9IQaN/7lJqMi4963cwtYHFBiBaHUT2YhHZYJbaijv+zPONmihTycn1+SjhMrXr2t282OURTGl4ezTv5Sl9v9Buw6iNIiNmUz0G2KjNnKQqYkt+ztLE1gnbhAnA9PS3BQFCGROMmufrNw97vwUY/aVG8sH5n+wxrgc+uINZ/dwlNRdNA9bxRv3Dp4GC7OavDpIk22bYRa325qfP7m+c1h6kHpGAZsMWKZgRMXM//MB2Ori5hgKIgdg0LtPYD88yyyGgtL5CYf7ce7YLW2qEnAqhRMNU/pr77v49Y2t+uvrUkFfCxGlmHiky0xoy0Ygy46GTtJyWkf3GOqTwE5dvwOfqL+qoeKD+yCjCUpiVvumkwOYZ+YHBaRmcfvSIsYVWQJgPmo67XFCwSHg9um3DAAyQUVTAzl2vKgBKd67fS/cl9nlBZPt+C+lniAninTNt/Lmv2vP6O2jEja3c2+p6GSMS7X63PmJvEh1LSVV5mRY4ppqCttzZRRfhu+FQo6zAYe+nUaPz1P6t6fKc+p9ZszLcxOeugAVSiCaP8D1oR5jEbs0uW0FWg6DemlaDgnwz9n1uVjeN2ULBiZdxei9ekChI9MGl4bLEzfaWLRZG9sa8hD6p61lNlU3Y7b7AbfG/xuBGStv5zU+DcZlVS7MusgKWsXAHBl9QpgQrKhg5+yuSA/xPtWJRbDXfRLjenzz/8Hoa0WcID0VS3+paN/Wn0C19Z/3rsCA+cWgJMfzVEdzM0/jlXGIWY7+ZCAC+48eJgptVYLL4E274idkVqXv2RpStediWwh/UsuAoY9+KSrfQ6F1IVE569p88NwcdjbtfZMkf5uWQy0BdcRUVN/GLc0aEK1kxhQib6xshpzejF701NLhKKMNG4Q27H3t9Ikq9qlSCJ8Fl6lwg/WMQXJ5Oe+nXLV9kh58+JJBZSJ+g5dGzJriX0NgJ5TeGKkaCmJZtVogDneBp8x5F158271Y5qUNpJmSHqikIGnRcO3W+elL4WS3wxrXpmyY8W+zMIs+EJW4SqXrPFPF4/zWm293ERjHN929CdayK8+IKk/hE40Hjidhh3HHetLUqVZc8hQ7EqKmD/IUAnPb9vCW4HVj4E06aa2zlfvH2TUd+PG4NPcDr3JmDQreuMSVg6jii+9yOH/M+ZjM4SF/8ugYe3w1e1AnO3aQSO3iKDDIU/cxF8358yfYE9stWlttG4/Fdu/T0LE4CSU6FG4hFJsuNluWY4/p1XJNKFwtNZUhi4WVrSkVkPBoeJwYbCFRpbNJJX3X6iwuj1MVEpK5JNqE3XZQFjPxrsB7osQDchV7TcWnAoNJSRRyNJPSx5eaOqT0cjEEp6Kus7w28XST6tXkTDl3Evs9AVBlMLHatoYph8Omg94+lYOVu7EZ+HohEJH+AYGv4cJze0jybeoIfTbVEJHb+xMMfHwal3iLcSemAQRAxaEoz2aB67Lx8tHrHHEV8/AYQECAeLm+KuMwd36ZWelGnEoeA7DVA0jk9Z0F/I3wtGcm9mrBYXGPssPXfUq8hQE6GvPCZ+h2JEDLLRmV35KZ/lDrNhOlxyemVVQL8uqoEo/Fj4Fb1bdXjuXmgh8wVCHi2f9Ns0vL09091RXYK4VsEfBNvAEGO1DZP6Bvrp438+T8jI9agqouNNrIExmBF7cY482lexqSA3OpSNUBY8WdKS0ypAuiafNjnjKXAoWhjGv9GWphqsAsaasloGKFryueT8JvyEy5gLCHIs//5d7s0t+Vyi2lPexJ2tVG/7PZcBgrcJR+QcHqIUT1rZ68aQBnUZisJwZrmkXzU45t83RwGDvfYNqPcT1g4ZPeooRrY4wAlFyIjbxbh8CDfObf53eh/CelcQ9mSAYM2m/g26K1d1Ka0iFinMsmsA9kCi+gQvp9uy1dkFDF2C9dxyYg8I1BDYRE6RTDvHoOpyeO74JQFFlhkLTo84p+TSpgMo7eGPZYIwO5KEtrWs+NG82EDzeoa5K+4eCzs5swz5hSgbX4vpFomMZEMoWQ8t2BD//k+88EUy0llSQNHbtdqEvLrI+ikpcOT7xIlvUmL7lKBTgnFvawIRnpI9ymtN9klUbg6k1lpTQFZyti3KcJilUHNYr78N8rPdlcz0TXvwIpQ+bDLFnOml5tljfrv99wPSxU6V2dmwOgNo7uWSWwaVVUgXuU/eADYwrbkRSdvwANuzGtF/K6qgcM8PIN+OayP1QJL7zX6hYvzsksEta/bJg6oJRz8WhCzQQRPXUJoG+QEyR37HAFywj86j3JuCKRPCM2PT0EpQVvEdPq2LjtXp9p/sjcVV1vhufk9JVxGkrEbhIluGUoIpMUt0spCNAHcHX+6KU4mvOlvF3wzdJvQAdQbnVGaSh6JrH+MVvHSs4+44o54txGE6a4PD/0xj61ALFEqWxHfEeBKLOyn6ultPzM2kXLXzGCXmoxoMPeEu5y4B1UbO0H0aX44zUOm/xxkEZnIYp9XLCbJ4IVmAIzLyXNXY7rBcz9Cs1rbW7dWYpJEtPaZ7heduQE8z2J2GkFgxin8YrGTsO9wc2OqYytyH4DnpEJNN3sD3uMpJvRew7kxvullDDqzIyF0QoBCjhgaQDTb6u/OWXapUCslA6qd6mK5cG02PN8oogcUTeBaCstDSXkm6JETYfPhrupm8Nq1EIOwcOHobyBelAvwHRTwVpJ53o6tVTg/s1kPk5pYqPGZz9o3pYKo9WQ/TPWbIhOeSaigkpvPVsAqxyH03+141Ov30faRGcdExkLkoFGAlOrK7k0B7n+MF8OtO1KhEniV3Tmv+dJmeR+aOvrvggOgToqC6fUWkncorvwptZMZ2JG18XmA7sqA8g5QMztMim/uXIkDfq7oAGmkshoCC1CXCKpUIfDXFZHqcpm1tqcH315IjQPGHMekTfBANxCe3maqN+MX2FI5de+tvSl4WomUSipQiK4BOC4ew/WeIdm3dhUwAQxhBh3BpMu8/fsq/yQobvId3uRuOAkcslbEmv5APrGkUeYlQeopV+wOMq15/TuXOfOcpqhfxSGkOEFJ/+UesyWq5HFtz/kyRx3lAnxcSbfmaykUtx1+6kwRDx6l9KM9WZWMqvs/VNIVlMSM7aQ/ZiM5bFvfmLfa5Wo8Iw+iKkTlxSGJ8B3VavE5027DmTxB7NBs0/QDvr6G/ArjO8JbbFgWzn2JcFbTQpqLy9CO3VpPDrRgiLQkMIdURImEhsWj1d3pRrYwPYQi8BRWbuwY+xNPIiHbCx6BlB5vbfDaUKbVi2Y9MZepvdRAw3nVREST8QtkNxjIGFbyPsSZIuQY6NwD2vQRnbwbNiT1m2Cixr7mXsLH3uwoQGb5a5zOFuH0sQW1J3VOKLocRh8cPRFq0w68PgzeU52dNA2CDw10dhCh1++jwpkuCqIeNdHrXAQFBBKXq9pAS/7LHTHXb0kg7xi4nulxFq/6vV+9FtJUtXQQ/0l3Dt7bZYAWkVR07IfNbtEiWZtyLi1YBgK+M8y4Ia1MAKDZzYyCkesFdfe+kBY+Q1ueHzEDzvLrqvtR7PbuCuj/l91WXxHspVid0rIMCTZHydxBdjfXcVdNC/kvVlXkMujaPwrlaO/KCvDY6+ich5oMsskunR8NVjNgJ4nfBIxqLwuNQ+yixbqRqqEg9wvRPRqCflpZcZkaKgUuBs1T3KrmQBXrdn/8v8Z9nv7uziJCM9vcx3HN4dBl7xN98vJoKiekKhmFBXwWvUYTI8ETMaXUFAj5Y2hG7oes6D9fi8KOi2Pq4FvdBeDC3AUnxEVaSYlUuYIdHpoJIe8M9F7/SZEOOuMabLR6NXYk/4lBYU9/Z9FQdUHfXJO7Rf7jLHvUw1qcNJ4qU7jzu/AoyzajDDmG6FUQQrwboU3J8bjWkxZCLkeeg7owBeqOKJY5FJgnCtEUozizKp47YHMtSCeqYzlxaaKTNP9GV0ks5qGrLUp0sblr/j3sOBn7x/u7qXiJSkYfasvAMj9rcDj1MfUReKExjsLtTcOQxpAwBS5yuiYHLGPuHYyrH5CrjlXcP+PScC6mzVOou4uZ4gHYGpgWyCdz69MhQo8lHswUoyNsPEsNMDD00W+RFguvtnC25974mPCSjaOSWMAJriKz2HMjfgxMF2tSJ+KlQQgmBRzm25xN+S+uehXkHiE/s+tPRDSgYolLnfsuqeVfY5xnHKRhd2OZAOrZAcHkucIwrMKpez8acTtVxEeh6v7VHO761nfIOvZkCx2/2LiNCsNhPw8c4aAHRva1imNB+D1EFWMdyTUuRk/YfnbtslYe5cEVEjPIhA9nk/N2HuolvMsyM5GaZFmuJQBGdJ01Y+tSv+yGCrBlVZfaT/94KjoLrRqufHqgwzBGJa1mExxatnHBe3LBxXEkclyyOSS7Yw7mDZZo5KFrW8gdNr+Gi9cE7adYkT/ZJ4VJJavrDgXH4TPOuz0Ert3StH+0piEaoMa/6PvXU3g016oTsdlBMEIYt/Y1O9R8vz1EnRwpvC7vEWBCtCdKSoB7v/sq5Py2Xzg4eLKvT1LS6nLVnPReWJJn1U5rqJya6Yu+0BKzTKA7ZypZ0aTf4Sutkzu8UqJ3qAPC9h/XcZAZ8Mtwy4EZ9eaRTCE2BD9MpSTHpUwQ/dZ/xZHQlPGX+OM8Umegn8WUFVQOEyrV/xhsL0eZKkaoiaTkR0mqeNbrTTVjjlH115fua2aWgq9mzDdEQoRVKAZudKVE+jZT7NVLj285JoBUB1Hryr5UhCSOKbsnZMYv09DwLB72TvH2GM3/BLJzaTkcaCNnqgiGH6RBqwiaUwnro78ertpkO9xIbXy2Oq1U5jPeTrOTzLhbOd/OAGUk1FuslosXpve93P63fXltKiLKnrOSvXB7PpuW4WPJiUy2HNxdqkHo3I0T9urNpypjBFggo8SyYeVHdqixREje4CL4nSw1wy/A7hEYDB4+zcHdaCOzm284jk0KDapgUGV0nQWCkNa6z6uJOtTiR4qkutTpovOXCojHHVGmnl6CLxMKZjKIcgTO/JzlBwqyHlfOKnmzRy8pgFKx8fmhojt7ZfKcdAgIie1wTbSX3Cp94md+IFUxX3hdL+z4u5PpGChP10HUqs8aQ5XWzEY8LifuUY/BpgfJwl6ZgYLReC7DzDH0w3eB93OvYxkZwT+XwQhTMkser5c7Ir4e8THdo0GHXCl5qPfRez8bJc/pr5jLtbQBAgps//b40g7o2hH0+MT4jQGpU17svm+2T3gHPK8VX5zCr+G4oH8P9R/w89Vgf7ubzqcre9CG9Rat534w8TYPdwnhdwPIEKyhrNyWZa1fKvaQ12s291YnfbuE1j2SWg34ERt/MWyry8DrXh/L5CDdXMUzhUdF8VwOUdD9+hOECYI6o1jfXTDYh74tKTmULMtsxZDqfrH4XTpZkOw+unR/MFgWZMaIH4JPecdJmwn6/KEXEfcBvbIpNTmrfq3dlavD2QCi6vTm92n2SgMmrTnMuks9xycWEtQ78x9X5dEuo9gPUAYR5QuoACEUyIX93/zHAiJbCBhUD2BZisHr0IpMnAFW4G6nqHa0ioOQtkvf70E8p4LdfUul8jU2lLMpQHo4v0FJq8KXPDshQtFd4tLVj8IyedRen+TOkRwVyHxAFiUlG2J6Bkfj/hbaQZ+3Haykz5HKmP1T9a/oRAt/wqejW2ulqzpUSF2Hh4+4VEKPyDRwEhXNA0xfFB+flOja2ITCEgG4Soh0q8KRxuZRqoIKPYxnpi+0Vr6+F4Xj22SItw1CSH8qy9X6u0gH/H8BLG+eggpIrTh/M/6VxLfaCTqcvZAHFXsxP7DfP3ykTja8aLqggmx6n8HzoKYQbjux0URy8b34jWM6k4Vo3sFm1XYx+tCtcZTr1fShlBBtCx9rB2IOQiOh1uC2AP+u0PLdLgEqkiskcn9YsAkz2siTGqdkIfsSJsidFckD179PgtRJc1chiAmJNk2QjLQXu0gyju49QlyxIroGYUjs5ODwcOT4jSr+gRhi0VBq2xvWSF3417Qh9CJQxAVJg9wewXxWly+tkbBdfZbZb7iCDJcDKyMdBKhOPAa7CXStvEju7C4JGRji3yRpPu4aUKL+tqn0TrQhTq1CfesvkqolikK50hJ3gvlow3nSQCRTuJsKVmYHjwnCmU0P1Gh0iD6jEkh+po+PwuHmI8WFv6rVLx1AecZI7hZqOX2kaUXoxj3mVzHvaWUf7yZFewDzgV5fzY4ax+s+7k8SH2FvFU7s/HQbqCPRn/SVUOihicfA6UesH4W7XF4u7Z5qlMuwLqYusZ52kd3pEJX/XE4an7rPyLVaKaejpmlUlywbtprMy8121T7hv9C3hOPgmFc52K/5EPWy4E2MpNiXwP4cVfAuAyBNXfAC+LVaPz2mHkZ98v3KtnU2iTz3pKuT0DfSHAMY9AuS3FQ6SM72Jn385u0JEnXQ8IuFkrzf21tZyCMsPYAMImU8bs5qO0VCJ4kzpS8YINk63B/rt0BSLP8mofGrfFHnufWcHeHKwvq577B1t5bCOfGaEV51HnMEQG7yI6uRo7kodo05dbjMZTi0xgEu2U3AhnqUfvg4IyZjXZu2CvpV1XyqPARjFrZKqThMQTORS2/l+Qg6IsyrFy52HNnn8smnizpLXJM62dnpzDqEATH9OmETCw0koGhETAByvcvlwsseXkcujaBZMO1qFKDDOm4AEdAlU4sCBATRdH2JhK3rE7LpFZkk/NgXqwa3BJjq/g6rn33Xf1M1HM1jKbeCUe0LBLs5eH0nJcEpBBHmr7RiSMihpW4M0rDhgts9JX7tZ8LDQEjc4DyqjC/XKcJ0ekD62G8Rr8/1mkGtT/vFrt7zWzzcche/g9AP7LCPqO/nJU+gXDQR8tQmC4PRgxZusZivJyHFDfvwPBlO+/9PIe/NrVoKqOThoNpfNK8++IYVV63RmxfjPyRQ/Yqh7GzHM+hBix4cZ93LxaKpVTA1XHZIX/f5XXDcrtwFZr1fcUMsrbAGv7bc4iiokYINrVIp/3T4I9dUKDlk4qcMWO7eAO8bWcq2k9YDZW13WWK+R6eVYokjyM2Tofvf1U6+yyuedRXY8TbsDyJuDY77Hm+GU9j7ALImwcaCXUMC7YGK2bxzsn1wIihQQWneT+3iR2I0HMt0ARS63/BzVR+ltZbabvnValmzSnc+7unC3xNhk43KtWHdwuIgcyjK2YEuPZvEmo8t30pnfmXQCL/rGZDvznAJOUeqbAkxD9g0ZdE1ptgR+hDA1m2awp2104Rwx38PkWiV6GuVhIOAh5qrk1PWGhrx5gwY1k3KR5uarmbYTDxRADeIYVQMunCT/WIS1r7qBgybg1rBkXmexZErPl+SONBZyjN/4KrjMgXszkbjFnZ+NAi+rDaIJZmVPCo4mtzbCcFqrxQGHKrMOKTlcI89soeRXXWiKWGaVNZ2wOCTzRiWwPDhgB404L96mbo4JMpk/04zIGYnlKzwZ88aJUP+/qlfAg9PtZ/LnKheNCOz75Rz/jRfustQDbKEWHtLG6PSErZa189kR6stJIiBEC2pJBQ79o2PLQ0fLE5/4Y0LP2EiilvOTjOH2qW/8oAB0bS8cdOP3n2IY0ghvnpLMMHsFUrXl3ldoy/uSK5AFFNKBL+z90kanEPDCB3qaQwKOw8dx8x4O+uXouF3gxk6iyUhtu71x2C7k6ryyPslnJtum8igZdAsBOYIRjgRYwNKSLZvZQ3kXzmTS3a9gKXuNGC/v/Wqs1fU3zI0cX0Na8wZEVck5wn3cVDHx8vzZQHFKqSXV4uvVG66K1bV1ue5dMEZNxrD5Z/xuy2hNUtUUBS35Hbdx+UzkkbmCU9D5OEZpN7ycgCHS8o7aTA7Dmoyo7ZfJvZrt8XbnfyoHmf634a5FOeTUL6CO//Hl5oamn2o9BsqBEao8rSU9TUj5tbT5T13wDZu6PuQ6gA2973FQSdXH0xmjtMSbieqHY/zoztQjLsPFTqDVB3giWAFX9qkN8UFFOzDTAy6pyP0oeB1Fv2kBWPTwbSk/Qg7PPU0uuwSRkfNqEsSRlAbbweZZEd9xgRZVGUrSj9PZJYQuWY0ZSkK7LBdrA9VlP/Vrk2InoBTxNMcM4DDFWTyc1s9xMtCYuS0cSpSq7qG293/mOxjj7fgirnG151K3CyPh+rGilCoh4SWrx2rSI1IOS0uwCcyx9X3amMMoaxNoIbV3b7SMkTQgrJ7xdTmpcSvaPwO4KhYzfpfTZldg+dJbIT5UEE890fb15yv6yv3d8VzwwQOndsu9iRK4cTd0+ywLdMFMKTGx++ZHNo42lQMqV6afvCJiIQ/RpA4hTjq5MC6Or/cCdhMcR2rBLQGzRe4IGEgjePvu28UqxCJWpJ/4Q+V0SNPtdbxQ/BJtJVGtmrIzK8mtLhb29TfUR1BPBQinrRiw3229tcE5rkUDu/+3WaK8veT67tHNGPa2gDyW9Q5FuhFcaf2OnvaAIHw+hXQ4ldsoOIRDFwpWRdqLO8dPKBS8mNxJLsFIfpYOWMCaQB+QuamcqztIXo2wVflbbV4quH/2RhZWiG1+89k0FZhSVHIXxSuWB6lf7mXE0nY0LW6l7YdqdtSV6kBrsakZfdPaw/lIxPZl+rk56in5JbxOe/dgDRQqaR8Wo7k7iuz4WrBpZYS0tMbvzQZv/ZMTzOyb1t3doTpHhKc3hOBdeVgO42qtf+3ZgIFxhUVCQ/MEr1cZJsUDUWvW81Yzd+gJ7ZkPUMhTdUEcY/nkB6hVEhzS6VdAbocHj7w5RP278fLIg/OqLJbmCdoJJthMNC91cIH/rK6j1xwTVjZ/HRGqCw7w09MR1zE7ezCjZj+D2HvcFJEOit5IPQ6g7YZ0dqvkerfHaGnwsNuQfimDxZ8j9OTkFj43f42M8TYTj1NY8Jm/bZZWNqB4rSiQXVz7coWYNNoNXY32zXrxkgiPwXG4hDS24rJt1KFiGO/S1UHFVmfXdwiAY5c2hElnv7uGvPyTmPYWRYrCbsGyU09OVof7szlFufXbSY/R9zGNRC7xBr5yJEt3GAKKZtKeR8CB/R8SZa3lZ7Jhc0JA5V7yzw7CGFr2Noc3llzaRVURbvpmHEPQMjb2VVKVJJ2By0m4lJ2mIY0JEsAAJxcyQs1NTqZMWY+LgniiKi1hcPpjHPj4EE0AYqFyjCFllvEe2601xe5X90tI7nX/3lYNJXgiCTpNKM6WPvphyZZUVVY7BuYo4Tn2YCSdR4IS7aD+m9WSH27ciSOY3Ff1nESpO2x0cj03QtwWFURcbmX89nNFboo9/i/Zc2RAMJIX0wZd2kkUgm19PPsILd740+VJujSptm1xG1fqUu2K75T0XyXfhAVA4WEyJbw2lMh9kLSE912fyjsUoFtnbIpzfMxThXsDsNtR6lQNym9f+MFqAGgv4A6Hrp1lo1brMJAJy+0ZkF8BaNU+0AC8LtlaFkR/j1LiY4x9elwUqntxGhGxO0HKk5shRqru0ExhTYz6zGfmgfClCWNg2fJZD/8/tc9f1eA+mcfG/Skif0zSePcwyrkOF7rKdzOeBJ4TwXU1b37aRpQUhDpItaZFANmIjIGHBAVXBJJWb8saA24nwlpgnQd6I/4ExkyCr6KP9WQwhAUPOIBTekK7ER5TK7jdJmAayiY32tePM+GCwVenfesHzrv6HXI06wpcCkJLgMIis0iwkgJkRQhPauvVdPsCi6rAy8kgsyteaXgxISBlvxSN6GlGJ+akGxuuFuCKvv3BjmNqqJ4YSUfbFT3XfY9XRtJ6xFpuxmEfcJ9a+0IYPvOxzjccVFFcbvBkW8GV7gvc/jXoLuR8i1kLaK8tlKqAZE6YwYO0X7jOHIBnWdUYkOnlySwXoq22WuqLwH+jJq0iwSug30HxNaAQZbT9rber61KGgJQc85rIgTxnMYourYKqtqfRky9+43THredhwwLkQnFHM+5qkoZuNHXg2eMdiKefpc7u7Dq1Wcol+9f6Tvs1cBQZkLXhaN1Re+ppoFNHN1BrGzOEbR/VSMJjUDyNvH8AKFQ/AicvWCchqwLwLmQj0RSyOSIOhLSHqgAvimwfokNpNpqG9h3w2aioBDUa+Kk3YEJY/eRQGEYyTRUG0Ai7mbcQ/Uoek5uAxSLfEXGIbmYGfRxjvj2Tf0NIqG8BLO8QV4r4LM4GS5nteWwZIy9H68SDot6Yy/QulISGYxxiPpqNqwLKysp/z64O4ug9Z2koj93HdscjG9FhRV7ir9TXqasYkPlkINFEVA6BfiD/gvIuP45iupWX97U/9FUlXEaA0WYxWuCtGySLdUdPKc9gF7ys4BN1QarwaEGV5xBPa2IWYAfaGDgL52zMsNeK5ERCSy0WmzaG1fwjZ7FByWVe9bXDiVt7aHHiczJXgU9HKq2OdNNqHqxHICYvsXN6aIY+UoGQRbAfHI+28mr2eYbVVLlbbSwB6e8oGjnCy7kjfNdfZuPMGnYXhVBGa10G5UOeST51t7J4S3RSHL2LfRACpmygca1oE78huPdpj+axNUHXA6//tQ9DvOkMKyrDmfKYVB/x2G83JpCBAXunj2+MjkTZViE49gOYfK/iPHz7MPhvomJgMDjbg60cGvdK0AkMqaKRJK8pPK78WRxqic5odzeh3ZcBjpf2BYIlH76yhk5EDKt0+CyMEAzsKGDhXDt4N8DmknBU09oTZlsalUfc+a4ywVrPHL34E+sEkZCWTGlHrLHBk9XGkd9SlgfT9ImR1U3Ekjef+BU9Ea7+aEUkRiM0XIMyatMvjKqCSpSckHmuObWYhpG3tq0x9/Vfk0RVRIdcVchUIRlA2DDQDXAt/CbPf0a+ImpC6LZojg1g4wj21CLjJ7JEf/+/lkWWXm+b1sFax9COc5DDEZDH/7kjUHP0/wtPbnZpaOOTRE3ZlDg7di3R2hK0IPEO7MokUM0Ad1s0CTxhCcHhDRk0BFzS+6RlHdOFHCx91W6gCyE0enLjSnRdAi/F/qmNZXmTV6j2H+4A9RXvrx40PWRLG/fAg3jMXdBtvQg3IPexzpiI0Ww/jH+FERKg1sZPIgf+lEKRjaCIi0z+lAPeczaRIfxgM1v/MIO+g8GVV8ceIE8n0KHfTVJj3ebOLs2vvm4BphhwTFFJpdw4rVL7YBCJVY7mwIxf5cs7Ssg8lzqqvAGZElw2GYOI2hFMpgF7g5PAQfp2Y3iSQI047gz11w4iX5v6AJ1o+hI9esYGi74LN3KANs5a55+py7hVkghMpw0Wqq6Uufb1EH6V9I8MckwMPl2DVR+8eaHN3bGlprS8qEIhonvGRaE2G9Z0zq/MescF3WVE87uX7PL1pkYaBA/iJ7j+O9tM80NyHEAClv8W8Z00eqCsFX/3E74ymZi0L8q0V0GNkr93gooxGSNCxZSvppUi2DJX0w1rgodsYoW4wegLKW+4KQOkSx2dPKgG6Nz4TLWtdzVAANxVyIB+MlL4PUg3q9cqJbNfbvfT4K96vgnGHY5V9JwBYNhFzv3+3c5BRdTB2ACMFsjjjWK5DO9nrEMs/fo7zGAGzVdu4rJzL8oUfqAkDMqQooIauL4hU5MT2Pl1mqMVtKQi/lfo90HQZXvIrUFPMXfZQIA7uU572RhFXIAhgeuQQiTAGRnPyrmO4hJNRHW5gz7Bty2JH95yW4I/H2FdlhOSi3+fLv9Yfpr687tBaXMwoJmdrl1tw6iX4WJ9jWwQ/lsL2+oad8JImi2AgSFIv6ogEJY817JV9EZcwx6cICdC8p9zz5bnat773zaBMBFzsJR54Az9n/it6kgE+0magDOqkUALruJRrIqt45YU6tjOXIKmfz7usnWFdSL9H5by+SZ12IOm6rODIxSOvL+gUoFFF8BKo0JWG6l30MvSw2YHrW/i3+XMoE0ee/sO2hoSFB7Sbal6V0dRICgjuiICLlGAW4qLLBBYFvvu23KRN1/BxxK5Er4uMfwrlds8cS5Xpr0dL9Vg42rMhK20UqqgNXJtTU34j9TsmUGbdpzyhrhZPpFuT0bHxXjVdwqLsyYr15MzfhzkRbaNIUs+QTPZy+p1a0t2gfpSVkHf+4JgHi7p6gN6oLJ0XQEYluYprKvEO6TfyVQVybu3eAMLkmcjpJZ2tsHDV9T5HwXc7fvz6MFSSZHx3UzCnWM18YItRFiDQfWMlMTdo+F0LmH+/qdUqQ1SWt2xwuB5D4JcmAOzWUz1BdCq5/Zx+yIDUN3MF8uFiI6BVKGSnBgc0OJK5dCKBn6xYsRn6+XyUGERnjHq9GKkYwt4ICiz9rWGTYO5R8p19N4EZu2HC6LZGSoHVNUT1MGw0fNAl98QsuHK2i5sdM0rOnYd5jjuiDBRnntoLIkt9cmmOApLPC+76T17C3rqsTpMtxSbTl+PntMQ/bkczY//Zuxhq36fjbPlI7DWgo4pvVMVwn4DG7aAOYGjnSMNkod24M/HJRlZGLpvFw1Y4BBZDyqhqSV8SPCzJwJiJV9zbgTTGzQ4Y7juwdcCPsfoZREbI8mpSaGvXU7xzbc3RhKfbWggP3WfpBOAMjElRrxA0Guhewcj+NeaNT7bV502HwB7tuLNlW2BFeQGDfB/dgByiLHJzfb0tHLrqhk1uCWpWlsmjiBdOA8DKjmS7hs9DHdv2q8pBlBuESTsdpPs/oY+qRP1IggFlXTFgKvpeFjrFttSmpBZr8j9x0X3k07UPWWFEVfKTtIn2ewsqHjka8wNkAnnLQmY/zST22F2zYNCn9o+323H5t1lsGY5I13rTANgGeHYAKjEdrIhasY7jkyrGOIZ7u8E+w6OisW/4YKNL8hGIewXNot1jZp+QFLMDbprFqimzJAnlzKBUVmK0tVUsF3cvCmKAF1y05nJnbRFs0GPAVcV2Rx/Ii3S8doUYVAc++0eRxDWhgk9wOtf60iBwpj7JAJldiJ+F3TsWTJkPWtmQ42M62W3A1VHo80nyZ6IIzUURBeXaFPWW7QMer0i8cPjD21hpZniFdQt/+V+7EndSyCJ8MEId962lwWrpyc+dH1DXvvgXbH1JvthNqUkN0LTm5cP/Db4V8Ek4n7pNFFa1wX05Uw0W04Ak1PST7fce4Aa4BKA26NqmhbwzpF6mf7wEhntT6pmecz0ypDSQj84W50QUFeTCj3ClvtehfxjaERtXsV5ZCysh999NV4Xb7TrqNPRvIWnyxakXGu372sGGydQVB1JUinwSH01hWpd4USKOjVGe5/1DXw4jsK2opOnOUcOfjSzKBSIwk37HJXiZkJeW78donvHEKOjAZl6cmKk/UMf9GSxE82KljkNva135KiLxY9lD6EwGBPIroNoL0GUHcUGbBbUiD450MdyzNb7CCM/Pd+G9o9iJyTFHiePrsVgvInr8JqgUybPxpyrpBOsFWHiz6dO2Gm4dCkROiJ4xu3pP08skwGVxR8ZunX5fDdTq2E5EsRa0yCPYqaOyRiSIFo7FQpo39FXyfnWe9s5MHHc+2FdBKH8AMoWltHIe/OtIXYPLUXXpUCv4dMpWABItdzle/mxJ81eN+vCnWoMji+K6c5Q4KgNPAFjP0CxgPRG9fnaTMAUTSGHgO5ZPA3dsJbmH7X33DpCCFL3ollJD4d95EjrWfbUryCeR/OwIkjd1lzVB29juujOtZC3XqHUljq+OD5reyi9dTmuZ9stBCrcCHd4erOBbV6vAZ+tfVT5TZXtWAG5dA0/5iUSUogn8b4hJUGwzrauCZ+jFkMxYbbokq9DA/RJIouTVFvZ6lYH4NQRJBASPGPoCOW2/SJVtVvVNpokoifQkJ4Jj+ia+1lpADe2Tqp7gvvIFWBE0PI2F2guHSST7FUITcgtqKhQXVFFnCbgF7p53ja3o/j8piKD0zskUrLq4BNsApJsBO2mP0iI5Wl7TMQqCNERekWN3k68Yx3qs7lgyQr91yqWRo4714Gc4fOyHkdOK8ssgAmobbeF5YciKkqfXYPEmw0KcoB/uziNazohh4TUiv9Rl0fONgG8QeFCF376Sf7V1EoDKeYq8eHBMJsT8DMtoR3jfljiXztrHTmHXDpL82asdxKzEZKlNl7MNvOqrhGXYX8NoOYVN7AHvT4vl/CAzacO3WpR1QZ6tCzRuNNun4egsRPHA/F2npPxry9QnGe5mlfxujmRIVV6lrf10wKuGsxCQbt7O8CTk/fMlHHa3sbD01Cxp25qEDfEgAW1S/07x0P/dCEnjIA+DQUS3pQWJAcJqEsw/QovGO4mhk9NrO+UocVECl/cinfR802jKk+PkMlahhANPuXlSlsV/apPIkkXguni1zUrwWKOboGkseWMA45A6YzYadPqa8d+H/hqZ4eFcXRHfuL5BRE/MX3vXTAvJojgBs+IX0CAql/G+HeAhHWt+KTqhjGg7SaOvkabw3pCTlLUnR4qC69XSnsHpV/0jBUyfGoHc+0gZULZYaHp4HjFb6RyYOS3LOoN8dD0trVbqkhHY2SJUSaqF0ag7FSg4dP8RDNVfjrEdjepqpwp0bNiuPL92TBrMFAewQ/ryE5mJ+uIhmJdqL0SEPRYLhDxgC9P/kCYpK+Xb07GSEm4e2pwLtZKSJfnS/jxTvBP2CNX98x/QD0Iz5dDgjn3pVP2vuHjtlXQMKGJncKzvS4Teg3fb7P+onTRSt0Uc8NILeA4nzrgIzDHpMHNlVG6M5fZ7KxICThBomCly8OqPBU15VsPB7rC3ke4q/yTTLLbxzdF+V7Jdcn3GTAL0IEy0wcJPv03pO2MnADdCysAsaUv63XNA4m+2C7CMwSqObublec4roU8dj8sQeb5U6TPcL0lg0+oPnQymXVfRiYNB0obZVYYsRPRiennxxOKY8WZqQNz8TId8jhkGhzBEV7R0lhhZdwDRi7nNbDUFvazQUeCY1BFcnyOEWAeUwqd3roIDsGIjodu7tY2TKOAlHnldSK1l0+pRKicudPARqPCbWkwlgM374X/WWQn7cJhj9UIyYEE8apA9vOcR7PAnropuIYmwgfFsX/9j65Lin+pSLk/EcTPip5BABgY/JjwsrvReRLDF0LKYa934iTOW9D2rYEcf9OdaDRs68CHjEDsbGAP2P/C0Zbu1KQ0ESMRR/B33OSNsogXKHjxliDjhpZrD/426URFknV+EoEA81MsP45fIntd8ZDgUrHEKYeVbt6Sd1O950SmZC63RZNa7dyvQI7iGxWmP13s4nZYqSfwKK6xA8nku2erWGnQQwUiNUWVDATb6JLeBioiXIikLM4WY7wuy3kUkSIfLVQGsIsLHfXBXjSpMW/KWKYT8XBFBULRDhh6+dEi3Oni0omEgLJ/PY3MFs+d7q5HpVU5Kmc3PtHRiY18qyHV2MomFXiQ+0n8z9OSL8XNTBtc6lnqO58oBBcZmZcedotsmam0riyUwBlIsndsP3VfcqsXkdTvSooBT7DcqXhcU/RQh5dKH2LviAo465YBzVYFXg5ZRNS1szXJqVEKom1O/RTjNNemmiY2dK5/z6RfGTYMsKAT8jIdnEbm27Wb4yjDGuQAHxVjt9HlKXJZhLYC/U02VEkF3gbitX14qwA8mDFzkL/x9PE+6MJJrTOu6ZSv0VHbrjyNNUaW2x5LXSq4Jtc+5NICy0+pJq458PfjQVeVKZoDuMQoWfzed4d6JtSVXz6GwUAmFtFvqOWGoqna2ZP7Xz8F720KnuU6QFhAb/KLGRCqvdZezec0YbzyUwq3kdXyxRDOH9URltYyBf7LKZouy2QqLhAJV48zJEVJyaCEBZSmySpoD/S3wy8bqdhrNvNb41FcUnYMVZygFuTMlGUtKWy7JwFxLmzG2wdPdFrpkhiJZN1pKLTG0kSefVfZp+ImEEXnaTmtx1qHorcRfXmZlDWZPR2/wQX7AHMrHjWbbAE307E+ndyED41XXjZR0T0ZUnPyqz01p0h/rIUxKsUF/5KRP2YAPR+/42v/S90RbjS6h32n8whyEBMp3hTPjTj72VDQxenTiuqZegC/tIA7GDyzerlgGa8/jBOO7RfXFJJcRs+A978g9pl7rbY2AyFH7AhKRMqLnnXiYsEwlwFpmHgHNLCGC9ymPoKKZi1rmVZHYeDVuxXUBd1DXwXvN7M/DphT2oNP9lmK4hBseTzaOYGvsB+NzPqRS2yucBHbFsozz7MZ6Ir/KT+S5C4yWHqneEemCddwgzBhGoymcKQuTb5NiL296OmpGy221EAOqjcZH48rimW8bD7LUBLgmhnkMYvJnCFvZrCLoL4aqSOLIgoGYpjgxQBvIu0xQhsbwKwBx3WsdHCZgCxX/c0aWw2xN0nEgmZo/2leSnsst9x4RF0sLPJhxKvEyKBiycj+ro2/2M6+Wd4SHSecegZE/8Gaf7n26WGCP9iuUoBsHDM82wQDmZeuEN/5evoq7E3K3bdbFTYBj+efbP2A3F8Z12A0hyOqkGglkMkaVxwr+yu/R6C60vwsAc6OVcW9FawXjWHIWNDOooxqfnMxp10YDxBhX8MJI6tgnqmCoG38KoaInvpIQF7Kd3uZOHa6V7Y2rN6evqkWWl8RoP7tiT9uOu7G8Op7fbBsVBe7z+1NVm+W3IxWLYN1FE1JARyD3Tu3kdjGjvjkm8uOSVPxDLofqBA0FSC+xlnepP5cyxCP7Jn7Uf6jJta7qOr9Pm40TkOMlhUc5VLcleOQWp5chlKQ3CWmJIq5F+zVCrQNN58Y/4luAvarYAkVGnJASTEn7YBW9/Rkjd1fWWaG70kJS8mufpvmWe/xzaRNyCzrhxtj9dmiKV9/J491n3vPs1DV9VhsV/ufgLj5Sodx1iGILzGUdY6XAQp4/3BFbkeX0SxW16eKh7D+M3DY2qslwWi4E2GwiZ0dG8Bh6fT9Cx6vAxTjG9k/hKhsu2c442Iu0VBtHrLkHxXAwU+p+ocWnGUHrRA6I4ITYVSSNqgeOQDb+lBOTmEFNBS5sUy18IIJIeUIabwk1xWB1DKUPtu1xnTb7kb9iXfKT+G/ZvcdUdHDDBz+SJ40Tw7Z1fYFLHDMUqBrvKgyUv0h2CszuxO8OmNazUj/4Nup+Bj/Qr4qFKrQtE9pZrlLIBtu9xHjG52JP2aOgPCR/5xQIXh57VlxnBuWPcApkQBRF2xi5CFDLnpqhBQ1lHcN9EjPAsJdqUfOcbhDNfHHTypNc+0yZLi7jVySvA0ANDeTlcIeSadTOkmLyVFgNeDM5+WPXubrNZTM7fMswhSmImjyzvv11CPU9KCGjR/oo01Gq+c9QumquzQUMbk4paE042s+2OtqW0noOYD2uvPApIbqmdQTCK+4C5XbBKfAeTDhR/v1ePtUvV8xEVMPLj5sElP2t2HAeov+IvDUx9EyV/fDR0iLo9k8Q/i80SDh5YUlZh2rpwIAAO4IHu4731a7EQvNa/8unCr2sKXreHctTAot58sNN0PHDXRRA/yhW56BW2cuh4jvB2FiQjbBEaxig60fW0BZT2rp0ZJhl8t141sR0VskQ6bk6ywg7kxwJnza8S5jh+hBroNu749iQbukDKFlq6YrMYk5GD4R0WgfZQ0KXppJW1HvOQWGGq+spS3ScAoBjWvoO5TNZmlrccwGlXI7QHejqrOMI/+XR41d6csAx2iDq4YWHSX0DL+SizhTxhadmAVZ8n5uh8nMvWS8jt7bVqP3NP2SvCRdl3mo6K9LkpAI7o4/s25is3tZ6f7XGxxJI/vpQkoe47fAxrkBYfsQo/hSHirjgWA+R5VdmeztFF/OH6VEMwjbE/rOsnLJpt1gmbh4uw9JURBdUOLAGqW4XAz0M6k6t/Y2PqN4o67uljiEsfJ7q3jhk1SL/358b5FP2ayKagQh5t3FYonXSDYbwlzIpIH6IRKf5N3Bfq2MgG/pnsGnFT3pBLlll1kQgV+Y7UaYm8RteQ2f7iAjHqmAseA/xpfocQM8YT5oDvk8pyR5Ps0klYS1u2mWsqoG/NO3LEjvL/DsVvFyAFHN6aFzePK+ptTU6lbMRt3DmWJcf5UI0F1A69FGzKkgQlDo6+nsqIObvOYpRcLJvtORzsXlza+caFixQMNvCC+tmYBrd7bRMRvxx07t2lIcjL4QJ6Y7EC6RI5fZapWiz60rtHxtH+HJkB2BX+gRD5dHomCbA8bJ0ksDiadgNB1ddhnOLLYPvV+XbvoejtiLHzDNUu+4KXHf78sNc+mepFCnVvQZCMx0I0bPPVVRyTEz0k7S7oCRpszuOMWOGgzkRNpEylkblRQ4vMh5IVWLSaKUxzbzQk47V7S0Q3BVXOHvxy08kJf2v41tt2gkaC9ng2x7u3RZ5HbTvjmfJo+qzmFPVgx2LDXO8PKqUxG0/AjMO742DKqb0iLJ0tUeQhF8dHkbDjx61CaQqw2/vJu4/tS3AkMIc/9tqviDjTPK01cf10Ajkcwd1RztTOTqqPmOquuD+ULVUruXCMj9dqLQsDxB5WLJ5cKDDXuH2k1vzFMCkd3iUo8BZ+x60vRWQSdUG5QlMxYROKoB1d+roN3ENlsWHSqhTTOr6tUPRgjSYmVwVzjTr13FdEKONp2j9xagxy51hTRzZ/HMFsuKjLxXkkDgcMknnevdCKdDHrjsmbZeF3H1gAkV/WqIItuMf0R9a0/UfQTw4xSwdvay6FaS8ti8D5P9Ht93WARCev/gr8G3U/aX+dwN3jb84870jAKW+vOXFkAGBaw2ISpuQfp33aOebWSytR936Qc/8RV+6Shs6Rd9eMORa51sdaWum4A9mZyYG+J6ZgiiLsoEt0gh1PXt0fSkM/cmQACI96BUqM52UoX0csptOxm/UfmjyRgcBlKOPGo3vneXSidMjRAjprf+jlucTtAZ4sQQxRj34T50lWb207O+zgYgTjYGodYGPx6X11CtEBuC5GCkbkJMQWxNU0fPPoy86FYNtZIDo9e85NYkKgJ8YDmHE7KClNmjAX1par5V2uKOoaD5cJw2ECfa3uxlMebZw2+Y7/MFF1aC8oMngIMcr9IttbfMctQDNRKai6eflNfQdirbDdDjzWydFRpYxRGUKY81MoAvZ/Fkg/DVixvTywDb4meTdEfk+UwawiMHRmah9Hmh1/lPcy1jBHoTSjxVm9bmKAT3bKujVCXtfwIWbSzrw2QPZHIhlCoR1X9oU2kwBMsoE6ec8qD+YoJBP1J4Rr6sKL0FoOJ6V4VVSeFkmBgnXYQKvDcCUVQjzgp1mbSlymE0Gck0/hf/gEsWvZaWlrMGb26302obRT6qOsPnnJ0ksslC/a+8sdnbIvaR/v4kUJ485osh4nnis2L17WENdSM3GsxWXIuWKCR0BODoZlk62K1LWfcMeVYbJS8QRv4O2daaVCb0Wi+XnBPSntSZu22N6kghRVZoh4Xtqzd1POhYlqgeBfyKnBePB+3585Jsq3E7FrAItZcPOi/RKfjyp1DsCXGdV/0WYXoPwkyE++MId3q+6JgKM0VCwMcKlROwJ5EsN+4Er8dUav+o36m6WY7OlJ6UGLtl/uPF03hQREK8v1QhS0vqJb4uFNrGKzWXyvcFCBKmIuUA7vrPXwwZpUjvz465bc6JYHOc5kTPCtZdYDWw0/55Volytpa6yIZBZqCf0LI6y5yiQd8kWsMTia4Yl6PLoC2Ux1KfyR5+OxUEi9JX4nyiE2Vfvy0n753m4t1PHCQKMjg77HuHYilOf5PFXyGRq49liBgxEe5F8A8doY7fbt+Q1J2NsLEvWS9lbPWIP5Ec3wojISKwAJOccYy8V2HqH7t7T1ZkBxyd1KNQP4WzGW6zc5S1+i95eBY5fPQ3R76OTT6t9MC9P85X8TOcGPDlBCCNs7HXdvf52NWV0Jpse4Wj1qUQRn7UJLvzIUd+Ib78FQ6Q9eD/zrYlxpg0WONIfa+gUiaaf4eUx68im9V3UI9Iwue1zxR1lUM8y1zzQVKlYWzOTghAF3HcrewHFTt/aar5U9YmESxJo4FDvZP0m9eg3Op5n2Eel8WxQ0hwfKnB8/8UxzI5ZvntBq4JcWAzUxVBAgMMscJcDNXGsiY2DL+oB3iGPU3rBFiRhh9LHOpR1qJJ5b85LPu3ZLZuvM65PapvlzQ2JgUbhyXsTH1X6Qms5eO/pxxrtPInnakaalC/kUTb9+zIIKoHa/vCxdXfr+LeJakry2OrvsZ3aL6kOBfUw8zuRsSDI22eSDyU/mORzfnMA5WK7OPjX2tG7SUHXESHKQnFzoYkJ7HM9MbJZwMYGvunC816cZ12KW4nxVnzW9kMLoOqfTd1zLB2A07izxAkmQO50iJPDmCkEL1CwnEKsxT33OZ833ay543LJJALcOH7H6qcYf+Iijlb1q+sxkVsAXgZMwGvMCK6m2aSf7RfwrA5D/eG3AyOY254nBckJmpTOBiKxHR6CN4HB0FimcWQ9SL8NkXRZjbxUQRFg8o6KZMprpEWVLfX4n/J7refCwHtLirSlUzHSTYfFXMM3xVaA5HhuywiOh5ew8GmN4/dbWwC0+cFgZmY+F1VtWtMPfpOyv0Bvg2sV7CqiWudCET4zvAaBOWIgphkK8/rSooRuRBVi3sdWxuRx+TIJG1yA4nzQxsJcaxEAy06KRKIYM3FBzrBzIK+zzgA4atRkGzgxTaaQZ1h8tOnzyTgXZ5TBdLHvMJKfTq7UljTIn2I/W42583o9IkIQECnjT2WDUC99S7Pcl2ueGW4Fl4NZ/x+1pjLsVJsWUyffMtUJw1yku2bRpRLDv03LnB/X9KjDX8IQwZBbVR6xQ5c+xSfPZCKDUMbcPsxQD/zOwcPMinvRD7b1NDa0ZQ483c9ws4Awa+otNaIjrfBxZoy1ODzwn8g6i62tiu2E4+h3z84ug3jv4Z6HnV07Q3ahtQSYAhSt+xpaDqdQuGPQ0/ZdYeDv3QNdOXZ/+w1imjEb9invugIR04Wxwoplk+KRTPs+xOd6pj3Cp8Bmts8pZSOrvHfKT8Cuo9gdklxeVRA2jxL0PNL33s52jJSLaZIfLN/qdLbqItjPo8TspE3lfvC/dxcSjPcoClXgeBFGRZZMchonE7Hp39YO8Xmx6kwMuB57TPNOjilDczTyhR0UYesUUHriDyp8Wkw/Nzoz7gchF354Gfwazm0yIt4JJxCYNOB/kvgX/gKYjBfk0XjRmHb0928b1jj8eDS/TNrcuWlUZF6JGFVUQSv4gSPPTImwnnHQ008yTuPS32U3vx9Aa41QtWdxwmalX2W7z9J6XQm41vIMeKNvPoR8sc2phkae2DrfcdSAgGOnDi45g++9dyAenFAfwvbngT2VNoU85N+BpW7cxz79ntMAJHgA7DHVcGtzt8f9IyuCBa8bCApLB1vU3c2MyR/PrUpwS+iwVrZjgnb2mKmI+vC1R+6BTIUOGxHFHYSA6dRrOfv2iLMfiaAGM9m1R40UH3JKQ+eubUQT+bdv9u+9ADVm89WFWnxdDqKWu6U4kUMdqqk0DsHHAYVaqTSUZEV1ok2QgGFdN5bxlLtT8s+IY5UTri/Vsie4aK8o16QL59GSYbwV+mzHjchtvDkjP3Bmu2kznGwkXMv66e09L8eNhHiDxJpTsVv66f8ctxVpWLJ85+RAAY0NkTIwxEgGjT0EBtta21lqiWNKY7C0BjylmjQg/1TitGbDMLayJKBNsudzNmQb0xP+j2U6USjp+N64+IRvpI0IjeCT0J4xajmuZ9T80egp3bQGY39TCayt0XLG/wQxB2rdg9oNREHRwPQEUsYZSz8Po9/i5mvgWmN1LmKUNR+WEYGhQsKNJ808kX+V/Lojs0VAQrq2EOKo4v/TT16G8VvjhVnRxaqmGpVJWsfGzZBk91X/AyySVCKKS7Q9Rcyh0fmc6fwYe2zoMJXUEL+X/P4/y5ffUHcZrlO2LWgBOwOf6Pe2v2CSYuAU1IFe8OhccaG2dZ+N91BYe+lZElcP+YyS9WOcCis8raOtYGD+U5MPIDmRQ9iOvEzCwk/mMOcoZWnvICVYaO4uMgY68+CIPFFe6GpRkduZV3sPpmQ8ETX11tOfTdzCV0+1Q3f7iv8zABNbw8sy5QyflooL/rl6ds8kVFC/wTdjw/zTerr/LLSbkUVumzH8scaUoJvL164NJw0Vd7ePn+Ow7qnSL1BBNtmnHT5h8evfGqfmzqS8hR91p7yTQuXzx6SOJL4pldRCJLClMvKACHeqPKr5mxpkW16IydhTg0s1U28XH1t177LP5wCQ/azjOiZTPLaJvaTCIS9S6cgKHTMg4F3FX2tu4KPEKDCyTcvdwLgVfVRfzVVgYFQ6jCT8QNfFq7DgiVx5aesosQiQcpr04kz+68VBErnweZzOz9XZhvZYf632v9d7M94WMu7i63E0Aih/h5XAAdNtmCclyryca035i/exalDzof7vvdqCbKB3IepjS6FE44kTiAnBcCMAmmohIa4GIZ7Ue67N/VU4vsWAEHA3WRSGDp73cWWx/aCtqvqwQkI6VVhj2eXp5qiWuoLh+94HjsWEDtR6imY4y9LcMqLKQI/ZQAm7A897tS/uIhnnvKod39Gw7//Npcr3/w20VTTaMGHk2O8A2SxXqytUBvljebGg3uA7j1Dz8iIsqb4TuduD8ChKvwKqFhGjqEH4Xpa2XzEdnghe5TysdN2P1O9oeLews+fCUu9DWFQi4N3YJ9YrSmRhGicypbkgteU7pJ3BJtbsuutNqHa53ssMFjvizF0x1bDozqGC+/jGTR1Q8Ge1EzCk+4aWEnNva7pD6Sqtw+aiP12xrXYLGv2aUPk83nrx7htSulIuT1LPjQYTfwziUHUFk/8lopWOmBOFLqu9jtF0zsRCpNnsTcfwmRmK4PYh8PPQbgp9zdT/6+bowOaEZ3LzsgvPE67JDk4kwIEYxO2frYT8MshxVBpDmfBz/eP44fZcAH/2iMU/d/CKC3Yxy59dBkXPNjFnaKTSp0jgenziBGQofD5dt3DYjJCrhx32/EcDvszsywszP9qpyyq6yuYPEkUbrzlZ/y5on7VImMwWTizGThbMj3LWzc8iBcayoIxMTQ0IUQOrS7jkXOYSV/PLSmS1SSGMCBmTDkE103nP8U0rzGmjXT7kUCQIl7Hyqt7QFqmvEj6Xipp1lLWA4X2meJEd+mCu1EVDbEirVU+TUmQXz3GXdu+ptFB/YkWOZIsbrp/nZXmFbPRhMep6BT/7x7UhNMdjri8+VChSgVC1Nxe4ECDsmBhnYJkyE41Gp+y+CABOsLoWVTar9pjITm7ocgxhyJKhCYtvUEfnxse79A/+VC7EUyZCjd1fegurrSny1zUwlgRGrmxafKAUIeRWOrn5W7DuxBDCndrDlp893RsVLUwTCNYIbPHKPDV1K+KLeBjJ9V+eBEY/YnO5OzWa5KUHVUCUTZSKM61xhfBwg9mGEI7H5l6bCjfIX8I+zEsmFcLf/hRTXETbg/EEMLASYioS6IkiTYVhnVJTGyen6WVUdDPMd6bSWRiiOlgLBwUEfDjKw2yIKvVdNymKxVs2ALyNeIcdOQ55AKnQiv37M/AiHQgqRS/ljsSidzQwk1n5vM+F69SN9Jgc+08df5zECzmhvUUKlWPEfX91BjKm2WObomE0J1vgObLJxbHDoGq5l4xge9R5CDw9Rlm6DYpkfPa8kwMBSgcQ3+5cWVw0IT4nJ+awpd/Xx7dZ/k4abaC9traLUMVNiPCoe8jNWMdTM+SLch6aPUcEvPxJuOWgqLJNOOsxKxulxe6ZkJn22UDBq6kqLPkx5g5YmTMjC0cZHpikL2JK0E8h2onKxC4cpb+z3MGUvgAAO98R7LqiowWDjZNIWaPmV5Qs2rcFL+esZznMY0eaxT6jgpOqqPMF/yhFuQzfUIOaxOnUCwQ8TpZ5pQ86i9QWxKHs8mlEzN9b3WYg4VO6PV0Kat5+d5OIHv4SwRW29xg/qwRSA/2brmtZMvbGULqKYhLTLNpqRMRqGWbb3H1ufZUUEPmWez4pR9dgKEhGAinKMMA46UF4db7ZSRvewu6vHbYpDCmoZ8P1YIHp6ZZHxqS/K9WSi7PAc6juGEM+qjCB5Y3C5fZTq+4+r211K2j7yAfhG9wiQMn7Zxbl1Xd5rtLPqgytOeWMsBHLp47T+z6dO5KLXZO9rLkUZ7oIWHcFUJLGzRmh8BOEKFegodSacfCOiNUlmj0wf5UM8JAYk+/ZK2mDbv5Uf7snylayiFwiGDmSwQbaBFCYXXKP1PUMiEVCZfc5nxJK4J+m/b4NVQccDZbSJhxwTMzqGblBB58FSC/Vhqvds0y8Zwml60aT5RIUb9vXnUNR81POoYRFuFprv/vy4YAuD79Cn1zKChBhhgVAb+1qEfCtkgDSavJ4oI7NBVtR9MVIFWaaHLkRqgs5hBmbShIXYTz1qYB6fkGJmqdFjy/Ukea1U0jomQkr9KtlR6pI8s/x5LWVqiPMXMIJWDtVcxp5yyC/KBBoxskmzUkMZEmF0IrsV/fOZ0M3Iiw//tnfRPvVhn+yYtrwnHMQ7QItDuJJimtTi1xUUjdmVb3LRTNfpXaukf8jx5pYpKPau0I3+q9AUPM9lnjASFiGzBD8/UZmb6sKnofuTvNzOD+bbSz2OI8vV0MKrOuTopXEhkmdhw+o8Y925CTOhwo7q/zgSnKP/gcP+j7N1aEVA3gpR4pGRItcKMp5wM1x2If++JVsw6M7GBQw6MeWmhs455Na1y75GO70f0lZrDNsHNnAuz8mhfR1vkKaTho12uefh4lWrh6q1ICHl5R2Fy15wyu/Be0f2fBJZHLFrxJW5VRzB9MpCafdt8cTM2o0/pgiJ/gw5YzMAi3XQCYdMPAA10U9mXaakEPkORNOmo4uFQLFyPkM5RHYG4fjzmUepazcv/nVLDiehUdUn4N0nsrdcYJK2SpHmlMMVQnUBNJ/15iYg9RlskfMG1WddkPGOAhPNnXqkQRUQJWAYfCB1fbKYksRJaNTj+asKFXGFdiRDc1MZ/3DixKwKvkO6KlMXLTEMMU0dqwmjh0PPysogGYcL3X08FMIy7KGC0krtoJ+lremSas1x2LiT5HcblIEft6kzb74sh4AB/Z/ZBjLs2ZEJiCQzh2mqlWJNl34cLuLLveL2BZpbOrEla4hTq4fthZwR5ygXddT4tZYhSnVLGXJO7Dn37Kf8L16z1gDBMF7SYpXf+/uLxud00FqxMqRCv1+zUpfmjOX4Qp68MLlw3y2Ik8tCO6fAM/ebAKfgzm4ySLgkFynBiTGAxUaB5ltZy4VW9FYUPwalcbI2HUSdiSWgx8RODMC7KtoY+aLftLZr4goBKpAUJgqAokwWyXreGZGslKJPCC7/7U8FjzKNR7uAEL5HJffRx2uapEx7BjIz2QTka0wMEuSFJoJAsidJtEplmDPsMAq2BlyWBRWz676D7334akn+FOmzzo8HKoXWpycy0dLa5CAn9Xj+m+pE9dGX0Ww4Z48zwYQeZ+3um/1BLFfRHPAMtj+GXlGxI7mnxxBTeZyiIHV9po5cDyZ4DEovz4/6XpWrQHF9JL/q4x5tNrhlEBZ+OyHZlbhanw9VrZfnTCnDeQZ5H8o+RIezBR/emTut2CbhoPa1DXeAqJNpodRHMxU9uhYlKQyHXRTLsqsypP4Vlnj7qfvNewjuHCkRImhr4uoOXgpQ0kSf/sifKyokf7nGTG9rothadzmB2uXwBmsVS/cgE5h/svG38BCmlL6rogPOCBK+3GhVDQTZG06MkxTUmua42RkRt1/ECYNhCzyNIkLiZXEBYXohKamVP19+n9wZZQIi4yTWuV3tKjrfudxTE1foFLqLh/9oVUAQYk/nucqfXO5Rvm0mLXeEmiDZCAa1uS1wl+Op5h4B2lu82BiGr+O+WaSpwBUztYQIAHVeKORIc7DjlPTiKQHXjVeO/H/rZpv+fX14J7Fy2twlK8P+07fcDgAQFzHkpEmQkPtR+mGOhZLsSopI65o+2pzwyxsr3SBAKEG2nIQHuWej10foqI6wOjrXq3t0o6guWsNJCKSqT7EcAfueSmTQ2GAfkqEf6mq1pe+JpQ59c36f6PdmjKGczJ6BERh0X/9sR9ihrs0pUfRLm4XZNwJEHy5Slhpsia3pRjC9VNFxpNG7ngrIop8PMMMOdavag6xqyufloAPLXjzvfa8XwpJ9AQ6iYItErZMnQrrQw6mMuIs/pDK9FwFyoK9tB2cGulMwrEs3nN7LGgA6DM4VdZVEVXU7uxJlmFsumKtnRDTNFXj1RSl49eFZ4L7jKILR4ZaHlStFYpUNAJJ8tZJKg/OIFDEGtaUTeO8nhvq48xknG3gPhSmXBXTyVaEJLXAU6mEuXZ6fuOduCvAa4aP4cQ02oFc08eQUlgmyK7BthFYWS8gP11B9KzYcbmlqSfDP1pyLh3705sZRPitDzV27GIBz7qTgIbW91Sn2OWlAjLd8Rmy8B8TIKbIdHQGwinbzwePdTkjtKccoUEjb+k484EKwfbrzL3s4w07rXd8LdIY9YybnUPMJVU4cDVSIowGh8OelKmwMJ1YcfZsAiIPRRDiCIzsHDLdab2nfPUS0PYrDwafUeKomAttzWyZop3RFFE/AQV4prs/kCw0fbrt3quzP5BFt/KShPeBoa3hjo/BJLQw+1lRE1UDCo20l3A7Kj8K6K0xgj9/YwyljRSgTIHDdugXnLC3Xt/r8bq5lXDd/WhXCjVuI7r2euCMDfA8y9CNyZ2/shKoevrHIMzdpavr1M2yUrsoZILoryRmGq14tI0ZCCRaqJlZjswr53Nyo0igc5r0z8m2wMoLR/S9puBhXUxWI+TLyKGwRQf+7cH7VxZFfAuw6H3biCj7VG7E0TOGxEHKb5+O5rN0xZtYDXm5lG25Ku/BPuGVWX+KgUkjdE6XIMeD9t7XTnSJG/uW7kdIjDZt0OFT1mpDaf8vVkf6GTH9tU0U4eEURCIihzJqOd/UfSjKzaPpzrAVPEozXEravGeug4aaiqHN2qN2JeFFACgJtv7zW7Efyp7JlHDVrLrZ12rIpA6UGJPef162SQP4MHno2I0wS9fRqIRagYQI4jBDT+nlsE//3Mjnqr2N1/U0ztPgGsZqzpTlDGusdsSgKgdJr4bQrWOW4cOhplMfGG4SB5AzFqdukEzJV916gCYLWw/49d414/2+DEQ5DAK6M9WbBlpIc373apFhpWq9FbbwNZFtHLCaZMqLFWgM5yD4gRA4IoobluU2alPFEcCmerBxQ+QlPxeK5kNk+Ok3rZD62wptR0rsriOnlwowQOMi8dcOMpcgJDbD1T0XCB564VD84fV9iQA0jn/lQrN+vpf8gvlmBEbX6N1y0R+f+vYHbhd6h+sUXwWP/8wxU+7YyC1geSPIFE+6QlzK480q5yliVm6fW/fp/midTeCc9QCIS6arY2oB1d7nlxx+iVGrbt+bol8ZDb0edFSDLMvyBg6XvO1GB4a1xOCGX4Cnyfg2COxkGyjVKX6VNBODlbiME1i55NuJU86DhjACxYwnyX1EtdjrtCXy9SnVUfSp5iTqxRMQfDnFgFqHrf59Ej/+fne+STmMcpo83CYAJLIBrQ3z+8YDJs261rkZX6Dp1w/z0Fow8u10p2ffNJIJ8PsCRUZ7Nz/Aw8jL/xw+uL4J/0tq37Df4rZubzO8Q3pc30dEvcrh8+e+6C/lb7WJ0j01tIYB4u8d4c5+yV5xnxm+TqR1uWkI0Rp0G2VQWNy0pI7bGLITg4pNyksO5mXq6k4/sTbmv1eGPaiQdxvYLlX2pcqrLzCS4ZssOZJ9QahxH9WLa11SWdvjj8Vy0FFpPtpqpcoTS35P+LvsclP0VZ0leIrjcUy1SmOciTOgElAAmxGzyUc3os+toUhJFy7Tlc5xISEe86i3RNIfap6HT7YiE2O/fu17SM+2KQTj61ADzllxJcXjUThr8Na/NWrNhOwqWLqOapp3SrzV5HQ3FS8pAKpblrla4MNhbm9hJbg5LIl7xHiDLvmdUqX8t3x3gPziHRdVL8l7mBCc16p24GEJQ76bvK9Xsof1zH8+UZr/K3jGEY+g1p8qaLgICtSV+sIELfaUpFYgEU69aTG+aSPpT6OxDENnB4YhTfQ67qD5I+cxLRRGbzDbv14y62rWzTvciZDrpH0/ohpKrxhOIXaDJKvL9IEQ+bJATqhtnLHuclisa9KO28V3iGhYRwbbYfI4XdlQ5Lm0fOWfa6lufbewbYXlVAHNVQo3AjKaGV3L50rGjAHrwg03dZV8iyLWC5tIA29RSYKdoea4mBntV4Uw6Uk7DyWDzc4n0I/DVa4AUphSXdIt9I0SlmHbEd0eK7YgQLMxB5LmhspkGx5Ez/OZJiYR9pH6+/lRGK22sIgZJmX5xOKK6eU6DdMEaBNM4kHyl8XY9yodYXdfofgRBqMn8IzNw+j0umKJBZUejKUmPWn9d1aTyvAiX3CX0wKxOercIMcgtMIM+14PPKXkyyg/KefL3PTBC1j5YK0vpU5+nz1711renEwVtvb4Nc3IgL1zRbzoEbFmwHOahUbdKiUe2jbnSYg1dEFjwZNXOwzkAA30J0wRGmfnffyY9OGAX1AZnGoYCqRL8jmICv+RrTWB0tQqQboZw4b95AH0hQCkPJyFt11fJu+4WSZ6AVSItBzF9bArl+8P+X595gUigG47i2EMAYUrF7y+ZyGPVLcC+kqcI506hdXhCx+JZf3IPMu6cayeJyif4APOkCcSHR7P3qlIVqf+YfSVoyv/hkxiAPag2/c+MQ6RJ7lANZAY4Rtn7wybQouSDRKhNbtOVi249TeQzZX8rA/1dLw+QiqTCxSGMY4rjvAmA8QWO7+F//LYMoDGEW9Kf+qcLuwnQevV9uiTEpR8nqWrzdDx6COKRiiPXU6jxtMXOBbVX4s6OyxDUUueMzNPqXh/vCsT/WzEG5iKZTPXwdMSojCnN40RM+jzJ518UzDKC15HT2tr+KzmNQu2VRYC45LfHXVB9hTztxzp1aOrbvC7EUqV2RXEr6WN3smMBWg2qUl4xy+jofdQbBsirL/s9VBsuA+LTCWnMRyIJLAcod0ZKXUnux5mg1bA9w6xOfic3m1F1PznQ4qkYW1lMoZvYAmCj61fUucNiaB2ShiQ8UJCuNAhXWN9Xabwlk8Mk6T+8h18sZ/g9JXTi+fjMwWAA0fUgE6tQsng1OW/ZLWpk7Hvy6JAF4Yg2tw7TcX/jhAxOdhqNcZGIOjKJs4jF0hOt0yIyV/+p6Qk0xch1KIbHfJDi4EhClJ63/rRWJ5rTCb3skB4wXeGy1OG6f9YYkUoWu60KoPr2GdudDHq4Yict9tkkU6NuMw7yeDOaXzizSdhv+gMTk3gk9V/JGErWz9FPoBgYlxv9zloLpE/D2+6aL2s1PtZhlVhg0OeaG7bp0LpfNOVpHH7vZqpxJ7dX/XRHrS8OpJAstohlOoDpEyrpGZbIktC/Z68bYnqJl6yGcpoimN2lmcXaPIr06SsUFOu2HlBcjdwWgqc+i0/Yh8+rntExVhRw+y1NPcvrLhKbsCCbeML8UONK8XBeZ3BlUI6hSlTUzEmDD7hdzRIljByXC88GXsPOFT+6CHulzcJvewh0RuYmenPWFDeqzPuopgPyFnREsABJh2CnoWHPnYZj2w42ibXEJIlB/m9uYODyns5xTH9E8/qKRi/67nWrAZ+jptkOroW+r0a9PcdiUgg0m/9uEVeHQd+44bbtDNyO/faHBzRUzuji6aC7Z2Zgwz31SjNS8few5EyhGh5QoINGpizYDIznE5qMEb4BomrXAVpIGGbgs3O7Xn7Ixy1bee5+FpsphwCMzYJahHyz2PlNn7/JuO4DzJEgf/3PW+oWMmgAyGGBsq9Jj1KHLKWyHgDmV7JMqimbyb/vo4BxUZF0VEBro+44SKVlsx4QvYLpKpplq9xba4c0pCHc8WYG7o1zfNAPH1JDSW4gQ/NQg6idUFAPLE5lQOP2OikT/WHSGoFEtAzRSRv3tSg3Nhhx2z6WbnR1a7QMwuBqXhMW2MByec15ng1ieFyhiX2uk06Q44MFnIPQHP3jSESxE6w+vbXq8ViobtCyM74QM8jCUC4snVB5MnZWJur39kuTOAOteP+kO0jfj2ia1t5dSBcCYeQCQlFIG/jsOawmwP6iodGNzYHDEC9pgqrxUlzm49VT51vPKvny6L74oqXVJc3FkObnqVa2WOvPN1KeWqVws+d1sKOlWvC2ACobuP2AVTB9+0HpDZE6FN4Z2jkEX0B0GeqJxTs+Z+cSikJD5ibiy8NO8EXBlPYi+uvDnKlhXM/6bMXKQVtCFJ/iqWszDKr5glZ+wY7KOqQxH5jR3RHVg9lbyUyPyTOqphyqCTuQ0BmUFKPqdL2eH+n6bbMyrlxgS2cFBC6BxWXBqN2ibZFJLwrO39Iy/qQbC6cPHb0Cw6ns2A8L106Uku3LUzSMiAVhDAHmVCgJNMwyCFi9Koye7VoNw7cpnPP+xJ0XtjdCRki9ukGug/oRZB/TBdCt5H4xwNuyQPz/JNmdAAxaly6tb29qgr1NR17LmnSiJCaHHWtXCTqEb8iQFjTC5G4jXfEdSqyVZrqLP8i/p1qBRJIIWzFnbCs4picc49kj2R5cdsvCgqfFEXY5r/SgOZG0zw0UOB67sTUYuQFsYNOgsnjT/R4nkf0ShJiv48E90lSbiiE12etaxJTrticY3ZP1AbrH2hnLpp69vvfbv+4wCOUZYbiYcsgviwXJxkH7OF+9a3MJVy74UwSPHNkHkVFyQRsWCotKa+rvRqyipvZ1aithGN4eg7Oblth/oCzfg6O6Y256GR9zdjEbG2SNA5vVPadCuLox2BotmSv1eDwYOaQvFcttfPoH3/VinYxoYchU/YMXM93sq1MsWmxPznJ87IzSKtXlAlgZ7GGVBEZhmRDa/Pm4imo6epBP29SfTii4CyuA7OdoFlJWCTpoESIyWhIoypteWjhIFBeYiN8gia+f4zI1M2IY95vCSYOY3r9txnlFl+wFtS/QkntAd6f5k3uQeUgiDzWLWvL0krjAEkk14PZWp13+j7zVBlzPrF4trQWUpcoeuY0iQhaVpQKOYxzl5bQezVeBJ8RKOrtd71hranYNl+w7xlSV4o+z9APWS1N77rXolbnCrQ8nmNwwk0MBvfvP/nIi8Stm9DFv7xAI084EhZFWd/ggwQCbS6GokK3NLWZ4ZZKHY54bGUCnQod8HL6j0KcbLhKUZvyc3Zgc/iXQzLStGGYgdPrF7R8mAzJdNLN8kn2yKZDebN8YYEUJMdRF0I3DldF/RRjfRIHWM5BNGS/9+Gvfp/3s+B8DsGhqm+9yqAyLgi/gFqZ7RA4jr5V1hWQJannDVqWs/k6hjgmOgdetds82kvZsIY2uGNfaFnOO3b5+FY8vocCXwpqVNHf/Xo+pWXsEBc592cDLzJJsxOxhjYJYg5oqWiNfAQun5chuApA3mXlTbe6/seCh12ASkTuRYv8bCx3rkNogl6YK04HeTojpJyDe+Dmx7OufpN4d0y3tA4rfymt2ZkxXuwBqaB8lDyC/VrlB5PDjGTXylcN3RhFdho6LBX36cpb7FUKWgYFvqYbVqwyiG+XyhMc05/VPzS2FvQEIcndedeY1JjA0tZj/RJSk80Xtq+gYrE1S0VACjvB5V99VHQm7ZLSvjbD+d2Iv6ony8PboQzhrB2YIsxV1t3q+WGQSVL6Ojn388DJuoswZL25FWD+HQvwiXHguPlDQjaqKzkNEwLWKoXifwb8Yhb5B3wn+tfuY3bHuiIeenm3f/SGBksWIIkTmUB/gt5rlgzYf9gvpU3skO3hBmdqeMU9+Zhnsqb+p2VBxqZ/MkBQiD3E32uQFu6xhmFWtonoG2XuCB3dyTyXdZUES4C++wdEEb1bydJ/HUQGHKxvZS/nfEB9QACOdb4HWtseDCeWwr4gNTZYO5dlIZ/fnsmsZ6P9U4Ukfrjcc1omz+yBaZeysBVlSsr7PvTVtb4GB8HHe5mhEihMYdGBSSMaCWq9NR0A8nFlyXs1GK82sTvSnJQqqdcQDakXS+iNFqfcNUyZXYGNurNyGm+PmcXWo3RxDME8EPRhZMLm2Xetm/o2PMHh6/5LRRE0K/c3ZsMnWUNTD5e7Am85kopGD6acLJ+WvDy2VnnbklWDMsNcCJ14QO8HM0bmqnYS2ccyQJNQfbZ6i12AX7VrqbYqgZXxmQiutgzeILtBu/95Wxi4BN1ObrhWXT8LL3LdxRsVBEM8zfdU2I9eddmBhaEKHYTIy9rjkjrEPr4EYLcNm7jQ1z+yp72I0LeV9TjRpU9aGs+wNc790d4ZdlIUQic7RSuMFo60P6RpJFVbQhozkjm62nQ07K83nox2la3hEnsib7tHWpY9c+qX7LBqLV54TYTv4uATMeap8TsRt6ufSRCt/HzMTC8f1ewHy4FmE+5p6Lj+h2HNoGc6Ttkz0dDP+eT2Na9Hq+Svc3uoC+XnVP/5kvGIzCx3SlKTkn5XX4RLt+2O6cFpzKSMqMEWMzUuwaB+lontEFstFQTsCGKPzSNORAtO8Jk5yQgQ9pBz58xWpimgwNMEpiBzB1qyiM+kDDq0XgS2Nq3ulCZvL5vQNbVZ9y8I8S3cYqjXOw/AhzuR3x/edRwwYreLrdeaUQZlps5sUIwSmNNZCcDF2YHKG62/Nq/Ifaw0nI+XV6s9FXAQmIEFVXDMKtbE5aRbJhf1CU6aevdKFzWfcjPG1RuzSOoOGGK2XUq4SWbgpMPe1adRlDzbVRMpDTGIYYOVEh8p1BHVJaz3XSUdK0I556HnnkdfwDCP29+Z5PNg+rB2fhfHIJhTn0BmyvnZgqWIS20gBZWumng3bxtjB0i7wH8cXbjEHGAxk+ivfxzxvwJ9+9v6ZWFCYssB3TVGUTryv7skjsPCl71qHuX07AMK6DbQNda9im4Y+dxRRI8L1enmhQ1hTSddIPtspyXJDG8I4bnBgru789+s6Nr9eiwJim1/CeZVSd/Z7dba9cgADWr38snS3T43JNMzDw3v2+oOBAFlr9BoiFPx0R4/VrH+ImKTwajBXyyerUXCjb37L9/M/jUx8vqBIVmfguiGs9G57lciX9cWoakETFOLUyu2ILxm8iZGejHbhm0jWVN2F4ds45ZuuUM+qyEo+2cTLUjuZ+/WHqGYJsBjsCg9s7u9R5ermx7JZ1GoN/7smb4LaKXV86sjFKUGNsOWXl1RshwSMSoRzFmnbV7wRF9U3VrBXPdysLBBoB2mCR49xwe1zT2F76GsT4xteBOuKAdf5ffscmw42bzhF7DdBAdnptaOFjHjzFo6kJ8N5M+q9kjZw0XHKe+FE9n3H7g0KS3yZgcU5wMHv4CDi6frXCsZPHJqKsHz/zKXv6KN6frWke+81aWLwgzg35garzq0Wfw1IF0AL+jCZHPOiyF4+39OF6BgPYCnkDzYjbscXQg0qQ4lap3ikOFzVGIeTbdd7lewDfb/gKmTOnAYMMAO6+CeXpzwsFZxpyletcZKLKicOfy0WubAlLuVZQXIXG2MzpWfukdfIbA4gYt22reeUX2tOrXqvXqwQs6Xulw896BAPVKTaVky1aQlQbHKGDhDnsnKxlWRPCB/5LzjDw38SVKlzFdkgTwem2RYVln9ZoAe/8bglouYdCxue/ivV2JAaHmr5Gh3BEHWAqwo4i+WE2CWDL97jKwhXvMsQqnRRjfnKziIKUtPFYUqoOua1lQBtpbOfpTEwHtA2AmSHvIO3e+uT82q48fIyU4PzriharuVnYopYNL/RAnMRywJ5vhQENGLFjmXxbsbNX4bOxPv/1Gd4D6Matzwg2eLhGZYnA870Vq3r71AhhIXGB3Vr9vB58ydyEvY5J+OAdlZcdJvpW435YTHfBu6sJ97a3N0gv/1dv2GLQREHbhWdd3a/7mRwH43P1HHV55A2/wX6BFkDF5N2HoMdT4XG5dMYZ5ZcKgsT9pRxipqOJ3Qw16An7Hc7nc3KQz0o+Po1iA6qOZLbFOIsf4BD6zpRZV++KHvwTgg1LZADtmC62Fb+cM4eZIMxhooFjLqo8xzcYc4Q+JbqDd7gl05E8XfY+ZAKt9/RRMpzKy4Yyumhvtiu+SeJm8M0ab2tRAQtFJhjVPcHYBzHjAoZfW5jTrLAzk6WD3pWskM9oFSNUFlErAUIEhQrkdd1AOwuJ2Ev4henD+9KsOGDDZ9cCdLlYnwzWF+ngDLs0CeyUuZmcWpvyT6soXck6NCjQSXWHW8i/7X0mT8OKGiavKxLTe7d1URJEwC1mlZjWw2MmAaJTZjepLseGYHjZ1VYweFWFYW2uCujUwwewZdlITwWIc63hd7aOFi/dApjCj1pDkMjNqlUmCfIIs3diOV6P5uQQOqX68zIpNpJAWwfyhZG5j3bz+GxTBroZR3DPzTcLwDFJEzq263WT09j7HYTJntFjmdVBYV0j9Z2BX9boqE5GJT42C80rd3vq3NzFIfl0Qq8ANPlaxq1u9Plqnjbaa+3yziIs9rgvWcGwDBHgUEZpkcFQdfEQAsVrDBnrBB6DI/AKzNZXKEIN7WGiz9qcq6LCUGgHp9k7pJKGPSt+88G/qqKLeXK1yNzJDS9mBiw5rHWvMXaTPH7q1RIb9DdixYvwLGAJLCtObyuU7ZdKh4wrm5vCf9VYXQivxdPTnVJ+iW4GzoCLm1R4jWqfITJ3Wus+4QX54jiDrEV8/3tjLBfYD5LUjaP3sdoq8jTb6skfPvlQyJOmMM2fR8zxCaOnHjcTO2y85c3ww8/dhfuvsLZQ+egzLFpKoZxpimOP/b1w9bI6qyVHqHti1jgm0JUNU5lmNQd5Bq5llLF/f0UxJIeYJSwc/5HkunmbYHVDPLcwPILmZkHc0NIOdQvZy7O/IL/1ESGHjytBGWdKKP58PQD/gO4kSaUi2RXBn24gD015tD2L4F8eybzvB3phy14Z/x687qCPmxJcpTYgzn4XyYEPw3jprOJlpCuAoPGX0RP7nC6rSCVEhkHpnSxt2yq/7CmqslRt6MXAwPooTLpiDBQUR2Gathnut2uqfV52hSg+Stbkj+GRs4dY7fUXWsBv4Vc7RioaQ1Bt4+9ZD6deJ0CvZKYs/6OiFIOCuomNU9br1vaTw41G23vNlC6eIyY1nU+Tk7jiRpKjoec67PklfxlUhCZhwM/ikwVtNsPPpxfqaofYfm8aV/54lj3WtPwcuCmCrtD9IklKYYStb1v0BZPX3jrUdgKiIjmgoe3+6nghkTtW0ghHO0PusTxUnw53mofo1Qx6BAUAfLaZmjX8fvsMqcnINvS/9ZAlRWdrBDL3IyuZA2zRh9Xo6lBwlt1jZERti6Xk0DQjWm0AO+SNdqnmMQmbyJGg5kEyPN9hSvd4TL/AQsgBThlBUf2Mw7P6DYjROqNwRtnVPeh5SDAZy54Zcbx77Rj1OUxBzquiLVqWIkTolgJYLCFxOOFkPRNMSt2dRb7NlBoXAuh8U0E3hPzhHit0SSqXmOJACRfCvt+Z1NFtUDoBKz47WbQKvEUQ4ZF3aXwn4/9doMd3GExUEUAsJO/Bzx84iphc8gULERr971kYc3yuggfQlPy3D9INi/7ov3F0FUa6MSpnx17D6xHsYpPCUfCZZaV52O6eJFQYyxHHcr6EkOcL1eohYkqJ9DMZmhX91XWhDs7UeHPiEsH2sofkvH3DULOAvf/L/UzcM0d6h3wg1g41MZ9XezfezSS3nLmdn5/AQplS2r2qBiCzWbX6GrIAKl3cfTFT0FbJJmFSqjInDpGjRgGpWx8cg6IRWaryesALMrXOXypxO7naOoswmW3iyYSx1J/3efFPt8BXPEXd9RJOMHoNGLz5KNXV2rdjtgkqnzTh1K85WEOn6jR74pN88cdld+6p6fVPJmuw30imO2V7YKEeC0/6uMOQptc/p5xTCenvKUrVMxymp5UijT7u7utVY5m+xk4y9APJtDYHVhbwAqTc7tzaLx4SYl2vGwpfZ4l8x0B087De6ejCCZNnOmAfID6r/eP9tr7qNFjiHt9JDWDcSwZW4crFQ/7tT3PXuG6PXPtup2oL1b7d86zagVJkbQdep9kAIw10hsFmdkdlGNNuci7ht+n3ipKf17r9RT747KDlcLj51uq1aU8gE6/KQqSusGTNojjnRE6M2Wl+1H4Pf7Y3Ef5orj8aJo2pIXKGKu8qcglE72S3LW4fVtKhGcuzrmEGw0ZhVppAiMh7pRVJD6S6AsPe+l5dpm2pdU7vqDCSxaeqXWL7+YsRcKDonwuUGgWbebOGPKpJDYJQUM5lTUD7Ao1+DB8z2EmJWI0KkdYVIFC2ohbuxjIIp52RoRpsy6V/cziiGirsXP+V9WOgACfR8M1n7ePA2hfvuRV+4xDCr5yu+fDTQANxqjBGlcqptZTcI3tNz53Zavufz2C37xAEye881RnDidmR3Tya04ZHv1UnOlW0GzMyyPK9jhV4kySck3RttXPJ4E40ddwU7IgKrJ5jxJv3BO5JmXdDVlf9kbRD38hqIAf3ClZy+t82pjlbqgYxQ3uaI7NR4KrMLIroJAe7rMBKC/q2puZXrrlAeJr5a2WW9znbDvDLE4e1hGKTEoVDtOZQPn9ykyYFinWj7TTKTkweQW07KcBRv7c+dqRgXHBldA6hntrNLpr3fjKeAEqQ2j4qDhIyzwMqoPrk7Q0OdsafFMYMpVW24o/6jXBNkHqwDej+/BP5UnAzPggJuKk4pnpDxOBIyyoRAdXoSMrJjlGtVujw22p2tgJxODCgyaQOI8J/LNG/ClkpfgmWi1Yku6LI+ApsrIPAWxUwjriXTRF8nAotrzfA3ij0v2M0VAcFiTJozIR/UGLGmI8Tb80yyCutTD0q2qVK4u0HC82Oj6yMc6Jqq/2Tq7l9kilOXBhiJQOHZHRiQ1LvXGsODmDUVG+mzKfvEnM4kJFmUWPfJ/NqtOQ2Q46qAQ1AfeF8AGEmz4Rui/YfMrM44SpgB961Cnm+66dZOOfQS0StoV+SHzTwCzTB185gQ9ByyIdow5QkyieVtnkV57jkaVsvkiGIb+I4JENYwkdcWF6bfvBh4b3Z+dQqQlVjGZRbnJ8rfJNPNJR8Js5tfVUS501Od/XjdqBIYdq1ykQDZEYcSAVHEue6eypgcWBkQY1pT1XfkAQ3uA2/aqlCtCxLh0Tm7kUfywPL8BlcAb+AK65y9U541pAp4u6NzoDOJISP4eWfkbX1wy3ZCpjwqx+GuUMmRi2gHCZqOdC019RU6PzMIptk/gp+Ygv0XP5c3U331jEGu/qqmwzQ4SB5Ar3ZozUVZVW8tr664NPjxnX9VOD7GTkcMz0kqwJNYofN047O4MrXILZRvADsYOZB+7W5OgNCZqoWjUBufQXDvDZu6v0RsLzM0e0zN+DELfO6EO3FcG9G93qX4K+idify6g6mk/K2T911iMZKhALUFIiCYkN1ZZtbN2Fjg9TNRVmQ620eIOCFDaV5hMrqXPhclkd4+D7HibkfBzjQ7HQgWHfVdbsWE5es43xRWvA+rL/bU8l1/mQYBOm1bMzr3u5BQfPry5D5+6agv05B5KKc4eLgF7VB63BFIhg34u6OoDjo8P7DbpVeBRZPWdAiT+XN9/CV/RKkBZ1dY+WJEcje3K0JlgDwyrLm59j4KzcXhfLbnEiqLmUBxljWJy8quiSPW4p1RF4uljfMN8Ob7x0yIb6yIH0OE1bBHQXp/MyHNnPjEZ8Fsqcso2tXEo4lz6SPUVItPZmcxK6DsaqNhJAUKdeuJfqazHGMKaAopEI8ZXvfTIAb9Nom4QIU8Naq92uI0TL5mXFgqSE/zer3znh6Xg2TL8lxJInigM0kKgJMJRhw+eEKaLeikjcdKvH5vXkC4eaL0ImW3zK7bPwrSUoSCku+n5FzlaawbaI8E9q+DIY4l5t/QY0/J1eG84XBH9rnLZttUSR/b7WrPXQ8VMu7ASTTe5Nsn1YLEeuBEZmzaZUsuj3x2nKfqsraVtjgySZP0Oo8pgt4WjbhyWUxjcghqv6vPFuctOy5ij+ckr/aia4uN8z3YlI4CjK6+jDdlT0/NlQXoHOwa3gAkK7DS7ZzAHKlQ527/kPvqtwcGnzbFF/09KLFlJHFW9uHe+X9mUXd1/IOXQC6rxuky4n+GT30FVbDA06vjGIM7rkNfzfy/wItA7Gjq+DhNrWA/vgWIf0r1u5QFAcdXNbbcN+MLTnlc4pzu0MuaoOVgMiEHlnYHQn9+vBZ5xpaCvwitXv0H0WSLNh9c+mpqnjxovVBcpY4X5J8SiWZpUI7wIIOqbSUfB8gvwmEWL8KuD3Rp/AxrCEClUzWKMHYG5iYrL2yy05C/uvhNYcxo0iFcW5i3DQ/TiUbEVffdq/cKwYEAaS9E2k6BPI4n2R+nhIzwndTHgwxBa1zIO/eIhF36c1gVtwUPa2OodFpzLdM56p4HDREhR8Nw0s5X6wYODoJSy2Uq7Biofo2Vslngwmw+WP4bqz2MgVIXqN9BjkLQRTen3zDAkHkDfGM3Rin9TSg662zwoVLYxx5U5r7vFfhNu515DSoG+DqHjYatpG1YK64JlpIlwxPp9P5rWRbFAeVoVuA9B7LQWSVgdfQpGKJpEY7M3SaGPnisC/BFwUxntttModMLx2H3JWOaG7vmF98fGbM7YUrOxVvLCJQNeF22MR8NYaqsuLb1wrOgSq+YuyfSEyHutvY+sn5N2ml+PWXezF3OeydZ+XuqKgSySwaYW1z7Qm5c08MEimLX8oxepHb9koe88hx/pnT5GkP+L2Ybsgc1yppTle25aLY2ji1YlumgMilwNsg/DrBztvgTgIfUIX1Xbr5cCY4LfGyEJBm2gVAVT13hfsMfn9pSeQru6/bah1t3Bt+cLHZVKjVzJA4b7RVin212Z5FzT3RyOZ/CAyBiEJKtCIZe7KV6yGMJz5HUuufcqbPoYo5KECAE4wKcM4g3eH/BowLyl2o5Gp1Q"/>
  <p:tag name="MEKKOXMLTAGS" val="1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3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ANCHORELEFT" val="True"/>
  <p:tag name="BTFPLAYOUTANCHORERIGHT" val="False"/>
  <p:tag name="BTFPLAYOUTANCHORETOP" val="True"/>
  <p:tag name="BTFPLAYOUTANCHOREBOTTOM" val="Fals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ANCHORELEFT" val="True"/>
  <p:tag name="BTFPLAYOUTANCHORERIGHT" val="False"/>
  <p:tag name="BTFPLAYOUTANCHORETOP" val="True"/>
  <p:tag name="BTFPLAYOUTANCHOREBOTTOM" val="Fals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r0lg9IPP9y8umrse/9AoLT5R0GKq+XM9pr/aTyOTf0wptcuHbHxeyqBm9svU01qeeEM1v0hpSHUgirOnAK/wunDqnRi2rF3dC7/3vzSMoeWc7pCKX0F+d942NXGsvNxutEpLBc34F4BrTQ6G4zsIKosRoVu5KBV8s3E2/qe92MZOYboHlILOFcCwXXd4tUBO+XvZWVvUsSf20rFz2ZwFhnL1v6+F2N/kwfngH0FerW2FTqrghRmJH/APqPnHHLVvaopGdW34KJBfVpXQ4nWghHyk+9PM6YDE6Ox3x9Q8dUs1wsarYsjIKqmEMcnBQ2IrzmFkgK7YQmRN0fxMLdDU1dR/s1c/34lhao7bNRQTsLxzP2CIfziwkhq04dYOWyZrZPqmx543cWnnbYrhemB58VqyD6yxLZmI0j0mnIJwxA7SDDiBzwGCV7JOpqvovxqlIqgSjhQMsfnTPIH+22ekWAuOqXUi2PU95aL2CrsCMdZhd6tzDB+K0ByaLmuGbyyC2FWuCCJ9dr2m4q/5MBoutSaM8gGNO215kslfVF0G8d/nNv9ENLFrztUMWEomAPUJngJwlkpw+8L1fi0ygaCJDVw/++0iw93LNVyDliP7s77J9tKHDRL9WGd/XVgfGFjjXO4tbXWv+CSdmYbcriWwC6trTn8bzjcb9yt0V+5onEHKsKNjVqVUqgoGAkiN4ElB+/31GWYCbK+3rldh5j0L0z38tlpk7dyZ+7XqjmVAGcKHK4sPa1l68qSsaLMEjgZYSpbaRizDpAHBs+s+k6cDNGT5JDcZ7wS5pLSBphcDssJwoP/uU84Xbf2wg3F9cMpKsEo/5nXrsxgPIYg9qGUNYb+WROA6M8W5QoofyNFltEWVg02SXaMOLLWjf+j47K2JtWwYQiXHw3K9DfcOFKLXkTRdL+e243tCBrB2dRrdWSoNQSB6B33UVq4KXHYB14HLpiMF5/u7LaLthRWk0LoOXK1twMrOfrZHrQK6re6Qa0luWjKPgj8ZCRbeswhizsmBbegbxxKeT2eoavkbVS+F4y9fX1GxtLhJKq/+xpMbvxf5G3KGnSkHrGAhUhkycVvtvRAlTdS8RmDgn42qlai97bEXzRiggkHwuNRcRrfmWUC5I3JVEC1k9up6cqIro1AI2XZRNxP+ZWowtCOR3r8/9WQDEwyK2KfXkXTH3aqVkSW/hTWgkNLFTZjug/ROULB5BzEGwaj54O1qiwKvF4zqXC7/pTFm1QH3Cr9vdhtz7UaJaZQwNeiVMVBlQuK6rLlckZ3DDiK6jlR7eZpyfGOxenZkL4xlrTNByHxwBEogWsF0msuzunNNzh2p9N2Qz24AdCyZiaCizIVkKLTfoD980TOoWoC1W3KzCypojLtH/M257W1csel1aAnmxvC8foCZqEr/nmUaVozjZ1mCHccXfb9bgdvMLTpfngEDtSq4GMUcJHOPM3Hk+OCNeFrZjaW72p+ICD2yHHgnyxkPdkCapiUkH7auE+U4DMfYDVNRIZkI+s98kjqxwnyBw6u4DrHHAkdEi4+bHqmpq2ydKyiW4/kBnZsqVyWMGY+NnVwmxvUY7NQQWzlbV0unncSMbi2zPMjiDhLOaRRVW9rJUI4J1e6RkMHlhZmKLjRPZSNghVZgkLnnxFTDwCWz434O7bLVs6f67z/fUmqst8GH12LDjQh5qFNkyIsvWZoO0OM9hRZeySBz0BxIC09qHgGcXZ3VeSXpDery3kDb9s9rBbduZPSO+mJOBDb4OYeNybtygGBdgW7Ashz5E5PkcDn4FV8DN2O9Q0CtzC4VNyIA5dwh6HOxtc3uWf035ULMZU2kpDiKVu9zJCEZP2h69KeRbVCwGuS/kkvHzHbFo/XqudG21U2WF+aYrhhNZJou7hZ/F44PebWi/5781dXvsmsudf6dz8s91fDfORDjOfsLSJlT1HVqklVJ9L509Zqv2qsPItjLcYk7Urw4n5m/Z+kD2WsCqLAlbfY6gAIMUWP8yqeF2X5agp4Fwurrf0KMe1sVz6Ym1S+j0kwyIivl+2cqsO19VunmbWhHJfmLKrlcp1/CLrKhgAOto4IxDu5+qxB3y7lphsvtVTIyddRvUpBwl/ch+wuPXNItflrcCbs/B9SWMQ6XC/ZRgQn5V0mcHUYYWGTcaZc8yDcuZ06Q9W++6ImTLPmpjKX1sotW6be1PVKqk5dwALOqDwO/xax8SDbcMz1w+tJDEvxEuoudH6bdw4T4qe43iF90yHPWgZX1YaPxJc6Tpfgedhrj1fY53FiAc4YGEHVm/FvYXqPGnGJ5s5c3JCuPXETsJ86sf01nV/D+Q3g2/aALRmUdLxy3Gjyg7VCmqKb4Mr+E5fmCuoLxpjqZLlgfSe4PfFMOWA+1if5hR0wsZddbbHBaLiqAQHn21l1zMFmDMhypf06b0ZD8w6bGsoHeVBmhGo3DSPl6K/8pDTtQgs2R10t9BC1CpN7XSb1lrJbv3FDJqFPVIxI8xMEnOfz2z2ndoNlaTAdskk0cTGE8NLDcPo6AziPnInz4jJNNap3sgnzzSH9hfyAz3O8RnHvHoGMIB3giTFzVW81eO+Fe/X/bAllEXnP0zV/ecfjZlFKvK4fKyd+VazQOkaHwo64sSRv2hwZyyBgLtOQeEb8OEmyVDMEe50RJvjEZfBvo2wZh0g7vZqnXb5JT8yIKuOOd2bXHtHuVm36E2BjkKtvqcuPOsbMSXbp1SWciaHrUWHh6xKxdAhPrSRz4kFUJFAAsP/ZKH5ndHvM83RdNO638x+mtksNP7hFb6Qd/4Xe0T2ltV1+6YNXxh0jPK+lKohhyrkXdE9Fq9Azy1ZuR/vA37jf42tDJmiHEwR161W8femaI7hFUfRlqvcxMsCalqwwHtIW+bBfhO37zsHZQqrHLRye1TmxP02tOljedL9kRaPN2KQJY5O57Dt8hsAfUaiASpbayPoTl0ljB8hX+oKos8zaIFkTyIpqfv5aDGhpzVgx+ND+iECr5ZIUfSXlQuPyLTlWbGxAEguSQXMjGjDC46wGA03d27ZfBLpPyO6t6L/6O64flYZAPtxP0ltkVjJoqKNzswIDIoqYtRp3lX2sIFU8cWroX/9LRYrdYVABWfVt5uzGyauifCWykg/3+TOruk6N+IlOKeSliZW0B6HiQoC7n0F4tm/HxJ4FgQ66Xgdygel8WfDCegcNuXb6Mi/oNjayegA81OzFurn/+yvHYG0GYgEiwfUNxZCMovGUxbeJqeNSU9RtsrVRGuEfstTKeBUhf2d0C9hnyV8Jyl1RDkGtgRgqpzMOmscPFAdT3VcaZQcXcozi1UBczzwAl2BtpXcaE1k+6aaoyXhAoJ5WjrcL3ugyDVMjD61uAYzYLQ6/fy8cMxiKYN7Q/LD9c5dKlW+xR5cjEIahMuQAGUFKcMb4jQOZWqrBzEvq8ZVAas6UZTnxwPBrVMLy+IW4xRJH+AQPWd6dQ5oEez8bLUFjIw1iqRJ5XfvLZteAvFsz2tptlURZggrP0MCZ8YLAbd3r6aLEzRXSx0jmdYN2G27G0baRCj44POW32LPJwgjppy710/AgSCI651td5ayvXRMCvMOV6I1KYgIF+nhqSeoFHcmOKpXxY4qntT5FHDNlThicLKpy0j/RIMUEMvLhfikECCkNXcBuX1Ha802cklH3XPTRR0oqTkdsYNJ19jdphi2WpMQTnCqHfrp2TSTaGp1t7ea6yQG4WEsviZlBxhEODBqIeZx1iqlJjXNtSvvMEKUE+IzqR7zuk9paA5eI1vEzmb86Ky2ejXJx/2UvYpCNysbpuLw9jn3GLnj3v+HDRMfgdojKKqxmXKK+h2w9vgEW7qW/A+O3mKv7iuLn5r+VI7yCJS1yfVoUtWjw9z+cbswKAzD2BNBc3/aiuXEElRbf6GkjeMxkJc7adZTXsf/TOO8Y2b83Yh/FrLJ36r6jVySjUiYAGb1iQPm31Yic1BonktCfcie5fRL6U28+2hO1ZGWIiO4ExuHQTXo2X3JsICuR5HrD5ZitOdNiefpzg0VKBkx1wTxa+3cNtGkmvwOJf1A8I6YcegtMX8AUij1nf4NZwDROQ2VMP28vJzLpVEJFhHxp/51CRbhE9XdKmn1RfomTg0RShCkspzp2c0wpiPBDxock4hEJBkSZQwLCFhb4DwZhwk/Gsb2HS4w49ohA+ckvEACFjz908SBDzfq1DT6GB/qOBNYWoELN0wv3Cf8TszLgGM6wClvbbiuMc0Gpe+NnzMTfmOcqYJCbUMjpUIyvJAPN9Hcx2jk7R9U2uD9+cqfNvpJK43HlntrBo/KANIPUxdiFsIj68ovf1xlFkDWgZV0dVV5DcbUGa+xIU6m5RPs/ZdIO5S15sllzlbCbZnamWo92eDYkTdnXobnTvO0FetkcEUe8Lst/0T1IbWxUD4Mb2zijTXjJlsJ1zHlBzLg/IN7h1xN1uYYLbjA9Xtxl+Y/zUGu/WBgd7iBy28zifPYTEYprG7HtZVmz4oP4f/T8piirkaFIq6wkW5yGM3D51zIYbHvcyY1gehHweN0Oe6apOzxHF9Dy6W57ojyof7Df+bzOFwIVajzoPxZFXYpIv22AE9ASxsjzIEzjdZy4nNMsseBsd+U02xI1MGMDkYoBCw59XW/l+si70DKnsBOAZvP9nTVdoC4d/prwUns3XJZOHbgtVjwd471itmitMKxmqtu/OW1cMmrjqODgemq9vg4bwKFN+TDogHzddnvIZ1QjpEFBvOXQID+4Qgu8LT2UCcnFiA+3aMd44fNGD2v5HGKNwsi8kAZUn83JiAgFSZKsqVZNxC1EqPdAwRHmHTGjq5El0stV1kfaPxnhdmphqwf0HUiGJAvObeK2HwRfttSttEBx8pn2PmbKyYk3rY+Tku9CenXn6PUEmlVXgX05xVtggUWN5palwW9QILvUOYjj9XxoM+jmdhBkxI6xLj99xiTJgz5FmXojm61MpFUagjbjsq5crbKAEKk2Qor18iP7+q6A0quAf+5inboKFZLf82bBloCdAZqgl+bX9I4du/AV97hSqYMQLQwqmVp0qz11VNpc+rgKMGVAmcwqFiicMqkS1ilgV0DTvH2vT4e4TioVAHyBn7qSYXaw5Gp9jSuj0bZIUvi8ZjtKL7tsp01swtB1OmVuEtODujTZZX8rAFGqQ8jEOdCBqNyHDPqrsIB3tl/B/iO32QLm6NLIMYe186NZD1F/A6/GYx7O0JA7qJ1JvhbRjR9jMuBH/iGmotvZezT3wd5bDWRVO76MvuZh9eAOgap0k/+Ms88Qp45h8ySsAUrFeboHJ/Q+wT5nt6NhqQLViJH6DKGsOzkipnWxfDgzeWwIAYxZb0ePPBv9i2Cck9zd7A+d54Jqcaf96f+wlyOq8fiqN39e/LDF0hR/qZgMmMX6B1mfC8Uk7sT1QQEJZZigi1YJQKMG/iV1UBBhSje8g0kCNogzZZGYUgns0jTt1aPQwbGmdB/NHsOGrOffWHPDoqMGWxH/0MRZqo2rH7wZijopnp8cA8DJUoL+F7r3IgQ6yl2vS9Qoo6rJSi5SuAWtbDs9i+1a0eY4Iv9PNloJ6pm8yCNmU55MSXeyiS9IwrFYNetU/5XZNQyFi8M/BCW5U9jyserQ6Lny/5by12AA0Blu45z7qATdBUSyoZNPuDe+/A5Db9qEhglJ8RY1SCvM7uffSam6Ic2apkphw1LoXnz02IwpYL1KLqocmnixKCXRo2zQLquiRGpLCbpM5QExMTvrIykJ24JG3c36VzujirIA5JxD5s59cpOGv71kmcj0XW+m248832lde2AKp80O9a8LGXg2Jj/SnCihUUkp90uzaQu0TQlGuwv1a4zj9l1yAVULyd5I9vYHDfeYEWqgIzmCm6kH6JCyP8fXYpbfZALfnYQ3pqYt+9X2rwQNsnsFKDHEZ5ChH43pPJhu0GmEAwsA1leB2kCYK4c+jerpyIrPf27mPnQfwSOEufTRBp6j5CHt3jDmvuudbYTFt26Yr2rcgrFTd13+bm67cEsUKSpABpQOe4Rj8WlotQfTuP1V/iWK1XCakghiQVLLDTqYVl1pIqCOAjDqED9qMELRi3A8Rt4DkBuaElj/3FniYyai+fS6srADeXFmZTRv89bGcxKrBNIooGlTD8kE9G9cjksliNIoBlJzoWV03uolCy/7//VyKhfhcy1gsLAdbS664vwe72pIiqiBNpMjsQwtKaxFfTRDV/DvWELSHRjx32tpWahTAEebCTZktps1CUGSBenry7QwizCfAaKb/lJy+TNM5DUDDq2LFX6XuV96Jnq063eKDRr6rG+qyEn71y41/W8VwjTF/j+w3A2u9R4WSYhMC0AjfvzOHkVHxBa3j44JsXyFaqCuwqPSUlEdD/6wN1WUY2VySsJRIpa+vnnjPwN3wnztzZQ/WkNSR1QVRD1A6GyCrVfIFCPc3qx3gqmP3NxQ8SlQ+4X6JnizpwvgXU6l7X56k0Ti9yPC36z7RFM5j6DvZkFqGQpR8lIPCuHZI4pVc+7A2Hrn2GJGJEDyuw0cmJ352UbzfnvoqYrckuXHcN50CMQJsAXelnTMgdEBfmOBjhda2/Qgq8I+FdLUjq8Rly8s/tEg/f5tIj3dWCI1Z+iafL8aoqInbNtkAnatUvHcJ8nnn4akNUwqUu8TOtxSJwIYOeJ1uixJJmk7xW+nikPid+ALyPYiLq/byW7xx22H1GzUCFBs1i1SiVJvdtERLsvJGZnNnWJqu7SPhXdLydgpuFnANXuPRZiABzKnDWSmprLYYkiH6XZuCvsWJGjRqgnMADm4vzaA16cJc05L3Ep9uHAhzLaD+o0elnLrG7i53bNPg0EKkTXn/zEYCQDZ5pHtSVzCa4bPPGFN/rNFWonUsGUPgxm5YUMSQWOTYFQ1jT6PfPod/fa/pFWrBHDQD2tM3PoM0c34mWV8GWy9K4n4b1MKjctg+aiEzN6yDXLTF97lW7NJgiAzX7rg2bXTd7/lh4ymtiOvQHpUxnhMSILA09/rcixRi05IxWCFl6jeyt2U66uNLkj4CVDJh6qf1VLqE7GYxoWM7elt0j3SLw1NxZls8CJl/59ApaYNYtPC+KSaEoHpNXvqCMmt2sgN51LywsIQngaiesKQmx95dKs2t6boX52WLQBoepvvfmw5LACo3U9WaWZMKxu1z2k+3WKHhRKSi0HrynzP5TW7ppl3AlebcTHzovdDdwibGGBd7l5Mz/p/h6LNvukNZnea1Dtzj3wnjzx+o0TBkns4RLHDByKU6WLafG+ChMylICVPKM8ltmVyGopCjmJJ5wfhKI9rXBijzi37tBuk6dJK33NRkBSKoOWcTien/8UTU8bxwIonEiLbeR5pyNNAvI0jw+mX2WigHK5hQq2+LF1gP66FYZ4G46G+5o4XQLvKJZ+FOsMX0EMOFyH1Uk6rY+hxw6bXhkKgmxyKQO7irggNcO943wQ3iPyppUqHiDPp3BpI1+B2H+DC8GlkDaOu1SfdDTx/CZVn2dwvcH5D0YHdNP9305QA1doQcBpB7jkw9f2G+pdT8Lhr55ZIc9UpyFHV05MRGUyJmR70esu12LywWo2ORrMoXU+OG0aN16Y7ZjREFB77SzjSaW+EAODCAEqYoU3/HSWQLDFcSNnmF8e6aY479omm55C+nVpWZ9hA4ynkQgUloUJT5CbYeoBrDfgDgAVTIkHFtjp2pND4LY6rYSDPV4gcjRtHoLQolG1fVJnTOv0WLXDNFU1sjBruYH0V4ChfVGCSFcvNr5eXQ3u6ciqV7XuRVTttNO50TD5JZvkr6XBYq4TWRUVoxt+CmHOKDLVOX9SlyfvsTSIJgYytcOoDIWDJ0OjNf1rHlsgbA286MvLvDrML75kmTy828zxutwOs0sqaVSUPp5xIYUt/XZT416AV/SOySu3a6aw30r9fWQ8IWvMvccwKo9KH72pLPmPNxBUFsCU6tx+FSgjazpRLnXUBGiBd7wlIl4TuXJpkgzh45EyiMt9C/0MmBpoG+BxZmjdL8Y5QCFbB9FPvvhkwvkbUYV56m92nk6LdQdh7H2foKuMvSs9Lx6GyGWQUWvhpwPuGUPl547K6/PL4Y24k1rfcwiS5WiznfTFow3NpDRXSDutiMKwgdiLf3Td/RDslTYhPyyEuhp7TPY2ynMXna7qAca6PVmaTTkg8++H4TRBqEO6PNssAuZPJH6YsQTfUCb4vyXjKgmZTXaAaUUA6CR320AU6bVevUO8MZ4jVMEbMk/Qp9aHPquw6R4Ey5FIJ4Kqdp9Y/fWpiKpRopJfjqLTqwNWFmawkEXcEvfbkkvcSjwWvtkfYSbwu+95utM6cvAHpZ/7K0duiNVs+OEj92RE2H3qCqtts06KkOTKrWcObdCfoSPp2XD7O/4wYbQJRd2AGLYVt5KRLb9U126QKw/XmgIR/oAbk66X+KhV5dmlZc5qRiylUQ4r4p0fwm9hAogqTv+/Z9zgu0+jP36r7y7EJV8eV3n+2e77TvCHhIgqwBPXAIHKVldcGfRgrehLB1F3KOeGYSCQTp/rKBBoa/s+SrwJPLNYrAvxN9dryDvEVyXTs5oWHQKCKP/2j6S2/tuSuppYaWMUQ7TuT5bJYoMp/RMxEwjYXPelwICS2LUzSiN6vsP4QJh3P2QCyOIw5PWqg1m0pRc7zfj1DRcc7YXmHkHEGpDzrv8nVXcVdjgv8RpB/ky2mwpZIpB99qHaKoDnBcKAq+q/vgcc4gX5/+o9muu9DfXhKlcuVv2jdxiNKu8MSZlkHAboXnh6OhEBUmVkZ/TGtN4j/UqLw/9elV5z5Lhw0143U80shcxWcHeIfuYsFtt7Lj1DHf5IVvc4oc+vRYinbuTpyCn4LB0FzKLTv1OJiq/QiYijfN3bEc8jW+t1ISEkqLQLbt4Gc2JRDzC9ixcEoQGbLmn37MHlarzaEZafcu3LZFYhxIqL0iDSWx9QkHkw9ODeYIwvwmFrDWjPMJzjsrmEiXUNu7nwnGaIuhs3pc0Szhr6PpWz+OkYDnL+HqpAv4NahKeRcUj67Yzx8BnAmel9RTqt/BgkEcpxvGFeKyQ42BQdecHNSECdMlFIpHynyOmYK1yjLrYN5nkE+nt/YlSn9jgD4XudtHSowKINS4T4u+I1O/2B8zr39Q6hzRYGpPAdsig0OHs9SknJ4agG1i3wbzm6yQCPmG3Y9kUgm9iLltNMPoFNct6npUCBDuVSfCtZFZNCpTIwQgINdzhMpMwkHRCbwrM5yjRGS8ED86JnDXtL6AXAhc3cHY9u7eO7pNC2/JBjXoZU9D8oPHV//Ko9yKgSfq3wlOakBb1kljyaFTP6RXkwb7+CWXJ9CitTSTYQrfMh6RpwZJqNpUj8faFpNAm/CkPbDfn/KV7AOzh/j0vuCoext1e+1fhIunvzKuxFC9XIN40J8mYt93lyN3Ytndf+iULFMhZ552L/IyiQv+hBJgZFBHUXJVgH/GHj6s6kmg1gypvUp1QfW0WCfMKNJ8+DJxQdb0XNBnKSBtlWKmM0rhMojcC3smpQABRNrYYsX8Qcx5oUI+vMjE6I+ksBOAnRq6nc804DktoBIMP/OYroxcf4IWvqwkd95fTB5dwQtZ9pqy+ZVoNJxLjJMRghdCc1kAiFfIvy2YWMcsKaqnYjszVnE5t6MIT2TbG8qH1+KpCEc3CydvGjl3HV15G+iPHiY+NxgkR3VbWZ0rnInwF3wMpSQZ2TI3EX3bHl45WczbRssd/D8yO0bOaJqzgJTzmyM5zFufaaQiAz70DeFpg6v3yjrJE+PdXYHyI/7OVe/NmQVy8z0QGOW4cmNEBSDw5mExaL+jl9K1IFpRfIoy7A3VB3bV4dqN7dkp5BxWGH3xEOAsU7rzjJiB6k4IkB+JSresPHC/NnAtjqDNJEnnOQqN0aEvdi61BfI8IkK7avB6/9bovi/HdjjLKbEk1BP0RvrwAMUYkZATDhMA00b57MUFPb+SHrzvTru4mlKrRE/+TN7Fa0G0P/yVS+H4yhu5tYgVi1aJ0CcAe8frNzu9LPFRrmmL/p8D+++hyNmKGiV8/Shb/qPwor0qxodi5ZMPN00ANYSzgwg58Jz4GMfW8z0OR5X6d9ghA20YYlplMbVckebzUsbDaIdJ+AitPeRs6NJWEth2Bsz69PNCx//0iHwRQrGQR0P9+Ix2saG1n6MP9lcE/j/bvaJRoUtGaaq5fqhnDa45xIoiiLfQlY7vzCfJViQilhuniZfRczc94XDIB1xH6zYpizl+pLdMi9pHL7hhWGSm+6JTUq1YC1Cf29hQIGGlWIg5VXQyRgltcZW6jNw+YU5d6lg8n0lPov7FWIZd7FWWuiiZiIkoARyfTH/VcMj5j71hKLjkAofkAL++dw8XJFCXUH0Cg09v3IoJ2EHae+QZpP55fc9H1L1HcRI/xgh40IkKBXib19UlEH8V+tpa0M5s3P9RQN2Zmd2R7qWwxo/ceLjr1aVUm1WWcrAod/94pSR4y0+B0vcsG2OO5tPv6p8Izq71PI7iNtZG5qyG9wg/wRVrAYKr6r6NqW8HFRZu4EVO4Qj0a22BvEuzLiIHlwSXIH9SqWMZ0WIQC4IwXbsYh9NT5ECeVggcVFTOiZNbCHpMQ7giFX/yARtTBQgmj/a8QwZy/ICg9gHVLzw7sPDcj+fCS1ATQ4BwCmkkLAbG4vs2z+CBXYxtbxBL2uz4MlYchQ3IsNMPUVg8GkGjWjzWnoPpGZvZ/RtxPI0Voi2DUSrnMa7iRXtYzYTorAhQBMq+5Bi0+IA4rt19iJgP8yWyHfKep4CGWbS6HqqTS+SBn6z9hwEKIn7oG5+et0fmmAFL/9KveupHEShWpEdzBqUBePp7ezjvPMdB8IR3wOKNlCBdcw4bprnSUNQWuKw43q5vjdavIFiTJhDwz6S/T6gOMKR8xyud//vEgegZkITG3D9Nuc2oGnErBvh/rBYwZ39aNZ0jSYGVyG0Vjn1Iq+U4RhaEfirHRQyZSdyBPNxOWxocUE1ZgnqFLdtA8UQtSkmJRTitLJ2BjVrcVJ4vv7lXxz+X9kluKqwmALqm1E7Vhk+Y7Q4a1tRH9iy5Fd8LBN6DnL5XDcDF+19anXa0rIxQx3Z6j/rSRE7dFuChTeK8ihwaj/Ujr3m8N3jZ5aHZjXhVATpJgJTw9fTR8w5WTVXAefJFcuKpwP7FbBIsp9EaWh752Ky+SSPGPdEGbBslMkWJ81mYC/ZuhzbQ9bni2ti5yJa35i9YMOzO/z2WfHRvrt2j/8R65pki7eGkmDr//LQ+YcoC0cvrLjIUtRpG3yAsKQVx/XISBvYvknMq6kTlJpqjt1fTlc7XTccDRneljJOkVbnjz6Ec395M98pOsp7Fc4OcsgHUpWGlo9F6W42SjGKYps2KjavAmLUOT6ORBAT8cSR1RY2Qe65sObPyITjf3MNNwHRlh/Fs6bGF0GkBHR08LSLOEDxDD7q+NYVpdsrNlc+vMWLgCVzMrKROYFYi9hhveo6Vsxp2PCHIxGkqJ/rd/bqVTpGq4tkiDzlmpjIrvRVwTEnKMZqR6smzmDM2M23kYYKNdVbuSvZSxhEQLd2wk2H3dyLqqnroMox5ImPjF36eG7i0MY4XQ1/IXSJqfXArgHyEFCs7lJhM3D0nxehxALQSRON/yTCvZSWUNl+dFasxZBSIWMNHTAx8ywnLVGPclO9J4kNV9ask5ih9bQl34zs7PyEqTK3qBlT1pw7TX2ksfmYFhzKJVW9uM0Aqv0ZEP/aspJHqjllKvshmHF+LZVKdcgji7r6zboujcj04JFNt//hQAON4GYakUBL4A7TK5DieAyX4eFRdruFkpmZdo/Xx+VaBQccQPW3IogNftLBmz3eYXGfrR5IjrSRLY9gxjjhcsfED6+Boo9V/gZUu51Uyyuz52bkwExpjJq7A0d48hltHelEF+BLoPb/Fnz2EMAevnDlOlXzLVsg8W2lR9QLp1jWhAKhSJH9bVTQFLnKPxnDa0wFH0700Gp+hGcopSsGctuiDCCrCQa4NZhZx8tlYMTu2OYLbJOxccLjwlMla+C3OFwEqIuO3skMxwniFwKtFt89yEJUtfdVeqjmAS0NQElV4hfBX5rbv8/aPuMcEtzEkN0DJ+7OL7f8VdXYO3h5zFXydAk9ZwuiBH7Wuqd93OLFFuknPkGi7ZmDrfnYt68pbhw6XOkc5uWSf/9b1oprrFuov/cOzmoBjZrIuEKFb8ywb4HBI0LtinEaNNUKeZaIrfmKSQt687AScoHbWgGqFO1bbQ2fpGJPbuxbq/RqFtBqlEsQJR//KIReE6QRjeusmE0fQujdwRok4c5AhS2EKA/bdEuZThFwR++kqjIBNA6nQPN9WEuLN2lp2u8nf45H/Rs+ylfgH7fXSG6QycEIdm0z0YCOdeltiOK+yTT3m/Hxlv6vtOayd6tzZm4cDrm0eP/Ju6dgJY12JVwbXPCfaKIfCu/HmDvEW8AsFce+8+uMgCnSTFyVQ2ASK8zcvDnJFCkK7LTLU7EHBP/9Pj6q2cadxTtv/uFKGZKTXIN4VGstYj1UhdLMeJ/G7IHkdBoyizOMe6UgP6mgGEzqE+jfFvCiLUJnSvSK6/2EpVGdAwL95mrMKhlTazOOzz8OnsccQYeFrisv8drw15u5mByEf54gEbSf7oF3RLVx/FdDDC/p9VG11G/HsAaiRu7YZiJw1ZXmvI8jSjQ9bml8a7+QX81EdU9wA69VT72ZYyduDSKiRwSq1EKo7x0CtaCKqfCDGdX0hndSghQqDK2YT3pSIXHi3YX0cI+pPDz9pSNbiWM2Uq+TfXVO09Syq6rJbtPldjGNmOWczrNzfYEVfyUcjc3GpSEPQG5p/bAZbIwgOybB6qLNDcpnM5z+CGAzsWGie3LPOGrL8FVpD54pV1hXrJQPOpsg9Dyeei6PsjAjkqioYZk5vyl1WrLsf4LNDvRtB9h1TuSaXSnmDD45nCcwlolkQzuI9OMviW4ktlLcg27HtxkRybqEiMFaOkrVO1I8xrPiiWqE9lnmwdqHrS9gC/YAadGtsFH+YujrVCjjHGKAoxRNcQHvbOwpIA0d0H6lMKgBHhZTJllTeSG8rdIrQYhIHTzDs7qdal3BaSCJ13ht8EdPT3KUpA65Y1wpG2kZ6Z72qSOcFkGnnELYBK/Ncx6Q77ZD2OaiPHSb1c+GsATW+Bm4eQIEw7ezG0A/aHpiYBx23kfy0nnEdKrr9hWOb1Jh6glpmCDpGDsTGHVhzxsuz31AIKAZ8w4F696pPeaKvu/0nyKmdgAwoYO63Z12bvrOolrXgx95pry4okj4pJAXBz1v+rmTuulDTyoSowplRBsFZcIDFzN6WsFNjKqyYerwYNkzUke6RGecFk1e4TF02tJbka1e80i0EydSfG7zVYSYwi2/T6xYMdUnx6fCjetKciH5KA8Nz8rhJCRu/JVoC9qMg9YyJLlofCDH0TQ+9Z7C8181tTCrln84ORVH1sd3wpYeaXvZabTATjr+xCNdPkNP3KtYNXB45KyVM7slifCoHFteGwjais1e/ZPBjRx0dKqn29OdRVhkfCD0xltUwVNp/G+bw4/nrs7P7KK0r0t5p2oDR3ZGN0J63v60pyRPY/ununfWSK5K1jDCBGNMffIUIycIK/mZW/SwA3fS1G9HxLoH1Y7Hk6NpzG8lsfXWCVG1PVqedqq5t6VsBs6v+nqsBwaUeLpPB5Tmx+aD5tCn6fjo9huuHOCBLOtWedbvA535vOGid0jUxyfq36ZaqsvPwdmZYqB12KQOuufB8044OJyFmgXNaWx7aHVyejbCmw9f+Wc93qvrfA0SZtBml/1137x77wSsYVImTzDu+b7gJ187DzHdA/3/+pE2wP+rXa8fnyVxskpTHASdYdK4akxIeDYgoRaOmuCPlLcz5xNfHEFK2POAzNoc9UU8s4En938eaUl+EUSVnXeh5JxRdDlPGdPdPrPlq11dbJwvwhHpX/ktNYnKUQ6YuszBhEn5eLn0CBmnzR6eVFNmNplop5+TKkh4ssRXnfW9+RY8ebZEZJficoXd71DwiGB+Bf9zvZMDfNd/ZSeh5z2ECWoGtVUvmE1QkGffPm34x1axc7/Hi6+M23APbcYoU5icPC01bY9VpuOBCqTJMqBtg3eLKYvg3yLTKjHnlWq4n5CkUl7dtlH5qxWiqjotuqvWG75zz/W9XDr9fEy7nNgK6cTtdfYktQD5nX6piL6hZPe/PbsaATB8ZOcDnNsP5JhljvXH95/VmpHv7FHqto78aug/4jOFUsH6ioAk+uENO9hmoN5Z4ZYBvmLzFlujKuzl8ROi0D0B60bguGxfh+t1el3Xkk4U+/0RoxklufA56fwjdgj6QzCpee11Z/rgK12bhWA9f7bCHho7JHLK9HrpIyQPu27wYuaR56HZqGyFxeJHxdzkk4ixUbP0c8rCBcDYqkiqR5iDDMV7y9r+VYkYKzpWDLO8GTx5krgD1QBpzBsP/8Tea3d19F2ivdWc2/h6AQQn9YQ7nBeW9qs5H7AG5OfqaMesKbvdwRA762fLcY6NFxonzsB0lUlLF7zxK6kx95bYewe0uvwnVp/rv74z7xccXXn/F7aaR5Lh2hshVNaGnButjemeKAyLFcqsS79MylZUN/l1dHFAlcxu7Po7IuMP9qllFiCsA8YHx+ZmSV4II0h3p8US/eHqkEN6m4HzEJC8gaJBlVXRq41E4lPzYYsTyp9n4sSwhzotIU+VMOoSftTMolyT2rRg9mY3qsh7pDzzAJ17m1I50+9/XTHViMT28RO/BkZOiAfpPxKxu5/i9yLe7CvJNWOsV8hm0njofFKkdY393K4M7GYZq9VWOdzm47pm9XHTdTUw8H0eITYrelEFCW8NafYXn49VfGRGJG/s3qwT6X739qgh+YDz0i128zK2dSd8YTYbfA5O9HxY0NewdEBlCvjNxgFsRieqFgYzOk7oAZ4I/6NsdOUOQ2y1LvXZidOucMoshRKBMzHwjYyoRQzloRvRvIzkbwgngIjQJmCvpMZPjV8Rh/g+4fLPbIiIVFtPbjpISmRhFSzOFylEomuFUrjrSkCvyGpmDeHdTBYtHVghQZNj+DKdFylqlEGtKepLT62l2RC+F6nq6Y70dod3zwHl906Yhbgmq6SlWs9+cPb0ZDpTK+80biz2almxAHChzA3vRm/3QinZwhz9mu8tjjZ8h3PWXgXPESw6+fWjzDe6UIb5z8rFhyn7feEnvvo89Etzj7A4TVw2GzFAp7X1fxfNnO0354Wjp41q01gsNS5esfIwtuuqZNsO2Iqxr3BNQyah/HZImUjvLtPbCDP2LmvCxLbErRU1IkYeI64azWQut1MJ1YFpaIxnNb2f095AOeeT0TTtvtRGLWC9D/cywAQ7H9SC7kDql7iMGCBdAwCEbgjOfL7n/QCKoVP9dUUT9+f+ayHSvO5+0SbdIMrcBUoDVzw+UWKYXeSIo/O/rc8ebY1h/TSJ+8Ff+qHFIb3Svtj/UJ0dNtPRd0ETdZX8/wOln4qJGfeO2w1/WFeIWiUM0pnhqxFwUYDzUzT/BpSq6aTZS27IIVkN6Uvuitt21JfVcNVrWjWeh/5AtWU60OgAjx0BaRNos0IUomru75J2ytA2/uEOBLNksLjoXvoYK2yGyqihnLzB/vqTsC1G8QIQRUBiDHzrgKaAi/3zmlL5esks939DYkeEmG0gXqOBPM7cZqgYsLzi/HYVfJiiGQcQvfvbIQiPB6y+4zQf3WRHahAmta9BhnSCw/ChvLH4Ey+er/2L4Vg10f1l+q8U13pLmR7SnwCPF9+5KSTTh+7C9apyVOO1dTfTCcNJe1TMWD1ZqOzJMRU+apYkhFsFpxjNYaMMYZxkNVcxnncLPrDPOpXGakSWbcChPt0MOlZvWiiMNGk6jEaMjwA079zLlUBu4x9pgV3ROdwhek3yQ2ftIZpe54ZS/HinybLz6tam1OCHrrtlxe1sP/lnb4ApRq2jfxhcZuaUpPlHBI4BveQapxgcMyW54KgoGpCJYitkLtz8lJ5dunAI0g/vtW+zNPV78zZ9heftoUuUZOCl+weiObCHC8eKA+CJsFvldMzhhGVL4Tx/Js/AWKl6SQX/EjNbjAiWL85CtLwLPgmSnTav2BV/bMAYsvnScAMx8NVsFY9LNoPL3GE2Ky6t2Y6MgwPkHVnIP+kvpzMvk6lJkodpWXsY84rtSGh7OHncVnRJJJ5y/wCmjw+6zDI8RJgGQsZrViKx4uWthEBwcXWL9GJcWIWzCSkOlVJFGMx84Tmyd01CvCiM+5bqulbBQlwPJOGW1OximpJcXBTDbf7tx1zjAkIP06O9IVivswteLVOSEKGibsqVddxf3xjC+VRMAVY+I1sGzjJny5jjE9yRLf9rNiuyE6F9GKhRphTZBVKcsLCfnpfBWcv1EnMga6YgaDnxrKQkB9D+ReTw3llE1zAGxfs2Uoc02WADFxhCDxFkUAeGB64u4Z7FEwl3jNHg63fJnYY7Di0u/e/Ev1KzrkgknKNirRHiW8hVF3lURekjWcDbOtlJ0ADEsuBF+Q2HA9Pst4mOZOLgxkZMqpKA8DCmd1yVYlBGXQJRe3p6AZ6gAtOWQepgmjktdLdQd1/hhe/IiTFS+HEGOBDAOhO5WQt3HozogGLpJNqF8WCbeVra7Nbbt2EdJ3OQz9fo3jE54lZHBORuaCg1PErSwZRbBo2eGP4gBjQ2vXjGtvIrBsgxon51G6rKGpucm08rXuszbjqK1f7x1SzYORYuxA2cStwlZ0LkDWsvA0n//zsxLDZybX4GhXT+a+2E6B7LncjPlwcFEn7sBCMSPTfh1b8Ydj0wBsGQ7aobvHAQ5Lm+0lE6AMvTHyJLjWf4I1wlCi1R6OfXVCqD7M41j59qzSEYuMWSrSjAsTLGcPRl9LYKhoc2PfcilXn1DR44C86S6ls//WiTa2GwYMQWkm3Z8UpYVUrtn2TAIzXmIEX+flZ/I9Nf+mvg9Re9Odtycp6+kzdteuU0jUWzX/eUdia1J0wMjzWDGw7Ml6/NJx5McsdCKLGgPLINHkK9SLzK+jtDExloWgznzkqz0CvBUiaapJlZSvh6wQ3UoU2l58S9Mc53S72pvRaYaKTVQyIOBnSGqlihVu/OJY6pjY+agkWV58kFF3u2hJHo1WpnbOXZkqZeGyqkTjyp/oi9oktd8fZrGzSh9youd88rgZok9fsciGv7FYI4L8ClHHx09vLVPL3yGm5jnKF3w+ttbgB8fHlW7Pe58HxutIfMHb7T/CNW38IIjAGGN1DZG74mwbcOBGvkcLjnTxKcM1o59R+ag+foZplVxv9J0y73I3XVkhnMjP5xzV+yYfmd423xtwy7NTvkOGNcza4nWV11sK9tUOkkBiZ20OB5WvIQnRqjh0i+amTRB9g2xK+37eZcN5ChJwjd+U3GC0xtLEBz3kb5pS42dHNjeBLhOo0AV0ct0bjDO+G+ggPeWWWB/5eqfOlZAk0hK5T53YTtyWnNjH9Fk0OZfJx04PfkInlVaILLqGyDJdaKRONCn12rY5zPxKoWg+8YwyfyBiUTKUJCA3AOTcU2OYAThNfblj+MsRmWeMsaRg9X4ZqpygVtfvwXZqsX20dOqU2W88lBcGFhV+5RvZPTgMz1fTaE/PP40wPtVKNeezk8lO2T20MAUwI2SlrfmwkyIAKwbtnK8UJeO2afnR/f2vj4gP74GioBcVa5ZMsML8npIf91hThD2Wsh67USVuJ3Dg1Bt+pOqYIVooKiCcvGyUWPQhLy6SfizzHbKakwmUeP9lviwtEMvVZO+5a/vU5JIErj5PFB3qEfCEiKTjF+u66rk2GU7Wh8xJ3UEi5z5nK2W3ERB81iHT11DUuLHTOt33ftF8QAzjFuxi0pHLZooPW6hIhD/upuBuRDRVYkBV/Ht7IKwO3jp3mfAVKUDOy14La2pwAD7DZAKt8h5YeGkOvS4BThmd912D/YWMN57Et0AJG9jmLK0ilg9uOe+1/PEPKCRlX5WYN6zS9rplC9gdlIMNrfHoaVOKJIl7G/O/xn6oQnDLB3iwVfL8gkfKwbETHnHe5woFDTwvbzE/rH6995o7huBHyCYICRH++yzP9lg0izVtGpYTnhIeWzpTmABQm7rtH938IhanIYaAAYFDV9eN3fQ2y6HRX/G5Q+UsLZQ4tE4S5pj38V73saToCGOgjVtY3JE8tvnohnSiA6a9XdGT9Mx3Xo+5/zfzpeanx7NIHU7vwIySMiJ/XblI3AeYVYRL/y5ydRuU1JimfITiu74id73+RJVsPL2tMezEgv9BdDx1STI7iDiIgkhE1Lw63AxR1YfMKNYyvB3ns0lk7EDUX/anEhuBQavBERTwA/j0Ys4jdQ1iT4+ZtnY68pg/jSFVWDI/MWogP3kYofi9iXIUqBvTmc8/ET4SK6Fb94ci2iy8ce0kCPHO3N33wUXNqA2yzuY7V75ivrBB6F9jvqF+YR1nxyTEMAmOkbH9TIZ+K0NQ02UEZUDijYI4toIusQGtKhjlElmDyowVCU63hreXfxvfXycEnFkt89PZNpiUT7FZf5Brfpbx/BzG6epTPCmDGol8hWFwfsJiEqX3DWZNnozuRzXAXd9v4HplylhIYOVlwYCjzHFttidmWeVMCWBgahH0Zeqb3Kbf+Ivm9rSjaSLNCKESUXdc3iX6UngPlgZeWEfqOrsr0Cm03E45Elw+VF3kT0ogq/Wre29X7KDihER5tjyzoI9BOqyHQ69q8V/1MjfktfMhiVfuDaxwtYkcDHL8ncwLbLe4VUKR/CIZRI2zB3X8VdZ7U3ADkUZY80AaAPhZmFDEPr9x3j1FUaZPRxnVNxCRnpW+Y5bRFn9HTxCbZNvSNvDe0jkJjaRsptOmpyQLlxc13+ZDCNuXK/uq5Mg1FImGrrkOA3EUxOc9AgyTYqvfzicdEAM3xs+i25wmiqRF3NFnAmDCg3fYUdwkpsBzho9tEZFnjFu35QmHBHLijr0TgwlyUvvaxlQHtQgSWvQHmOSZozpQ2WUsHJ1fbP+/E1IY97fz8c4RfKsPby6mt51KfAD0hnNJRSdOPb1tUfBH1dRf7bC9JEITOxcTwhclW2KPicsHNS1iMI9/tpP85ZDZFLhfEVfopMLjg92BTRMMXup4TDlCadlJq373ftuq1fEZTGyfpQ7H6zKdoP/PH1/1Dq4h1Rqwe0qph68DxjIRgPGo3IwdbTctiwyoEcSTQwa7Acm90EmTzYGDG8UpverSerbjKT1vL8nOhrx/5lpXvuety+RzDeC2LrLJQjYBjgfYShdG1KpF8FB1/j0PJsDS+PXqBnZrqBp8WMiQ9ftfi2N/0EXKOy0dPKoTyMMWSmVlPGpRpewaVdunZtdS+YeFn8+8wGnok37WyW1jSyJyJcR2/V8aqtsEHttFWyy3l7qGDhQYDGu4oNC8pjez+rzVUkxLm+ja22pc5o0Vi4so/t8OLORUUfF8bhxL5ScM//U2l8z39OJW+HDm/ydoDINkzYk2pcRYtC0YjMWLta360JLuLic7QzL+my7DXy+K9xiSdl16h/MK4pwUMhqcrE/Vh/fWSZLalTdsr90x9+yw9kIPXfG2sDzsuclwRBkYMbiT30Yfzgpkp9RSsMWF3r0ssTw1j0olHvI6b96gNCBvFgGRUlYTHSBcSc8EX8lmCrJUYux/mxgWYMHuej68W37ZEIGeS9p+bpsGoKf4Rx4op8H3EPIbv3yDqPc12YgI/9NE+LXY38ELiNtOnPLLefaxGe0XkM1dd6r2aegDN/IESWnJ0SYItMkpi+3uEQRjJpzUhIsR5u9QitlZkaCjMVTr/2nHyz4rtucL/h6BEwiC+PS7yoVhHs0lzrF/UPb1KQmm/XgGSLcS8C2XxPJgFsJQFIThR9VM2Winakdk0XPGgCaFwFT4Q1hDNsIfGSaJXeyT8nAYAulRplaEiyFuQ/X/Snf816CmgsD03L3738CZvIdrSIfZATfn+IGmimj7bCiLaOQVXoVWU9AiwPjKCwaZDGkFAV5uha+UDZNKJC7ES+J8cTfxWLU0ejQvkVkP4U2O817KZzOVEKoxPITA+1Tal/GTpO7CqFncNGTa/GbN+H0RoeVMObfivGpimMw5cDMX68JXzTvV581Hi/aWXc6xS0BAlJKenJgqULSF79n5EQghHHns0VRpV+TiIzoBeyyUB5T6pp4z4hTVzz9q9sDVuIvbBI4dKanxerMkwdR1piWvUrusAXCscIOnhEhl8QRIpjHpV9Eyy29W9md7wgAcjNRZfFK6QbuyL4zwoy6QVBMqcNoMbajNy/mTW765rIQLBk6NQlE8K7kkgIu/dnChy91Cj3k+E5ueJQkYiihEk9siZ0k2ILBshrAe8J3jvAWwEMnK5/DLV39aWchnKiBFbmwUHY+G1BIfqXT8WPysHtC5/wJzVF6q1wYnKBCbuGMVW22eg+CJJSPbZKCu6I9GE7oiueeKAkujtovh3T2GfzDUnbz1ASakfUmlghW2ONomI0+62xv13r5pDg5srAz/33dhDRz/4aV4hiXaHlM9wspOwitA/9rVBFv9obvVFId6Gj65Nq+JgniC3KSKELySLmaexR9b7kq67MTjOdtGEsBVxcycHa0yVcNVybPIeQdvIKjPDri9FnZS2tbIvvYCojBiYr7jB0RlrJGyWr6vVLbn4BanvgZkxBZgamXDCDrfgN6+qNrqUb9TfneQgG5cOrflLGSClh4Rz5zdK09wyc+iN0SbOKBHzXfagYwxspyRZKnGcdDLzkfhC28cgRR5gbZMdusG0FaSqTdO4Qy2g92XzOL/nIYmH/1gX5qXb47LQqI7lGJeHMyRk04SK/WKTKarNNQou0XjzLb3BKUnLsNSFK9fMb1WdIJVKOBxAnS2kJScYU//H1rGIlL1uKVN7YZpzSM6ebSnert3sy72HNRWfIq0TPAk8AJUi0gl8h872jGfKHNoFsnNg/lnXxpzdJTdVUTWU2BXf5h6EXjatU/EPj4tbWSvg0g+voaLuYPc0AJbDST+N/pMspRSxc6j3HnXeTXrKc/yTAPEu5UXHYTLdRwzetTbI3kRmvxAEgJULeuqDJx2dOa6QtAay9A4gVc8DVa1AFjMb1Bb20HiLe4c+d0LsqBu2XNoHeiSZd2TXGWlG8/S9NKa9yoqS0VhfwJEzCj6GPg6hW3Pju5y2srmNit+0r+dtrYwAVOt710BHmYJN438JW/BeMr67uGH9tPWy8aVZ/3voJ3J0YJoFzyuGd/WNTmGPBUfmc7mrUs+ymUS5FeoAeFo5aEWjMf485szfj4qxjw+Cx/wOpQiG1suD6N1F9WZQJ/U3VwOnjpENKicfg8f1NI+BUI1zFsgY3rnj/osCLelfyp24s2ggOfvNp+XIqRfVEqgI6ZNI1U5TnxzKXKdtCr0MtHfKjPFfR2g3Lh4Bxgk+0huVZeO1W1Cn/rm1cUBefX85Ww2GHt7CV3wOYXGpGcXO71ldje1Z6xHDvbuZyrc/C540L3XeENnAhn2a/e6EhDly8rdRipmYeUA1t3/PoIebjsM/DGTC2d1aj6jXHQ8/eLRyX3SeFfwgRw5PkPyB9MFtwzplxXwGCH12x7pE0NOGe1IEAtl6P8CB8/DPDVPpSMjlJrNrOgVuHC7gssm+eng09Zym51kVHlPnu44HaRN/lSn94aiZcf9p8G0WaOc64Qvkpo1lQiesEyz7CSM9f+CSeeqxGjA5u/rLeXEvA4pSwGgA4X6B22++WtzRbpU2RKktXiUaTWLyII1SjyubKiaZpYDvgN+p8jh5uo3Q/cOGG2OjuhFawoHKy6GkekjoQIZKqfyMgQ+dzWyJHXdKH95u15Rt80NOWkbpUAchNJq+rix5TrqZo2fWHF08NhDoZuVOK/b3XFOMXgLC99qF0INjKYB6a3VZuk0MOPmWjNR757GTRLLy+94y5uWMwFa8bLyj6J08vIOaX2lrj2DBtekSXDT1AageBbV5G+BkeYmTjcLHeJ1LruMqGgCTwRyp0q92PuGytCG9z2kctj8ZLYfdzFy5RgPs2HpdfFcmfso5g+unNsvb4Tp/uYrQDEVdjKLGwFKSRzubqF3kUNtZe17Ln/LcMu7rgVIWx1B0FPHRu6YWG1TJ/CjGXxJI02+85MQOcvblQHn9GhedjWJHrkBNv1WJxRGGf/Q3t5ofOmhq2JdlBOR4r19yLsbJS9lpNUD0w4tqrIHQ10b92wdIZ4+eiGBzcYCus1MaEzZEkAgPRQJsIwPUzn5vl5cenIN2rDB9nyq1JWbKZeqpdMxLph5dzE5kKvLTWCaQs/KIoeYO57yXN0Cgbm+El/3YUr2F07vREcn1En9mpZL6qXWvL6cMtCytutwKIcs/uO1Zi33V1tGr+lemncapFpg8Uvv9iwBw6JK1vgsqi32/Y7DMVngDFqopqpx3Jlm4eiWCoZJYAZL1EZ3lXDptvi2aXP3r9uonXgIb+CwSrBgJSFsrTEvCBIt/gmG9w5BPaOz8nHLPbNkr3TAOhyi6/pVSsSsqAhtNoUjkDYCo0fnbSqPlps5dwhGo372ZaCCTYTFFOV7kTpdKHZhUO8X+Oy3r6KOkTcSlBRAYpvii7Taj1/ps8S4EdR9izP8FCQrL21we2KQD9Bj/b1grO93WYXVk6VYNzmQu6GBqkRB41l89/CJ7x3MgeM3ZG5VyDWmCOEIkPR0IE8Cpxtj4R6xrl3CM7eHVmd45bgM8pWDDuOh7QC49irJTCGIuyOD4U8ETkDN9CYILGPHCIaXO0O5aGdH5g1zYwzgZpbgRXRn+fE0/kI6VyN+L/n8ThXaU8guSDe2CknxBXQ52PFnJ/GyE9Eey6S1U5k7wBrhR+UoQLPTG5uJw7vdKnPc0H72chmXRENJSjoXZurbx1kr+6HToiSyM43MxPlzhFODtrLK0sN58UiVrHBZQbRlwUEZ5mP9FgPFLxwFl3GFYXfJD0JoQh6t7inR+AhxyvmXGU8o0NgksKfQj1HR9MNsDt3r+5zvS4i40xKBhTnw53p2Ua/Z/CGfwStVygAwb4ASXL+iOx50WTWYIxTZQ+G0TAXwis1T4KJj4+/R1qpR1cX3WgobHUhFqxGDO1GQ0ajQXg4NPMvsqH9wSaIPFF50Dobwfw8/uzvdNjnd+Jb9nhyszdaOpx24+a8rPq6Bqf4z9ZyID0y14NKPIqYHvOEvTKciR5KmZCePcP0uoeWr81QcnRSw+f3OBWUbSUaybFwriUQABmwVzs7hJALEZN3khI/1TtdGF0vpwK6yBhGzsOGRBlG/lW+NAt/smD8UYtzP3z/a/ED+oKJ4UIpka5aHpLuZJg5QK6sUYNAgBc0Yhyb+SCZaOm7evMB7rCpn3ycrOcxXHWssYH7NemEnPDY24ygxiA7D6z35Iq6+3kzJKZDHxkwDdAVs4bL59IZnPjdP3InH0vC15cIUTTLD54Nz7b+5UnbzojnKeIMLIKDuOGnPcobtCQLWSjQ+JjRv3rUOVxoiohk/OTduEHwc7A78dxWBkbs4s0ofyt1MA4rBdmsJOPFJiuXv5QJ3iXF80Gg3wnp7RCc7pn4+XCH+pnI2v6nM7ZwLc4+FJTkmDmTpgDpAOdAdXWdFGHwnOl2TgbD5k1Qwd+4LmEEjhLXTWqvMLwF2mrAPlGIkldSGCa+wfGS+dRgKS8lLEA8kDfxcoItjMDUFP2JZ6jfBHRy7TPSshfzgTo56/42E7SHk8X5vn6UHsUbLyJbpkvN3nuuAdOO4lGIvq0SjGRwU9X7AfxW8dzlLlhXj580FG0IUHrXomBoCEd9xW4CZt0hc5YdNN3moMwgoxDIGSPEUYOgTvF54AT94EeaYAk8qkEDdePRA7ZBB3sfgKDwhp63KTT1ljLx7LaXCiK0fvBX6oOVgbFxjgd6vEiXsmYovaK7Fc2xMh9J5rKfdv8WLFPStbomRsiCz0Mg4bNCI6eeLqdVieGa1q7oB4/CqHLb4iI9b3GmTKYvOuj0WHdmWYUnCkw0iIy865ohveW21j2bXAN/2V05WT8Yp+EEGCwdrZuzLE0ADxIeo5Ra3HFCCtB+IeXW5Y1Y30/zGVHuUuhaoT3i9u2zvNx2p9QcZF8BTMfOqwxV2zGaT0cNjKOKrA1p2yZ1apbot8xBwGRRBr/1EGGj6WncalGEyjc4hFv8+WdoSNxLdYEKzrNKY9cdXn/fkyTEoDU/s8abjVc03FoukA4YDUZqSR0O7KyIrXu1VRu8deMxpD5sM0wpzliPZNiJyxfYd+e3KDRFVSUGrO9xJfn8xsKRIonbDp6IkNWu6HW8S2pBkHRTBGRLhkwcSR7EdCaRZTpkwTvAOpdIKwXPa430g7UM/ui/lhzZMOpSWo9hIcw8qVaLTTAa+cqC8gcX2IRkyQJ+11UajTJim1wRT/mBaJu2usphQRdX5k4QpK5aSVlvG5sZRf0vhdeiQMBvsuLx66jmM/uUXfL2LoiFAY705pecCKkdL2M4Xccqx1+ZBxNWLhI+teBnU7e+Vda7DB/O7wz0Dmux4iw8WeByI4t4/Av+Ni/mJuXPc+Ag8W12U7OWHDgWPAaqs3cWLHlWNVjKdqfOHuK+zxl/SmhgFM9uS+Gm1Lw3etVYYLkIJEYky4EBTNfkKH7+KL4eKq+C32fY7sRrgo5DDjDwZqmT6iAnLMP9jbI4DvC1Z/OXw+X6GVKBp8UZbsY9jUNTizApyxUhoSRlEj7y65BUZHkYm89vKHiHYUYqFI9zQtTLtgf5UJuolCsyirViwkVqyxSIyjF53ftZiOl+3bgTU+kC4nJC/+uC1Gij1LRPprpjeTZypHsyKJLZBN9UwetVK1Xou1qZpq/ZXTJaYPHXC5PxYBS1dvVQxN5S+naHrBcVOQywYF1hP0T6BgZn4Sj3Tt4K++Mw0aQqPy7tIO+Y0PIGFrGh6X/9C9mlcgZupQmFPFjLPOg0etQkhcp9lDfYBzGPSlD0cOODeiiUUJni/Glgd+7m5rqC24RKU/DBORA/FfnlZ4JsMPgAe3aED1c6NQfdBs032W6giS6fpmsmhMA/1Jj0AHhmPMXyr/0bWsDMZjYE1lyT7L369XIefKsCze+R61jE1Hh3EC8VWopFxS+AZ0bOv4HKRoy6tFR3zCtaneYIO3vF7+PGN6Qv2upnoAi92ZJnyWGfzF6H5QbLYgubfZQBx2CaCUK/McknqnN1GyAd9NbnUq/lxYzqEzcImqWukv7VhtfvS62TxEWbjVS/IS6MgkxThMDQXXazKTub/xr42HZOIhZZSHLOHP1orAmMXo6mF8aO8JbcK17yubFjLkHwn8wVcO0U+rHJeO1SEJlTDnasLeQhjsoNIVEfBoSiab3SCh/zCt6qihBcTtrp/njL6gj25VKpPyqCTeiTqTkX1M6fe5XTQRJs54NKeEbt65OBh0cB2OZOL3nS9YIrKt01+APt1i5nb+2lUnIhWn2lTNIP4U0XQeVJjjngD58wcDTJgWu31WJpwvMRPe22cZG27HCFyXm7J1H6EmaubDqZWddOPpgMXHyaUL8iWJPtG90GWfFpIo/6/NSvyRsWqeE/nJK6UdhTqvVJ4xU+vTdDjs6RjFaDaXSTKI/qlaa/z0RwLBjXoghj38bjmCVxu2UVwo3cHM3rEn4dUhEjMeAtqVDR+rRyxtWj3yhZjQI6rA89CGL1Cl3ltPkL+ovzzL+RzLgmx3Hh143LNB3uIX8R518X4oZ+zJeoGOayXtRctkMWeN++TiWkaGXGbrisReDeCnWtQ+B/cbwHhIbNZacGVEMpbr9nuaFCiWXBaNO3gkyRMuvwe7yKIp9G3nVzRd5ef1oOe9TL3f58MbDPEMJ0trXxPVas2YoU4SxugZA/EQtnJqL6d+hh6ZYg+EGO/kKn+6nwMvFwuVVV9cjy/op0HK9BRFDWiNK0xh3vdnk4lxHwZCmcaMtDrZ4R4EMCruWyXDeFpDr90Ee32nUJnK19ysVBLHbdyYrDUnK1MipNNlxnCtT3zTHHxNF0d4PMTXTXiWwDPXe0+NTrvLzNFFkehib+f9v7nO0UsvpAkIl0O3uS6oDbubNyGayW3hNtPkbHpN6b2+6FUlCvzJMh/gPUGmGJi6xzmrnte/ZMx3LT1leCnDufMP3P/zLHY/pNv0wLpNW5H1fJP+DEPrtaQ33qwuS1eZGZS13OjPu9yuls8mkNauy/PUJkbSOWV9VTjnLJ+fZSJdvBQ1DCCprdZDqla0rEJTRAwWr4hLQK2n/zuMfkwXx6kTEesa4EwjgRbipcu6Eo/ndojOAFlTtCGDqOaLd3UIJwdsmh3brrDxQo6Kz44rbKx5TzAsm6/JQ9J2VilM60ei+/XwpzA6EJNB5TeN/Pv7aKDwiLrYMd6htnubQxPJB3y/yVz5gikiigC7UfMzviwUk4/fyQ+r/o5IehCSpJeIEZrkg3WSPmWkyOL7coUllN+kHXaeyHWJkckWJOLblxxzb5HHfCA1mVWIdWcj6ZJDVn2nlQOCSVcZrMii217789B70eL5KppJQqn6QvjKRVN4gYo9uEdyGsJrGtiHbG3/q8QjStjQR4rUApLcBf/j43i77G95hNIcvqEuCPYD2Ut+2YyyC87/AcWE8kZYSanwEoDn753Ons0cCROMwaYOqZGswTFDGa5SXeMciFQ6MTKADq7Oa/FiuhKnUZJnixL/YAaK3NAGP/Bfo+Q5VX5i7iv7kYXcHGzboM1nKQLG6qDPo8Qrs+wfUBOi+azVINb3oEuLJ7GfVM3QqPxgCJRnrUyKVyU86PdBnzI4zT41WfYpPGdCqTnLIGnpsskohywG0XUY1aOV7FR2/AGyhPs3jvEWONq8GcsN8VSUR1KQGKTASS9UV27dR/DAK5G0v63mjEcQFvnN6GxQ4KZmtyjWreOec8GVhD+uLkvoUoiN/1eM4qS6umVVBFHvBIjkfp2nnI+MXLR7i7ySY1IuUtWtNbRfSOeVbFVzA+pWsdlGlaJyt3xbKRo9K0s3vZCSGVtsZVY4JvZe8KfoY0EA7v52ugthNy4yOMhf3euJGBDQ6Y3HH/f7CTHhTRm/OfDkr+JgovFe2FJEa18Hu2oNEwwpDB/57IdJqOBzSLxXg4iTxAsHRxq/adFE9vOtmv7B7WL7Yme1i8NbGqXb51lJYAkEYp1YkaY2b5tqownrl2KHA6+TxYdQFjQptE1kwpvqzpnIgLIVmzDRiYyaV+Kf0Ii0snrYgDS//Ta1vHHupm23+DBaK0/UhBUWuFK6syjIEhB6wrGQ6LaehZ0R3EizSR3LQ1GRGTkt1ChLcL6TtbcfiP2cXrNXUMOO0+S8PV5hh9h471kpWHlYZzSwA340aa5zw9+2N3oaOtJ7jIehPECVjyXzNaduuEafnwD5Tl4vLyZFA1ZRZn1kL/3Bh362mFax5M8hRJ99TxH4hN2rX/7lkBcA6jNA4i+yVjNSU92sJhtRMTXxsCZpu+EhV3vD8gsvOMKCUO5pa5sVbsYV4hFpMc+4sj/oejuRG4YrDtCMU3AYG+g4L9vUentI1HiVw17oJdSUY9yG5X2/lWJXNyQPCDI+rZ+YPeknkn2+egiz+oGRF+YJcLmPh5FCrd7B4c3ekGkJbjjHsbT951e/KIwLl6Q3tS8Fk0pVl10Y/5/uxNyRgQQyU4Kng7dYA0oStpTHjkWyylzaObWszAUNX8bJj9En58b9m9RE6x4+d5XGBvT+Utuhx4XVL6Zo5HcjSYWQlcoi9yxj4dXKSJCRI/Ee4jGGeaG34T2HR2UNf+yjq8Whl59pv0in2eNnvrZl2g9g6CGgzhBgC0e3l7SSHLbXVdO9xHJeMEOqD/d2wv7qH0Rnhrfb30g3GuZV7Oy59ClxKY+EDffUMQBGPT38a0+DpxSGSyBjND0b5tF7GqxgW+Y0P5r1iSS44YUL7v1oBg/V0WjoiUiI8aB3GAkgJDv7giBL51c1JVxhaA8CvTRf5cWr+i0tk4veB9T0KEuynbbZR3s01Tur6tQfqs56n2D6tmmGaEojtp7zvva+e43a2QzivW4lMwr3dbwHr4DHxqckh3G5gkU0SKNUf+lmRL3ft3lhcOwKHBIefBItU9goz2a35ZfmmKHlLyMTnL/jTpAzgLukI60TILGozlFRaitSeXPFdUNaYe0hUS3cilmScROf4gCqePW2QNIBIjZREiVRvdtwq0MDe6Y8YvQLmg35c9RvkA6rOcfnOGEDdSx16bIZuruaJx2+dY3HktuKP7+1ZYxbgb1XWmLkPtbUNfsqicM+3OqDi8caHAqtkoXTATHMV0KCRtbz+M/PTRSzav19XZjcbZbzBglYIWB8Fzu/mgu362zmt9o308IhoseFaYPGJ+tps5XBrWaz0w/RbfIQ0jRxC5BG1QYujNdKyDV8fI/yfhejKFk0Wg6EVl9WHqgUSZKhL2z2zBiBm1y/qhrJ07KWf9qMj+zfiDyT56rnOOU1tfaT3gRZtMr4m6FM/J3wEdg6pLUAAKJB9EgsHM3l9iU4XWa5/KM3Fn5NNeVowp8cjo2F5dpDfwfFnhYvsk9xptUEcN7j02MEB32tJHJB4/L0oz822mjq3YARfEfYlQ1s4S7W1H4h6h9n6KTWTBVqHNAkYZdwuzSpNO4Ww4Tz16B1CQHafHf5mfPm9FM1axem56F/zjahJMNCdBEQZqNmrwqysAUubaUn0PekEKcAbzbDz81RPfGUzknZ7f+TqfYffzFj8mD1yI2zrK9rBN1MdCgLuXgvUsjzr7K8MZJ53XmzTnq66WFLDYm4RAwoPk19qfNW9991p5weMqvs4pCPBD2rAyYYEP0ZqlQKQxtL+0wXxs7H7jo7ujditPU6HBo5BiKrJIAqSkM++HPCqTCBXHLyymWo37A3Jstv6Oo6a29PtE1XOmneF8HUV7R5Z2DLt56f+Bv2/ItpVdI+88NAy6uaxT6268fzmQhUWF9FSorZQlQ+tsm3T+xbOAUXFdy+J9TyouV9S+miPSGBXH03csxM8kl2JZVjohvTBoMwa1NE35g/Pg6alIHIkq75iVZGy2eradRGZUmIcYAYis/0VW6T8YJ5bTTW8wN0hwUifhq5O6/zagUghlh4QdDhRhC2BI0Vv5ZUQ7NkBAbwUFPIt1QnEFx1ejo2PsHeLxAInN+2cR2m6ZzftswJqAhku+tpUgoP42x3p4+hycf1MEutfiEURvJOVwQzDIN/vDz9j/XH94GR+cIH7WSKtSjjgLLKJx+8eBWKphRXML5qqjOL5SI56BlE/l2EUAcX5diVPiO4t8t8A8x1HMRqU/JJOC5p76wZQakiwhqTYpyr/JUCYlVSFOe7eRtfNwHIZqpYwmrlLJjjo82FkD3wJcUmJcGoSkThpNtmoEV88x92OxZ8ZapWmYgx1dUa8DFAbKdPWTJ8+CYqfO+1njZI/FGh88yVQiIaXVJRYfUHBa1tRkrrUXRYpXWmahAy8S8VP/bCFVhaFWuaPbQ32a81o5Twiu9XJWXIQAOWrgAZYxEgJnM7s03wzq5FWXInkfMuau8nnhPtg3da455PrEf1awmj9/Twta5D9fJDwYjKur+r0jfoB+h3FwcUKOiVnvQDkxES2Pd1SJ+s84yFs8t7bqo0c0EIHQqMW2XaozKyHyYunSK/nCIkgdZahkF5yimn4DyQwjc4CQ4M4Ic+T8SsBrmoJSZgwwi015KKh+L7uELXIBxqKYOejlMQCL0N4+jLbZnASeTGc9EE1H/D4U6xzmUeLxrETOklDT2jt7HmTU6zNW11Bh+7VUuIi9WJzz9I1CyqsNTQfetDYGfKvnDGm1CB4NX9cJRk5OyJElkD0/PZYD1u3nQuXKvVtP/p0WSZ2gynofVKFbBVMSIq97HtpjYBA36EVKFvCiMI0VGM+Uyemz4JwzkKRbEcLpvH1/tcPDBpBmKzAcM4Bh8vqItI10yZNa8x/zP0C35siToo4VnQ+NfGe25vySWFa256BdQIzREWztVMZaqO03av3UE1n0Zu2AyN9fsgOoRMNVZy/CuQXhnp3vOuk+q/PEZZKQ0SQjnJFd6zyFWONSyQyoQgMqB1dhKAUZjWmSZg3QHtJxOSFbdrZ5oHgC6W12hjavn4wkVn0F3kjimFsi6WKErG64XlpL6y3znyr9fbcmw0KS2IDU0WMtr8KN2oeqACYRI7QCPMIDFmjNWJ7wuCAEQaGD74WvZbfQCVgusnkIvp1kLAzAw3e4RUSHG/eoKw8zBn1vpwxI7Rwdxc8SNh3zL/m+KshyyqKllIAjSuDXkOxbQAF1aaFr1ZowrRjIf7B+vWj8ITVyiJ9+uCkVXfxdQ4/71r+bnTYCp2fV6OcX8i1pBkRDarKQxfKZ5XZV0YLIlvyMm02AqdE9kjdsfjbFjQKEC0hw9vsAs3Bzmdq7J3+XvodV9y2zjXRo4x5BG9iGzizLRdp2WFaALf44T/TVD1RHpNTXCX/O5YOU5KUMc2vSZScV3bmHC2y9vyNQwhFOhK7p7bsSYqa/C/EQAoaKndJeSBNjFGR30dhKOy+z2/CmgU7qKivRxlXo3fyQWBcQpZcOiNHzTgHoYNbWvw1er7YGhm7jiNqSvaf+4lsM7GrRcnBOc1HdcYGYWl7LwomWHWmQ0Pn+AcFpJ5ovB/yuGv5jsbpZU3PowsU9/aFM8xc4W9NJobDQdf77IDsZ0G3w1lkUp012uGQPcQ3hAeiJA9e8Ub42WHydH8By0VOuQRVBrtFl53Cs6e35N3lNhufoW04sVw0u9Oa4HFYdaYPgQIzNdXh+UvS7eI6lrTK6aPYs0pXhuHG+JYZKAJhlRsyZrCJ7j+uwOas5auy+biIxaWV4FxBQFEHO0mKfDGsIWKwiQg97YoPUkZBecpKQ/7qrTq3PraYKnUAUoI+zTE3j6cF191YBUmVsZH7+RhPN/3RzgWCvLcHAB2ylWHtmKwwTM3rbyn6sQNhJgQTIHnvmqBEByH+piwExeV7XzHj236AYj4yrUbSHeXGqzyWhJ7haX3nivLqN/Hv+0NAkrvT57WXS2oCEO0RE3mRd241frjnbGXSvs5rvtkXKACLWffkx050GojBnkX5hyhSMW1WmeilRl/vwizguJo5VsIP5fYgMQmVq58+TTZBiKf2oXDZ88fIT5+mfjjCWPxThJxPCNik46wUIRhVWlTDaXroeSrEbmHVY3ZhAglFoasXO5dtSXR7GqIkdl2YFgUMGY4t3w0oXjtwZHuMqrtoDvR4HGngz40bCsQnjZEFgtAd4RLH+p0W39EDV3aMufVJnYUur8lxwZQzYyuseJT78YVFBUTgj6wcGHKdsnQRvXdH9GVQKp+w1EvjUDcKzXJZ34h8CA5bHB+QL7pxoX1f+ArldXz9HyWxBpNX/KlD2uBRJnx0utiZHlsshuq4NTeEZqV572Y1coDgnBBOvy2ybf32ppjmdtPxJnOVmAnPEEpxPVMB93svyaRyXW6FnDqNgGcP6DyK7EsJlfE/w8MkcKjONNt+qc25Q8k9rk7gNkhE1BpgGv13UB08C5aGSEdMAyFcQgpUTZYPODhZVdGfyUzVqsXqi3QGqPx0tZCaDYOVoJapbLUGzjle9yLAEOFOZAJKdRYh1/+Bevo4xV0JXm67L4ciZ2WOYJrmF7Tq+8JdR190wPnFWmSQQAetEDfPyE8QmjaZXkEb506yDazwcV1YPAXsuvp/wspyypV8DMf78pI/mlSPce9oIQFtK3dRyxIxcFWutQYiT6nWQz75AZ5sXs73wkRVCR6+Gn0Sp/zxiqsXLeVdlkRQc2D/LkdnknkQguH8E0W7uKBEaYjWU6HUk1sODCzs2XvvzDqhyqin3CbONBK/6FCWSJEM9cLg+IWqgPIdzYap5qWHJo33Bb97QYO8cMoC6OUmMx8Licgr2llZ9VK1RN2w2x1BNgmPn75KVn3KpjymZZZc7CYs8HC/VuPApzAbT1fgSY8GcTziIOnVdUCM/6SzQ/i4xKpzPbSrqX2sKiWhETWQ5IDfRAgVMOuTb6NR9LWxSXH88qy05st+64MJZa93jmeil7xDczo5KiTFMcBozpA5ZcgTCebaItheu5K8iMenByI2ZaSCdLeBZcym9Tc4HDfqTAg5l2ZO5XI99O6ohgOsBQ/nXt9ML/iNYUIcX7eWw+OifUlJdJLfmwEdwONB69eTp1CfH0qf55OReEe/s5IF/is8gWEznvJe1kncej65DjJ4kIdjD2yGPP49JAxh8rvB2surLWvY/0iNEq/XEQg7fALEn0TYZpyctyCI5Q9QfgqKN3Pj3J0+YoMT553cSzXqON4t1TbFY3wWoQmJZcXfArcXQp1Eh2Kk2HBCco8cSx0azoXB50WQhrcvsGn0nUGvZkNrVss4TYgJmbKvEh++wux6UnfLWb/XmPadk4zLzZ/2G/wP47dSTyhjaHGGa/W84Ar+1naRCTsD+DkbU3NNszuTUpPoHwR1lTTE/1BfVPDiKUSvxzCoMgqJE31lM5Gvdjt2uNAnjC8fSfiSg7ry6lLst+7mPW75+pIszKhv5EwaKgFAfphDLcs5CtGUzYAai3fR0qFuh5umCZHufaWkJ82abyY+HCV65uFTj6GnnCT+V3imN4I2bRDDKR2mVQcddTwqQrIY/CJTmbzPhn1SfClZRMvBbq2laFu9E5cpjYEN5GKY7nrF83Zmknnig9B4dv5PT2gjpUBBDUgVQfxmlhu13RE1Ypek5sAV7IoOWZesjHxOFGCRX7JtgZvEV8V7iByFS3J/LEk9o9vjbtygdP4+3lqsZwlKV6XTdHBH7YH7c+qJ5G7MXotc6DXf8gbHvTWKb9Ro7w0jsYSdbk8rTJjInKsI7NQZLAw1scDbNRtRIuNxCEoMet9p2sg65WZrdF3xuASPG+7DM+LY0kWrgFD/HgMuXLnZYrpC3vkySyCbGdrdmhbXrf0KowZa2c6HwyfnhCmLSxo4SjkCc0g9Rs9Jx6GgzD/wcf70wcNHwT46kxq1JJOQdClSnck84zySHxKIwexTl/B22x6Q7eJZ+TmFsp1WZzgIdD6+wnW7wzjZbjMaFGpRf4vNbQafdneFDhxLvWpN0C2wcjCRGQdp4Da6e7KQ3BIfMoWFdy4WUXoWHvc9dOA6MkOTxHuUIE4SGGRo7Z9ebJ1hL28pV5mu3hgOz4W6hIUc078hd8KeReV69GoiOG83KZSC58XzdGG7XyDXbgHWea9TRR7sfMgp8qbT/Be/3CSLp+l36+KP7mYJSEbthMZEhvRfrtcvuA2LVZPYo1FAZ4RUEmD9VmYAff+youiTiHEWgwjUpdQHqrTDmoR4m2o8Wql6pv9VDAM/4UBz7IzyYj9fRuv42UdaK92i6sjP6+K7S74CuX/RhpLeu2AArNn9oXMobbv2EqtLQd7I6CNkxVHQ/RXv60ABpIMtDwTmjoawmcfQMkiUJTFKJy/LamAhmiYHnzY0Yfpp8AwlErP2hCnih0gUZ5Oe/JMkXKZHWRh0SxsgoQfQ/uCWtVcMgWPjTIi/GrBX8E2xnsU3OiyOWx4xOU6wN6XYKjdqCrxhcY/e5LUBe5fAm0J7ossgFsPhdA23Y5cHGVK2Ulla/etpku+UaXr/GKojMVEzxnAuP/g34MMzEFswSbjNzN4tSeIiMORHkoW6zF85yUIEhEoh1yD+JWkIz39v9S3RguKpwotg0lMkHi74gGJoZOCLoo3rkgqxVjawRHuOZGUTHcDZv2fUJgCbmJdDII4fA6czZv7jIvzfmCBYXIw8NiXXwGHWrMzM1IS2WrmJM00AdSS0nih0rUORizSx0CpofaNEJUIrs2VGKjlq7+Q1e91tHL4pYfuIUfsztlEDZ6GYvXrDra5qJ/nMevdXSK+A124+KYqO+JQOeJraKnMu+DSLBvXWReFCfbRZm3poTG/JH/H1fkhFvtisn+o0kph2FyxbJ1JVEM0p48cBdS2PdEqVa0hkJZBZULsKyQsCRfK5qC8GomqaB4jCjF6N/nEjv234u3Asj+dznlxDJQbVp7F2SHzIXb/7YCt0UyY+AReonrsb5SrlzP+iZ31C9kLFExf0PQ7XaHEJTodG/j81WOMk/NUOTILs/zegQNMWBhRqODVxps6sCRbkpkOBXLID95F0FDo9eAw8QyeeeLmKy6qSru6lVRD++F4nLXy+ePBzszUtbp7u8UDzdGA1zbbpCzeWaPmaUrUZq2nmGM5+v5Bg4EIYaxJONwV/vLzGtuvkqFP8hc1jXHbqXaD1dLEUD9eg+LW9nadxvrJkdrG1ykgktBylyP3Rlpt1D1wzSL8EL56rYsYLTLq1sq+wKOYOUoo3Tg+j/3YmBai1qTd4737hxUDMR1eaxMEnMp16n04KvbuDv6o2qPb9SPO9Dd7iVHpcGaoYyYhpasg6FPdBbsNvoYMkysxZw1LvoVGvqqaJMVkQ45vj/lFa+3/0aLg7xxTgFKK2bBGuw1bkgtszatCoklefNAJRcyh2IE1bOpWhyYbiU79sA7mfC/EpEpMC5iktBB0kB2VVWfS2ATv/iog1FsVyyKfHkED329NrxzpVqjmPYuNB5euCSFisOV4638I0+PPE7SUYtjH+9iJV+f6hTru8CrsdJE6ZqoRkj/MF6fWreFKY33XNn+jRKTFasZQ3bL91CPbsfUyYn+KBmMUsh22CEnmI08oYjZVLiMO6Br3eWlu7cKTgP5LUsFeflxPTCiPiTy/sIj056157PnnP3JrDKmILdVkZdf5fl7RDyBpClo/c1aqZ6vGkK0nIN/3nMaiyphYTeq5racJby04PbWVrEJWqtGpwaSSQA6wLhbMPuFUg2XAwo/tRW+toa20euY8MEaqWvAvogr/2x4h7/YQsYpVBzl5xQFzn7uhAT4yRD/ROXVwkj5BAGt/nLX5GAnV+Kyw6P5iGL8e0Wz5EiDvLIDtEY0u01UtuEnUcwjFWRRlIM0eWBuDJEhU7I/C8kRumWso4/yziHGYSd+KOuQjnHGjP+Dp1UhspxhtjJp0xWEurdGxZZYr0uo01tES29SJwSepZfErR607TV68jitCCT5hIBMNF1mqZq4garBOhuUR70d6rTJ1ogFc6TlRMScze9lo7Sbs3dcRnPdFxQpw8yG1TX/eKzPQVGUBJi6A85Vszytdz4ihyNqb26BkvURyZ5MIqbgZVAJphkA9BpvAoX/MHgq/qHs4XcdY+ZKMZg5sd2EQkrp+zP//d8kqv/pOZlWLQUOB+X/MyDFnD3z1a5iBa6Wr2Vj2JekF2baf9BX/UFnUqN44vEhQl8qigY6Q4/pTvDgGJ6KtQ+0imEgC62bn2FhVBvyG+YTMC7ra9jIbZlrxzf07nEgzpP7ioL7g35MzKvSTWN6knzcUD3n8GZAaYLZc9gOqiF0YB5/qId1jZtO5tB6tjHkWqUvaVy6rLG3x5S7/vU4m2KRcR38ANKVGwRFrN8+n1Mh1JynquyhJQ/H3d3Dg0/W32YgP6YpJtIGrmT1wMW8gtONPveuCPkIn2kg7e3GnJSZas4v6nbAxSOzM1qIV6egPTB1r+I8IQKwfLL4Bw3BPUic9g4HntJtFBJ6zwYI4IHIVYhLfDbVKRw9Br2NEpfpBRKvZGUO8SkOyirj93S6z9fthn1t6G8HLvCUGgIEmoT6KYTAL+esPABgPS419v7670IGzs5nsMsvS6Lw5jNhGF37wUcNLkp80gT8lzSEvA5mMEYt5NHf10VaiK5wn4t8Jr80B0RTZfm9/lHvG/hQlTmQceGBEuZnTqJyK/2JtC7S0RDJq7aT6f/THSQQ9F6ldqpkk+LrWScKijKPsaiJqcwMlgb/Ni3rG979GzGb4ai3lA74+3UU3ZnCC2h7TCWIZ/8GZ5daESBN5/XTW1jEhgWSREjAJ9q7UGY002yE5pOTRCfzl9OuY1/lmrT7OEdq3rZ3ShP17Z/sdl6kDcxU4+3UQBreitAfqxQIKbPAGg+K8UdbM9sey9/R+eefg9KRin+fNpHBYl31XFNB3Lu+PewC9Zu1+FSNEdXJuJAn5LOKCuL0sZmdKPZ0pWsrQdFPDXZjzUrSj2sXyf451KLyXOiavZySQpV07jsckjoK+vygZ6s+GThbinMw5l1TDAFFw6Qmd+FpguMTo790gbSY9i4/ntlGI3WwQh3zGPWED/YdP915Jy8bbFC8l1QaSL/L8o8tkHgUEpWFJFmewfwhdC1D0KFtH42zT/xraAUrnPuBYiBcdIhaEM8j/QiWIMbGlh7vX/uywreXFYwZccVM80I39ObMeHUS6AspC/0C+jFvHpoF7kOTbxN6GaqVc2EC+uHGPgybma/V1zvevQjDCyc0LnmEoWIJBF3AWBAcEn25Nm4W3i4C0v/5/x+hwQJg6plTvttMDtN+Sg3/HTmDregv+PDd3VsbP7BDVSwJ2sKfCelw89TcxFLMys6uLWKIAo5rLvM6vlqlMpc3iseUBlgRidt6VFFesuQaVyJxUM1zQpcmqW9SpvCsCM9kOpTmHHQ1rttjb83GaiZKAi3LCDTR2QY7RcYWtawVeKhIs8VmV3FHLUXlXPbwXeEJ9y48/sdNwEpI8bRPGQ+OJJlNJv3tGBQ58ZKiYZbeLuvCqzOR/8piYoXwrg+bbq9U7Yn2W3MVWSDmerQfXth4FmDCBRrmDYdiBDGua0eZhVn1YbYyvbosSh4XF7ug9Mq8lvc/E5TtasqmNBY4SKCXd0mPQrxR+4PEz8kLe+RH6Aw83XcJOmQ3nFvgDZVk15QhaIkirOJChyTMlNzLPM0fRWNJBe8VudVWgxoAB7iNDo5Q81xgsYo4Ecyh86CK/4M6wKjEbK0UrFWL2HpWxcFUu8XX6jA7mTQwNMNfilRjPbe+HNRawyvrVW+50VrClc8XZAqb6Ms8Qv5wUuD3ZOzX2zhMlAHeoqIg7VT5BZ5Ccls8FEiDV8L4BsgAE81ddq728YHs1w1MD6TDpZDKXVeIA/bux39MDe5b3/Zl/x3uTUy8H4eL5npAgC9kN+HOTu/dDTnh4yIQ9DBaqplrDM0e8QFxOqSsZLLutUJyhO8D89XH1Xtt+5cNotDB4fGJdrZt0D1WtbsbU/DadNsrvJ+pUdV8VKsVzxA7h8bhZK32pV0oN71cLFfBVkqqrllJF1kYH4DGXSWqwLgKWq5I28Yp0oepIBSqu++GYqFQzhC9czn1RpfuaDZj7+g8e4Hzl2ATLf268KDsgzGQrAP9N9EWDpBWLKvqMFrlVhuHOSh3Y+iTIHr3wmyYoa67GHS60ZXzTZCoMARY8ICRypomc3NhGJC/rwecYc36VEXaeFxYAG05NtyK9MT1utWv9EL97ItPYugmi3pCkycw33jWGha7Q34QriWeVw6/mxCC/qJ7WOK5lGRLmVQNiP9euiblXGqhmWcs2S06LCDIo575Ijle8Avz5UWskxjSkmeHBUlmL/ZrVTlHUo6jhEzulfUMQVXzDMZyNRpDRSoBrXkn1wc8c59BZfrzcOcoNeLBL3zImW2adQb4Sduf58DOusl1dGPgQmhT0yz0JEvpznQe3XdEjXi4BB++8VedqFLkuAlNaOkfXcBpVRiAPPtyHUKbUasYRV7AofupgKeOnraky1d98hBMcwkSy/rEVQZqjrzIL9BQT63O/1RMAqb5cDka1L0sHf1fdLFm0WPWjpe0Y5IwJHaRF3nosKQv521NTLzZSYiHOmDctHXS4oNlDJ5wYRTxABI6lPJfQi/5Dx+uI4AkbunSfQp/qlY3LzWcllvYgwNFZgJKtnDw/mOI+AQbkuvmOni+AEi9ZXTJPNnCseLaTM+2fkur/8N28Do6Fx7RPYvnTM0oa7TfGCbrPsBAsLTq+nmEkDNA7qz6WgHEFYISJcUQl0AFdgQodoLqVzU1Sn9bYuruRUYlbnzdsRYa7mZQ5/q0PY8jiRN0e+POhKlhHHpDgp1uxL6jaTPskRFfqxNrf/0nwaqqHBAj6Zuyl7UzSZ/u6KYjml02ecTfUxNMS7LHXXNHEcLexSTynUC0fjbLsBoxEWHg4LtOAF8eI4m9PSf7wR72BlJjwBaZQgl4HrixM9YJj0AoK/Rby0eHjcAe/a/pSoVuDETznCPfCMfi4or09AWTO7A0FhJ+hmMBNO8xp5pyulbbFNge07Bf/xKx0By1EyXy/6RUKFxC+nTkP6Kj5+PwveZX7qpxYcz9/PgtO3NZPxa8/AFHpH7NTjm02JQGtvf3UPs8rwbKkTYQhQLjxtYIi4JLyr5Cf10AhociHlbdH76u2YrfedppoQYRCUJro2Nr8trQ6z6pLaEB5dzYvfk+74p3h3WxDyYrXPsFhgK0pCl+DEYQVvCYOQyLwBJq52r/1bah5YFpLKHq6eo+enhECmlEq+0veC5nr0op46fMeTZs0mpdRozRRaD650C1UH9we6bzwnv0RVsLqw1Brn2gCG8hY/txCXhuHocHCw3fchYw940Yy6aRI3dyVN/wujCRzg0NRIH5wKqonO5IAF6Dod5wY/ABKBOfQl3kx83Yauetd5lwt/EpAJjCs8vrzzMDxkjw57T6yFGIqICSTkntxeZN13/gn+sLlMMkxLv4hId9+pS4Gh76zSEvubYOOmf9+V5efZ4aKOdYZOwfuqYZqPdtlsqYYv8tGjJqTB0rSVqObKul3s0s3or3GM56o3quS3yUIvrfwxQBBUmzAgq5C91otuYyqa1B+fiKPYq49i40geNthau4x0yUj71oVnSEbbw4BGal42hYu8EfuZX//bQwl/H8IsTVWdZVNZm3V+A8gXzUDZ6R0dVG3EIZLXIGxx+hT8Dho2Z8bgkXc+X59F2Gvi6AQh+2AGQ8o15PoGQDTc/d1j9+YRwOfZxp8oAlKH0AgTV4E5BZcztAXhO1GKUDze3qpPw0eG/NI1ZdCq5+4b9X/mc5986Z5032/HvjTlIbaL1J7BpYnpC3tlAPRPyeEzJJFdyHlJ5AwN4M3gZyMAGjF2H1h4GZQAQxMIKLalY4Agwc7mXVFgWzEIgjWMyVkRnZx9/4YemHegh2fWgCup3ktVALKX3ziOxk3//QBLXnkqwcv+R/PoQzdj2ZQkdmrG0alwq34ef7eZ/O5FoV7EiEGdI1z34jlfR3EaFRFVVuGpKjoSp/oVLTnO8RvtXT7DEJDPxOB22n4A38qUA52v8qiG/Msrv4hL6ry9EwrrutvsLcPdwTDFLJ/dNoGyrc0jhMp5UW0SBP1zJ3aeKFN1OSuQshgEaJv4dYXSTjRQxKGwL1VWUx3bFhOhyh1uQmhK5pQs/5z2Zf1w5kQLn0KTPDv6RPB4VnrKUoz3V3qKBZrp3EykBbCs5X4mpf71ti/nuz+vzof2xZpNzB2MfU+1UxEDI3jngEW93B6SZ63ee2915O5N+pxCk9eX/SLDsYYO88jSlBN+k16bHRoS9ValFf4lRuELIOGIFV1PtsxaVl918XZHNEQeUxjwm6LpzO/RE430AtkBTrnW2nAkOahA5ADvxmeQWb8Rq/XeFsXqd0Qld3UqPRmUoLBhxC5yJ6PL5g7LFW+rjma2TIqr4rbva9iNVW+oMLJ+h5SmUYwfRBwXQX23NBJdzeuC6j9LuP4ZytGWils1OWn0rElWeXhU7zZ7DGevUsXP6Lu6rHRmcfOiitGEhT9Q9PU53C8n8IPpVhkdGeEe8qEJeklKjxfus4PJJUdgZNNBo6WDLdFY+LMahnDbbP1erGNhhtBQKSsNJ+23wBl4PDqf/bUojnoFDFf9E2PHXmL7on2b7U+uVsMiInJ664MJVluUm+UDGyxdhEsKv9IbgFPVfodjgG/+TV9/Yomny9v67QBORwDLq2UmRo+X+2zlbiP9bKYqEf2Wh7b8rBJK9WdCiRXPGVcBWLzgRhf/VoOnTyFcFaG2NAOvh5jFfxxeMEf8/CyjoCnCLIGDo2sh7fG3AJwx4Ya+S6/vvLE6HQ31uEGFL+xG+F4ZbesCGuWQR+DK/cziU6VEA27PJrrcZAX2on/q/5xQt3QLqm1bZbyVIvKISwKoUb7b2n3H8AuLiNvonjcm7KeOmqPJ5bqJtk/7owRW5FS99Ik0hWC69biwd5xlGJGV/1qU9NvRL/FKOKcxodtsm2156SLaD4zDiNdQZX4LCEhnhfuz3CbIWE2viDC8E3GnaX7RKpRe/bKIvFizq6tiiOMGIv8enMI555Byeeko3XlwpjL5ZQYv8exPR6P1T0IV+ajTZ8QTRiMyFo6tXrpwUgMVysEpY/wNsN1Zz0jlZVr0dcfLgklcePLhb05AFb8+X7VyVCRqes30ikGBa24dtedwTYKzTkUNMtnhZo68kzrwBp85ZKewtqBoPWsVfPh2xk1FpJuXPi2NQpH2qnCb23GSid2V4/L1cKKLxB+4tIP7hXvuGlG3S7LwONvkI7TZI49AtahujmFNFXPhx4fcSVepu6vTmV+6JDB/7vXQjeMQFrVjHgtNFWCREXhR+GMFOHAOmyX/CMQbyCJFtxS4k66F3Ry28JwVMt6s8Ek0Mk24X+QieIaEC4eG834mR2OcBqUREm3k8ZOqVknGcpqmOI778zEaQpzRH84edU1rgcBWWd8vN8gVaP1hLBiO8OLf4khtiEyxoJj9MTPrN2eqKbaO0Ccsql3P41YnfAjSdoePc9saEGSgCnYaKqiX9ZemCLCwI4YNYv29l3eGkur9zj5eDl5QSXa5CtWjwISHLdqw+MN0K9lVGA+NNnRjiKaDztIoLzVQ67hDdlGYw3KREWUDus/a4HuwK6/Vllvp8dxVpS12EgC6IdzvcDGZatVHsNefU3g02feEfECux88/k8c5ZyraTtvrQXoD5d+itBOnqDTO6vNKZ7ZxBDqF0fA0EcrYFHIrzFyz+9yN1JQlCla+r2N+JqL0s5t+cBRL/CZGgHDQ7WhWmMst2oPaDHASknvsX64RVtdfAygCG6UUqY2Npm+97Z6QwNKG/1afCbtqNUxzLt+Dlk81rJJqNiN1aQhvjcul9WGPBnlyJbTmp+yTH1hTWU7zCy9p3CnYn7GsiqHlJcsgr03Og852wsfyv850TMsnuP7RKzl+wRCX6olv7Ml7DjCgcjY4xeVbIn0JYn3JD350sO1g1md+yz2UgnG4KSH26R1a0B0A/nz3rbEcAJ+Ozl+/9nssJ1LIVVAik9I0EPR9MC7kSBSHn2do+6TCHWUbA+XLPlR17H/6ysY9qXIhr6S7oBvkISaonAWc2v9eEXEC6lr2bGDzVU1SsnIFEeXCVxfBIPn5nwz7H2rSKVFmS9vTx4TKlqdP1g2bUsG8A0d/4ln8FrcU/iKkKaRL5MWKI7L0UqxwZ5PA/TFFK8KoiGyR7CAF7SomqpEt4GxE+8TW1N4dzILAGa4yCGlCrMF8vkqiIFQS3Kyt4rXrTxcEEvcPdilS0R2aybSIh02+zSa3LU6DRuhvQee6fv6mhAjSCDZEjZ9tAzIPng0y09mEo0clk/GmmeEzo8hP1pjcaK63fs1a6bEXUeGsYhUt61BhEP9MhFt9JGeLsGuD1kfJKsp49iMTSylp8oZ2rSLgywMbK7fuOMbj6nTvpqxhXXJrgpZ3VkJkX7waLeiR2gpCzfj98+t8hqAMivD8KFmCKBs4lJiUiuuWECvziuI9fUw8F8ff2oWZvA50fHmRxILpXlb73adsKQFGDWw3bEb1MQ+0gVMBLTCp32LdifNNEp+E2qVaOT0EO8bpZRN/8ctCytCGz2zNHJ43QzyJcJRtg7Tnsq/SyysLCvZ2dabKPDvh5kCSrIjAlknjOqlz4jlHWU/K2O49C0ymvZKxD4vwvfGvB7WSLRdh6CqVoaG5ITBuAXc9IIYsHKtxgV+T8ZQEwjuQrm0LMj/N8EscRQffDkeGshIB9M3/m29v+KBLvJIOI7U8qYcBHjXhhgbj7A7i8ZnTrZaYsTwDfxXZNjMV5BGKDkfmrJryNJsjTGLZokjN8RemH/WC/ldIpoNpsB6UAzVo3vhqCTNFvV0EOHEcJaKywDz/eiCdzmdYTg2awhC1HSxQKYXvcX6a/C5aDdBUc2vKPaKdBziaAgFnJoVvw7i8GLVeribDsz8BmYdpJqldkwwnFmc+6miQMMvnCN64lmW1zn8u+ymcskDelA0MgZVXmWSY5F0uUXPXoksqRiQecQYBD/vCgRheNV4FvIAy0fLrgjpPaHe0cbuUsgthJar2vGbl8FKo3KYrQPOwA19LwhmI2mduQQMxFCPbzUfNw8tzml7S1WM77yuf761T2/JGpePxsjpCfOXYSDQc9c4xCbVIyAD9DpO/l0j3rhTaFWHqr3FuAT5QnO7j6qd8XS72f5TGl8gnIAikCWhRMvrvD0Oxnhp3LuH7SogtZH9ReGFIapAzn+DVadmMmOXEBO+Njb370nEEX1VehEDsXeS/oFdoL78c7Rc6uN7CRgbCyPBAFEBHqznhnfvQlpY3qx5ifv2zafU12npa6iXOOmk999W4nnrFMQifdq0K5uwq+s46QqK+MYQdTCmiT6qpERGKMnPIivfI/+zFBW1+93NsD4y+GyA5ZO+nchWUcSdF3ieKkTovVmnvF/2zbAlsGJ66ZsZ5JcUfEckkuliYABvR2lVCIFhN3ShogDBH72JUTxOFBeCL69cKwkhsgFxD87AvaUXQVDlM5piB3Krknu7XEuopFveK9DbAFpZn8Ao08CwzBLvsG1m7PV3IQ4oDcRO6UlBu8ZhVZAY1JNMfzcjLFmxjtwx5+/PMHTD2oHXh9owIv0c/hlibCPSDcDdJTiFrout750SuJct9XkqYbFoDQy3KOnfHT40rM9KtHvw9DHC10Q/tIy6CdGPEhq5OrOcFgFasjdGiRPHz2uRrahs6yxoNWILUU+maXZlyb6SV3tsJdEtQTmSjXde6EHJiXcy67Xh3xED1N6SiKcZF36jgILR/s5AnXrvwrdBztOk+yL7z5h7RhIbmhoRDWLz6C3mlA2eeAcovmfxsdRZzBQ4D1SGuLBfW/ZnBWIdfA6WftaL+N542MkuLZ+LwORSK+oNTDLXo8JvnfIvRokfclHwl86jICnt5Twf64del3Unpd4/XzydSPhs0pCxtNUaKwU1EEtbKkDd4jNsSh2o25+tJXoO3D53XElHCjlRBOdexBo+cG/BHR95FKC4x3RkTk1YRWJHQCdZfVrgbngrPyfmVG61t9O189NZJFdRgk/bkzm1uN8bZC2/MKiXTcyZ3ZnQWQziXq/VQ8PsUDgrSP2ftepsDl0yi0uj1AKF+hoDBqKkkleOx/70rigdZ4JbsPgDZZDofY9/JnRHK4XS63WmDZVc6Raou7ODtKK7z1g45licCUq+Cg6OTM3XkC0uFfD35v6p7w6XP2fUL35ObXPjAczngLO6berLeZMSdP8CSqVtffQDeSKazpYuvyPq8W+78Bd7UhqQiUr5LZIZsP+Q9UmsXUW7Jaev25PAl4qdDB7kvKgrWMCtXbLAmBkLq5IA4EKfdYYBGIMPMwAQ1uyu5Wfz5jWDpKFqRoNttxvYtngJzvYhlbmscNmSdJl1vFNks+xDnaTh+ct7PwnBLfE6GxjCTHP3h6ih37uUAXRHgGD7VRKZplVa9A7BoIw9Xgw+QNRReQGQw3HkVQfk1NxyGa+xnCTNcmTQKNdaXdJrVJq+VaUctMoknERJXZZ5rE6q6/izDsCIZYI8vKZJvRBMPR2wbasohDEOPM7mFUHe8lLK+/YjUrqtXuJB9OjADtn/zYohSIw8Aaujh9lSVmHFmvRYiDCHbxSlNLsOQRgKuxa8iJPkYyvWIfEfcCheeLaatGAQWBwD6K8sbdlrMxjDfOUHC0iuuv3QhmurUSMK1zRy36eXrrQnn/EVQCs2yMn5ztkMEsMHRI4qwzUsXRW5My8mWaoi8jTiIwH+x4vcqC7lTlG8Yc1ktyk/CXCpcON1pRJY/+a2oLjlc3wANiFwQdQgANB4s0U3eDkDet45POI56pFNCVnZmsLb1524ZAahs7BsydJeBDQBA67Ow645PUFYkErkhzcMqwBm7RZalh2X7t4Z9O+kWPTbXqGyASjtiL2MapYJ6fUnyai6q/Qn+ie79SiKLW6xIrM359XpdoSLMGOSPZItVaiSjUaXrZ+oD+mw2iF7vy5YewIINtoO3u7lRSMt4tQfzR423wAxkt7LuyfK0+hUaAWal6GSmSsEBuBWay3zVWyMVAw1X2dIoGy5r7fAQiQiS+MfgrcNzw5KWdBATTuNolcRzlGDGq13w2x3DJa2v0yu8NeswVI/IN19LynBohnUw5IdbNwoJd7DJ4LIF1hGxXH04vd0z2J5L6RjibLWwLufL0Tyo/+JQ6Jox7HwmUeq9WZdGLHik+YJq9MLC/dki3Mc645qSZgeaC1dzamfDUz3p/9KHX9TdQ5w3W2uWc8/XzMxXdWaMoSKNXow9hlujp5xGyprggP6A1bBDXxx5ltWu0tQ4EHNi2KYE16I48Nynl3o6VPbQ/sS/PO+FUCBJr1eGEfrt15/GJeyVOr9OSf4Oe/UAXTdfhtJWLoVFuWQzVjUPqDk4zrPEbPK5SdzHybSILcwkWR9bmnHXm8NoUAu7UNOJ8SQLWNUHuaspcpavKl1TpQMeDIt7RV+D6oPKjlsR+4abg+gwrgRxX6w5o1dBWtlwRg7r7N1Kszm2VjQ90EHSVjU3LjoKZeo97hg4j00LXnLqjL2mbYKELybirJYZT++rMWTQWTD3JTfMT9+8GL/8bgYeWS5/K+3X1RjvVn15+ipB6e2ovvrVfCiBLia8CcRtzUe3xYNqpIhzHf6yVQrv1lVCf1bf8/3LhwuXnP4BLlJr6G+Y9xKR6eKTlzhg8GEOL6yaX1lCdFEcwB3rDdSJLJjYh1XJmnyb4Qa8fKBgsM00H1Nh1pvMFsEeIR+MkaolF5K9y+CoBdkDvWHPjgf4sl5b0oKSBkvVDcv3ZxWADwUwoCgCY0EOPK4FIPob52RF9Wh/k4BAwf9Hna6CTRTgc/Gbh4NIiMY9rtbd/8+gfb5WR6gRnnohD8FZHws58H0aXotwjz4+l8q5Wr53LiajXx+lqVHLuKKXxYeIdTkrS9+t7Fv1Q8u5YTdG2uG1K0Ojnpk76Fu0r0Ja1xDpmLs+7NFUTY2t9i1wmhzIBhHiOO+3WQs7KDP7du5318mBhbkqZRI2h78bNfL6ifHkYpB76zBAhAqg1DraCA5u2p/vpxCeJH2O/kyRz0+WNyoE5BuJKF0qcwRuAreGYihdPYBMa2H1ImOuHChmsD5WuvHMuK9508sKEqYMPgkNaXf2DDbfivKUuIBJguwJn+/jV0ZC9SZSMdkRCguDYiWJx+cbMvAKNNxDxlilAo6vZh3VIMRuR68a7P38oWjkXaa7qvTxn0YqEBKAjh7kJ3hbrHfkDl3YtCEbexAY5WsnC/VoHlCYjstZY95NaG+IhasUM8BFDFCfSEkCarmvEA3qYEClgVuTkYPzqLVSZQ9DMxkm5QaDply2BqyDP/d7EaJ+VgnIwIrm9n9jzMcu69HWGGJrjF6TR3iPZOVwJyX/2DwzJOjvmz3kk/1iomxJbDws+QBngBJw3+3e/8slNdp4Y+e6ZMj2H1LTmchcCw9KNucjzRXfh4JDvVPEDv22n6XrORILdYKYhfUp18ckE4+QC07xH3gMvXxq44mLdoWylt/ThrGIVWJNqnM3VyHYVEqJz/YM5pmsCZDmVp6ndjTvh0a4vOHOOKtSIP8ypQ82GTaQ9uWyD0MUEE+zf5tIHKYk7i5s1D/uRiGJjz436ns7VNiaEdC35UchyA/tjDg75Gpc1gl0MoN/KbYeT1RRZ7GxYLs7RaEt7fTg9LHZKcXTgzxJ9GXygB7xXRp1oP7FMwvaQj/Ckh7EpvldgjO+LsUP2w1W55WTFgyB4aWiozq5DNK0sNjZC6TdG5usV22d2GZUN73ZOfw0lpYHQSidoi90XKEaMAFvbhJnMNxEvYAafbgPYiljIX4tvystQSh2WffbEpWLIlevyqOAmYOawzkreEVZIs2lgoyHt3Pk1zPP4lyhWlDwwMV8AqDqomvRfWKcTvtJOUki+65AtDUItaCcaus4rJ9ZndHQgNJX36i9b8TMHJX4LD3ESPjyUCwxqmzIq1DrKWF5QVoNAnGobChV5sQclwxVNgOEDOjBwGP+nPh4o9nJn4UtcAD4pE8LNyW8JlO4GtzNP5a5BAcFWCQFP/hcFo5ZhVXVvY/+e5uiAwzdMRSsMu5zIy+LE4chZptFGHzLD/3u+YNTsjYCF8LzBsEMwd63aHi3CajF3Adhn6OEeNXKBQlWZoLHK5AWnN3tmlY6cBDF8tL8XWopI/Im9tpFmMGBh/eXt/opESyzduos0ZwyB3Wrx08jflKIL71sH15TM159XXsaHS0AelN82PIzzWYST8E9SMugLJa6yRFEBXtI38WP9BqLtgO1CZb6zovKEcUi1knFON1sKeKT4TcRHrnxdn3XJlNsaDtl57M+0ro6bSWAuSe+frppbp2emmCmxOzbTH4ykUp/lARpqubuPxnhEtiEZJ2T95DmXvmVYTnjvae0OJ9dcofJlHdW9HtmzxMzi3vk6Sch7mDVwqDNHqkfEIhxK0aVKuM1ewy7ZEFeEZvxTBlvqScnE+k4FuREwhYXE27QcLqWr/WU+snGT731rhzRRB96wtqEDMGuw58pOaaHmC4wGoPoZDsqG5vpdSDIQ6LrtIOeZPMnjiOyed3jo3MA2fZjCuuda3WCmRteB3KqJbsZMtd0Xg881MQYLTqtRuZ2ZaTY3NuL85Endf1MV+P0AL92Qt6hul/e2sbnzpe4RdnwFcPnICm8nctmzusaF+xPdOAvtMgldp7eZXkMsp4jO5EIVFbo1e2ZBTGvIHNDB4tQqKsriIU8nuUiAQin6gXeJt9/IGdbj6aBS8vV5Q51Or0kYbChHCJFNnB9dBWd5y0HSo4emEpitIJg0U/jht91T/Qy+4DkfCDQHRWjWHLEMrZHVifQbfIJeCQkLFKhoHK7GJEFwYavAaILQaxHhpmsb3+FIO+ROVaA07lZcBHeP4Xo+RZwYNa8IrFTNHURSkCZDt3E62DEW4f0xJdPx6my9HoDB3Ev8dUmRLCouOagtOp52stBKScHJhEkgk7R/Y9XHfOS3X7MS7J4T6xNtEILexL2SuNA6jUv+fRqW3r2ELvuZbeHDfdsHWWfsejiVNWk4RTcmLOdpTDeFyydmQl9i5pkOzRg/3Y9Exmh3ICBKPxUJ97hUBITE0jkLHy0G5Ai9FpkMAszl7BoN/x8KBKYUciPOF4d8TjNzaMXjU/aPvOC+5ujjjKJlRNuIS5+uR7RBe6n5ypViNlWumLBx8yB9oqFsRxh/3KFG7HnNEsPxsP6jaIbJpjEEyWYT8NbvP2bXzGQSLgpdUIknAAyMmRQ1ucnSij2q9xOx1hNSi7NKk+rr8sxavBNyIWmKm/ruSt+Yh7wi9SSuNRYXOLNm2nqvZLO9ESwzXYIm85jfjbr5g3GCuIV5+bFNlAUYs62r7kfb56VC3OYW3RFx80DLx6yq9aK0CakZrEpM238aZLCpwhE3JpYn0qYcSLhJ8zA3CpL7lRwLWlhwdDlbqLHh/56OMsmaXZwcYmMV5YlUrOgVNAfQ7e21/DdVv57yUUa4le6irHYuJpWtdyBs9+u6oDCUT9sf1mbBQ2/xXjTn5RkL/rzRY1Rv8n4keJ6VI4UpTKpEDfEbNECwhX5QkKqAGGbGInPpUXr2Imi2ucA3uXci0SXdyaVgMfFO2rYZD5aLNOXX4AwOqbzuc1cZk5ZWiftu8usudz9I5+N6T//xpMEHbCfmTgpft/vXFmZs6XlNZWOAGnBzGe1nWXCyIUp5L2HwJsAl0OwDBlobFcc1f8Yy58iyPd+beJu+vxAgPBwDoDSUNWajc7I38XQFmbuH9foxm8eTymnLaoQXy4HwDEqU2y7BwnT2ADQjAa+IuDJ0fJWzHRusWXcGnG5jac88sZR0HSHPz3RsTc1dNAYy1XvzJ4bT6Ob6WDJ6K5t1UATmByPfT/mVRPPWGkuY6tImmZWLjuBKuJ8QB2ooxZC4bj+sjGPGHI08JBgEgIQAU3Oes9PWN8rj9ahD3vyK+vINl4cXMbOwFferefM28BwmHyDAit1X1h6sg2l0Min+Q+KQD8KmYQsiXE2tKeK49CRJXYhuJRHyTLCB3ib1904tbQXZJJPGDMVKP+8H6UKaS9v+JlIxfPVtaaOmpRSRVTbAOJy5FW/gG6+zP96CPrSuE5WLoj3oqWNV6VS3k29HJg1uiC4gqfHLKN49EOTX60w6iuWxyvBQ0JOUy8eIeL1XfaagNe2jLBXxEQtfuE3c5Zte/ivLYu8AzZzxJxtrOMs7Zrn7bZPpR0O/YZTxHZeON7g5LE+wiAN7fvZXBKKX40lRRZGyjBxEDJM22tjGxdavQbBQd54zubn56KcYsPKB3zoDHL/fya5i1WBzxRanYgDpEux/ipI9z6fxuFR3gbDH/NQrDJJDxCCXvsShWvr3yF4MbGzSn+DOsw1qnkBQTLc4hn58t252SasJS5cLIOZo73BbKqI2Q1GSclHuGIfTj+N3N0n3f/Djw6dkE5PIHjKbXgc+LABiGLsKTsN4gBX23lRCRt8hfTWaRJKsOrORhzmZg7f5DKPouffn3jbG6JrKMbTh5hClvcH0IL0/SzHDhR33A0i952gFXnI4yElaZYFIXCdICY0O68HyROde8vquzbc4huCSYi8rnJen5zuueZqr3QLkeKsYNOxgwDHg+9rQDReXpQBaniHwnnONaQaHSksqe8xVLOETiC4NUkq2v5kk+axkM/IDe+1GyhowHWeVSdStkEGrvDbXRc8WkTps5Xm6CHLoR2F8KU+q8jh+FwWOGrSoBArNiTInzicHB2XbLwoQNK9ys/IRsapVq3P6smurthZfkhNzdsCqZcGl1v3iaVnJi/BcBnvUld9Tj9+PEL01GWEswwHkJvQWfL/rBYvvXRoiJpbpv6C9vHm5dTsDAZSoyosPSGeqyl2lvmofGrsbE3fg7fzMMrnPzhgDpgClNlHjLWzIK9JEiB5WboEoIDXl3ZsKp726coWwFBbkPZka6/PAgrlnbdgdL1ULwcdDa91e3tnmS2cFncUJIsfmDT2kH4o/swYjt9uKhMujBHmeVLiiE9sWTuI8x+x/0Qef7FKSnTQecP01OTTx0FMQMGd0sLvF65zxICURJRmWMEOChUFoX/T/4zlf4un1jo5Wq/YzXD2yR5Gp/eewG10LHRWk2ZVn3gDjIqPlDKtzsqiUkx7jsqB+urS+yTFMvJqGuvTCm5XsKexRb5actchMj1O+REIptSWSEXeM3UEzUB8/+Tm6iONU/ZGA1az8Kb1K+NADaS6VKqYkylh4Bc/u0IgZKGUcQBMsxuLGiEGJkIeGlm0cnYeb2ECMcMe2T9LyiNE1CrQPxe+K0uIiBEFxz9v+xdxyY4iWFSkWUrvf2Bj1Zb5pAtuSf3eSeLnzai5y7TREE7U0TEQlCiNV2BXpgupD2hyp4LpaXph2BeUHyK2M631gEIRHKmbD09G60tXugKCR0qxT5fBaNcnQE1+KTITqyXOlnmoxlGtCeb6mfFS1xlXYAbeb5Q4mtmDVdOidi3z8whymfSdUTOjrYvKku9nuFYPU8HD5ikKsugHxhH2ffEYiSbqiGBXMOnf3j+pnRgydLHPlyXUiRQPdnAvoCyn5Srjm7HCelLHnrfTXGLfmqd2NeP4Ti5Wt+DQHk31IUUCirD91T09XvrXwtMBSY6d9lvybbsDxd73HD8XLscGJ4KiaEfT798piaB7Vw4qjIXzYyE5bg0cJKRZYrYzZeWPlBetQJqBOUr2mn+A4tKnUXLH9I3GhJ7eB3VRhf/GHXvYxkPmhABraIpjZeFJYn+MPC9tULM2Bh3KwBr7KoZBoO+RwdmwmNleG4TVvk0dVJR13Ze58Mkijtb5lOAkM6GXJJH0WTMnQfmh+Rj25L/vUQnFpqXpeiohbg/2nc4AdSZ9laCucyPTIcjdALOvGf+zgH/DiqHXTM1pfvulkmDtFQenbuXXyAS5r7JeEHL/flt/aK63yMEhxKYUCQQ2INqmKdNxitJe+Bpxk6nR+rYJ4kH5IOjGT/yuohabyjUnWAvgN+pt2Pr6znGGQEFAGhcaoEz+qC507yFCkO92bx10ANW0FW+lJap8WRrIrsE+oEJJ/eZwH5zpXqNk6Q45RsP/AT29OH5PVoAi7TeMZgkNpp/61j51bnMdJxezkdmNumrtQdwwB5ivvSF1m0AxB1s59m0ROA8GzJYI8fiQagKA1TdA5FMfzt5+8JlZQclmBRXHccG9vp3J0crqIU7MdgN5wao/6Orl3dldfaGui1bWMchUDIQRtlWNYNAhPGee5wDlNkZWTicZ+TMLbbfDLmw8WmL4K1+1Qs6m6ORearysDJl7PZTVw9KK9m/JdtkwCBmAa/QcN8fQ7Z6usiB5LVwCesG/TegNUlkpMNDv8pW/B3/2jUmICI6/c8xt7YLaGQzw52Ls20DCoeSqDpGb85FwwmnnJvZK761Pf7KMYQbMkjdbE3xtrr5EqUCbFTJvTiw51PwGDJ78bkR9ct8jVdZbp+CJpmeokcv+/vKdvRtqDAxkeNLMyPIb5bvNuI0ZU6h/+rPpYrvMy1x0+9FnB4o7NQbCNtTSb3UydXIzRxR8yFUFIoR0HL6hum8FCZJ/NewAQmD+KkiVPEBPZ2LX2lknvd08Nd0QV0KD7uZWCHiQDft/EthPcz3VJO/++sqbVVFgb+WbbuILpT3PAyPmHV4+/4smQG0Az2tY8KmBLaDNAuGXphoIdkoZPaGjtHCH2Eu6TRJyYSA6a1zfhxfkpVYuePVxUV61aOz/XcchCYQ+2tR8dN/XqTrVY02Si2WqyJ8GrCXd4TpeBvoeNVbuUOnPuu3ZM34aKgwcjJ1a1uLmHImvUtIoLbs9oQwjiaV9Teg8GA5EIKk9LVAvI1AW9dHz3ZwU19yv39uXvJH2tqmR3++i3Rj9CIdaPh6CRm4e9PlJRRUGgdejU3IEuc9Fmxc+5lTu35XW5L10nIU3XUgt4pG0+V6KD3mgLlnyfwpD4OqUi4TZMoFPC7L9gf4uisZ66Bp11q0z4/dHvk9vUiEi5zFrbOR2eayG2QkP7G6BszbX0e0Qdo7Pa3kzSVT3A7N5cCCfyLoyhEK6cl7vYu4MzN1exNnKe7aye6Ri5izUWaWY+CICKSUN68GXqIJibIpk7j0kiSdXBhWbuNf6UCd6JhTtAsMYE5M5Ws2a8IMf6nqSMH68mgaCMMtDGCB6H+IrspSgtPh9j1o5KAOy6Gc3nEC0P9KHjdmrNLhIXCwOxGBXfJGt0URmwLrL6PcgZv964k5LOtEnI7SGitXI/V3p0iPN62dXNYyq41ZYxaXGkMnvYkMreJxOABgaTeTjoHNQDqZjkiuSCt69BvyFfk32S2WXSTG500hmdmdyHucZd7uwc0s9W+/+ebpQANIgm8eg+xw2+MRuR9fuyF5cICB0My/YA7OHjq6fmG6Mecs3CLiLRCex7Li08MmQdT94r8CCwzhgIY7eau0qkv16Y2LsPIc3DvV70BWEmCJx7dA=="/>
  <p:tag name="MEKKOXMLTAGS" val="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TAGS" val="1"/>
  <p:tag name="MEKKOXML1" val="4HooU0THZk28POP9trq+pbTvvzd/gcV8t56cq85kb3NDTsUhojRA0EsgEHHMH7oYP1SYpn09ysXVivguJdhTvfyVMsBLTGvcX7WPTor/CmWiWcfk2RmY+GE6Q6T90sFUz2dD7pS103gZfJ6l4USC3jqtWOPR/ue0umjYEY9KlLthURXCUyUuZbmGDPUXB2idlVQc+R1c0j6vNnMaKvr/AqD8olcr89gTYVdcqbCtdArH6Z2k2y4aISxjp88dPRA6bnqbHRbzygIpTcypIoUPuI8iXrrqXhhrZFIE+LVZ2kX/FoJs2r+BDDh++58iYuP3SFs1xTjAl8hjlzcq4bHPQa09RLJr0LboVP+rNalYCQ3HAoMXXgyadxR4oAWUxQLwe3LO6g36zm4tJ90997UZRXMjiZ0BsKhz3zSI07Mit/Lw0y7f69LYTMjl4LiZ/G4B9g5mOjwEqg5RD11U8BlgBnJj9N7iiMijCl9/U6m4JOLlt1a/Ni7xRPddbTxkWczslDuhSfVEHtzNaL0fHisDeWCIII1SnekXbT+bqNZgfknbMgfuOTengBSpzmJBXVBv8pQjUdbbcbhBJKUue8XUr5Qj8dwDhWkJHVTWsfExLshTUsqql9JSN/zBbkdJIT52XgYZuRDUfxDF/udv0IVXWqRAAscjR4C+gPzld5S4WCCJrSs7ByYpFn+yuzkNdvGh+ZDyxDPIYSj5duMMMebRLIvijc6HodCj6jbs22zOJTke8bH/Wi2uytYFtXwHd1VezkdyW+PNEX94rbU2TMpbyZdRZbOJjLwoICCoaeDs10Afa37LKzLjVOGTbts+i91ESJAl8ZWc4G47KCDoSBjzFy6FuPEB2DtyN9iaLif6kaFIm+bfMkqByaCp7qtT6wZ3wR5HQjkUPlE9k5o9Wcfj/HsVUsZcKzmpankkEUy8bwpiPlrSWVaeU6UHmP8uYEhz+h0xDG5YErr+epJ22U01ISUxNRK5kpdcpmRDnRKIWeuLN4C9Me4SVLyl1rCKaRMSYt5uEI/rImMnj7ZSRENnBeYkP2VCAhk+7avwwTW7ATbYwVI7AqPhAoeLvxKuN6Z+1vhf4LS8bh2zBNRW4GTtrVawq1l8zUHVl2ti3CW/ayIVlS+FpsCkiin50RcccDK6FcNjoTY/du+FHaT89SOV9fHHBQjM+6zIGFjTpVIJw7n2R/a3d3FC0oXcNUTni77rUeSlmKdBhpyMpNDBCxVu+XEs3+CB91z/3ArT+xuDRH73G+Z53wdu/sUFV0ZcLwcV0/o5x5oqoeSF+4JPiTYmeFrynlE7q/fnLWAyjo50nyNXGD8xEh/JjssiwbvwIgBRWWKj+trN7XcWU1ql7HRBnZ5Q/scBFzxsrjMmMI6QDhEt6c7d5D4rpmQSWTeUpd6rkxbOf2wNhNCZx7ZchS378AACCu7nV0MC47ndOFLX44aZlt7+5EaISDJjwuMVXIRCawy3y1RQYfWRJU1sSj5h4TjB8wSmek4qCd42ershYssa/0viL4hdzmkzR5qp/wvT4OX3walI3tkwirFIPYEjKtDVJ9eiQrBnivG+aTY+E7kgkUY/V0mEM2N4C2MtHOj8orFt6ogpLYu488wJreDlsXAogEypySQb4GB7wGH7VcJ96lXafA0IjziUNnZaW67bl62WFuVJhMN/UHKfpVs1GE+xqau6qth3/WEh5pj5xZaECDPQ0R3mNYUY9XyP3sFwlP67zNQK55u+Ucmxx2g2AGdi2yZ2SllsdYiA++g+6Wy3apxRiNl9f8W7mfYZTs+gj4vnYgOCOtHBU7sOcvi+30ia0n1+2G0v2yhUICVwM79aKlTm2Pvc+FBBVvYNPj+0luxnEQEyN/TezMyi4oNeFfF56n7/pMIUdd/BnVgJs4arQtQYfm1rBLnZiDB7NhFFmAfHpSQJN9Xu6y8eSZyzon2pHgwa/SIQrvmAm0iPUhlQ3uNBTyJGIdpP4enJ3Gh2xsE71MILwcpocnNrbpAGSh02gmtO6lX7oNwzgXW4/xsup8PMmJ9gJmWGHgAwdDMvTNUpcmcs/CT0yGAhU9Qq84uUuXSpkMV3oiHyrX3Eq5UVFgGr7iyoN8/t9oniIPx47MoaLMIwGRlFOuL4HMo4DWR+dNANfS8kpjXpIKNJZYjMwo+p17x6XKM30TaJqrqeVeT3acPxADABoa3flgM2Tj7PCPtbyn2CludT6q/vTMgLFNZH5p9a+ix+XrijWTn8WH0SpvQ0PPEqSARa47Vi/L6TGNyVUKfHyfZGB0EdRZPPIEkZLkLcQt5yJOhNbXXDzmjt0u/4QdjAaPzrycxKSI+h0pX2tfr7BlHT2eZrPj4fsLIMB9w3hbLf1hPJ2GfQJTmVRvnC8Nq88Ux6wHUTzXWWGzdmb4O61JLvg3qOWzjFT9gZiP42NHla9qF33Nq3Iecl9go1PwjtInp/aXXS1FdDC6/n5jR6a+joX2HSk0WnkVvKZw3C7SVKm9UgdH1XLQrIWjlOCBnxQ+OMSrT1BsnaxO9J44xHsxNTsM5DA4I7im76nJK8waW1leORtkcdjoN5hhMHneXkQfdaH7cL4ZF1Nx3r1s1b3rLhjcDKkL8QIt+5l/Iodk8ssLhwWNCe6Sjz+MicEnuGwIs43osNEwpPL0qBo7EIk60zbBSAyDUum2T3xmsEYjxtxmiLE7vKbQ40xtf2Foi33XrhnRM7tmSH4j1rKuDiJiMv2PeLj6vaKKe8UioLn7b3lClAqTYJMJbE3sBNRE+fmpFuf15BcW87wRV23L6bW5wB3Qk/8gtcMH/Tt/dl9euUA9jj0qsZ2DebzZoAQcwHSzd2n8bFannyX8fAg4A6bcdfftAMzd0b0l2+qdWvY+x2aFxayPziZBp+B2tZel5yryhhRiZhmokA798+79VOMh42qgMFVWaokfZ/Bf5p8G7YMU9xqKQzlkM1gbJ5lfObhBXpNvYnE+FX7NgdGrUpUK0F9da7rXp2FSOzTXvfiM/+ZA7Lg9VVzKPTo5YccpoW8BZSEaF4Ia4vI8y33JU+Coa30VtCgj045eyfY27j7M7nNjKO3WCK9zgRWswl8oWxvBxwnPqQMuyVsaLobBJvIAe8WoDy3yzxxSA2zn4CqWk+wjun+lgXNMWTBS4Sr9h3tj9eEhbjffrh4SyMSA2Ob6J+c7CAcUagHVkso2sHRYN5f9DjYtatCVMYy5ynYDVexZ3WqgtuJdcBBLzSoXoBwPyTijuFn3V4hln7bel4f2pmT7mm2y98rEvlZnye6Z+i3nUH+NY1G+izvAso9E4GWT/Dreb+FHWLcd7lnz6mSqDhPkohBf7wviM03v8cnPjuT+kohkTFRTe4P+212qYRaZoSbG7jszK4EBkqL1AKjwHtTUzBlDJTL5PA1OZvfk6Y9W6vF5qTSsOXMraLFrMnVW1W1WB1iZTSTCsEDkdMhGz3UMWA29nstQIgfl/6Zhpvg9NBLfD1TBecONE28pS0lsPXlu7uSJ0qLVtTtC+0q3SN4hMforirQslw24lc+Wd69tLcy0wpS7x4bxd0z6MhPvIptxl5nVtt788OI6eoKsYJuBLzrXldZjrnC2UbxrXXeV+4wC4/oF25n/8RCsNV6MLKDqod8cld8w8tF4jdw78tsRn0AD0oEpd2bB5p3gO0x5G4ZPapldm2ZkG+SA/fvZmkcgN6RFrfOLPtFCIvYiyUMsCQLM3xsH/2fi0lG3KOCvb6MYhb+rW61BPiug+RILP+geVBV8mf/3JZ4MVNfDZQuy0TPrICXZss0sL/1NJyafRSFPDGAciCR+u2y4qddxfToVFBxgIEo3k3AF1BPjSpNulCBuaR3q9Ps3+KvhmASCD9RQt2V8xIgY6u3wnf5vCixuXcvzSRrL3euKztTY9E8uEB4G3/0I9MAoD4f7fst3it8Jz3U69LwLlRIx/vCm1CLFi/RXMa8W3PGnOe2A5k5f1wFjfQS+osN7yKpOlO/DG8qoA8HnBXiaK3IsHMR0oSXNI5HxnUhnOXlzeXPWPOCXfHoGvPfw9KckM7UyUtoOpJGW8lxodvCO2aBouVLvR3PXL/6vl/7Gp4kQn631eLUQo6lDsFoFaolBRic8Y0rOaL6/1Jx3/Tp29fr0hRJc3uSsdPQlbkd9Ld6EjJOx9lEkt/mgMMdQj+ZlQVVTp8gnnrQkyQiguufqiHGmPLG3v8X/Pn05+/XkoLhrCeFckege510928QYtOpyGEaDH+oMifhY2ZJLJyny8nGn8iVuMrDV5WrUc7xlQUQKsI9Tae20oTKGrzXdwjTqwBjkgUW3nBud2m0sJrlLkTVpV6fXOI6dsJJKbcQ3nXkj1gLobutaM/yyVXpeQ0NxS00tqZzZLhp992hQybZ3diQS0AiJnmmBkeWjN+hI2Fgnl66yiL7KfxwreOdrX83RG8OC5cM/Ac+zYbSdHhq2tj0kAy3rUUbTbyIG5TJwKLdU08Y17eUoRnKnVAGWfmwhQAKp1g47MGr/6tZ+CZcSHb28vEyKOJTGnGYOQnOMPnO0J4qRf+eze/mOXzPCldz8sG9zX+ESvk9g8nfY22R0Jmk+u0IOgNDA86B3fVBYqACPIAaO+C9bfNxOPvWMoZPoB9+ehvlrNS6SdHnJmwjcHXOWiAWEYvP7fK8arQCamhEwfhouCitXEkwJ/Cy1vAaG8LZV34rMKt35NYhYE/P6dmsrOAazpo01XOECdx+ZS+kpd4YYfQ8UDgYjWha9d+yMg7gBvlaznr2ygxID/YGuzC04cxb2vvM0X6E96VKwhBbS366MNV95R9/Qb7IGmy7V4U+ZmKDzGvokmSS9pLuIVAKsQiKWoaTv+6mz7keEHlHFKU91jFqLfqenBlqss9LJuamgN6Iz2sYE5j43GZmbn/M9iG35EGTYTfqHVa79ujSBK4fW2w1T4ADqsJkQojAdRKIOag2wZUuMjdgo1z/au9aAq/HOSJVi64abGV/dK9sH8uGbqxkMv2A/og2Sdfb5aRPNbApSykjk5TVTKoWdOsH6WVR+7pWJRNl0ZI1+XFumHf+CDei3iWlo+k6yla07u5n43lXA/Pl7q083roFE3/fIR+p16Ju8UKegmpQoPNjcc8N/5iuBCQaeP/1VXJZp/0zX6ZlQU3uiksW0NOTu1YHym6Hhxy253oeynI/2nvLHmxC2V3whIsZ/6I/7y2P+h3GwOcpD7obUezAAPKgZLAgEvV2rnUjAZVutxxQok3fITSL4MIPc9H95cpDMkrnoX5WpILC7BhzSZKK8JcwAvENUF78oPbgrmE9PjhXs5a0RlgekLGTvK+WwWjkys3MzYyh+mwEbrbDsuBtgly/RfnItGNOxREH2pb7w46D0Q1RD7YGiACv/HdwMmcGPQAN1WeTD/yPWKUbdyuYBuQlheJzKEkzKxLqF4hMSc/6L72N5qk98kh7eCV+e10rSrUB5jDGzJCqDemQgNd/yQnPUpNJ6GAwu3ZjhGkbdUU/OXs13tuMzckmpQZzgcD6UE/dMumfvdmZtFm7uynmd/ALJXW+ypfTiMvqFcbtkOqYuie0Kd3iNph/I8t+HqUgx8F4ixPm4vuY6LGwmCvTk6S0hv8Of/FABs7B/Z6cnYCyh4JcI73JNJMzlfknKlYpqVphbJbOTwnrTJwJq/DwJcdPuZrKmJpY0XUFMWB0qe15C6ao62ef83fBIPichyI536ihvl5QHc3gOduTD90WnOXEDOoxF4Nc42xAFH9bEqM4mZMXX5CyBaFARX+o5XyKYxEMShjST6u0TUIZlh3Bsn0Hzdw0tmNcHViYPVoc6Q73VZDqQ8X6JkSTuNmVKD4MIUQ7Jlwfo8pia2T8o3jfwl+BJuU5PzHZs+GnryqXn6/LiEb9j7vNmqCqYzmC86/CaZQfF/n6ctB9zfm9h52ZmGE0cqTB0Ti42N6bAXYyUgC+iD8Q5oz68On767XyBn0L6fFm2w0VkIwYtQwKWetmAWWyfNNwL9WRVQbVkygCwDNRyGl6Q8RTAo4wp63Ai9y3C6rN9NYpeR5NsJeeAOLabwb2HUTK/CJpRmQ6PRDClgjhZyFRPJtX2ECu4bxoSwL7LDVkq/HcoO5O1ZS/3dTymLYxGw2/ViGqyMp4NVMmWYuLG9KQWgPQk7ixOomT4u57dOnk9vyeu/+XRkdAFit/hZyb61djl/IsK90/Ha2uuTE3Y3jXqYsdi+/OlRzASs6sgC6/G8CPNrI309qC4isHG+WUbC09RRNxl5ukYSxYpaZhGNqaf8XcoVT66J6YT2Dp2ZfXpa9jjoAaN4OLOHUDBsGYRGMfEjh8XN5Ze9H5pkM/WaOvehem+yb1ipcvSsaXkkR928xDYfDeEcKiT4jcNsM3HfQos7GsePSjTpKa1Qt2oKGU6rK+esBopbDWEaI4yIPrpTeaMO2ErH2ssBDw5nnl0bqul/XRjgUHYkQ+yYTBN1W4HocIAwnxRX6hjjghsFOoqSkgkK/y860bUaenCTuysq/EQqcHBGojk3HoO/79VXwe/FSJu5GX4bTya8d5/O6N7Y+s8dgHtrzZdG3ZrxYQe9lKvZG0nXJAfWTPNXPvtPGjfDmdFHF3k0hQ30+MLNfeln6fe1tY/STMa5AoKeprvf1Vd9QPet5NArtzpT1R2v+piHK1cgrMaT2tSaBbeevHUti02z6QoAfmn7NmRD/f6gIe7R0NDaEDOhRKDQeHqxis6dTRgKGa5oZnD2JgpYvAh09HSPSHcqXUO7DNj+bsYQzs/4JV4q56l009ufUQrYIbql5HMXmhAkQmk+rXBxlaq44zO0fT1Pc5gVKYisiYOt4/doYLlVDosO5qC+Vz2qq96aSSS3H2ZizrbaPnuJMR1aRUYJRzIUCK5H7d0ZmMh1q5oiAb/mbWpPj+nr54Sw+xKyw+jViJZmShYdz/i9mE3YDVzoCaJ+m/5W1cdCBwTINMkvszMfFZ3UnOgyp8TRRxlNqA5KvHeiKXt7E2NCLeKr5Hie5KZGroWiKY+xp6KgJJwEGTKBiWm7sYr7UCbGdUUU2NUCpo0HAwR/8xVB6mSNR8JT2KisZK/7D9LTZHOgZX7IKwD7CT7FfM0DR8rP902tPYLyfxbivLDHzq0xjiL5S55IVAh2G9egKDRluGJOUqfmfjtt+Xyy455uKwpWLUw2ecmo2vRacYz3VlnFYj8CqpsD2wHj6p3mP1dNKIH74Y8gj8VhUnXYb+ZHXwq0DdVpzoR9bWzCbXCbebrzrbiWfgg3FRhcnbcL91v9L6XnSIq90Oc2B07aj5v31SFhLlln3XTi+2ckA4UrXZOeEK55IXRicCfBZgfDO9ovlPmQ2K4uUUpsxPdjA40ghcJVlIFLZZKg4av02pCQvNYFItiKvPu36KGcDJbuyW7yhVxEbg6MyzhzQdPCR+D6ndUZzdZcBqhHCoBirEyhQNHuaHSQsizs2QPXbpmFjIieFtWbXWtsOI6nJwgUmghV1gwyK9z/m9Zskz2nY/gg+PlddGDgzRMi/7uBITGBiPMZiLGAcmBBpS5fjz21AHoEkrkSDnX5BH0GuY0Y/xSHA7Z4eHRTV56MAQ++D4zdSUj8fBYYcCdpBHLsoYagHXxLmj8Kqe7OsjrX6d2WuCd+fMXRgmzvScHUVdm+jTMDmAymHG+0rgc9kn+fpzgf/arIPFQ/nYXioDQv/vyYj84he8xuYzbzz2nCQf3cBy+h7zdSlm9SHedtoqrCUN1de+ld6KiG9z0lYHUjl6e0heIkv7EMgyiWxrBlGHFyl7GvzLK5eyyqqnef2uIOT3rMcUmMjiF01kqfRmF/FdClqgxyT0r9CA+FGz80C1VI7XNpqyernuxmEYBYUd4XlhXyjZIjtmSihhLdjLCsadWlwoH9J/ywyR1wQ7ENzVfATo+ACKxZkSCGQ1GoKOzB9C4Mm819u41xBG/CD+KTs/j1wDT0wNWog2sbirc230frhsY/qvQsWXwAlihwkMbdsT3XbO+/R2cb1dw6isBdgZ9Kfs92F2y4NmOPstWeb6Hnuiv59kd8m7UkoYNavsWhNPx0tyD5/oLgYYZDJHzZ5OcDVZcb05pjF6kTPW9JCt53Heo1AinSee5880HLpmdKxH0J+gm8Y2y+qZemqjFhE/OlghN2d2h2SknlTlg0fwk4+FN1WQlpVd07zVoaX62sACbE/VOMDj4hW+gzwW8GGn7OANJ9NszhTMLas7hDlFCf0Ipt5KDwPDogeCwbPvPo2B9D9X5nuYIQlntEdDv8uYO8kJaE6kYEs91Ocknku+rT97VXVm7KyhYYyihnk+yYFSCz3QRTR1iCfiyMbVjMuSgjz/MNxuWNqBzX/WOpLHb8EaiIo40chf3KJJvB64Nfa/bZ172WsJl25Cx0+iUXQqM/s+1sK52eUHlmxIeaQQrnMvJJxPX4Rrq9KxWiFtvHlhx8YCRIm9eJs5Ram9vDHCWmud/M4X3qeeofOq0vBpXAihuiKiJeLLiX6TuppClUqqPBmyUn2zTjY8N2c6Z118Jgb4OCXIBDMxGKMyHBqo3751KY88cUvhciFEKNnj8POLnWLlCsfGbvqMqDC31V25rzIHW5IyZznwCgWIiqghBdyuGvAss7zIRrtl4DoQI643CAbtTHyo5s6GxzINEaQTNfJTrcW2VMEksJQ6cMcwBNCqVyUlTRuSwido8cntIUkRE/RUW/yG0bEhcgLtKU/dJVHlIDLvGavUx2JD1uBZixgzwzAGAyhN0UlwXQ29dWGs+volbiSP3ecVL7PHGxsHeueKx8jDybwE39NnmZXAWkt0pz3DIHfGYvbF7YdmFvls1C+nVJ2XiTLFnJcSx2iJQcUYfooHX4mFicFxD/oJEpY+tte9BtulsO2gY4RufY3htQAvbxWr4ihRUF/AlqS0tcJM2F7QT4skSNuchNfsz7P870FrHrfa23iA89Tq9TvcrSUbtX54Cel2n3e4+nQp/ahd36E9ZkucRIB6IOHu/saJs092OFxz51nckwE0qHWwAuXO1BOxsCGzPa+3qNcnsJXXI16N504+nAkhOaGO8SdGo4jLLb6kLLF0yLG5VIc9pyCSfa9Tx90m82AmmM70doG1UyWcfudtHpsOMHdLYhsOOhMXksqG3Tvcfog+NyWKuq7vr1R6nN9+lfYwvZKZCZNab4xolGwoq27dldAgOAr/ffPSFflce/nOZYJXoraOPMgLIdcM6/MyiJjiYYzr533HEiTf8d/2WHx9weIUUCqvDcgiKqjt3VDk2tnZHG1ksXFLOt/p6PWUWHGnJIUc2wi8+AtZX9q04W5LsuOzi6tyk4C63cd9u0fGx4mwh3JmKJgSlHlfT5roWytKuMily/MPaiLB/EMWPMx6BPDrcJdCemy8gQoFpK/vVcsWRjPRivMnBIsHVdhK8br8QakAFoBYeWKSLIvWrTSPh8we85xRtne6QF5FgQcqntKv5CGsDSVzXfgKq8Aif7hkSbKHisBpkD+d054UH1jiEg4EcPblwzxA58ugSuMhsGAtv65PByB5f/QxMPtMBsZH59rfHd5nSz2XNjMtXphkfjThbHPvxV9iYEkIGXkd73gzem2nfw4NemNsp9BLMXd7ghSU8jZ+wpZjVsze24dMmjZWLPFmDwGs/RhbX05JNz1h82XBp+nURV0lCsygdhCcqAk5z9PXzJeZmBLEWE5n7ca2C8F8w13RZSh6rScvEQn1bL7rILU0bcAsMB4KXQ4mDBIEYc/kVOVcouejlvEzcQtyWsiimo24wxOA7veK4g5gesDn7q+VEXt3L7ybNGqKxhal8RstfuyHc2v6hqEjLGVpcKG30P/7GkhC4pF1A4MWCd5AF7rYUaIquUs4kdLHCqSpgXvyt/dy6Ul/KqkEdlT87Rndn5XnP2Ez3ThOUa9VSV2DJdiyI5l+hb/ioxqK9CtaS40p8d7i3UqK1ltgOnHAgFwWxDOey2s+y2fU+8tVyrkLGlk4PSp0avvzwmcJQ0QochW52HAoAnitTlLJhrxbxmNRP0pz70upH+p7TbNggF30n7LffeplM2wWp9tifXD+2R+H060siJ/sKil+qzA68FP7WDp9lcCwtpg/nGiIuhAG1bRSyoazRtHR/nb5HaT4fJ4QNSvvYYBTPoSOo9IjizyM+DQ8OUobafSWosqy8oYjImsvZ+amfBkmO2F1mjwmNXC7l6I+6vYDtzavETHoYuTpOE+ILRhek78cT98d+KlWZR8JLPgRFKmBle3XGunJmBGpuo0b1+/qG0NIPvZliQgjLOgWOjl6gZYZDwm23uv9GX0JaAIA2CZXQbCFkkAGfcL0tOVtUERHvKkH8GZc6Y0eu8nnNjdBUDi3SALPS8qXyT1EwaqBLGvdtzdhJ4hcDKA1jgSKyvA1BP76AEC1lJ8r5gXP7cUAJWSxwFw21JTQBzDIMHYk9OEBNHgKbvjkSm69NDGjTyhXDU9I3/3coUE47kAkbRG4fYcSg/cnXy/h9j4mPuC8L5uWQedNRHFgfGcfqsa9fIlSMP6Ol7sOjUtbM8K4ibCAIgoR42IjLTNITch0T/XqFyFYkNhe6tpdSpF7t4GMqU8Fj24jPgLUgCciIkwQnrlQXKRQkFKv0JCsQyNK+5pEUqf4SXXNGLvD5Ap+5h/gfGrf4EgKBFALAbXt4ii0yHixpaxinmOxHZRom16oEUL4gy1RU98EbEvvAplbeYjSN/PTx7qklp2z7nE5lSLK+/5E9vAvp3wTWl5iloV/qN5gH1bVLAmFnNSdGEhtiL2dBuZBJzHNsZ+GQLkfG6twuViVvdkmb5Unacq/jmjTOyF+eW7Wym3buTa8OE0o1yhwyI0Y41s58Lk06ps5VM34mhL3p+8B8rjZbwhXtdqGS196KArGIBGRI4qPEJrVgKh4odpIvtv7wI6b/92oYsIaMGmqor6dXo2ab4Oi/UZ00Ej9f1ayttcRMI3cDLTRlrD2qji7BS0WQPab3kJrCu1Y1nDsoqzHRa2yBZd+WyQEpto/N7vSmpqZp8CGjCp2WQFXbj11Mtt6fhfs2/J0MZqTLd+sBA9vX9zra2Aan5G7jBS/NfvbfAFxlJGi7BD801Ycvk4iuZNTxaBsHgt5oaqRn5PvsBwCrclo81Un+8xJ8TPIr26nrC3HVOuXKNKmhxLR5UAUWhh/PQGXDlf1csxRekapJHpNgegjFRriv+9hNgGGI1TN384+AjsvC3+tg53vws9AhYmhHcB5aMevKg8HxsvpFuWizqaB7TbvY8yJIGqiDZVaxIgOxXdUGunVrL0/ARGdcFKRTcOAyxG0OST5/KqWu2YktR5YWRG+3KjMewIKY8DcPDyPGbzrBtaHNzDZkzy5MThhfGtSSC5/jAgFoH0At4ms/fjTnfr6vfgVSQRcSVzUgiOJQMzcXP0Oppw8WaKgfepCn4f4IfoZICC0JdRi1b0M9+zvtxIwR9Te+51dPP1LdAHAF+I8bVgCgiYS2/ggJxk28uRu1QFJH/XmlRwnGma/FAk7Gsjn+J8EFPRcoWY6CJfy7nXYNX1y04Y9qqq/KhreX9lmtP/auOzsaTBau1/Yy28PAImHHJIgl/W4uzLUEBpb3+LJdl+xbC+yhG2fpZFAwapLWjishBpCercAG6cZ++sslPAb36x6aF68SBtcfV4cikOUKu4BjGJ4nT27vk5UeO6OJlnb4YYwIgYe6xthlmbYhv/ehMKuefRx0KbTYsqCiBjf0ygplCor95XrKXEuHc4o833wygrXKDn/HMG98lrWw7DiYDFCTfDZyWWhbrD/ZYhgyrYEa+WE67IHA5BFw736hFna7FMacd67NQ1gE9wtf3vLdra/ndTYZntbc+GDoexpxrJtXzyEmWAUCmy5H05YN/s0U+bDxE/iBEQqICdpmBGWpFpG8O8RoZJaWRgYX3m6DeF11CS3CDAfYRSLAGWSVjS0UpcWzgg2elNHZUaT9nZhMBSHZHtCXyK2reppeP8svHq8/PWpvQkL+XvofluK0kp7w7rY4BjQ6szZmltkfRcHFJ0RQT2ObwYvjM2b9ECi5KqBKc1eXlh7JxCPMrc1ls214fxlWMWqKG6YEAyscM6zxlIGay+hN5zb9poNoY18k3Dk7fRkk8tgoakhS+wNaLlMD02HuGyxswfKCkqyYyWA7RVCYQkrZOM7/Tdqhf4IpX+V0rFdbvAY4JKryTS0erwragzcP9PVW1/j1r96P2HQr2N8djDhQsypaLWfyPBcCZ2TwmRHnFdCBxQwNNYOk+81YOk3s+MJbelM/evMs3VvbCmadwmCPaXq4uVodQXeBJybpjG1QQh8hyIUQsUbRSd3NcUBawuNE5gcHHdqXEu9HAveq9MzS9W2kWW+F79VfZQzJCxPkEdyoeLfC8c/GB6LnTT5vY7dyUM0lsBZb0sF3HdPk4BWYIizZSXI8av8OAtDkf62ON6ob9LG0LJc2WPu90h/KuYTR/wQDwvOsfaaxNC1O2xs6NZttsteAIs3SIH+VRwdOlOxvFLGcqwV8oCTXaKjNhL13by4wET2la6F12p+mlb3a3CYo8VPQO3VKjrTWcNOnI0RqqqJ1P5pdwHn8VAkkgHDAJ54A5gRJDsjY0cQ3c/AB3xxElxg9CT606bkDV5oIcu3vQDZD0Q3R1kthcP0dB6cFI0lrdgJbljtS+/Ac8Scw2QTd4LkG9dh7aT9d/Npb0UPbqieWiab2eR3v9iJE5kByIXMSf/52vgo4bG94jyzuehiuvtOg73obiOIoLN2fh5IeuR1K23zN/38zp9u2nSm/7eljSI0eWbjreIC45BR3rwcfAPGRKbfmIUENrjEKs3hDXi4FYCiYo2hN3onkSqKhEXonwbZdShLy9WmYMdmgVUTnAsGNOGjUKUmmKxRDkAObaITXhbHo4ytyJ0BYEiOAT5wSyllyKEL65R3fDQgIphOSVZ3743PtAi/OUIOaiRViBcsAOUQT8Nr268L3XgU1/OaIOhl0fMyPphzDY6TeKNE0PeBfvLm4x32tnXDEqWvSFV63hiLwYECv2T3QaNfP789oN/gq2CbjVJGjnT5NGe8JR/MA0FTlNrbq3stp77LHUQzllj8hol5Ci6lfqhA5vXatSG9AGHqWRZWd/4YImRvXE8zWX98Ny8TfRVo9+xlVoMpdL1LzEaNkJoH5t8GF9XDXisN7Z34WoBupE3Kh8umQ3F/kXsIVdY2RrSNN9iivtKn3O2eLtAkpTJSkWeMc6njDbi3exKY5fj2sopB8jeGpZWwcijtLshmZpJgzDZDZl5w3IVjlTpH+T1YRNQG3CBe98XouHdr+J+YtjzBy7jYG71VsSvY8Jobkj8MQyTlHsyMDCEpKC3jhTsd53DT9yM129+Mosq2zsTDCgmV35DG2fxvMcg7oOrkbACBFpQtljNwGCamWFvWQO2sMrW6AH6oxfurPdvgR4lCryptF7gN2i14KNNjDIRMx71GI6ExCmfEytxjglM35vsLmq+0o6CZqRIk1cBolVhsLG3EfFv5GeX4csa+gTlMramh3UV8m8M80SDPmxg0NSMnLenES5ifAMm/tAWNh02CNYcyx84wsEsj8Q/GhUS49CFogWOZ74hW6ZBQIwwMF2RWXtto+jy39MamIBaMfGW7jrkKWY1Mf8ikQwgZ3pIkmU+aM9i95BrZfvYrbBjsBm6soBSyhJj+g0hEc8BsDUVlFcL7/VhmaxYL6JodKdpRdzoE88uphEN9vWfEPh9mS33Vrc3ppvFc2WwTkUYOv9xB+YrkVeJeiS+W9oKqRNAw14jWeH7YZ/FhR6zNyoQRTgCOjIpK/jLl2HTY/O7CanbqAzhbsCZAR4Uamb30aCZy2SpBFrC4RjFTWKWTpEWLthI4eOLEsloWLWkg9EtWitj1vizrx9YTPudD8ywozYiHEd5s5/Fe8x1vzM9PJeFAtdwu+g4rwGWgCUvBUTZmuGq2ROXyywGQ0RFK137Gw9eajlHHmqraswgAqcIiKXHGhpc/Zf2ewTEMNoYXikCNHuGENCqCE+7vmgTZ3kr5QD6t9g6lqwJ82mjEs6/bHG2W/jD/zXTZEReFoxjrmgao1C12OVTOTIryRWufkV4nCvRgzIDgy9cVcNb3TwjSGfML3jlChWkYFkapr7t1E2pGDMdrUYR1lpUSH7jv1p2XGmf8eFau9ZBOpW4Ts6/GxboK2DwVwxCXFYH+jFuvaPGGJQ0Nbekk+CWb3pkxKdj+3MoD/QYQfVGcX0+VOzA7rpSAYMfa+wJywL1BHQqpqlZz9UZtaSyedUOy0x2DBAYCWAa5WEDAYkeTy6YFkIaPS93J0wxEScpu/31QtN3wRgqXHd9s52MoppTFNoAXvoRa5pGRil5QjrhnNL1zNH+nQa+GCedTpQJuzEba/cBGGFjRpviSdH7RFLaCzarkgkCckpWtnDOr0BQOluxA3F8+eBkrIGhmZNEyd5We0EmTOoTrmJlXyH3s9c3hHtmTa5ySj6O4pF3r0DjMAuf9eRNMpDToKZdOwOBPKft01oDwsNesrnlrhgUd567omDWqtVvHGPK+KpRrn3ndSLoZLkDED13dItT3UKFqfDKG+Y1wNTcu5VClNRvG+5oCS2xR7ZKUycCB2WpU8e4QpTYzOZ3qDtGNBQRckoki8ZO+DTU+0y/0xRynUjhIu/HHdEgr9GnXkjRlEvt9Cd/ort44QsvOmKtTE6RvT+JvbMomzKWhFfTYn0uLrysPxYcgZK/HG+Qmkbc+ct3ZDd+WltsMqhvGurwTUp205rizMXBYz0PIGu/dLhDBrJGd1ao+mqYHpInNDfufccn0+8D8TwO3W+aqZDrKnsHDfSNLiosGqKcW68xuClWZamjLPZZSH8LJFFRafOYVjgD40dvtfA88fa8VwnZVa1VglQIHD7kkx60i7At7LeXlXn3LeCLY5fpBJj9yNUAas94Tem+U3bzlN2xtUl4Yu3HdwAtb5nfoZemMeOSlKrPZ35o4fIOuCEWnuDXlz9ohBypoKNsmFqUee5ZoCeoNx3pZk8OyO886LLEISAqP5XLZTwYF30UDdLp2Q57nQKaBhpBn4QTqwJyhBzp9gVM2sfEDib+ghdHm2L7Vl7fykj5qv29zwY4tEZLHMHXgLT+W3RHbd68LumLv5vzhjlYbRJEN0yx+KamsHY5DwXynQWGEum894+0QTEWq9zPSpmDrG8723dbn5U5PDXoh5h9ja1REFB93honmgQTAJqzAMfC/p34bQFwqWqLdjbxfUldgdkcKZR7cjTAzHxKMDCqY7rzI9NPbxVH2dBdw/XUlTFrrrlDwcgEwBm5ol8IQlD3bFEjHpXaZ/ZopevfT+H6qrDkDVfieBI8IEf1vRXlYQ7spqcVWN36FxNSatMYlIDtGvmH3zWJoWa4S0vuLB6kGF8YDeDxtVXBuYydykvIqJLkWeqRxVMZI3JmEJGIFWlYoQGxpvRp2KT7NqbCjTooYtMWQ0vUp3V2+GhRl4MhjhznXDqiaAPub4plgBxIVPyVPyf5MQ5vfFRanG5o5qMB/hJhuwwYSISGgrDs6RuxgtKSar+GZvviIWMp8Hai1CPd//Y+evZKegsyKBa1dqcY4I5y/euJJGFqPfLO+2Tb4QC9CXeUAE26lqUlzWzPWuqwbgpBqjipS85Y9yBuOjprV6bUKthvIfmcsdy4UoDlVvtUsHSD4I9czrxazM5WOpNpWjxe/+DPsnXIiM1TEqvB1WoLOX/WqawTf3Gq+7Y3MjmHzTJMm5Jyz7G7sx1sZaOycBlj+K0Z6VH1U5YvYgysk+Qtxpt5x8d2m2s0tWORNllxRHn+yaPGpNgk7G1yFsEEuK1ZHZXcKvqbwbzNlCE053duG8kvVPfrShJZmLWqxbwV2KqyHr7h2jgZJVxVmIBzQkP5ifpDMlfvp5vvhnqeddvF5gNh3VxkSpERAwtYj/l8dKMxuFQRvL5UjEKX240IzseTIe496l6rC8iW9EtT5+kg2wAprC5b/bufscjb6VsCkriy/WbgclavvFJK3vENYNLwPRoNOnOWhxvegX1D/KgquxZ72fdJ2i2Y4M9fYmTKrZi1QFWxiTrZwAr+B3BlwEm+jd0Hoby0ipB4FflwrGUIujDE8bOBPAXmDekuOvn4ZXd5UKY7qOTjfkWKcZ8t8p/Dj5wC/CEve2XsXGTADbtSbLNkSNcSS7vOB19srRjL3dX06BaVyRVozDUG/vscMnsMcNHJsgDt8AqO4BHzpycq1DHYHYSF2eCUK/ceofofku1866V8KM5lWSF6MSaB7xEGDuLCHv81ujcj9Abgz5eW4pn2JZipoAeL4PEDOeFN24Lv4yKkOXTG9EdVGWCa00f/xGXlmwMTy5OUKqAr7hqawADE3C7eHXPKkIlZTPwwM1dR4ndSQMZl/Dzp/7xbqUTIroIWfHRbzFEOBB0FowDumi/BR+R/S826hYHaf2Vqm8j9jFZkzevPNk7MPw2uYpoHh00+DHjKovg6gLFh/S6Ok1FDLaJ5OhcpH2TqlccFM4FHfK81MZ2cQgrrYjJugKMuQlNTnhsDgH+7y9Z4IsZiqMG/EczYZOD1sPnxGe1KF9gSSXXMS2ei3lZ6VrjOn03MpCoPk7krICrLem8e4lqSlfiCXcFD2YgZZGiCFXEa9fx+SFOph8ONI3dvEzBs+GXa83ueMjRQgwCbsFCHcVNw3FGxFO/XEEqDv+Dv5s6/g5EnAilgoIacwjWjNKSw0TMwUm/mad8wG3GZOpR2GdG+X8/jOlhQXo5qv+jL/HpUkso3/eN3vnCsyl8u7H0L1ZSqAxcps00jojVRIVY8ZlJb4aRYgzTwhH5mPq7Jo/Bw800+C0Of/Wqk7uiR24nSnl3kZipQt5cU43kgbXTpLxuzlYM8uokFUBGn3teBZwhLjRmiBA/6nJAqTmNOBpUqVEi1FEPfbOSfMYm5TqNNvLZegWPllYoqNcZS0vfd15YonvHU/g7org6wVSoVZeR/LE7cBbd9z6qhWnI53Y5eDQ60LzHAm7HNzI88J4nlQcUHqnObRjKBm4SNKubRMUro9Od5+l7X0GJmHrO4FnG8npDaH2c1ECxVpgXLDQad+hMqUki4YfasQ0WGLPXjl+8jYqjSlIJWh7SSPP7R62KiqVoOCJyS75tYX9KRjaACX74p+Dn7uGBYlIAaCpOYYHuws6KaPf/TPKwdHMGgfpaWAhXpgClvcPa8GvxDsDcrMfBwgDPWCsR+gQGnW02Hw5Vkwa4q1F4c6P/gTv5OOg4QxxVw3r4vtn2X4Zf3Bs1ToTqj1k3OdI2G91uOnwozrvMryKoyTZrmZrtsfBAKX1/sNhB6n9iplCBC7lyV4rqoaokxNKM+oEYMN8UN+BAx9jBCD118uujdwR739xMk08YBfvUw7jfFBsluIEgv4ibq4cDBGrnm3HoVfJAoWgx8ccS2xYbV6H20k9eQTb4aKWvF1KCJQHhcIh/gNpL3C2NFq/rGELD09t6Sn2XqBfsUyKZL0TyLvgkLCq7/knXHOqn4YFOpQOjQULVhYbNT/vekR9Ws8wELtFMk7nZ3x4tm4eivxVi8uSQnlv8YJEVwDOicJNTKKxszWPqXKq5wsxQyXBtqM5AiNtI/QDCnYLKZ4NLOzgGliOiPqWh2Wddti2PoK05WC44F1s4u+Azeqo+ehPSWckbi8FdMrU/D98m0aZePr6FgErh7cZO3njtsuXT6ZNkkm3qt4dI8+/OYOpokG+yIKFl4EnOR1hHWSekWuC+gOGLMNuO98QxW3P8MsLlP0KCT85zAFtRvW7iLpxOGVMNzv6gKck5bp0zn3k2roTSd4m7tZ/2uBwNk/C4wHM9QIN+d7Oaurr+9HUJwlllWYlW8C0d6WdvCwCPbEGV6GjmzVDpwxFJTny8i93M59H+4QGP/fGvWVSI4+REZot1bbHjRhy/qJ87k5tHQhGmv9WVBeb5UgcslmsFWLeQ1YkN7O26JrYriT+FRCxhKyvWv3AjEXFk1cS9nMGzgLeSWxownouQ2a/+UpO3kGY3grawEvad5Q3Wj/grx83rSYkp1o+aC1N+wr6FewrvMkOGXRqV2lJK5iqS3K3NQrkqFCDyVjZcHSJfI87B9n7Mtvn8VXcOnDF12U/thdDnpw28cksA9P/qQ28mXCfIgZhKyL9z/hDbU6Q78BQfnEjuYHcQ2BheOQbIvBBFZZmygHnmbFFVZ+b+NL3eM7Su1w4V9JXh0gYtgu4iADJ4HQlNsh4nqTZuaKgl4ZGjXWHsWGR6vgv0eZl1eSff6EzCo47JpQwq9WBR/5uM8QMaz38l74xsIRhS4/HbV1yusUvm4yNwVPyj8NiHMW4IoKTok2hwijIcU/LF+u55L3RR8cPUAVRbi8uxCO0REXTnapK5KRE/I33Mq+e/YG8iByGkE/0OwnJ6e9C9QKDOirCp7U6/TnuPeAksE3+8RQ86aetizy7Lcf61/rbZA+YXvGUUqpI5avhV+5WBrIFxcSe0vSB45Q91AtKha6p51tY+5VBaAfQiyTzdaE5GIT504nk2uwj42Cy44ttt5qxK1mxzF9tBMieKIiIlOcijjruGf3jDUpC3OjE7b9s0pC0ylGH/xHT/YW4/+kk+xQU4ozcA7bIfqMHFKgNgfeey7556LK56VvsOpLMITr334EMmAyPo93S7CQ4Qwgq/wAUlPae4WXpiSwrTKWyIfjVCDUd21+fvmc3eG+8+0z0Y8O0y8lIaq7A0TJ0qy1PajxsfKfNeUjfhjAX67VQ+OpronsmJYJBkXhnFaSRzBtfjdI+qDYGvZXzq0mJIm+WS+LxvwogzwoztddfqGxJSK5bkm0C/iaL7UC58JpUUrDmF2dK9Nrgyj11vVFr8sMcoTWgBnVuGiyET7e2xLZ8qVlk8tf9ZdfpFwX1ziofueN1Pd5H2lvOzDLx3u0m2wXbAB+Gl/Yd+t4HNuAA8iyTJj8jDmANSKqwPbwfs4QpbJ0Fk42FL4/aslG5yvCZhQeCbtwhMoX1Zh/D2JFl79Ko54Ke0ef3bcbsgOvfTQR4KnDTnMMo2Zb1s2r43lPX9kr+kfyiLwyd9qKD34Kc7n1esGeG/cE9R78Lp3fKYlrW+GTlncZ6q/cEFdIlAxBWD5vRl1zuHCIiWpVRFLTuA+F8PU+yiuzu1Y+85UeNOC0TekjdR24tJRUneITQQKM0pEWYe1gg2Mxpt80FvuRMHk//MyqY/EI8rf12aXAebvTrQ9CK4DqqeyPaUJWY1iPF/rYJ7c6ecJ/k2AtRfX5rHGVVbU1TCWxPZ6dm4gmRhLInfNb/RK40oGBmHKN1ovvHGEeMwyhMWk8/Iis+Aolup8FtN7vNkRMKC3oL9Z7FX6/rIgwloVjfZJIdQoERCGbgUi9qseb9rv44n/ny2y90hkPszFdvP3BTbFadetowBSrOKe9nZu78EXYYg4PZuH11BykEfglMLU1WsXm/0ttyNhnbMSW+U13U8U0NyNUIqRcSNHtE9JHW9QBECtOV0g5ioHbDYJLc5vbp/ElB5RrQlxXQcdHHtf9olAg0RWePIN/fDlXhGnGlfuC++4vCgJQFv2YN6B7G3agqED5NxVetWxVYAUIliD10Fhvqhp2NCF1iqa0SFT0mvOI4rynyoOjKs2s7FxbK+ynrxPtZjF7qKvWDk+RkFsPpzmMnN2Dfh+4RavcKXyFwszJBev3iYy8yYA412YzK7H1OaxZSGgTZgsWpnYSXDR+q3QutLEARg2nhdWusclIHYARjr9oHWLbvx+a68oM4Ej46jEVeO/2sf2m4SBkp+L/3LQmd8TpJfxuf3XXl6plfklH8RnhnwmzotJhhd0AKtFl7dc0SaHbGxwWvP4ocbUb7ckEnjoYYu3nBik7xtW/r7+QM1K3Q83PW1kUwjst4AgxondRfpHJ4V43ypVRG/7SW84ThezYnujjH8+KucZzVdyPxr62sjpNLYPvKPlpsfuMZ/79zxZaxFA1H05J+jXS5brpGjVmX99hB0TGcGYlzpf1qOUxIRoEZLNxKyLtqveUb7RoYeBOYdjT0J8i53nbCqVSaZ0gmVnYqkNvD7sg+ZO1T78pDQeqE9BPQqXPVxEia0YPKnSqfV73BZie37p7dCl4+vw1ZTi26sZr0GOXTkAN2FDZJYiQLhH8cpbJBwflZGpFZhIrTdnrP0mHA1Pft7KiL+Gv4L/nAAzMxv1hvtt0NTYgP+Z+u05xKIRHB3lDa2BB8A5MaKrSE3MKNqTzU9p+xUkEoepN4IQGCetdnZgdjoJT2pn+AeoNYc4hHj0TYbHy3107Qxw4+fLAkVW6m+LEsQE+GQ2VAoN/57DjuGfvTtwA951g41XExXjgugh+cvHjJWMpDo1M8PDNSOH4Sq4N176CT2R1/UQut6v9N5vP/WGUXsdIyrgsGEririUyytdQ0A2uMIb7KEtyO9PMkq6NJ6Ez87bNS1wpEzyyvaff/0nXmq7REpxJhkV1AFG5KcNnOn+VozDq/+kFZgGR9L/7Q5a4KoUpKml3xbCSnH4NCuSHpynPsruxF6bcLLwM1eGpieV02D7vDcHYlEEvuHLBIGxIh+eTbIAjflboio/kZSAmhSWH5Ce4WFyxn2wyk5TFyQ02C8oI2ynxN5NYMX03cEA6TV5ieQ9GSKkOaoB3yrTeH8apJ50pqak+wLNUtomhSoBkAMgoLQTRG4G4/6P0PHOTgctANq6pywoW8wPVxWjFA+85RnGBEuBD5Gy7+bAOcPHWMD+3jkZjs0Rt5zU3zujbqj7vLPVr4TriH/xFvdT5Nhk0AsIYq/uH4JsinHh6GA/KZ4Z4giGU2LqC4R6jgMYLJGTM/ZJbvPKaactO0fo0jiGCuw6t8M3S223zntadFY4tBmrLsX1/X4da9ssB0mjZywPjToFoQodTMO0Qj3BYc1gonn4oxgzviO7in6JuAjpta43vONEtDXIfaubF0Dokpy4oTB51vzwie5n+htLkJxeikzWKTpABPlnh2fChtkymyTbuUYJnKEHEtCbH2idwIkBPclA/Ejpwx8WIbkWPKrWs6JW9Ds9H7Z8ZfJFwfxKExHS0iT9/8YgBVL7uzShHXHHBlhfLTARAuhBOZOAboD7rWYT8HpbxPlJLnYuvurTJJpYteQA25IKhNrR5n8DRcFZ4jGJuhocVEltta8Ea0QFCuYYG763/V7wgGmDggrI44XV8cqM3PcueHvrI4fUGxoxNZ+XzYDPNswYnrlIy1nxNw5lqKg3F2rBF8r454TLxXtafn0V6fYZZxvGKmJVgLSKJbOrvEr60+PtJELYfaxiiFw82LE2oob1s72R3iYHP65KbVDOEr6yE4HuLh5hHyPvDjQjR9ch5pigrxxuMEAUALD8CBDY3dZrZqwoePedT6BPQ+dgWXBY5pgv3egR+Q5nKSlM8WBYk4iTKPYa9yRoDb5IDJhW0euKcwrLBplo0Fg+1qrsr+huVu1cTUX7YN4sFIHs/jFtgWRvfJom4cLVsg9ZxTMDFaJIrLuyFuNmB1g921GPxlf2xddMO9XgKSQzOvh2GW+m03l5Q0uLx+woaW0G3QbABcH8/bUrBzZfbT5s3n6/+fynM3p7Cowry2Vm/PWrW8FvJZXAIcIAR9TeoDwYoaR+gFT/Cou0KwsHphG9N1ardX/xxIOj1BBwEvXS6Oy6SAaeTIrNrk94nwvF85VT5dg/kDFSzc4AZ7IXudOx787G3iok9mlm/RGhVK3hsLVLba35oBhxA/56JQKTaYWKrKP33a3LXbzRfLEe5BSJNZBcDeUp0FuxrNbRsT+ZuOIYQX8jdCivnOyXTo0Bene307qNVdfs+hR4+9vb0RaMOUwDLlLRc3OZyCe7xgxX0w/fBUfS21kFSLP9my9XtoLLo6VSMN/L63UZI/6VYp0Z3/4M6jRvuaoaG5tJ28e+N26qUrg31cwTYlxAc+1o25vZ6+gIHFTpxga+fEOh7NSC+yKkxRcNthHnX+RZtEy7aXJHm5JxP+0juNeU4Lxc6B31fR1LSrBU92YCR9HoTRpNb/IV4vZXdU9WLUd0uENvvfFlKG0UFVh4/aMUQ26M+B8M/ks79bo4XmpmQhABUQlKh1iybAyhWopZ4FrlD6sBtwkWNMcxAoVKWcPB2sZrhQwLAPoN68c8YT2Ler74wb5fvLxH+TOvkIj145OmSPofI0djNrVWPjnL0TnBD1MKVpRcK6K/l+mkviF/0rCuFuQWaQTXbNahFEUwKiXhJnO9N1bHcSbgmJnx3Ktd9eP2PVXofp25VC8y4a720p5IoyyHibCRCLS2d/q2ylQjpe2F3FLWFUwHkvA1sIhChuoS2EwO4ElVRIp9U22R7eKHaIdairGejqgtxiPnd+VFMtU6/Oqv3sgpO4XSb4o1YMfCoSc+cq8LPi2maC0P3ejeEmnB5mjKeyk0zL2BeSaGs7YGxiPSVwQXUy1NH1Nv83mXnL3rHuTPNpzXCrqHY1uRf63tvfFqGPJHQIrIwOGIvfzAl0eyf+bGvmDxfFwdB8/oJy+bGikRpfri6eG9jK002nNQq5oGk2lwuurUDJZ+RUW2H6W1lfAW3V3Hnuq1Yj+ZGBz4SDGHXn6q//CXAuLa/rzww3pu+eijWnRG/T5DhWz7afTC//t7bCBoQwPW4CNwl06vhvg+OfUFLtbRo6AmXQXmPBU23vkcRoTe4/bRNrMElnWcBfZvpzDxwL/jE9RgcA4CcQ1fnqBC4071GnCgnHTPQ6wVdFesIefU2yUvDdOcC4cwz4m35RY3JFnIbeBC/Rndu6iwPXEvQftkW/4cwkqeXnQoJf9BnM7J5M6x76TfjrAD6+/GKJ156FfIzJ7iK/i56T1T4Llg1f+vdhq48P27VIEgOcU29fAjHA+t2E6WO09GLryL/7nSBymlVzhOHH6VnOe3z9tN+hpakYobA0PRIKsg+Dg4xg4f0lLTJDPL8k8971p5fCz8Lisxu6nqdRrLgp1KyRf0KiUxFpJ5HV/NfXiyR3sShDVXdx1a3f65c/6IHDC90AMagATyDAwvY3SodfWDTNjWhdRucB0dqusTbzUC8rkmA0WaQdhpRTQcUmustEL14nBSrINst+bTzE0C5LmpF+8RXZzomeNstm9et8MW63Y0sKKfHkVoMYtPObZ5gqmgZEKmsfZyAUP5pndlwKsJZNtigcA+zchklEdWA4b1ilRFm+5LVhKQ0P37kEbnyWj8BHfqtSz1KirVYH6r43+8Y80oxsxQmhI/fyW6KY495Vq1s9p950EQP5kYlid6IvEmqa20wmyt2dNABBAqW39yMfaxG9PSQx2Xmo6RLa3mV4A3Mzk9mPmWztIIk4geGQSdXPjUoD5u3h5lquLVN+uk4IZrq//QGckdhw8IKbHO6VhtZ1m1W2RvbcoOZ/IVIw0fB0p+wIRYGqPN1RtHh7hoDd8f9NonCgnZwRtAKGEGO8MACGekV37D8rM6dmu+5/9iE/LbJFOrs7ZNVs5oIfprk8n1Ds7s74zAbG+C25qHQ552peZnIlOZxJzSi/x+dRnC4rTcuMXTfsW69aLlPTFPfM5NIz93hBD8z25Kq+rGQ+2hxoztiQ0sbZZuwf8BT9OA6z3g92IPZt80aXq6OwzY8AZ2wG+1f1iVGL/kcqWs1ip4fSvd71qV8zdGCarriM/Xs7aAJmUDvdj5OotgUHgHPCakeg0JPCD5xYaq5kDjHNt+O/ZVcDRZXM4meWKoTA+sgMJ9g3kGZLawhQIscVdK3fHPMUl2GmMSIl4YZj/Yg6UFDRRUw7fxnt/JV2Bj0A9DC1dzGfHeUFg7zqGF0auPJQawZLgdAIG7e1OtI00/ZJN+kYSZl5k01PjubkqqjVBuriMryo2YKX1zJotHps45gVuWBEa8ZRqKRF28OEkahY/xiPAFQLwDQgaMt+ny7jaHpJPUnWzckJOzSWamUEnNrUdzDEifPBb1JkPmxE4Bm6AXSDHsfnzLVFuL5agavUKYus3qcxZIGth5zXADnNHuLVjXID9nBId23HlxbJ3OJ+JQKRBUFa9P99U9JpNEjAQHXCm+24Fn8oVWIeT798/qTk0zyJQtW+PamdhgqjVPN8CdWH1WezB85YYx9vOfKzTHdGtu4u3gEvPlWLuInV/2SxpE10VQUFqwW6bee/W1xmMmpKGsn50ahpwvR1O7esBYu2d0400xj9i5N2CHLqSwFMP9+DpHp0XhL1gPgasHc3LXCCkNTSQEzL63mBAVa4DiUzbFixGZDavlNWqwEeKkhtoO3QKMvyrtpueuya87ADrj6yb+rtv8CMKUIRB2nTzwTNd25ASzrqkovKN+dzkIMi+7MRaNc8WXeOp4fVz6dQJ90aoZl0+Wkr9X7k3GoGOT1E4bVwgB0AiiaB3EBaw8k6ku9yOpcgRp0qe5WXMEa75VCI3/gyJDgaTDxsGZMfXgVFfPPLCzTx/227Dq3wwL799HaGdjJydE3Sl0z1hVDrYMNvdSDgiMKp6GqcutCXy3xRHFSqglgPFzu6U221JRLWl8kxsdOgV+G5eOT6TYKGd8EZzggiDEo/70NOzz7c4FQ2SzgUCy8en/0ROjhUc5hn5UwJWh9O6xPb+9ja5mSRs0nAT4ICIsaNv8B7+QkzJCsAJ6Tp0ovB8SNd3wzRyJ1JhhUu6cgEGRmjNSS3MeEDroO0BKYi5kmGzkUEKiArzIng2MZqt6uZdaTHaBRmUyV6nTsA6ETIJMJHdMq/KSLLGnMpWLamldjSy+YV5wlO4HJ3/tD8B8RNfOee2v39KM6ANJMWJvc+fpViXEPC1MyQ1YCTIXdmIxoBStkE8HLntPIw0Y76eH1AWmuLDiit3LJ4Cd4IKp9XC+pcXB5F1YdR76HK63pGwfm+N5gfcKiLpAa/PzpHi1ybcZrQGyp9+gzVR649PNLjga19wjn7ywRrZd4JuBJ1YYNqxHFT0gAUI8iH+zKjjUsjRaPoiw7mpZH8+g79CnAZnE5hurv50u15nqCd4Dgl/EqoSs6NxPKtDeNFSPtxuAYjRWshQjauQLSY4uqwVx+Mo/8JJyUBvATtttWJHHek/NRQYngIpnLyh63fjA7weJURlN75xsi/BttJN9SMcpLkAExvx5gjAAW3pAffHfFHMSOWEISssmZj6p3NWTlnn06loNf2kZnPePtLfW8vD2j7bMuW8yr38cLdR3qLnEoWNhE27Yeg8Y0PMk4jajA5U4VAq2A98uuZEZ0t5C4aBPWedGl1MLQPxCdww/0UvndEbgdmbv2Qfwo6RFaXJNdhOUnrnh4X5eRjItSFwnc6GwNU2wWjeV0JiMDJiV99/aul1YoIgkXDKE3JEmlWcEB46tcR2WxptDldOzimn9rbEVZOZxziiKqxjjf18cUjfODJyHKDb3ArNZYupxyOC99RtQXzS84CDXYccehS9nJu3/ZgPlsi5XV5kDbGcDVXG6OjFdYgDMklGMTe3N1YkvIH7pEGYByVrRLq4Jf/Mz2gNhYIbfAm2tFnc2Jvn3sK3vifWX9r56TjLLgcPXROf17VjtQI57PpKEjD3noPWJspZKdJCKavLr4+ZDagRSiJ9mZQ3L6MmKZf28EIapE2JkXrQwtrcSON9DV6KjgmpT6FN/sWJ0V7V+HuZwsePDMAwO8tayy5hV18QXLqouRjlaj7Tams0WwIz2aLv5Q2I1ephcO+0aOpyrjchoj9+8R1ATi3j4yySRZgCDXwZHqXGTOViATXGlt9RlOsfS/PKeU/5PTGDiLt7Y4s37MDdZcuzcXnsW2zgLTacogiZ8OkcAfKzPf04Y62bHXs12Sdnq8fZCaf5jlj2svooFJJLCuk9fRhDUNK90ilHsWmXKGiMJJYRT0w3dRq7Ld1+v9aIIDJ29pAYvSBi1KwS+UUwDypKaPOdt4Wbl9qYGeWhwZr1+A5G590LFoXal/rGOx2WHC+K+exNJoFYYkuCit0u3Oyr6oipiYCx02rw2Qzfzm+6ASLlwxSEI2LAJP9uPUDHXgdhWd8bXuOXdtr2UbRSRjPsDaYJ1haMnf6OD8GiqEzTIcUhh8LlZ9Jg6xU/lrO5rC1J82jmdYtUmiU1dflPsDL7f0zmSA+PHXDBxM+Y16+3zRtWxDiLX7LWoCZqDx0M+N3dQPpCvXoELeBKVlElWOl6opcjc19Hx2/VAFDgFQwGyZMFwPYUIyXFZRExqXKbK1Dq5OFLs4Wi6pqmNXpzkwkpOAt7+yIMpamnXB3O9P8MlPwcRHVnE9T8ffpDYYD31/43ZH1EnkPwU0o9DwLzdSHBVCI/BDP/MbYh0qsZhpwvYTr43DTuiXnCD9F+tkfP17+YXcVw+cgc7o4eML5nMp8dLGL/4Zjf5YVXhR6lJzZ7+jfr/DEIaJ5T2HcKNDit0C8aQ5WJrt782mSjHnVYpJ7eUHxDgfp1SOCIThHAeC9+x2meXRgRU+WZu3ahbpabUTLpXVzVcV3JHVNRaa7C5WlmM38WVCnO+3gwcLkRAks5peGaVKDTETjClHHKqOCsEpfxurzx0cFjPEQbd8pFVxcCKlL1/BcjlO9bDg0iF+stHPrPvk2LDM6cDE9CfTcOB6RJzcm38/2+jaEjn4MtgijBrWv8FLz14+z/BIi9Sm7gFfBwHxgDC+FOk5rgmSjjSzRin04nyW4qZbP6CfN+cVGSLicNvglwnBe1RDWj+b3QjRMSgGCKUHlLE9Jc/4rnly+CbS5O6aU/AiTCqC/P36Dm3JHNbYJaAAZPPaAczhYV5e622WLSKeZ6Z18HO6+lyL7YCov+f9i6T+qe1w5mSkq8pbJqFvp2txMOob21wnmLEZKWcW1JmsIZ46xhJN2HMgQHn+s0pHe/2VeiOEVyMyKfOGYkNYctTzid8wfdMeHkyjME7DHWG4X1yUpyA8jp2j4UQDGrnPr4e6+XRgHu7L75D0XwuTsFaLiKkzqkfP9+5rLUa03iqRyFGdsSfIlbHNOpI6fiSgOwphmkQqgGmmsqHkYvaEJnOpxOyMApI9J2kuLx68RA3SQ6o5NcVwshyJQh37OVgvnlYhDEvYXbfWWLLuUl/rlFrZ94dm+/XywtPlsQhhfVQV/XDWfGOx+pSAkzW7ZiAmjqaDNKdh6sL5ZfC5sXG0rXQFI1qXsLa2SwcmXmWxsgyMR8OE5osK02hKZskMTZbRDNxjy5Rd9523Wz8o45EqgUxQVH/LQnv0YJwRfsJhyg2RfKuEoyri8Cb2eklN1Ed26V9K84Qw9VLMCsDYKaszsp4WAM9PdwkT0lI1xdxDNJC0gR85H7obt58hPXzekjZhkBakEtJV9xyv49RWupOj7cOawG0eMWKOWbiHBSHxMQl8DkT6818SuAuA5Y9VuskEXk8aPCaCC/9KtxWO77yS5lz4nIVvPUOrPKhdCM87w3etmVJNhXyih+wl4ets9PNZ76SmcykxHWWSVKF3FnxehAfNXfsAfvwlPOV+I1zPv/7V2+kFWcOGP7k9oBc4qY51bu0L/OL9IdPfJiWDCDJx/sxYWyhqBVzPZMQmQHYrm4a72BXU9WDVy6KhfnwARIXgEUapiAmoaYUlKqM3mL3hSSmma28F/qi74d5zPterDxWgYs+yyxYUxzSq4Rlm50Z/nhAzX6iccRCz1ZRBZ58YCEHKHRfV+5Cwf3UvSqhKlwjq5CG8wFx4gJagtmgtQVAPJpb7qnmTby6cQXVhFxyU6gjSxhnSJaOI/Yeog97ZB0Ge+WgXM6J7fmiQlEfRlFPxqP4phg2pr2QRfcjHFhgaFb+R3S7IezFT7797vsPuZvK/vUl2FRbtGgra3VOkmH7FPVTAArbZHE3f7f0b08bfqpQ+o9qEmeP7kfYtG9laSl+VO2jnuSV+6dUc9IsmqvLSLJkS49iJMsQelJq/p9ZAwujUP/Lvf9kEYQFbb7NZ3zpILqfdUofYekoKVctAtk8lD98uUZ5PpkRA0YlZGTdrKMiz4mJh8aDJsLpy7KzUWtW+A0nhKeNxGxi9p+oKhrAweyf2QXt8oeTjdCGK50KtSDlDkk50ClF+52I9kEwaY/H1Se2tAo8VmUvwD6n/Z3UMUi0qA6oshKg8ssxwj30rqniGy6yDF5bDAUIYTosZwmqmu2IFMsmUe8YpE+aUw3KlpmZ/2spD+TyGavsh7VPBB0840rBjIf9NoOPdQwpKpED7S83qzdqXM/vXOLSnXmYqXH2dq9uDu0BJqiGpfsmXxjkZuoDNCRqBe+/ja4RS0a1zEOw9bZAZGQHtPH3SfgXC4RJ3al8gggfDtvCUl40J63RbXrP0I2NcipN3LiV+P0iOwt4kIwvq0jx5PxoZ4lPhRB2AMy4Dbm192cE9a5l3UaUxF3at6tv9abQpw7Wq2LZT434dJAYvaNRDfrfJ9TqxSsA+hbQ2ZXuzT7rpgU8nM005qT6sUmjM4tbDYvcGJUSDIeOyfOEqgSOpJxZT8bVKw7aPtsgcCqrJBP4v2pPumbiXeWs34cMiSdgCKGiB4fK9W8HQ7sUPbIkRG/aVrBO18PjpStO246AwwaKoNWJLkbuKfm2PvwRgQvWRJinFINzzTGFEX2EGZtqlnSmMV/4zaN20igwBx29bmGRAV9FLWUr7dgqqFIFvISNzj7Wid2ODTcvQUg2FHHJn1M7KM7TdgcD2PhAs/4PCE18C0U24PUaXLsOKOGmSH4nR78NXCsAAWx9Lk2YsIGzU7PlNf81XiVanFOh9eW4qJiZA8m9BHI2gShPn0wJ5CKb0UMzMwS8fqjZjA6xuSQgk3Ccn0981+OiWj964bbzomKzazrk9PktN7AjYEecU4wWSEef3/PL9sa0G4fQvou4ZMgSzqii6dJ5Lc0i6WLI+sSYWQQpCKQ6blLFPcYrrvE66HCvZUdQ4m0cvF9mxqJp0aY+WYupJaunLw6z+QrlN66VYfRbt+lW55SixsLJl9h+Nx95WJBP52oM9+uNCyaM4pDQjkbwZrwiVr5qgU7bEWoYNxQVjCeuRGiZIcBEVqNksg2L4a+xIft+BVKk34hQk63hnJcEQHGNl9g8cN07lVZ/OaH9D1ZguVezgdD5dIKu564DlV/gj3at5aw5ujbdQgVPK4rKDNNpX4tzLGBuWzon1xN4TQj0PdbT7PHOdJiKC2t15Gsi+7eIY0TcXK60ZvANmXRWrT+U8OMJC9tIc6CbV+A1pCB9qnYjDksR9MzysIm/9Jw+9uwQIUKYRSOj3QmjXEVOEiDYgLWPfL687LoQnDyf2R8n1EOd5sFe4kSe6tHoujn0ZZIPa1gWSWlff8UqFwLY0DIK33nowkZ41SXnew1GwYKrwr5/EGfmvJVAz9bUU0CKCh9lz8+SMvaB60FrIP8HwekUKyLOfIXwrS2Ln7vbgx7PBvT9HlZ/35Q/4LQsZro7f8B5a6tflhiYdebXr9gB1AKCvJgnA7r7EpEoJYoj2OQyxhfze0Ja7UfHCt/UUhreXuEExufva0LFoo3tR9bEX92R1Q0pfyb4jaDbd7AIuriI8CXA18f0ymANr1bjzYk+yGmDMWqpwvKQDGqWqyKraMQsRlNU4KrildlDWmrzHSIRC2hSbhvQLWkWW3W/INNh81qSiOJuWlKqlDaVjwfbIzcFiQEZRM60Friw8LcJgFog/Wf3Ba2fsWuHMpxJBo+Px6MP3VCT7BLT+/QCFTnpOSGFakbIlzfkmHQa2lg6zZfoyLBLfSw3VvddRVTN/B3xfdK523u06eKoeGz4Eak96f4sT3UbxNfiTV3UU22/L+D6qbvFY9chHYuPy2BgM12KFwv+B2ymGZJecyGdX8wEnNX3atYLS2M3ObFos9XAj3Mc0BvQS6x5Z8Yr0TnebpgaVT3BrcF+TQEUudnyT6QCJ9kpZCjmsi1dRZZixmBCe/TT7dD33ZbrJZbhVtgN/hcmOsPqsoKHg9OjBYRICYFPiWAmgVDSPzwktQ6HCJZ3xro78csCfKQQbXQUhgiSqFJz//7jCkT1P5y7B5nUYsDuU/9wzYX3HowzrZt75WmRFqBZZ05K3PTMyS85VZ8zJW4MPFZI8c95IKL6QhmB32xs1tAHz/QEe6RpXaWQYO9x/1MDcj4Hxyh+3uRZT61F21TqOSQztNONF9De7vEHikvgWqGVAJxtQgRuFTtBbFj6Y/CQyg8bLbJEj+m/yUQrmzOgaqmOOrYtg4RKqoyinF0ys9HBtfRW8zvbOwkd/njKQtIwnrgNVd5/n+leVgmQMMoOjA57TL8hVS6nWpo7ipXRpqwy0Fsu5Cq4eqej/s566vvv8HzwUcwdHSOTBVR0K/OGhj24zLRhpej8q/GKTgxXhf6Dc8UB9oeYt2b2QT3XjCEuxRpTWVe0dAnkPg14dacMSHBcJ6rELg0ntAlQeWso19rYJcewSEqmHNcUMdqNY7sz7ANY9QyBWpezDQqfu77DXc10lMKjjmd1w8Fbevv0Xo28i6kkFA5bNeqiIZAu7COkaez2YAOBAqND1XSsvggLVQwGau1t0JRT3jgyaM4DNUxNLo/y5jHrWNKyjfM2gHtpgOPNYJDFtLvXp+dhOoBhfVjsyuf0p4iLv0ShpO9g0KFLFs3g2auM9UPLJpHDa4ZjmBjOzWcQz2ANfvjTsmya71Ct5VS5x5FZZJ+AWj2kciNH+lDXMFkM+3ZYJusPgb7msT8xxbSyaj59qv4UuFzmQhpJejWXNjvFOfUwTfuVlOlV3sji15AVjAkHwvtxcVr7c80D8TVjn9JowVauE3/sFnPlV4EvrRzE8prN0NUeGRnudrXq+kLko/gzsPGfjfEG8X9I0ObGmfzsUcg66VjjHI4EJ9IqoG8W7YnD6P6XeVIKKtrGCAc0KJpVSKLZ4AqeAOGbAxkhZvhzHP5mCgaRM0R2Uu+2wXRp+c5Fx0g487hraLIq3TPXakiU1zYFiYeXLVAN/yvi8rHwIJdJRNDc+qk+xvXXOUJ3IuXLHZhxezq9Rl9ekjTiJDH+aNtRKuV3VDrIrpQSwxHA9o6UVfIG8ZncIyQmKR3Eu1yT7JWYlXbCV+s9EJsf+qrcpOJ4CEmkvOh1u7Yh5AHjA26rVPapObe7XEEZORpJv/t0lKJ0u80++dfPeFfIhzxX46T+w+1MD8B9RSkawjcS+xlpl2Mni9E3ldti6Rt3477q0z9p7ugW3CmvRp3fXDE4ZwokqRJ7sHHVeIJcwcyYyyc4Xdi3z7gFJApgWenl6HdUKumXCFLC8wthU9K9GhuulQHK42d4cDAb0xPQFAEuDWTt27ApFVguiTZsAipnv2M6rPh5aCvNEv27YQDhmaNMES0+M4Fhh96Pq+8giZksz9jv3gs61cQJmhsKzByZQJsSScI7i6RXauFy7abLR/rJSLhKUCbnmvFxf0+R0ZbKBYdUcZXifTsaXNwMaTeRn5518bKbHQEPtSrmGNJlj87iDIijBJshXoInOdtyxdQTm2n4h7pTLw1x7ydMuGAwBK/8aZKFZbj0KUHtc/giaxV25lbj7BeX+YsXZd6P92TlHzZlsBlAQanBFlJw0rFY+Pw85E9j58iEBvHFnciDknNGB/iD76+ZiAWjp4b1eumSs6FsK5iba0DYsOeoeRlKpA/oexxrMTldSp7tShaQdVafG6LcvAWbTaQyFZ9yjpWBAncMCVDaz9UZGSN61mHGQiKOs7mV93U0DL7DT49Nt1TwMAdA26Zs5bxZl5ykd+DvX/v7AYR+IVVFz7z8RzEoxMeA+lJGoamCPhiq2Sme1dP3vJDj8SV1b3T+xQmmzaoKdw0pykZt4k9tQ3EJKeJGaTZWRWKvozyFs0OcFVICaweoruY1kVuPzHSkNS/f7xWOqT/BlTXefvspiS8WnPce334I/15oGnhFNtKA5Yeb37vE8b5gxKUopHroHwdSXzDlTBKy5mQvhM2CPV0P8VEc/JSIX9jV4modef7zd++AkKkDVKuO8nE9UTrsgX+S8U2U0SO6Dq+CFnVzIYeNFpP8Pvcml98dBWgi4jITfqwEB9+b0oqglvHCRjhd0zNwL4b6PPoIlcg26CB/K13ozXrsBu8nlGEgGnNTtpLT1dV/eHxQRH8LJMZlVtpxhCEIST1Xxgj9dZM0KSUQc36PY4GoovhtU7vvhqbn+HVdjntTd3wfnbZyo68q8+LW+14g/db11Fbei2CYOyCk8Nvur0SFPj9LnRk9SwV/7nXPGgUbSvcQ1yVnFHRBMZRogjm/Zn3knCH583JxW1caHZv+S8tT/ZlEcB0dhey38rSqPNT1cXswa/1F5ks3lF1IVCbGkwdYBZkUc5AW8ir67HSXWvq1n7kKvur8oNbxxgPUFMnCC5Fr+oIgCWrcfdcN5WlUx6TyqgMobo42Rv90lhsINfYB1cb9nqwJa1IYO3DnbmvTP+fy2JXPTyW3j7FBFs8GfFhlMPgj2Q3xrmmAUi4z4KFy2Agba2GxSx0ngYjGAzK9mJpNPvosRV83KY2EGW0KaNYqgVxT/MKieiKe5huOveaKWNaTYcmhR6wbpoXUdrpRz7h7BeAr/n0HB5PqrQaUH5r+G4WyaCi1UrPUAUODjLboYWf/BovNtlT4q6XY6l4Wl7gWvzWQbYQudOJSroMqRM/lIufhYsyMRIP70Jbg/O2/URS+yPHzSd+rLUEUbWeyjZeTiPsjRFWlg3wLZPxGIVC4onNXQnsyqB9wWOvcQluCktIgrzP0C6ktNL9+XisHVDxdZh/guNhFPM7shpqYfeFZaMB939X6XYJocwgJzPwvbyHi6f1HkS9JjtxlAguDHQk490PORZReHKgxaU7DTOcS37RlMzwxxvvJSUSoivxa+6zFoeTZgr6CQOdmxycXMW61UmvLUnu4o0uiYyr9YTlAAQR9x5OMADs8aeJ2Q+slfjz676/brmjhwGQQoVKedBrrX07c8xQJG2HvbsVF7AT1cPHsEAt9iq3CNYSGuf7ypR0lb2yI/wT2IpnCiQhNizhYAJJo3jfkEpuTLGOwtTGTVVIs5O6ecSbfvrFTOynM/gRxa4OBEhrNWjLR2QdVktZjaq9y8tBcHurCu418eTrqdzFpMcpi1VFCu6ZBdpMMwVoYtF+RuS1h1Qa5DnaEuWac48eLQCGfdWt/1Ss7A9qpD1qe1jMoiSJ2cuSydZsI6rOBA586IqBuWJo/q2ToihIfjHNz3ZLxSBujVKwE66TX5rdXyOtKzV7HtiMftty9z6NqGfiY8NKQYLyNp8VZ7gmQaL2f8pTKNsheBRgJudwTSbN3s10qmXYh1/qx7RRiMerQZRt3BQt7LJWXHNfuH5rL5SGtl0DZjTH1MBAMwZW2ITWCvOcG3R4Zj+5UWacQfn0SKJmq7Ei7stj+nlErNZ9b/vP58wI3lM1jZLQ6R8EPfIHpKfWSsKVb9F0A7jI9J9kG++5RNo2pRqg1FR5lXSNUSdupghL4opgVrBylwHKczYiBF9Ze/YlliMJLkD6WTQRysTCpPRIH9PYnerzgagCR4wra+NWYUezkw3pnnqwjawLHY3VhSJ3NkcDy2xcy0EpVlUq0IQ6NxsLw78CZnC+5+9codGD0k2I7AlqEiVSGlVNuJPsMViRHfsVjJ1Lozk7/4AmnCDyIjfQ76VfKaNgkE2UJ4C1B3vjxGsa08Lz5oCfZnCfK2OX3oG8bqh3pVGdZf8dGQn3DY42Fjd8Bc5Ark0rGAgOJbROSYmeM/WLnkR53kWtEC/7H9MqtGOwCCoKOu8XPXP7OZxRFVTQLpTu1FUh0btNMvALQSv+bEw+Vucb4rGQORNBCYajXfou5D0tylGcMupVyWEM7f74Y72v4M/JpRj+I4aQFZ7OvzcWXWhPTHMyEGb1DE8AMDLYWu4bSgE1nLPvv/Iv/RSl25AUthlMNcNbMC5ecT0+nwLxJdbfzlGC3T7zBLRqhxj2sit09SgD6XH9TX9pFbYpHkjh+bIbZQI3225hhLAR0pXr4syOoZa8okT9cIghRDNwFG3xxPJPQi9Fjfm67/NZhNWdjbMAFNUpJWoQDsa5adHq/IsTSX1XA/thr56xHYqfcGZlaCgmRmpibd3CtqmrEfe9ddsXPn/at4TUA57pEc3HKp9Thkaa8yNxfMEjOsMwJFVAcF9nNsuX/nX5Hx3hPn4LS8HEe/uq9yrpAR01hm+NCIfK7UVeqaTpFOKIOD8XAwf6cAFrep6TW4AZlg7YUA4Z3MzR3hUJR4Ec2vI49cG9JtMGyTeigdulnPcDg8Tt64T1ypUfuDYO4Eod9W6qliJDARc3S/Ssg3BkvtIVUGv8//LCmtvF2v6l6t3ZhHtTo8c7QRbkqSs2+b8U92CG6sJ3wIdmORXdcRfbO++c1LHq+dMJ0aM1X8sKX8pKm43BKwODUsNH0DilTujHfDEglgPwo8JnFEAbqaFTUk76oBC0y9/qlEvkDg/Mk5gYJHCa0bYJsJsmTNMf8KNBSj+APORSnWEeQxsdhxrRymjkyvULjUftr/8DtSMSJ5L1CN07zdZJT5Tm4RhV50x1l/3twHIriwNFkCJLFHYSvqG2om21wsiUP87a9ma3pfEgYKFFEaAzjHVtCbup4IZBuHZyFpI/YqL1+wxLNjzvnAJb81hKXvC8DHsecQNNtfNg8+StSptdiu6QAEs7/6QywrE7dFnMw+zcltnGAyNGOPsdMgkZrBR6GIVPeu/5hcKusCiVOg2lfp7yeaNNoxR9qEqNnyKzXixSBY+IUpUQtkd0FBEa/LEQwj8N8G3RiivFvIpTrR3P28ZBCPHedygKoBihmcxu4im5PmQenAK+rau/UZ7Unrs7Oqf2uVM3ReZTkL6ONsQpselR1ss3QnUTSsR3o10k4C/GW8LVIC/c53mSm3+tH5YGd1sOOAdgATVbT9Mf038BzzrKib+9vALJoZ9AQqJCF6JeNqDZ/jdaf2cc6nCcvnPQvcnigaExENypNBiFev3UDUiSLFt+FK8WwjEmDqGyZ1vqwH9HLt6BCzPnBQO+5RuLgZezig4tGTv75MZVDfB+WHMlRxmUq7aatEBQk10O1UGpeFec4MkwfUOgxtrY061BiMQa2Zlkps5HAq5SnIcsmN1Eu/e+rTBY3fFX40OOhYDTfwXml0o6hJxiEcChtD85ibmzHMp8pwt+ssAY+OdOs4XL6QNeDA+db16RlxT4RzXyBqpgi8SXwKRlZNHsygoWofGXEoL8uaXU8KNRyMPUvH9J4iFFBcikHZdbRcO1ZtUqnhWhlXaafrGV2mkR932A8knqnXrstKrkuZCalcVbRtyBW7IpW+YqV/F/LdfnFoir4ZltbkCBMhiskJvdHzrc1HwwttKZeVuD0V9+x9JOT5L0WcqBHfKpQs6sT7jaZvFwk/TepJNxp+sPojj6wuhEA2/LZSn401fUqaVY49nsYNmtU9FM9ktCdKAMT/mrSc0uYeRSA3ifPAevsPY+9Ky7d6incoggBYj/tRrIknbKzgYJbdhIPA/6p1n6tx5j7oHhtt5w2sPvDjh3qO+rEy4GEzSM8rBZ2VvjdEqTepVreokqjjdUb1gSN+IAgkBWZ1QlLAhVDeaVPTgNoqQfOLiYnSPYu4zc+DQ4J2vx+sNFlZjrilI8Q01xDrxzPqEvVRXR8gDo6ArGjkKhYl6AwBy14LWE3LpAzn1U6+Jwhn4xPNMcBnDNzint/KEYAAfbLznXXvuIijAdgYj6dw8VZu3iYmTYYPpzd/fckE7fXwcZAm2b1kZ/aztvcMeyCHGCNUs8uUr3cLdYDTg/oXPxiX3iGjCAoNTgIeZQKc50QnEEuIAAEZWIG92Zu6KBBhNpZhL1qTLi5Im2AyjdVXFjPI1+Tlii2Ze/4imInclPjcQZ7JljfSor0OqNt0BtxbxR0GxS2EnNhR6eBjn06slBTgcuwVPJ9eeOgRFFQR2iu44yS6ACvTEoC0hnPvj0RlJB19iOWBehrbuy6OfazmNrNG9VlykTDcTUy/4o12E5BwBEAp5rs3PHpGXO63CzwIyew6OA4uCoeSeQT76Sdyt615bwpBnV+A0qAb2I1lBBDbBQ5Vgm+PjgUvazbfEaXRTxUtR3qyfvUqQJ41KkdJ8Rl4BbZYrkJmbBgI2MDDENOrZmKC0+iiFXnqdcoaB9Epz4j8Zz49sNPQ2hXvtSt6OvM56e09iS80y0VBYe9LC9xBiQGVDPPF6BHsrmRLRkS87KaxfsnkyrB21yY7Lva6tnHTHoRGz3KIyb+ZCLDHivJK5mcnPl24azS9N6FSj9LbUYF4miO8wbf3BxYY5AkmJCqR3hc4A+dpE1Xgmr/kTRCRthyt9NHBAqxTeV26Brs6qYDq3xYtRE9kM3XsVKkSMa5L2zUpDuHT74p9SmMmE0BwGfAvyc6voVo5ePXDof37HkNdG/5Kf8qdK5gtxLg33hTs7I5sJATHkZ/iL83cE5ztCdr4A2ymduUa7jSwbkUJPj5U4Wr6m9XKMVNFKTPhm768UqUtRDgFK3RQzqik3T8D9ya+MWLE0sBh05/A/n0cwG5zKYxod5QCZ/zaKRv+L2nKBp8tN7sDqJelvgawqdlZlOSHSLgzHNVS5Mk/Q2VrXAjKPXyn9wgOs98bcUgKQZmEtNIq25Exu/yB+71znb9F8bij45pLIULllQkLl3CpiDuIYcS8RREWWnIOEEmlrizjgrbjvt6DvO2Vj2YDMytPdqd22jWw0sIphjN79Gm8+Vndv0hr9hEcsT+fciUSE02AZOXcENbjAENi8w/f2y0oSvs/8/qvgbP2RJDJ6FhZWsvAzlss1G9tvh7DHy7p9LEsdhlE0opzKUxFlnXYPWnxt8SdTcVAn6tWWVoKLZwGePE30B4Su1nq0kDSfRzU4HQCD0SnOnEbBSGyTaZ+HkbWdu3PJ38NwYIJ0U0cJPttN0mkZo09dXPjy7Cw4m5IMeMj0ah0rBIPRbU5ypyN9Umt0CdU0Qv40AgbAEjosLstvpWz8V2pm4kKLwGpL6n2n4lufVlfZSe39ovsUsOQPlN3xYZZcGZhaJcdLk6ZXlb/R9uc4gWSSf1otvax9PlkoEZT8w6e3T4ddfVX33Y8IVbjQBGL7jOSSFOyXZnmTxmj2OuHGjOGwJS65vM/x9llFBIyroPStVzwuy4aJdo53SVyTxI5y+1oFoJSn96A6T3aI/Oqf5gDbjiqoUezYL58G+7B97yQiPGWEf5NZgOP5fglksWUjBK4t4BtePAqCFgV3Fk1Md4498BDUSOuuRQKP3Dl19rfdYDvlbIJBsNafI9s8wfbxdZaGF1d8G1GNqAVE80jaYO0g3VZveXuZ0rdoV8SbbhNAywSu4utuYUN1IMMu63bXY3LUqMKgA/0zNDlVQ+NGyDRK7C8TA7P87IlAKsOQp2aZtSXpB7y27RUftZZfLTNwgpZlgQlHzjp8R4rjV4PtSzbqNUvBjd4U6EWGsgx/yCIdroiHynAnad1UidXlXG+p4qGpCLZ8dLRGOjxaesL5kkfoctC0BO6lIE/j+bKH8CxdbUg4r3zpuT5cwiy2kJntxe1s453+ohjrszuko76Ko4F6RyJD5Pi7OVQaIgIexO4AH45e1p9ujXBvITjfRRMJdJPd8Ys3QyIrFb7naddSVeul3MBwA8oAjKk5e8fV013A7Kjtj4aGXFCAMKdI1/ye9ic8ZTDXv7bAKDgqKENCY1DkfpAW3ujaBzHi4wc/JYa7EEzyzMJ/Lk6t3Y2LFn72iPWaV4ISOve3JAM3Tn+Q33T0XbnNNcLKWNfCv9JXsLemFukjGpiSgWMmlL90jUKdtDY7TP3+ilCcfUsUFVgipjz2W2j06pVDRzssHsreRGIj/XCag7samUPIg8QV4LiiUQTcGGAXROQFFxBzbIv0nwkM2FExn3haynAVNU7PXsKvEq6ShQ96TEE7nrx266U9M0oBY/1H63+1YiFiHTBlxXTXW2zy557pUBAYi41Io81JlZsJ64vE5sK8QZ3qgRUuUbHd8HDiZWVXbolmNvWHnJnR1ZHuaI2tvwehUT1KZplJqK9q/UjVUHEDabZw0OKjBSQwm3qTTLTDc=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TAGS" val="1"/>
  <p:tag name="MEKKOXML1" val="4HooU0THZk28POP9trq+pbTvvzd/gcV8t56cq85kb3NDTsUhojRA0EsgEHHMH7oYP1SYpn09ysXVivguJdhTvfyVMsBLTGvcX7WPTor/CmWiWcfk2RmY+GE6Q6T90sFUr0lg9IPP9y8umrse/9AoLT5R0GKq+XM9pr/aTyOTf0wptcuHbHxeyqBm9svU01qeeEM1v0hpSHUgirOnAK/wuvl5jf/09ap99kD5plAaxXVCNjEk7eSh8qzNCHVzDwg4tv+lTGG6Db5+KUUavBPoiliMC3X9War5X/WM20nA0a3ZyBuReIaqDHFemqWco9yxEFZc5RhIYFDxCCtaF63Gjz0TeNrdhkGnSSf+qIi1ltlKka5lPyi/+tQs1vBvS/Xu6/hNUjNR00hkI4NsjaUa+TFQ0+14gmi2A5DxQCRK74MauCsLncRDGt7qg2hk2F2935u5nvQTb/WciSuEZ4KRgYU3eIlvrvaz+A4qoRs/99jRiMYbUxnJGyfILRdmRvPzpp4diDEOCzKAoZbvvs3MDhumZX1U1dQdIxhztSN7MRh1Bt8km6fmd6aQdt1WLLaX0VkRuDRFc1U2ii0xt3leeNq7pEw15I2SUtSagYcSkZS/mox6NELD+TPQCtHAEBlmNegUINCifbYFRSmHwBtIOQP2me20vn3XxFWOCjvhdaOotzJAS0GfOjq5AKkR90cKdtRK49fKDsQcSWH4AdQtfhwxlYFTaesigQKh5pGOHTbvviEPSefjJWmgB6XQltdGav+L53OnUH1/xKFwG0tVpRk3P5d2BOfgqxw4HKylxiDnJdwX6onHcIrD8pQyJDiOfuzsrKPVHscxcnijLFmtdpFjmpJjXpdhGnVTNtfhpzCXhUKarZv1Kfe/9rS0YNpOFbf0pBxSjXWkQwDLilVeJahP6ReKewVYYUDh8CTwTgGirGaj3fqesL4+MjmyxxnURrWzvWo6mHe4pLtaLYhGKRCHucxvkIuA25JkZqbHyqX7XYZF1IPsjDFFTBiZY2tGky3zlPfQvT/9RcIoqs0ewXpBia7VS67UBUgW+8mS3DuzxDyQLmY8UCuZ49NZyCkcZBDjRjcEx5SgtmzjDkN2e36HXrJ/q1Mo3/dY/ngyhf8TTzF+9rlcJP1Qd7KnhpoH48zDQFz/KjHwVlu0tP4cjaKreNshdztIU/IXAZkTB90tBePx+VX0r0M3JqpdkwLyPs2liWcnqf7P90YXzGkeawk6ZdS5ELtJSH9sbzTBnVHosU/63AHXA8REggSW01PQEgv0DFNd0vY1GL2ymQDAwdD32QyNXML0d7AgLN9teld6JpN6jIrhO4POGKDshDTn6Ma/wdjrr2Go1fh/tsQaN8goXS4gAVJ3SFgI7Hz8FNgfprcvcClH3JPHDTMJUPwd7j8OFu/65LNNcLEnVxH00+9LPsb+esuc3SPri15uwZsuhTomtO0NqUtm2UJx/w/CwWNsBbKvkTGiu5jcLHrGIZz4oCiVm+zJqLMr2Rv3vjWImub1C7ERF5RGMry9jyDeyzKUnNelIXGrtB7w8HkpbQNTlJc9X4/F3FzZgtmgA3QJWQXp9JeVzL7T5FR5b3V1o3BL68z3HQCgrEOnLb6d1mO7TM9q1VWdXldsM8l3hMIMDKLmKSYf/+FpmULja1wc3XJK9rFy02U2hgd0RlBZEqmEhN+9/ZUUCnRcoceT2xJryDK6wQyapVy6cfXhFrAJx1N6xBR/GHWd6VeW902rT5edugV2Vim7/9aiEvWJujvAW34w3E9oocaWrYjdzZq0xvxIybnT5k0HMRCRYV5QmnTRvbfU3S1C4cKS/SltSDTE4QmPutWwd+CkfGYFregnzzcjEiz+lTBuZ7XssvRwegr4tKaOCc53+vQdV+MabZLfsaZ0taFgZ3dTVjJ2HWvPDnFMg+gbWd96Gzup4nFndp2MzGoi9DDrWdAunaiqLxmrSS5Bj3Zd6EoicF7qLfRQ+/zf6tGmcPgNRrhHs0EJxP+3TnRrsua6DIQNA0E1EIJZ/ZqWnDS0ZclTRDM1rGBu55fPVhivQ2Rn36aljSVSTXFwK3iK+8cEJuCHNTbbO+I4JaDTvZGq7AAC8c0RYfNTLZcpHrvMFjZFRI2bWJ/4qSMgrK2vO2uDrRiT8jHSRzcHNfuheOnbOTd/14o/2LHrSFvDJK6KpMtPRQZoFd2YHMySHaZGjHiLMJfnOnU1580+t73sIwtsAO0And76CVwZOhEubC38vATuvzjVmYn94sOB2fYpPFtzfvE0erpZfz1s3fWg4Lp+Xqay2rZ5uYmYgcmWU67IDXbDwr6oXl9YD+0QwaYtHtpi8g1++S6YDmaBgNPZq+pP2/41ZBXw9LS1Yx4YXcrBnISiv5dhUIH6LBVxPbZaVEh9bXGujDV8DZxCVtGtqMYnXk9q/2unBlUx9Fuf+lHZKYptnq97vdmuEo18wMCB04XYfqJhoDDVy7Q3CNryZwL4iZd00a29H6xurmr52djnZUPKUui4SHi++9PiyRQbE7okkbzLYCn1CPDUie0WsWFTdBvkeAq+MoHBjubXexApQTSclO6SdM7GQRnBoe48V1PpBxFAvqw4FZCS9zWxoB2CRNiyJxruzW8qjrSP1qdkWjf5S5SiHReuszCjDWw6S1+QBj9KkUHo8xyKWI/k7HfDulwKB6+GbPc60FLDu5lAcuhj4XCS45NTtCQ6Ir6DJJyc4KE6yGzVgXui15Swhw7ry7KEm17g9OTZLMjL2kNVySomcLfURUuNu5L/Tphi8JhJu9UD7aGVJ759CxnS1NxY7RA60bjGdQvIlJ3Xjj1gl53BO3CZHlu387bNhEBkd19yDtOb1tVV1WL7LHaBuTAaATlNUm2J9KZCV+nJG60sdYnx68YHk+SElBQGCGC1pEz6qXFxSsrHw5mYwEjljj31PMWPUX+4mzhCgGkTqCavwxhpmgQ21YjxYOup+1GyHzJJTmORGVEj44KKF4JZEa6jXdWiOH//ruTVWL8BNGBf/MqkqrYdXHsCCewsp3foBrwYe9Abj8nPEpnOMsbDpAA5HF8CisxYHR0FjuTW+NWa9EAMTYlzTXbKBeAYu+xSVdD/m+mzlc+GXBQc1thpAZwj8bc5tLfyxkwWBTFqxXWsLv8c9YrcHkds6vVQHxfbOm7nfpbv3xRvjHnYsR5rVhO4x1QburRnW0Ls6q7vihx0Qp3POWS135AMIVcDSbCCQfHHBpmD8iTJS4ouQeHPWU8Xhj255pXrRIVbXjF75uW2y8wGSxYw5/UnDUZwQdlZxDT91FKwAgJBH99/Q8qBNjUWCz2jGjDpZziX1z4JFKZ7/0TyVo9XsHykHFxxzVn5BPFoJA5wYaW7QWAPbiK7rXptDGhh3Rl7KxJRvjeuag9z3+VRf+KiOMvixil6JYuUSv2J+a6TUNV7hQorDddbKAPqvqsaaIm0l++kzoObG+wXZIKWL7F7UH1JbJU/4nmeFEZUf9x/Wsuchy5sBapYNndrsxTwSw6O2pAf3FfElul6i5XRo2kOi+FvNhl9tfqwdNOXdj+y1izrhseItVIBElaKEe/doay3iRyC3xcnvCGJ/Auul00yipRA7gcVudDb7wl+tgtRS+hTCWbd4mml5fZpL4k7WLGbFfgSKuzWDwFT/twp6n20KObNEPPvMqkib6K0cJAG8igc0ru+RGjAbrsiccdpqi9VaLKVmsscagt5Vxl0KxIdhRmn8YeJeL2FHlCmetT90uQS7RY9e8kf2i/GfFxqKnYW4jwgHCiUedodUKwDXln1eaiL9IzfU+suHWoPtdFJvwepUrU0iF6BjdAUGkdjWt+28DJSZr99alt4UES980AoepTVuUYx5KLyqzgNPwoqaysKqxjP0p2RuWhX4pIAwuxZeoVmLHssuJlPxd46GvZneXkvQmAN3C/jhvmZBX8vopZAUMqjh+xBwbhIojhaufGaBK8PxUSkUz3E8fEpkpYENzuuFYLyVc6UrYTLT32cxEjISiQNQKHa0m00jhAuCbGlnJdZWMoGeNRNwRiC8NvavMwX2bq9NEE/P080Olg3BF1qLIPnk7nZ3NGeoLSVisbq+9msSXOohsHVRB957liaOmj08K1AwKXOCh+Yufq4jD225UcbkriQZEu01PBmoEg0vbsVgTuGqbS+sWgeCo87LnRj6DnHdPGm6FQmfDi0oPRlpAozdyOLwl5xyDwD7R5xeoTeMM/M6Qz9OwXw/Z+OFHtgETpiI7FOEJXom7kKTpcX/PQWbN7H6M/9QybeAJZ00rw0iLqOI6u/yGOwpFXrcyLbTMaRXAeYxigBSspSODtbHB9Vy/BW/+CW5vaGnd3IWhagEs7p+JKVwdyCycCAcCOF8v7GljlO3l8X0EDYFYOjPJGG7ZPbnM+GAjWVernnXyeeRqxVFeQhlgYBWGvGuWhSaypc/M00w+SfSoT/XgTh+W3oFnDvta75eRpb8ljAAgEFeGGGTsyXAY0E7DXhiWDLu0nRac/ykrXLjUCnwOdnwuBXhnWRNhU/eJmccncqJgr0+z8dOzD8v2POtoMxos+Yy1J0Q/mJJT1gBxWDgn3Z7aaZVxvMt2pE+wPd0MPaFdo+nuaGDXUzpBBERj/GUWHQXa2/nyR4GSWPcOQbLztqQ+9FVVEJdR3jVvXzfLYdbc3vnVcsikiM+0MtKUNe7K/i6DGRYGXXZZFa7soqSzrjiem/2++WM4wdWZcN7CY4KxNNwss/pGn3xuvtv+17MHA6MpZXindeTg2RNKhUgh4SQnw/8hftBmKl0OBW9S2kvguCv85Q4TQc5QFKCgfJ4HlBGk85hSCoH3gdm0PL15Qy63MtlXpeXomGLzTb7P00hwWUKXVRc5kpM6RVjPU3wSLJX63xCufjZC2jav57GpL2i4yqc9P4tilAhuQ8Pt9SaPm9IGML+CFQ6GS78Pepe9LL8M/epiS0Wo528e6CxfIxG9btvvJ/YTDDGX9QjVWsx56ZSBpBYm+7bPZpN97sjtdKTZLnx7F/rqtcAnr1CbrZ1gpFoDTQi3kvj2JZob7KI8pZ/ZuU9k00eFrv/7AwlkVH9ZUbdbhHpBT3izcfDBZZfrSEOwUuRw2Ng/W93zwRjK4tVfGn8AestvlGO1V+zGvb617u7i0OXwMSzEOvQYN8UleRuovMlKTs84/UaCJZK11lT9u5ju10AdDeIrRwEKw+zAt5D7o5JMDA/rh+wjUFK5If8RGyn1Phkqr3KPFVJpgQkeXTZKZUf8sfeUKLi/S3HKS4bscLAGMzBzbcD5eYy4aAbXmjvq2xjRBBxdRJ0X6P0FuZABXZyAWM+fyDrwE00Geznm0jn7j9Joo8OtuegDLpMhi4ugX942/98dge7UhROakIogK1QL1NXDe8LhtWADgEHvqKYjJqAg5Fhjw3H0o+dxYjHBBpUnsqV6w6wrEMHIjClU6mSyIoLij70Oj28qbNsku/zyQixc3WtnGYTMMIree870mZQhK1H2HDYB0VYjzshQmXaPXbPjB42rS9Oj0iqqv+5PgDgTGTZAg1cP1zsacR6d60FFGR1tLEyTBSQsW7h1i3MTdmE+5cMmjccaMSMvOEBaQHLpbcM+TiHAcRYmp+QUb132ZxE8Rg+1CnAH9tYx1zDnDZBpqd8g5CicaAQl5Tf4jiLOYgEFT6SLihjM5cDjLMSrjEDapoddvDpGZFmWB3SK26bFRGjNqS1mTY4shkEpVPUIX5LSAh//VC0vskWwEWDdM5XzCbQSbr/ksI52MFRErXkzy4xkqJRq8mi8000WlCJUh4x8ab3QBv07wWAx6qDljAzCiuPtWKA/mFnpGqng6w//FLa4xbySahrztpyMOJfCwnbzg8+8gd2tfbGGgtPV+bLVLUVZ3luHT/v6XI5Uae9TOZYSRZsHcfZFRKMP4QR6+v1UG8rfJgGt34mxsy93/qpjKnyr2N6rd8tyJSWEj/4rA7LIiKy9h28fhQGIKrAdvbgqLPHbXYRh8iXeFV/0eRpkpiweMQTyq4MJQjL2w0IuKFzhoYG6QoW8UfmN4YxrC6+vihYU0gZZC2IBOuwH4noX9eOgq4rtjVaHqsGWXE5fT5C52pOC/1iz1P4YuIO+9T4oJfFZh7hWdK7uenwtPrE1OqADfsBPv92DHCUs2nxTqYDvp5uc/JY+A4uU1ibCeEONirLLevJbgkQik0B3ZErQco/bAO+RbPJ7TIXtSFPNNyoKzwq+ej9vmOIQRL6nk1MCNFc7bXCpc0T/Y9yaVMFHeF8ffamv47KSaBqjHpnvBbykHuIIEikemKQx6VMJdGbpZNPijVqqeDTzeBglIwh84QsZDmczGPCw9MhQCMakxUPy4WiEdTF/9BGlBhaLtMD9/pAyJocUAHuzG53ls8LztybC8KlrvueKynBr7kvAdRrpQw3nEGFpOE4gt/QW24HVIE9cxzV8OyzGJOTZCk2SWD96D33ZKsa0+vRgZ3zDoqKdVnnUs0OcYwD8EZ5RMJ7rBpNMNB3DjAKk8MYKjpw1gsJLnjDD5nSs2E8z5G1fbLIWqX9rUrKfgmZZo8iWa2n7UdYmC+1I7wJm/6TPD1DxSyJapnwGcSjyR7IV6nwraLusKcL2d0wJEMb33oDTPbukcUeIooov7UI6irzJqK5R1qGZNDkJ4KtbhpIke3DUUelpXGd/3CjPM67W1EHhHSK6rzWudArRFzoUFdED+rBNsEruS7FrTEq0klR6rrvfNxRaZXkOfsbYBR5Eqfm6qiSBaWvgWhVI2qguNOypH3Rfb0VqNSL/1NYngNXTNism+uZYQnbxTR2EDL+g2Jglcg1uwlFTDAOcz8QaTP3mctfMjCA/RpWOTlMPzGi7hJmq6KP6fs9FypTVtiqKqXt9VQ8+bKCTCDG5p+lR+DxjoW3ahVuhDCPtIHtxry3nFJtVZ2O2hWlAvchqCPh0fw+BCrxcXELBDCIux/hJf3rlCPGXgJdvRybBcwcD3GKNlhHut3PJLmHnmX6rjlnhaEhi94fIrWzLd6NpeO5DmJ1AD8sr28CoMp+ILHmPydrJ/inE7dMTpYgO+MiVgbyKZfvUbBFD/p2kYl+PFeGQAbJ8lWTluiQHIewgYQXHj0TcdVifMYnvfhr98fEkNpv9vNJ28p+mWk766CG512JX+h2rx9fCpwngH8OXH2VEhd6RtzrWODyqIRB98BMLZO7bNbpIFNZFZTN6w+aWaxzcpccArFw236Wz7YO/rM8nEbzbN7hD1fXNoFzo+uodohlE1EOxp3bMyko7k4QdTjm5yxgnc03cjKmUjwRYwD10mDUMW9z3ColcQfQHCSSQ5D24zDpzcIIxnnfm7Nyt9Xq9+g0cWrXAKY8sJ5uHKInUQgktqxv7NdO2lQVHAjZpNjdo9bZ2dm4BfHx9dLLyGdQLc5ZVsiKw3j5a/4gWq4/Xp/tFIP5k8Q910qGqeZL1mIiOFgZc8VGmrfXLdyyRyWzCAmQrMfl8l7GPjj/81+LhCN97LMOHycFdfGn1kOnTwpMJe/WoDLbcn3DbOkcNo5qzStxuiSxroQ+yhiyVxIHTy5ttghF3nCHLXrtWsvCW4/ibFsHtlcq0Y2TRbL3ddgOnNmozKvFQesfBGyrEiTsLnvzAZWQXqM3feabo7Kxn01jDlb3hTcKUbj6nLWCBJMgfyhScYqh3yDLmqgAaXhb8bJbRC9+ZyHU74EVw8FEeQ5CfkFcUuy+gm+rGbzXkjbuDQUadOYRgOBH5BIjfMXXZlN/eE/lNEQMSk2HC7PysTXPRBG7sXqyuaSIa11KmbJEv/0vQUn47VnlOFrrHrWp62taIrsrKYFeUOIeX6O+r39JMii2XoKirpXHvlLFy+mcn6pG5HlAHo4YxZwP9FSN08FINf3CKAd95DWtjjAx6X27/MktJlV7m4cUd1bi6UeT25f35CTQy8Awzs0OAXfgpQsEWWiNKONxgp9lQLyeIxgEapTaZZiuSLSj8Q2c92S5/Ci7076em/UFRAYfEmKgv97qtPeXigjsWXFLtErsR9tVQIT6aVl8E8LwCbdsxWsJ8q73e/7rRUAOXH8sx/635/NuD41jPF51/BC2I/BADzHovYMQvhCEldvKKtozHIqP0qlv2ZDS1oGC3RO+zsEhgiY/+7FdQG6Xhs+WUwIjmxbSP9WCJx6RJ/585K+vk1cmrd/3UAH9gsZ+rWBwpYZXcsmFRNbMkYxgRK/8xp0R/cPNP6uUWsGirqduyhWyaImHcSMlE/d+tdRxTBo8WKOt6f1OI9XpYeD12YXx5UWBKBU4OxBqLFy+RS7MTxBCnreShlsNt+NnOg5ipVAUzF4O8zYmE2InNnvDM8J1CRIE7Shl7NaYRwU2MlfePZaiSPIlvQnuwvoWmjnIIaKLVHVfIrTsbk24iQz3GYf21CkX0sCu5nRjNddy7cI7oGWt/TaINpnnQgGqcl0LN3zC8J6tVzXWEMEYijWu5dQrTw3pmcLJrUgdP31pAAkwzXGcfZQ/FHTn8YoogDRSqBfu3w+sdmP3fXtJEHHcJPzjVhFlsB7Dztc8SppGOxi0BguxYB6RV9sZ42qxedy4ptIPABf1MBqqYTeQ2osEH5VNooNsNHbJ5POsWUpqrYKl8RNNuUrYtuYV3rzdkbIefzhTV4nTJ0HGTMICg2c0i5Z0KAr9BCDE0P35bZ9fx2PrT0J2aDTQmGVirGgawbUNchb/4D+ZbSHQnjngmq7CX4+faYrKg9ZLfak1N7DQkWA+wZkjK/V4za55+/NY8VsDBaKHtBH7zjd6N8Il86XAxQME9yMVyk/Am1Ww6qhvnve4qIX968wJfjuOmXFx+kh+68dn4PIrc6h73rQzYbSqL8YuiWdXbV1czzv/LWgVNQaMewb9LwTutW3e5F4xEUO/5s0Fy+Y8jAeVpXEHfsZUREkwA2/7Oj4hQ4RZ5/QSEni2UBN6wJ2TG53/ENTxJFtlY2nW6hDA83CW352Vkd/kCHcCSZ9Drb/iHjDZE2ccC8rrrtx3biyt/rjuBx6cIOkv6KEegqhAztlgkIaBgFgbC4Gm2Bj4xHyTOekPuGeJYtF2XyYHTljtZly//9morcOGWlcvD0ggE4uz1qPuY9Vhz8JM4RAtbCO8kWpcRSxur5ZQ/va2I0MAARL8gVM5eFurlaOEqiLw85Fsahd+INTH1o+n+Lq1k4j9HaeQVSLx5ve0wnpVvLTeSAg5KZvzVnD+2A5p0KwsxdagtXWn95pdjHaveZjRMHSk+YTBLW/Y5WKdXAjK8kQbWxADv1e6fm2FhZ0WSHENZc8DGd9PKkJXzQZO9HTbpByyyOrXlBMeaNKt3od6c21v4/IeVR6CioIaKancbyv8AmXF0O1pfXSAFYV9C06nTADoc1uM4SDFtG4QSnt68AoPqXzB4FJ0BRhqzUMYkqr+MKMPx1xNdG17wjAM0AGwWT7G6GcIyKrJNfGWvnhVdZO9bLscC+SvpIpi1/HTJ6JBctSAlkzIUV7WFc3mwx53Oc49dH1Ea63VLZ18eZpZW7L0lo/mp9c2WBBC1RY9qg/V/+4C3aU6R/JNCGZL7jETcKZIRLMLMqIXFQl+aDFrwQXwuSi5WGfwMCPdXSuhatufjbc5kJCrQPSWLXkVBY+0NPkbozjCy/hQ8lUciMzR7oJXT63xzOHGQIpZLDmyORU01MiCPyReD9R2wlOiLKFiiv/hG6rz6vSHvY7lUvF5ENUVp+iOS8Q4plP6XN+nCeVFd9qTDDEb8SrXU6Km6j+mEMKbDCJrtifqlWsW2JhkJ4rbzbrhSGgWRdnWBzJFyijlQlvsK17xNoj4gDlEZIbugtIZF3If/OWDWdYojVfFn4lGqYMiXKQ2LCuvRGJvm9Wkwl4G7T2RkoFfVBhr5/G/mADEbQH9OXl4fFA5nTTbBuYF1sfNrGxRU8s9iv2H6gXxkSM9/IA08TwT8SlTmkX/DfZ7BMkCcJ7Wr5gw7YUQ3JkzZlW55js8C2Htu/zrf1N52xBm15WB2q4Q3H135SX988Q+0X8MBpyv1NCvyMWsfC31fYKRJmSaWTG8PpW3kjAqq+4gnBnj2E8RlEWt4rZi45QVy+ILIlCVNG684TYZoCuqH/E9o1cbZMFmMJv2F+Hp75hgaFyO4Zvqp5v03k1/ygqV3F8FPXpPvnfOkp5FQrVPb2GcMy7b198yf5kcV9Ar22UzpNmMbzlCfI/75RjdhHLIn1tDxRXo/kzlOgCkl/wMO8tq4/5WfxeeHiS4EFw7tXNbR6BRlA3hFP13XhCCCQGTHS5FgXguVZaOVx+7OzMWzlMEvrfvsE03KqQWsayzi+XmXtG66xvH+q6goa8ZZE34CU+uvutrG4sNhKr/KZ875BSB0CARX1/mfFSWWNvGecwWdYqhunoCyeMOao6KgFbcIeULsYlDVN0BI+6f++vfXiwpNFtYi+x4vE0eb0gXPaiC7e7d1q8R2ZhxttWb6+99wqf/XUDxkw+aFHwmcjw/xOr/q5rUIi4fA5vBAcZ3fDkSp3TQ4QnHXFPmPgSCkeIFAshWuLFl+pTkro0weXLCfnt/AQzz13M9y+uqTzFY/U7pGFanIZz9JsDOA3QjF/hRre8zKLoup0FGipA9FQE+QGFjdFosr7XovdoWIRQdRE7AWP0mUlY76XijLKfF4JDQ+MHhRMpsWh7gxMat/hacjqWtG1JBW7UMOsi8We0BT6kOdT57df9g93uuSx/DocQti9IKTcRalnjTCeAea8E8JJSSFArFsTte5lALEx08Sij2S2YtpnV0m7be5ZqemHSOe4wUeZlfZScxeuYLjxXsThsCvYop46mTOiGLgJDbu9CKhuDRzwzLZIXBH34M1bLUenFzjxVMjaa5mmWacfbG7p0v9FrjOsHzWTNulorlNHM03QumUQCRB0X/yfNdo7k8LKbGua9xHh+xi0roQvaNNoPqlnfNQ0ltH9mEJWVovURekvxOgqzMGCACwYeRRyotcaPDTRz8oGLFupLNaT0HpTmgoZYde0PdJz8kBwGZ8dG1/Zx70B0Owd9IZbztxlAetVRXU0sUeUXNyp1YoJvEUiHgjuTFH1mVjGyNdM40Ga31W004ylCDTD7jj4RKLUcHNRrmaK0Ec7fgNVOs9JUCE6ZwLYpGBL/Sj6CrINKm1Fl6POmug5myAEuZ1pNhmBD2JTOEIzTqVM6kLTgJVmFc3rjLqo3U+wCCM1XLqZdEfXQnYaai7QFMPeoaaH6p9iwAwKg0gzD4lyFUfGBeFlxFXxpbrFWYI26oW/ITckJvUSHqPx7BZwjJuO8AQZFFzyzbVc6kBq8VEP05Rk3yQBG/Xqpn0IeHT2wU04hp/1sfIZAjfgegeW/E2NyaVWre7WZQeBtqeaQtCNC2jWU38mX5araIQ4oRQHFZzArXO3qJbh5BV5mWtznHIvp1y9z5apT9IfFzSadIh2rBzrSBbmzN0WbwUtRDtBzyX0hGyP5cip3Wmc9/v+2vHEZcH7CXpbH+hXASOBnFuDDoliYxrJQLGUB5yJBBQdOayPY2HBVnZoykCrGulgfKZvNfCCQc/vIbxqGhB7rO90xJJdnn60YK5ZjyByd/VP3ddJX6Vh3N4iTktcKiYZyc6FhMg0P2RHysSDGrNAsBXlF7YpEnZbzWQxWAAcdfbYv8mAJWCJoZaepAm/j35/z5CxAL6m/YkcFRg/nuR2H/QPhW8qXT9J7BmIRY9dIt3HaSs1fkWU1ww+S1OmrdVSm7UF0PR1+kT4PZAiN3gJlqe5ysV2cqdA+BTIFubF0g6GuwdsBFtVMovFt2AcS7Vgtw7uqUGTcFc95aJ8np6j4nXx7f2eW1UPFPJm1zyizNrivWC8mt5dWboW6dj01CMuUmzu5vL2Z19XJFeqNKeLAx8UIMKzE93dddFYwHlmKvgtclo6+qcCki3WN3QNnDZ9i2KUaDqYBmfSW8G9/VZQMMx7Cob27GNrIES/HTBEG7+pqfJV6h70uwCK9GnYOGAm1TEZjSaT7ipqa02//wXmImn83b2S8a29VL1JAQDVjS9hD6d5kiraZS+bAMHkseSbYnPeW/JpVFVePWWHzHJ+MWXbXgWV42oPrPkRwhUjaW1OeQ1p2g14CFi5gfXWvX/EVT8b4pei0i9ZRmz1K3eGjfBIyufg74hjTm7BuXTn19aieJDnjPqQI4yjlviHd3P2NacfCPjLo51/tOjUbnNLv/rHzFltNVpIqt0iAdlG1s8sn6r49j0FJcJy7yPBwp33DnaftNwgp57BFjBSB+2LI45ao7pR/39MhepXTGSl55PIEaMZ+GfYKOS/evS9MUIcyJPdq/DuMTHvKPGsuGJwK6/8/HXdBU1W4moaOKysEK/fpTqSIgILAe2s08Q7JUey/OYTV7T92aA7UG9zstwB0u3MUqZ2vAC0jwb9RikO7W+Y9PXMS/Gfik+v3e6ddkisw7hPMEVMUlZuoRu+cO/CuA3ThNc9HVjL7oCeJTkuPJ6t04WW9O62SFD4PbGzrmYqxuonLn6/SV1jISqdTNHfyrk2j/HdWwD8Xs8gAmLPxnX+inaLI2g4YZwwVa5NzIT89AxtIAPkkdbvXNu7lSyEgMtAILmB5a5BlInOu/BmR7ylcPmhpbZpiRjS5r/+83nroKT06Cwi1E2is1nYpyioXjWp8ek4CQn+1ghXLdfr6c/2vKYIJigcUDnM47j2pwKQw1ukaAEXWetzC1/fVxJBxNWsKLu0sA1svnDJSpBQVvOuR/Uw0p+LjZL7pREP3dQbrFKvKTOirBohSN2jw7CLYkyNBgri6jPvn2UX2Cz+eGV3nQ4z+t4pDv+v9EkLElYYgIjf2Lzi+P2DX79QA8XCLKK/+H5Z9StHVJyL8eQVG/IVR1Kgd3/LgRIy10dhoDyhZGebA5k7WoDxtbglMuduqjb1g15R+p6c6vAxZXuAoB8Po3bxMGIGGtRh0fXn5/q8S1sulF7vk2iijxgzggJF4CZ/jrhDeOmuzCsqD6NbAJWMKb8tGlYTXm9eiLheVMBKg/EVfe/tbQ0KmwIBdPtYgUNIYTYLwFBW/i/I/fT9w4J2wnpiNQPdWdk0Ua+FnTYXWMd2J6ce8JdyTt/qigQgJrCZ89H8SU8mJgBsCABmkhVMIPXo19EsQBXar1bOwmBDgYXymy7qYQFYrHz/7c3sAcC4+GhXoUp9bVPLIQgZ7Ag7nzX01GRutxonKrnwalsGwXN/KoM84mRT0dsxTOBgxFlj0dwbKZycRrRmpC+liBzb2PByO6w8ZeTal5cCiqBJlFbsNxyOhE6uJQHAVzB91jfWFoPMthfpnfgjRxnFBPEHo4qbYVyO/J+7QuQUubai/XZ0ZhYhnvPoBs2q7rd9v1kgWPdU2QE3P9JmgLAidSFpTJSOn/x4RyRHhkOz9KGq0VaPcp9KOguw9iB/tmtV/FNlFAt8V8PGcuzOvaXan1jFsL+fMbKkukR7BCiAd0N0LL1h/ykR8IxJhzvxtO+ZQApcRpZ80pdzekryCOlG0FRGcs6bsbjR6iWrFn++Hn6LpiFx2ql1JChpX9wMDk7yA5rFFKoaVrPZ21Dp7KmIRgkyTkMrLIaZ/My9ssPpc+Ql6TFMaeWNW050m8FwtT4aE6Dfgzje7g0DemtFhxcFpyQ5QPVOjSJwS4LAiMGs0Ny3wlVGbnQqjf17BSC4qvZMg4P+6IDs/eFglfK0lKq3SJcdwsZF08EQxb4nacAQ/DFGY53mF8ucmXs/+ZWIJo9Q61zdnOYuB0k5PVIBCFN5zWP1ybE4lD6oqK4UVsLduqplSyyhb477YQTGOnTKyw5h/bYg9DBwrfb4PYr/ztQBI2jHoyQIwsZtK1wC7ec++oF1ICMACIgSvFAb34pZIeXFBcj/jQhzRSXGf6eNHApJOqOUN8XcZ634Uq9sCbU93d1T+ESBF4NCn+4k7utd6DZWoLCOimJwNiq5detz6S3Hql1hr7+UmrqDN0QLyBJ1Ff5sKo4il8N2yMjgEmqZhNn69IsThnix/Fy/EZgJeIzDl2PBld/W14u3fjxeHSsWeUUsX8eBBpmtD6tamZROjs/cCy7hg1M3o02sHFR70Ct74cbZ+N2crB3DzOZ9slWWz+MdaY/CQ1mVl6/W6SNT5Cg+9MrE+SeZVcaMlzgODlsPgzwBBrOD7PGAccu0KcqLo1af0ctBLRb8qfhEJK1bILkO14Qy0TWSl6Jc9VWhjtN+6tNuvqWL1s+I+HSgmMdwKLb5kJAwZC+9V/O+q0WnW2Qf26TP+bGgP5v2MasBMtCnG18bGmbgjiu9wNlNhJr4nrUUFgSm7x/AMCNk/7IEjcoY1/bexpXjY9tZQS9RpMxsPuUU7zVlBMl6fOOqbxVTEQJeMAxgIy8grk/pxt+3rskEnY24B88f3Uj5LRn5YisO4+LAjd9xOiyn1R2CANk4MRhVMVCout9q2HVKY9emkzQrPstgH6cc6jaDA/Icz5HYAJPmhpXqX3j/4wfYviIa1itZzx2E9qg2KuoomdA5sBH1chy7c2kuOHXiKeQ9XaFmfB5+s0ZdODFIs1S32VjLWlgcoEUs9/2fgY3h/xMn193s592tl3/vtYGbvwCeFKKyyubSIQv2+q54YSevADO/4EK+3k5RQvWBlZPZeAkyXCYlnN/wJrCPJl+/RXWo6/3SCg7VNTMTLiumKZF9vAzX6VbKBsmKS70uMzCKQrALNkhojof+BX0d0BEBtVTagBauX7mJjHJDGXDNJsJKAxGm6MQbK4YIQIFoLAiwPJt7f3Z9pi2pdK5KEjvGbSfz72pZ8GL3PLNDc/4cv878Ev+elZELO2cefa2Mtqhqrg6Kt36pMkYRyFHeqEtnomzUXJF4WfnY7iN18Brbb46LTmlHujcdfGHivY9vohRW2Ur+tMNYDE4kyrbIvOv0bTj9Hdin3DgIbRR5TTz10Bb4DqVgF90y0ZQABKizKzQlbsmtDVVoGeUu3b9YHPKPC137NWXdtUwujEq0lHunKrPIWxrB/26oJ2h88J8F5TAkT/VXc7Dhd1Mk2stKx4lgF6/mjUYZnTo/RKxqq2DY0L8fs3D9ToZA71xKdSmzjz8kQP18DoXQ002M41uelHgQ+h58nyCnR3sp5kwTUVsdWImYMyqNrTF0745RFu0AIB9GhI/WT/sK3qNtGtET+EP69+4Ld1Zh4z/LXQbWVk5iF4dUPPyKPPg7wdmbnWce72KUpFJU9UwLsze2GLwFSjPOnf1Yt8c+ILC1UkHj9OL7dS5xuKtATG2hSf5rcIClHcyg89zjy7S3rtsm3ftfohUxiX5IGZxSMeORLdy8TM1ONM8vk/HIFVuh3fFptkPkz1AMSZ/YTw3Rt1oMzv7gLJFi5Tfq4rUm24Mqs7kFu6ZjTcPzV/wWegsSapdhWjW2dX1/Jx4xcHs2xYeYjvi5kLmszzQA2izK1X7okPEL2N4QxEACG7sK+5Hyl4PTdu3zR3iWpGwicH6qkhq0zRpJHGJ4WO05j9Uz6l8OjY9i9bDQZTzvGa+pIviwdlDGUkE2LJvsaKokmX7rl0eYNgO+UAPsMdsxR3iRMjo7+fd2SCXp/MxXuj4/ysj99DFs5wbX2/iLF6mfxnhFqu8B1gXI6psq9XyALft/Xgf1WJdP+UcSz05/sFSrlouWuI8nrBLIAXeixFiiI0TxO5Og4TEO443AqeTytF0bjdkV6RYXQxllO2yKjKRzV2ORTDTMluiUhRSKjRdFxJwPKTLS66xJ3mPExxYkrCfELsABlqAM6ntijkIX7MNR4fgWwDghQlhs9qvlEE1b5ZHyVBTQZ45wtY/f3+z4O81JO2kU1hNdaQAExUyT0fPUv2NIhLwIjqh2sroiSX2PjxS+//4OvRgLqe0zVucNyvtLYcxca+oNdIZPYC0/lxLrV1aeEguvYan9wPKVo+S99C3vaf7x10vO5s7ADEK5zflekMQnMJZR3GiGYgMeun+sA5u7tC4emqDBy5LHc9XazQ9DvZ1Sz5YxWLq86jcfZ9igMgOiK4Fqi6WlqPfuz2WzLQKtbuNxRGMJSgMBYgfwEXTv486LWqZMfTTuFnjZZTc2t9h+pYRiDZGtmbTnKwKhWDbEUnzOJF41GkLPURuD9BcYeHJgVmaJCs93uN1dMWgUtvmLnfGi3YAQ72K+/7beaFemZ36jFwZEjXMbo/S46m6De3vWHCJw5BpgIPmGyvqFWVwlSsrmZA7ZQJ3ElheoGcfLgkubNs5rVHll5G7RRjXpdgWb+i8sLJFAG3M+YW6aJGQqsaQ3CreblBXeeBcZ1n67elXQtDU6TPqy54ECWrJ7cycauFiA7T9tqcHNQ0fnuBg3SNVL1oYq5CNJ/uZxFIxLcGMtcX83Vg5iV/DrGaB6tYR8yS5+8yrNbKvUsjrA9GcMY8X4gBQeOVbaojMl1Jfakg8Oe3ZjJ3CXscS86/179iLlh5qkMAjugKep9JaWHKqO99AsVrLrCdP89RCILlcJvkr9txz1waNwlBXkZ0JQNLkOBwjG06TM/F8DmWtxZnj3x1qzHE9mO2LHpLTtnjo/SrBp4RhhzCjuy8sE9f3pULvq51Y3g9KISkVSJCwlVaBXZLtZT9J0/CF5TO7cEeuru5SAH73aTD2IiuQacbzWAP/iSKZP+Wm/b+H9LxVghj5pXJxl/SPJA7BQLomENBnczQT4YXjUnuuCFbFxWFBgcERQhyoPKzA9aikL3vOCxQ5UCkUz/V76D2zWOInD+eZg52P1M3e6GB//2G2zrTOMJAoVwn0p8iWUgtQKrWwgjcWmQX9afQxHh99T+5Hizn3i9foA1IbSvZ0luSces5UFiPYQA2bK6Y5PzlH4EnI71UJvTSBoQF0GbEQsVUt3xRTCC09eCqDyciPSJNVqmXj1GEpJu1y8UKuFPWHdkydkLENMIs19+i2Xj6OiM6YFc0VvF66yONAlA3S540cv9KB8//YbSXjzW8yE4ja9aE44KiP1fAsTfijHzn9JWYW7ng90NwGRjD5vPiVCoLE2Z5SjlabuRmC7i/S+qOpvdHtp+xMgBgcpPTl08OnRLNGvkt1EqhGYxmbRGKI7bAZmO5QGtazuXYoCRd7E953klexsvB9AKL7Lg3tK2T9OVTps+WfMI39nfIdYICuQXDWe+stBMgh7GpDwSkpN8RNWV64y+4HKB72s2MvY9xjYxnaGFFFVCnsgj/6VqVkXD0P8sDqMVtJ81PB2a9BHLjsiXFaqMT3ufQSfQXrl1o8KzBAj+r9GtRFlOUG2fGRcQ3ndG/3VXvYwU10q37O8gRdSbAEhQ9DfiyxVsqVofIg8xjsgN4a/ttryJsFtTTCSi9jw5CeDJKJwbzDTIzrFFWNJv4tgnleYOWcNuDrMdroDk//lZ/Xn287KLmFHxXyRgvFvTEzEE8g+K7DbyFbSbSZ56g0IcG/bEVWAZklZ9lnLhCHcTnwDZUXzQIbOLk8pCMr2DyEUO8qJF3ZEGah1yod8iKjsSX8IoMWuQVIeIaNCvyvujsGb2lQKDMqoJmhNZYpb/cvfKnGLEOPrQcSCwtEP0RpOXClfk2N7m1bmJ2vaeqIPZ1HsVWcoTgRKZLvJoMBoDligBEO4CVc/Wj/8PQ17+dUhoMylgzOdLF3K3q+hgrbRCtiKcsN/M0e4aXb9wduBwSLWV2a9fOgpaeNBftmT+4GK4g5wxA9G4eVOLfBxrWuDTheEGEWMcQ8D5WRk/VuhxfF1Nhna6wJdlmv7K2UrzyLjAGP6tKXV6H8ns6xSgJSIygmXKcGT5W6WvOt0b81K2rCoPtHD0ykjK8JrVNrfvHzW2c9xbMX/HV+ADmCatic1LCeKkvFCy1V4ZZgywty5cdn3FqrHtV7St1zGSoviYt5XXeq0LKj4iTRLVNwt8cpqwaf6/N3EWtZ9zBeBks7t6rhvF9Ir9sHt5EycxPkXGPzvtSeHaGRIkxAmfalARdxawg2r6hO49n8VJ8mNyn8OFb6YP97SGItsRCFQhVqWdS8A4lO3QDiSOgXdLMGOlXJUqBfuwurictA47OaELlqGkQWjbhgM0fsEw1Gc6iL4KaZnhORtRcGji+rwYIp793TML8PipRCk5zcACAnPZwtgRW+kE23oBEjUeADmFBm7xcBThzdfcHiByRfVba73KTgsxpHz1u7QMXhPjMUH9Ox0IzDZ6ybyI3kaTYOu/FwPSiAtCMpBk2PAXZfNOklA5ubbitbuZ5Ne6M3Ki0xyV9MUIMD9w+eD/wxA2+eW1FDwkTzXEXq7I5xMjuxV8JwZ2QN8o8+wq2i1TTsr18PqXP0j3uvnpFO/OXbeTkWSwp62rOge9hhiXfZ519KGbg8s59nmUEFQD1dwLMuiyaU/M1rx+y9Yw9PYtIq2Y5h0BB758HcCVDa6A4ESvYx2OlpDyoRXaELt6vueSd9E16GMQhMO7dRIKtyZzwJ/zq3jKFoZJ2JI/MkqXxVmF3QHYAc27oEGMZeG5ha+D83sQ6ZRjo41Q+AhqedulqtI7Xkc+BzWZPfrXmamMzAKsMR6JEW9n6OWxnKWjnK4eEwuhrwukyCrNlQcD+ppow76Y2UfSqubB2Ugpy4XFRpbtJn5NmkdmZSFsLpjS12YqqK++WzbCszPPc3b1SirOSbrajtoiFFzLeKmNOv/CmKTy9+DKH8U8+gOM+IBOgGxeoAp7yEcoD2Hc9CjUBCxZlT76p19vZ/taoIbLTPCMLOvWKyMcRUvKHTfCstqwgKGcA5pEdHUiVboXdkohEvt0BqTa8fG+dhxbsvtyYU7DzmOCNyokeeExQDFIjIZntaIcGPj0YvPqAAqhJck3ZW+mvuoDhPCdUotQH4uURxGNtbJgOAUiycIChikAbFxa65JvDMPvq8Ody1Q36iPrB8mAx61KXYUqfrtsMbIGaqr9JgYc/ZtvTnV5FTV+gLEr9XpUPL2Ol2gh+OU14n/sa2Bur2QkyFo9wg8lvYxJoU+8Xa2oR3CWnAyMto9xCwcIcC0mUB2rXfOY/qK1qKDuiuiMn/RmusJeIm6XjEduPkmZFHrLH5qfySeDaiwQ/vA8JuCFTnz+sv24+8u3Dc2gKICJtZTO6/01cyPyii2YCK0XNaEw/t7L6IA1qSmzz/7mzfusG4DuIsej/Twh/tjwTg2fEoS+Z4RZ6jzRDEUOG9TThWzgcLucVC1aZ81Cg+crfSrYpQJdXtCZuPh2VbIxszHFC0OtN0eHz8ejmxXmbAg5zizoSXPaR31eGWzlnAhe/13cdLk/gaFTnBON3NeoNmWAA0cJQrWu52uaeMlxgSZEd5/wYbA1WcWFFqbhNPPAPIjJ/lnf46G4wbmHG2aOpPHefDJBAleDqTHClPbw4HLfkwnKTC9KZJaSeXOUek6Y31LtGsh7Mh16cLzyewGQPYBU7Kxl/yMs2K1sCq1rhVWg44ZWImY3i8Im8XOFuC67YR0UmBhDq27nQh7jAYFU8laviMHzoLHGeTZgaRCwropDSmxQr1LaesZ5eFEKPMzqnCpw0bckeI67ad1zX4nOCVm8So5rXDeuXQlLofczeChPGMFDhi23SbG7lTw3AMs1QQSm3HkdNTQS2uEYHhZZvvMCD2/dyeNYvR7gTBIUpjNj/Dn8OstzyvT09M65a7lHm6uKEQ2CDCQ4l3nYuuVQ3Dvy9KyRE0NDlI5PeK0t8dSSUAwIZGgciAhjfWWBJDjMTn9ZG1nGZT/Otrl76WgUAm2Julw+Dks0W0ess8q4E2IUjPQcaG3YOc1YL6NRmiHt8HmXnguJIj7oRfiygOOj7w5g5zOtKvbj70b2D+tL3PNowjhMm0tAFi+qZtEcDwaVv7bXGi5nTOCVcFRuMleeR0sgzD2AnbKN3nWjYMU9w2/pZAKItfGQ3Av0DA1emVHEhw78fTNd3G/lK37GDG1m3gYBWnqKSOMEH+QwA1MtJUvzZxqktumreuy8tzP0Uug2TJXUin/H3mWDr8hBTcvbJQzG3ObLX9pxs3jDpTxv2bF3uUnGx9qh+gqctd2vm/CVTGWUt4SjfELDe36ZxthtuVjQcBBtu+FMmIVuynfVkvacghGnWKrY2ZxTRL22muUpqQwmaFT+BgASHDinp5HImH04MWRRgLcVwpacu3PLoaQGethzZFw2kfZk70Ao5lVkkdGinRPMiHsBri+BSoRHfLYthrcL3u/kV00Mbj79f/0ML871XNUA6tioNwwksd98DnWayHUOantJUHOus+2igE+L0vDQcK2JQj+GKcmGoQa0Dz84Paucdej6tTssGYDPoucYdQFFWrpP/VWwJRjheNq0M2YytuC/Nq/sYM1oj1N5TOU2xjsEqEZyF+y3qpIJblrTj0FJXy9dJcvguFpT73mYcGy3wCbFkx7OFvxfrLPv9wSCImiWHRh0phvp4OsZPElfHmRWlmt5Cpi2rARVKu+uPx2GU4UPH5xu6KnwOCqPpFmCcbsj3z2UQ8ZB1n3KR/ssoQgS+RGkz/IG9SdZI1/DeSHlSUb/JyOCcVXjD8ObccK3i03cMIpzoM5h3N13O/LcZSjM1xLOMehNJH8w3SZYOM4AItD3C1tUMu9d+JTTmLx8j8LnQSLA8Hbp01T4HSC5M+fwvb8U9isUVzSK5Xim6xjpbBacYq4OTMk1JDPfvcPc+NmxNbeAveH2wscyNKwiNKyl5gt5qZoNepoy19+cdNZXbjeZHGhkzeReWDf3HTQWpS29TR05qm7gStWJ1pDDV8UHGDIPIr3fgSYX/+UJZmK0dfi0rlhsT1HRlSgvSqJXudgNO549eZfqiBxbqYPVeYWr65Np/Af4BKXASx9BfuwZlEGdeva2D2oMJ/Ja8dZWLgQS45X3W7Z0gxHwQfmWTCrC1VfsWyNrWxcbtkWeRuYMJLd0PjNw3TLS8YmHKN/PrjsTjQu1kTOA3XOEH8kuXdNFLqaYe+Q9BojzF0/NUJ381aUrMlfFJx1PUO23Dmwaw9DmRFMwfmLMp0Az9hbVRGVCHGVa4npo4bgRY/cAUtoOCPfhIvqJgn/VSwJoCmov/Xlxs79Vj/q5hWXcAOw2M3LioLdD2W0NgmqXd4x27vQ8+laJmArWqBoirkCsD//IRCzWP9rom/gHtMdeoEHpFbgU0PsFHgbYqdBU62hrJF1QKJwOY4OpBsObrF11KdSU54LL5v60kA1VymAXb9cVlqIJvedttHGyvkymn4OP3MX158pNgGYlKSRlCeQIHsE56Kjuo+2xGltEiIbJZXRD/bmDjSeN2FaXNnOyHX2vD4QXVh3wX8/ucFJ8yRwko5aTxY6CpJFcX4aJYU6ms1UosAD/KiNYKcnRYkiyF6g1jGD4iQk2hqEfvyqAWavtVHkzfdG+vCzWuLNkwFIL4dKhjiTjmpbmNQ1zWj3T9o3834kIMTtLuKARobKIMYznyfNx/8C7zjeLhWywb3VdnQXAzbWyYQshOWhs6LHrf5xQ0VDSdIEpIy1JJs96k4GmaCDCHPGa1xOfyznSwcKlGUWkV4jFniOVodZKOUwtceGXMFGOt2TkdkV1ou9YiHOB+/tKrQrbdVb8zc9E7c0xr89DtSF1cFQUvcsWRj0BG+RNOO4zlCqakpyOYpyB6JNha3+wiIvsYDyNHw3aT55iYzv6IZcyjo+tfhQS3pKciaAw8dSoeA8/ztkDV8+3lR1CVI8qRFKlF0Be/Go8EJAEwOCaLv/OLNB4Z0UJUKTDAc50aYQ4CUYdi2GzJfNTPNKFZtavjwVYJ/3wEgKGLqy5+n3JYE3W62pQzI/8CZuEwJ8NSyFearq7u9g5GrdZSKFEt84BSGev2yqVswar6eBDtKeASn1Zey7z0s6uASH74PPl6iBt/SxG8PnwSr8L749l+o3VhrUTkqBzl7owr+RtjpnAv6GS3sojJA+I7GyrklFhLrSnpFXAFUHNqPbtQPRuNoJBzc5kmAUg6S1dXgeTdtYrgniOphF87h59BZy+NwunOwf+1x7S2YPYCvRvAeMLpb08w0+CrlEGMq/T05HTifPAFAQplL7+pJiSZp/bpsOrWBVxvEeCwaI0Q0o+1LW+wMc1xKeTdI0UD5OcIQ9QiQMqRrS8V0Obtiy/drM5VZmaVgfOYw5zPgwsb7EYJ4d2GS6SVGLNQwUhy+8j2rzGtoSwjPrlm2xFBjJE66KZj8beiTgytGVfrMulECMaiuTuxygRjeNIu/xtmA7LobLCLyHZ74Ka2FduBmXUIm/LfoA5jPstvz6xQAyx+L8TyoOdSADVlG9C+oobdnWAsjEfsqZcbefspBCz+yk7Htj21aJr6HOe1VAc5uLxCzEBUag2w0b4jJyDJ9XRmC5SCVuIHJp6ov+U/4uqcjeLDpKMiK/2/MMLAqTWJ0PJH2ta3juRUgKCNLQVdxgRJbqmRlta52NNcnVPMfnaC1ijOexQNngasNrXQEG/7lnmQvGCQe6gVALEuCfza4ZiUOQjWjVEw4ATzH2qOmfuW2Oq6LnjDEy2rBaaKIMDg57eCGRaq4vjp4AqqWYmaB0fRS9yTvHPqztARV39haOvV4hWJiwDCiLqxFRYHbYrxfEN78qfoZxo5qdxk2tq9M9bUVz8Xo6gpak9sBcTxBwK54gnQHHQx3PHMPFvyApEWkUrTImeihxtcWgfGgkSp8bzS5BxbCwyBQ4Cx2WUo75TZqHt7LF1zKvan7ajaICYe+Q9PxqI2Pye1vIN7yMcJUdIHktZaRpu1Y+hxabZwI4WhmWPi2dVq4a0XW/N1FIDBNh0xZtgaZ++2YBjCo/85T/+d90O8QZUWShnVdI8LOFHjisQCqevZL5ID7WkGR2dbMQo015Sf6BukwxfDV0VEnLXSE1sMFUCWmr+tJlgPYUwdh5hjJAr15Q/pxyBKa7bh2r6As2fS2ZW9/VYSPdQ9HQonXJ2cOyvcKNNPzdSvQ2Trblh5gBSABplr4TuGBaUEbT37vqy31gOWlJOyu1g70Z29ic2SBPbLO5Uto9kyemJp7SFF5KvyvVZHVyeYC5nmTNYWJwlT+U20SWpIEtfPRMjfNVBTV3+1TqxypFR4lTuMb9pfPSFYyea9GTm/pM6mBsXgjf58lLMcSfs9AqTEbhEOFEnrjjetB1msXX0jufzCcOEHzyLF3j96CcrqwclUhX/kFocND28sDaAaQbAqeu8CiGGH4DKJ4eDVAbNYOLPCxi3ifaWANSao/zE3fdTu5j7q1wCOtsJnSsfaceGn9c5pXOXE9a3D+kZwb83fXrpw6fTZRYX8rFdBjF8J9veV+d95v1oRDCNwnPK/2xUavzTM4HXvkKtdc2BoFJ9Dx8P+fqYe1j73th5q4j8WIpOtmjc4lYUIIggz1a7oXkiBbtx/wySXUgMPOMNj5WVlCatjAqmRb71oVw4dwJr9AtbOgOPioV/fB+G59ctTjzMWr09WIqGikcqKBPJE8bWpdOfD4HIK5TUYdcexTxCxoErm25XCIRe3095CeHkEDrBRKJFEb/VOSfrtZ1Wyng4JScypJPxHBXAGmuVfW8f5M2prVlFzQ1cjYKsB+uyvC2qZNPwCkJhgy8Dd98Jv6dkhuIOjQjOHhx7mQXW+KdLukfqCubT2azRFaK7f0U3TktzPRLOrmNQu3qqHmfir4AZg5P17/oCI4xXy3ujpDyqPsU/kVFp/7gDdHMIPEs/Nu6BJ+wi6wU+AvKNJEr7XlV6mVXZa/UxfCw3UgJT7r8Q2lbVqcr2hQTG+p8LSy+mDQZqCyTDC8ef+4H/whS5fvfJIQ/4vIUWOGzLgjhZqS+ehB2jhhMT2hwkN3Bb1eZy+DM9EYzMMXfeXtgrNpOekTIqjXLCo2U8OZ1SGe4ze/y5H7m/PNW2wpLolQv35ZLRYrZ86Z1mub01FJHJjnV38p3xndmS5H++nHqbjPlfEVzFE+aMkUkMOP5146HoGWGBPG/hSAMvV/PYkHR54tZqrBYiio58vo9cu5D5zQFAxZosQGjheoHs6pXWWOcicLKi+bBiRyPvq+UuMRPKMSnvCuhfDSXjPZrn745atdYEO8UuDNFhY3CYLB6rNGdrSRwD0PobAYbsFMq9qVxtZ+1Nq6nmD/J3/UjOiaYWVSmTUu27IQS+DDSZmO50Dfz8aOvrXsBA4RCkMfHk1+lM4ZKxAX7bafvSUzwXPXMRtSjMbN6sdY7VLxn1fGo6N5zTqsXGkamwSwaWhaiphZhPdMr05fGx0wnhpVxjiKwTCCUjblrxn9KBgcan6yUzkGHQwhoaDN2b3k1IT4ubWSPSdzpOYwTmjdroD/8fwxCsgq8iSLqVCWKFRTHcaK21bjHaYuV6pebYkT0KfefOMUPnqx3QCOV3X2O0ZnO0nFSi2ymifaK/ajXcrE5iXkN9UcRrGe1xp6mv5JHC2hoGnZfVyIMbOw0a9NtHyIO8pV3G9u+DkvJpHqGl9k6UYKMVABnl9fPBjv3vkffgb+O0KChhOPvjP+sbvNYdGe20uwuUquJrcyBJiVg4sTeKSJxFPqgaJzLXMw9gckhwktB2KDm46ITcsi5Rd23D6EgspAF9WS+/e5bMNKjCos8e7lG/cSFAWAj1l+2AtbMjQ2APSE7JMzev8vIZrWIXFwSLArr5b61eetmW9LXGGleNFekFBM4N4x7T4fSBBWb6aS518v4Fb4Gqutx7PKM1ifnHfGONbrBmgfZhD6yzvvgQGY0Pf6e/ZA5+DYTO5np2CmZjDma5RFhlBuxgz+Kle/8IfEelxaby8ZlJwxtfjcRw6q2utDxpZB0B1vOvK25uBpetMiPqysPLoyMENr7jeeoqJtVP2xJIsUL4aeabxFSf+xapQQxYuDo4odGeWms1R340+2lQsSPktWsPFbz2SOB9s8UhU+cIdUwGPyCFnlZyraDNBSZ+zj1Q6kekQIJuXWg9f62UOV4FiyP1aH/teSa7bQgsF9DVN5M+WTZtba/bbc/IKZATb2fbL/f8RaqzlifVih2ZBvoftUoWssnLcAh39g0cv6TSdRAqn/tnTUYOtRFv7D+N08XA+It+cR+51by07BxM+03OFse7dc08mHBYFi+NlVuV68wTh3wlq7cn8UrxxiXHWXpJt9PbhNXIAkKpP/95pEWyeQy1+WYIPZzqDkNm0KWo/R0xSuhCPdhvRtvbIpI87esg0oyBWjI0dNgKk7J0nXR5Ri6il5m5JlegzBdS8jUqw65EZ2jgROms2llX7GZhnRgWyoYqLrHW2t9tRzjGjM5JAinwMqi+ZxjKn/1XqUZ2f2V1shXHxdeH3M250cBO/IRGoLlPes3dkmp4lj4/MBrgNiCOttGb7CF2uyYsbUOO0h2aQ8aVXfb3/vpd7juojLnVmHXILF+2pyodTS/7HX30MlzEaHTc5z0OBR9hf9+Sse8QX4WX287UUTnyg2n29ZyVeF9oD9l6Swfev+el4W9pEQN8cBsq6UZXlOgMEUlrcjdAP06ZrKgiHHtnNd2L2/XH2xNaTOOdLjd/JUa19KYgOnVPUUknSwouQyxogZCB5lJ019Qbv1fX1s4SyLPTpR4TjtY43M1s6naX/9P6yteakVppcjBLn3ASQaR+C/JtwkAPeblLElVE5jEjSk1WgfbimAMqP1oZeZy1uo5alnMP1FclqHMYGItuQJ88NAn/XtgOSSotLroH1vgmNGSL6GLJW6/RsS+LFSeLUDBRAX2Nzvy38WsUSjXodla/Y6wvShRya6HCy0uXCKGkzdVw55YratfJ6IHEo1HZjQgp1dA+6GvBYtUqy1NkAPaqX7JFpU9qFvjOg0POUoAFT2fZTzKRU5KEWVjsL+xVtZGA6gt4asz/3FFJhetPjgfQuJomAYubrYUcWVvdJ1NFzRvUKyfU1QEMXfScEsH58C6HUOhEaG/6UxwR0HyvUCo3OHLYNfMG9VgLDE14MPOIYDgXtxwBJESpOUbQb9IIA9SDSy7FY2A/ZD+2V8dB8dG9wf/oKT4s7HAwYDRrl0Hfsy0Wc1GcC3yvrhOw8JV0NgT5MhbcAjTKLb4v+d+uOrDDMN/yykNqNTL99ss8w3shVzTEJHIZgqM7X9fCthfySP2LyyMdzf6E1UbUwIG76xLZZUdihWWv2pZXOkZKogjbT+krpeX50mBpuYkL3q/QXdXxzrhbRpzqanIYZdu4zOP1FiEFlm2qeC9N7YDGfz/e9RFoEHHbryOejzSq5PYBgCCkN2IVuOsMv/c8DG0uVwxhQ1bLyPIUdT5g4WFpv0JYgCbwBH+TO36cgu40Kehd1d1f3u5Nx+obwe1GGQiFY9Mqgrzkl6km3lPFtdEE3Y7H6XypxASlz54up2N+lLozaNSczQbkYzoq3Bf3ZPTVXnH5iQ3eIKynlVhHba+oqBfG4tdIGGDpvnpygLTghqR3gq9MlUDkV0UrdxmRxCpQchh0ihneU1jVBi5/6+JBxcMxkA8OD/tcm3rE/nssGUvcugzmpQgDSUwfmuWRH7XApc3skYFm3SNs37IWGdMUm6NqAaGkw7+kw4/jEKHvHNliVMBqfnfp1cg4qqjBQI7OH/T0Ydwi7AXFon/qeqoj1MBhBj8d2pP9hTkfxQdfjmpyMJ1L8IKZ1A7ejnBMX36g3BEgxirn2cE84uCz18DdgeysCScKuWJCxpNQx4S4Kv2V8KUXYZWTddMUxd4R2EHn/koMd1i0bLohU+IfvTMuX4MVESqwp4fy6fdb3lP/8QCOofNtmRwxnPZIziU0YwueF1+J2kTV5Gvk65l+w+mTuL024litYyWd0gyy98zvXp0JBZc6Vrtp9DvAuFmHUljkbBNtf4GnQrC9fOX6LUGFeZeBb7HQ83VyNfnp58bYwWGCub6LZrNkOGycc8Y7Ij+PWAWZPH9ArlYAbMiXKtRcWvc7eM+z0Z5Nah0arYu2G22Ca3frSJwpmnK/NLhu7FLgi2jHF4VAOdUZ7xH/5rPtaYOPaJlr80nWAkWqHwueKJbmIkZLtkLaqR+Z/+YIbj8ul4/LT/dVqM11lWxs+MH9ex2wSNvQqXeGXX6dwKcxd000PX4DUjMp8aIFT0QFEx7EOQYK94WSOt2gtY40clbKQxZAg5ZzovoAz8XGLgFmim4STMCeYLDJUdnoDjL8UipnlL1jobjrloROwAd6DVtKPMLVGxlkD7RCyFVJyFKjovrK3zf7Jkhgknkkt0o7Y+1JIWRUdoo1JP8dI8EsPal/tqP25flGoINr2s4wO3gBKb9joQBPyLdNBaUAHGBUp6upbd+mPrnEloPc4z8ioIjAm61GivHtQ5g71quwyFSYYO8vTA0FM5g8EeuPeu/W9ko2lhCTEB5wMvTX6QKkGbTqembBf8IT6KCQD4g3UO8DB5swZvnnQcwPDORvahZ7wmxqJIcdcMqxyT3/KPxn1UeHK6x62b1y35nXWG7U+9+SZ/XF5fbu7wpFM52b3E5dfTRKaXYlk4k+pXbTmJqynR/CGvHxPy3eejAKAin0Gzfnc6wsHkftRpvEh/ozzUa6F8mhRryWWXBDyS1TGMzDVCxq2FZckhj+Al6qDhv2U2xf/ejXqB3K/ZIhCV3zRuJJpeWgQT2zw1m887ydaYsRI/ubnu9+XcwW/ctDljsuR7rQPRaxJxC9Bzm/332TzCkSD3UmrkB8ypw+d8L9Hy4ihP8OzWK9mEY1fAWWGuw+XcInLPAjr6xz5B7wWxtUeY3aMOKfOjckAiytM2ZRtkoJih29c2cJbJK8q9nKE3W0PvGdS1DpBH57NRFJXc/i7s5xRe9gt+hdtLNGLtdl+GksKzRxQt8uv56tPzT0oyY4OmEYV90Q1Bg20SuE2eb+IcYT9xWHnos32I1GHeDaWCzQ1FYCXLbnWVozbw3JM9nvZ8Gn1RPbp0Gc2jKL4EEwMnDMjCLtFDZYSRaa1m9FAU8dzlZLMsP80dYDl2NjC6/QHW3U9E2D+eDXgHA0hhUmV+twAdEMeebmNaE5cx5BhiSQUUlxXibqms2toyJvhRzXnr93JAvoe/Bs0pOWmNt20qc8i7Sw6qIPA6iXXsBmYNpETgzSpInKzUc7nLANxF+L2CBVBK+z1K9vEeRY1Nxlv865oNfiqXIavUgl/oqqXj+HMQ1hF9d4jS/O8eG8eLXPcP784lPNVSOZH2q2ri77dvGKUirn9gzWKB4mdc6JgUUYwZ7ARMyq1nsodigmAXa6bNdLAyLsf7Qu6DUrE4TZWZ+TCRm4B/lcfKj0c62upnNmNTiPi6RXNh5jGNiD4eptgnCGtc7jbHd0Poy87rPWIEMT4zqSi7ryHW1DwgRqpRNLl2H/qCzNJPkx3o72bIhPZuvW9A8F4/d/q/VEXVCxs+Le+TK4NJNAV84IF6Cs/8b6VsDwcv9kz0C0Tb7j+sfAKgBEtNcJzIqGjShccci0F+R56eZJ1SEl/w2okNQ6gx99ue4G127DCnoe7LQHdipEnAOF+0A3Xx5bxAbVLbPELN7TYwKCcXJkx0L6HcDPHYV7Jicd7ZcJY4uMA1GF/NiXnAq3v62NaZwwPQrL1oGjkvDe0Geav6WkdRrXK2U331rzElhslZ80H3ydrJcUcYU/osTQXKqpyR5HBXlz/Nlqz4fIHXSoaYM3XU1kGBvOSyiLJIhzqeENhcWPEf3QGOVBLaWX6o+O4KjU0ZHTvyR+UW7vMaqy3DIF2y7ERbHsnFax8LVq2ak6DHwZrCi9bhBEZ074gQm3Oy/Ss/YqcmOr5jt+H0xGtkLZ5NQVKcwrIvUtbh2TPU5bkuWvln8znRhE3MT6G8rZinAoCKcJvbBG4cYKY6QHyVhFCqllmzUXK+Ma/6WJSnQ4zRs9mNK8Wzuv8f/xqjiDCqXN3wNcGoGc0WGMk/+kVTb5IwIDMQ0l2/ozbb/2WePDH2x0oc72cIxIECT8SAekzlgu/o/umkjXAHRj07NRpSlJz3gUA1myYdTYiDKJ4FcAHSMpDTVmGiKQLzuLBQ9FbDyYF7XzX4itJmxI2BXOiFeb07F8cOuSRueuAiLmcZV6a0UwaNU3YGlAey+ZRuAGBraWJHrvXXfCAiQLlc+uviTf93XWa/WW1nREe26YhkR0UP0ft3Av6b4etLKaEwON9PTF0mZIJizAjmVBrJJt3mme+tAJkZ7grGQeNa7sSEpwDg7/mrgihADZAHuYoloSApWb4AkU7muO9/gZhbwjYsz5qFtPb0flFijSHD7HVCi3g7N10ynF+il1ZsQVZMz8UYM/AbbYzvTxKuqIqFvWCuIlSAY0pRLShbP57FyLtCh3bFc4dcxWC9XXwvQ9S1OzS27Vv3xEA37wkYkGOJv31XtgG2cCf29jeY3MxEXEWToK54usZE861zUYdoxgkGsN6ALgI2McDqKZPmSIzfHeYwvv3uvMIZLO/szN8vHwDppsWkgYKPfEv6Zrl9FkdxIRewnQvJqG5BAErgkg/KHNT2BeUjWZKZA0/+OGsSXtCMSQoQJ50PESz3/vIua58qHggFdp394ch8+GmK2U/aeehf+6MmWsVm2KAok0L1qYCnwXGyEqoMuJUYGJKdHnBakeI3s3Fu4xkq6CXNrOcFg/B89qPPQz0QyscV3GmxvnDA81ZhqbBTVpNvBqJ8A1yaPD/aJnvx5mxUy9I0LOopCTykOnBm8QidY1bx14f4RcMHWg9Ca8VHZaqgBXq/fNh2f9Y8PVlZNCEfATZvTRHtUc9iygnQANmAwyzoZOgmeWX2dfymuZMo6L6h/PWM4R89R2yzW9kBNO511MANSDiS30SZThYaT0zVjvYl894ajujnwexgmN5SMtKXeJQslqmx+5W4C2NJYMiyWpgsXyCg4xEGBFy5JwseBLiFerB5x7Yg3ikxlj9xusp+3lw6fdN04TfhkZA7SICE8Obz3cd9L3bEEp3BVBJm66EDPf1J0Vs3HtrGJR9kWJx+KaKufb/E7CLO8b1zDCd9i1zVpYhGM2BSuw7f/0WeJhrZKW/dyihgvUCGIkW1VEtSXaRy6kmyYsaPGhiBBJk+i2Lyn1nLAs+b1XUK929oX9XRHYM8LBBAmk8gOA9P9MilXLZjxS8J8bc/qZODmzt+g3SmYuIx4zfXgeuRHOxq9WJeknk4J8Rp73t5LMYldmGUY1NaL4SXzW7r/Js5JHkeKktB0l5HrnRhD6Cds0m2dCaZHQYREGw4R5/aUe2KJp43W0Ldsh0v67ASQWShnLSMl9MQFDZZYcBz8waa35WRN6+i148G+xwx7bvFaQsED5R2WNq7jfXlYUQV3/atRocuPFTVXqM6TI/rPwIjW2KXJewKlVNgvZmzecx15HvrG0g6dJyf5ZNqU8QExwT97ryW0fB6Ov4JnPyouzTLE3sSGVKqG1P5Kxsrck+mdEaSFZSxUmVdEjvPzQgYNPn2Oo4VfmEi/VeWb3oyYu8Dpd+xjM3vBixHJd27ADqqAA8ePfdiBeYjJs0Q2xyOGeyFoeABelm/xCY4UjGCUXjmkt4/uszYWpgYFDw+ffQIRrhbvqynOxrP8/GOAL4JjEmN6BDNluj6G1L1fH8jW8fDt15UnCmFkQWS9yPg5uZW8RjOUSubmdNUCSVzW7J/2tU1kJ92OEt2k6bKbkluriWf6Y0+pUKKz3cGnUyOeSa3ezgWa1YfKsrEFTHzzccclccvaRelCjItucF0xJHGdvqOu/+G8+anJqu5+3r6/Z1MGR7eqAbnhm3XWJ/1/zY8VsxYLzDv3JQYACaLIl77Lxv6+IDIkbIR8+YM/myGCA+4S2zynrL+KjdLSn/ZsvPG6jDpodIIhuB5npk79jTEUOkZqfRCSbbzWmmyMOETO2vEtuvJLAFN9MQKQdh5Vyd/f1BEyiHAZl1qIdMbcFf6C2xtK1I73rQygpFTGqqBufugD2mVWWlboQLozQHqyKNftrXF/IYSnWbEDS1g1a6jHV1xPmxVELgPb0SciLlh1FYueAlABXCcODgUMqAEgdnJMLzVDCS4t2uOEKXbxMigzYqLjeUdH0WSlJBeL7O26LT8SWdJ05MkRq7qysoPhRp0trskCu33d8x3oz0e7JezR6Zre8mW6no2Nsxy8HTl5YIc8sAKDKVs8JHYmwEszEyBpC1W1RviYkZBfN397gYUsUUpespK9EjQg1P0uto6O1xxDhSNPmUlTzEsOk1544nHw9uphYtLpj9WrqR0563e+kzlyOFr5mFnAuwHv9a+A+s32dapb2sTJMBr+TR4ClyiiHSqzEUnY4rt0wJ0+72oxJNT7HArNI0AGZ23JYyTFskmoyvYAas+C9bLX74HuW148JmbEcDvfJ9phyWXLmNtTWq9BGiqBtiuc64NLsmQjyMaI2Krgd4iOsJB5M4WKXV9oFZnTs7wtacclKKNLUIJVHyGZP/nNiRTmgfzqDcKt5svU7FAw/0mcZ3F+AuHL48S1APE0D/z6qam50f5eU1tqnvEOmnXD5ijbvtdvgn2kpIW4kiZKRrOikG30Ln8yxSMZ2xkqStlbMUmLZ61yWIwPsMILGu5Q4LcToBxiLdeHQKMkzQMGqG55CR4R6IEbRNzGoR+5t2hWXAaUuVCV3hI/ZmTcXiJ/uwISYbaHOE3+oufki5HzZaqHxl/1drMR6Xqo71JU0m3/2HS79ghvKB0yNEVHs0mYmp8j2sfKePFW0oFk627I0hRpmP70e7cOsQqb7DsBwyBoiVvj8ykWWWahGAZOLLzNXB5zOnjD1JUndyyjgdc74hTTx41icdfbRX4IV6nkxLaxuCfxSCN2/lRvqwBt1Z5PKKjkv8ZcUJgu/uFM+rN1ATNYm6fAuMoCkNSnaFmCY5es65lNy3QcXVnL0iAIjQNf9BQCAJyoYAWiTsjqL1gR2VbyUhrXh7vnDQYfIYOqWtq8BSd6+UUx3gPG2ij/SDAlHreomhsvZnrsXJ4XZFXzezHMhm79AyyMdfTY4ml/Q7lRs0rkzgGLZPQyRJJUgkdb4ZOobLObwt7vgd3DLyXUNYwbs+TdNLXFZHJ4YHWHDZ1lfwsBQ3OdOgtPdynF5Jo8y6tf9FG4IOx06PhiugZXhQLn+JZRLZ9IWGU2yAYwJWhuZK/b7xuIc2WDc4g2oYoQneS181EAMqrlAQmJVxF/Uv0alBKmaeGIljwgRdm23zrlVoOSossD4QAMA0FbkQq59SpOwHJyY0Fz6DEKvlAdIgAka/Yx8ViwPcZ5S2cIMahow8Lp2ag5lIJtcPvFQfGmzDHZuLCQLCJydaZUZh2yBH5D6/+FBKE8Eq0H4Ewj7w/lsd8//MfuVZ+RrgokGuAzCKonI1rR7y3Zq44QpGsKncCCmHgeCBk3dxev0b2aznOYQNSTCQxhPQxBtxVcK5BLQWzdSH3sv/eZ/cRSsiPJEcpJJcAR6xI4IRAweN87kZHEjYJTYzLnWklTReus1JtWje+trlfEFh+L81+hm39mNr0+kdXMLcPkh8VmDTYz03J4FocW2cEQfPnnrHTjUUcPLus01bGtyHKeGdgpgM6aaO5N/1DTVF0mdjAtERDJ1dnZl4A0T2FEHQ6DYE4Q4+ZcT40mhF6K2xOp176b8VTTSVf9s3IfIZ273nJadJqrkVqVfkmUgFyLbd3z7bfdQ76z1GFHuslgqYtnTlRe8HuhmopTndxCMnH82BN3fja0K2TFJ0+BY4K5lAFL56q82x61dulF9/S1XCI4E3J68dQeoncLjjpJN5ZMzc87ykkaP/o8Up5F/dUa+AM/B0kQ0G/RXwktrKjt8QFA5Rl0WMzzn51gyIYFDfo3j9n27Kuo+IbZAr/Yd/lsW+2J/3kA+taJAbxeIxDove8Wah/Zy0Zg2I3j7owo7vNrd+olGEHYzKdaPCh042PqQNLnooKBnwYciFPLl/dAFT/j8yQ0gurcDDIMi52WSWfxPMC+8znycBfyreUk1YJphrYJGASdEwje7VqzMy1NmZekalt+6l1Z52u5ESiyL0OsY2r96Av3UpZjeVNGUCl5Ie6v8COxWM+G+VLQJ+otdW+U82CcJRRVBn/OPqz0mTiNwjm2d2JWbW0M0qxEnbi9oGEBOf3AsuQ2Br0n0VLdiepQnGsCNf51sbt7acxRtM1/UWmcB7m14PfdWeEbyFeZ6kZl7dc1oXOuD62Y4WzTXcAQIMYxzA4iFfhPQYV8Lo0u36UrhsHg9pHTNYnfCHhk9KNR0FfbxXhUUN4JqLYYwyQJ0UguVE6BHKunIyg+VUqmFV4dJaa8uvKL/b1UZLlojrtyfYoo4OkB4Acyxal0bhkQNkC4YA/3uexBI2xo2MQUNcKLg3yd26C04DpZiApqmY615ywnWqVBiP4Jbb6WpiwK4OWvVvpYN2rY3ZjbhKz0nXdeacpQIV5QBtqCpNh88FG0k/VOD78F7JGeI085iJTnNAl2C4qzaVZH5ZYvvbZTBbrqVR3tteGc96wkzm7j6Zz0fE27zXDFep04A9cOja9sD/JB20Iw0VPVVhQDQ7OWVbc+XWh4RRDkmeXW0aYJYrvNn1XzDJTX/tKAi++O8fOBaS+G2sAZXH2mG8sAXD46ln1nBmjKyEOATGCsJBWrsXIUwuYFn5IHMSkxIVRjSqYrfeR6Q8vGtg4UEBCvNxYc/qDDrBwt7eSofEZJ0UTtn4HpuIThnBz280ApiiBky9EFmTHKYArFTRyxSUoF3dHVkiRsNpP1R/Hi6OLB1ndp08h9AXVF/keKc12Ly/2z5eeplrLKdCqC/HS/y+foPfhscj+UZK/zrzanKYtIQVwxWIsk3eS+f3jfbcZ5KGIRgq2hjMqEhT5NNLoy7OoKoXvNfSgntDpL9Pht+nB41aXuYz0pw53qqpgRdydpRh5STvjYTNXqSNT9+8qQKzM0QUzj40n+h2Cd1qb7g1oONRg4RZ6AgMseciFkblFNkO26DtabDl1k902aJYA9LmRpcwS1aCR5c+4lRNuYyzgBQJ5BhID5BU0mnaRx/Tf0GE42XKvm8z6MLR+VMTAvVV16ReffMMwCbtRx/jCxhExAHmvP799V1krPOdu2gzO/KB6ba7RfZ7022ApIJCNrpfIq5AGK9kR70q/xWNw6aDhGjgcqnervT7YriWRkEk63JXFWongqYcMR953bXnZ1zk8ILLwYMCJTwSm+2ul+QGZ+o22lZfRaC0mzgyisurr1D2M5KeMuos4cdlWFvQUeiAeQceknvH+rsTstFZNiqgUy+wYNRNdj7NEViG+83b0oXRAUiOi4DSniP6uw9Vlh/oin4/FzsZrKtVDZbC2vT4a3yI2l5OIOPsgOgTpnpZ4t3gb4Dven7X95wFxziIA8zAjXM7DTepKKVtTI5W7EpcEenjhDD8Zb2BvziOYdyn5nR4x50SEpPBwuS9qU58SCAeyIQFX5zqD6u2pjW2/lEuKw1dHTjULLF9mW1V/zYU/PBavSuIs5QN1b7dSpnLkTDNL8UzP0aOE/vJkCLLsxFs9thzGOJrZnhXtAFQOgr6C3+w7gt4/+ZXudDN1cQ5SxWreIofAVb3ve2a6HvL0wPsHpzRRs6YT7mpF4vtG7s1XyHe0jrr2tVqGPCrLunbKUk5Q9l8mkCNN89GtZK6e3BMTT30ahMJRk/9P8+5PjMXYA+PB+GW/V3pCzk/YB/Ae2dseYTx5PaxV5zwIf+K7lpc9iZo0kNXfOITgP5aIfuxLzQSRP834vQCb6h3Z5Uu+IuuNQ0GP2uqBEH19bdre5+e4129QBMsIW4z1B13pCJvb9slGf2W/6eL2edtxrqtE7EN+o/D+8Z/70Dhcot5vugiIY4jDIJp+pzKjKnXs4T5aR4hyE6mF7ZqYCLYnd0HojvMRoAsGm3HoTXJiSV0/gCn03IAZLuGVRrnMvStTc6vMch+hFvFLtoLYZj3SzJkUXpBtTrU36xkZf8m3ype+3hNYFhFd4z6PAVhhZ/sznwdMiArQg7gGmo+GFBmhJtX1/CZv5jcvoH9FiYyN1Z1eUReN7XCwRBgKEwg0UNk380XyLkDVveDNcBaXT3YCaf//I3/U/LTJI2OWTeqah0ho1jBFWVr/99MRCq8o7SlYDs+BcH+HhCLfLG0FPOwTL4D5iIUY6fj8zhkRrarYCT1h1QDSCJ7WEbewgrJFICAuEXIEzB5FO674SbjIpzsjb7IB0LmoC1h7N9XnIT74TUu7vQC56Ae2KwNkvahh9co1vADT6aESwfzT5WwCSI0Ih1KMG2E9/TrZANZM4NEQUNKDYR8f3S9yiShiwpFg8jaaV5IZXWVO9KJukNOXE8HQD6cqTZXkX9eZ+0XVP6/eKMVgimWxDmMioiPlrN9ba7TNrULepCJ7or5EKsFEqeuGLNyYYVmzI540YczWMRymbcwH1cJv8TrdbOmZdJ6TP6tXozoW9gVsrXsFT7K3nSlH8cG62VGetsRhHGtLrPiDqady+tCXtuQozY4aklLx490SLvu+hn4493hJB8QRAiVcWmkvGlzLQx217dwlbpzA1T2Wpd1WgOwOijvcSGO5gGIB7asxuCjR3Yr3AWQnK6Da686sNU91aDgtDbwZ+/hqPvpFbI5nZHbiaUZDKgCaPu0Q1ADSO74iib9c3FJCDBsusKzmvQ6kGKo9wMi6b6qACE6LrawiwZEVF4WNhQ5DnJP5n9GT0QUO/YQHtlzM/eYuzWDbhH3JUN0Ze3vhbNYMp9XAR+1M7zFf9JgCHpshlPeW3GcozxPrpItoeaFSKUb6LLUPSQka3qnQKcV4N2/nTP+sxRLyGBHwbUY8VCiHNiP1SFj2KrvGrif6YI84dEkwD/PJolAYvxLOhhBGE68Ia8HuayiZeDi2vUvw1doTLReKx8IJnuq5U+Y9gS1EhHGRykhVFDlESV1qaS2Ud+RFRVkddDsj+a1WUVbLHOs/35Y+KIH6njyVhEa8z0rUdvkJpXO+ZBJ3vuuxHlZEluHMle3EQOd0Dpms+TvtCHkTtLqzsqeMIxuK9McXbYPgjcupqCMo4vO+UJCSXdJWASFPr+JWXGQq35lunrENDDa8UcgkiWTpMUqnT6Xu/SdGvbVi0JhTZLqMlnBKaqxMx4RWqKapMcAOvXlEXCOHd9q0hrspQ6zDLA41jrUlxCSKaw2CcciPNh5CYWERYR3ojLRwKO8F7IkQTr+tIpiKw2KrPZbooZbR5u9agCEI0FLBA29cLExZQlr2IGJj1tOR/L+cuUSRigBZW7VhJXaSyES1xhbza4a43RCaT5846za19uac4uXWHN4RUio1C3+S6ChfGtmrTLbbd8+25Q0Ag9WHj0ec3v9Lj165WNQNkGu9SPeVxSOvUz1bq5Fg9oZQI52dDhbl1C8dl4CNkAw2WhlgRN97cLry9VOL/f2mcRgLd3HISuwZc2b+8GLnKxEXTQhZqMjQF5RosyFqT8K0ZCStT62sG9ESbUAC6g7/Xv39l/YRxUUoBwVSObMXXM24L37/qLdyWIN7R8xOU7RaqAlHRZba1WgPAWX1ft5pSszdyE2W2mQ0iSlfjaFNK6YBopqh/8cbrGmkti8kk6upwnk97b1/NaUVD0HEDlAnAryptZ0igANIjCM5u+qOk4aAllZqPEJIlfOd+Is2VQEejzCeJI29pn+8wmmx9hjyRsoudkrGfIc+olXV2MyfO5n5Kz7fXrzB4L5R9BwIX0lnjTxjNkDuvVOWfiOu80p4b4jvp1pPybRerS/XqkoCgXmHmasfyXMw+WTQiEcXZxdTerz2qGiNWwDA+Kjy3e7IZ8eDkiU1u7U9dKpaX/BSl2diDj7bkMXtcdfta+3LKd80uzawFWZLQ+clA+8yXsILvlY6tlR9pwWv7GpZYmvQmzXZ26eaF9xErwTV1J8mXOcS+xHcxsuGsaBAPGFiCllngubWDa0+WQKseUPkQTMV7AvMe8CoNls9/ba7pfYUu5utzLXbZ2p+my9KwjrltW2UqgKWgfRxU0Usn3maYqDBOiPRsV9cOhP3xfAxQawwfM/ZDBqtzgG/0HiMyPwgum+qa9h2pJrzbyEGtTYE2V3agh8PmaT//TTObrL2of99TXxVKWUBoo2nZl+yC1IzIFHOHWLGZRC48HALE/zSynBqmSSNZ1AJ2ShsW9VKXm9M11+8i3xIRB0YAPwbUMHLV1yU3EsCJ9ukKFNuh9J7ENkgUecC8aBBHhq2/c3oOmifnrsxR8vySq7+TS5D21NTFAMn0sQHzucG3m8yHIVjGhyHapvdRXUa8iyYp+srqkX7rZYhdQQEYHAhD0/NCylznclGuOnbRc8qHh+M7hyvB8Kw/P/gqhbH3qnBpCNCXzwYoZuvNGWpi1A6dmNI8lSL5x/+ohxd9CF5msTKHadbE/Mp/uFf6jMkGB+5y0OYveVtV4ciQYeRULb/ksGpvPLdNzYaq6PMxlCwL5eUaJEaG3TMcHYhv9N7sEsgorh4hFHU3sor7t0E7HQSudfLffY4xKMZkb7/+jKVXBNER/zROrzzPS6paRaEj09VuWotpyeEYlE2Hh/CZF/5LAIPP6L15Il4cc7ibaRzJoom28oslSrMZVwXu0to2LN4/5gO8+vi8II0RNeOGgDFor9hSsbl1y3jgPZaUHN8zyOE2/QyNFjKp5p4rvZn39uWXVdtWHSV1YQn7i5jlKKgdHrRGSpNRcP8ud+7T2oAqPuQGcw5n+NGg85pGGjzgEOVTzRnXYLYlN6uKE+kO3iItzbmFXISx3jciJFwh9V233J8hZQoTF0EERjKl43SZqSUlr7bxWLSoMjZQdCZzZKmnhTJw1krN1SzZESofrpmNhOxh/4DriYaeaJRtM7s2cIYoAlbFlBq1ePZ3tZv3UFHktiEB9B72UoIDRpU1Yq4gU7gOHQGC/D5YxtP8cLFezD9ai3Tek5DGB/E87XVdhXC+gMafiYLgQWTx6jZgOHdo2ho+q/S8H5pN56v4WkvsRL30dfI90ERK5eS4HrFytlMSaCqoGbX2xTY7AgP3i8Y/FvDqn+QDqza7VVExkWBUIF25ZpTUWLGgNbAcCfNcE9Hjf5AyDB904CkDjNnr5lfpS1tluuKIWv/zNhzugpoVq5pBChSvJtcYEBJa1+bB08xiLn2a2B+m14y/rJuUYYXfgjuP5v8UkmR8MQSakB9qs7B1BehzBrZ9HSCIExA8jMcSvxONMXFCo/ij+KvuXap+au+tV4Ae2KJqtWlXB/F0+mGw3cACyzSzG2X2LhACt9ruCbF3Z/r3AC4cOcqavks/KTV+/J8TLgBn0yN01QoS3dhMlA3EHD6S7iVxIPDp/ALtDCD+kusLaQrLEkxi+a0D5GCpzuzEs3y3MbldI/E1ozhbYEeruMtyI1xb1RBWbqsZyDqgEJCkNGZyMGJyCwCYMZrcI+sjhDomLntkPp40hOd/lG1YcOz4xjLFzUBsSWZfOTbncwyZX768jj8rav6nHM+NvU5ZfuVf28ramJInyvV7vIDh44TDhFPaXQ70pMFm8PLDca5vIAgnLClYPOPRrDUNqGfxQBJi9uO+jnJyvH3e0YWAF7raUkVahWG1g88P/Qk3Jpz9qGBEUWWBAgScCNg1THjdAYJ7zTH6DGljldm4MzEJ3zd5ug5bMRfSjA2vpb+ykUM85phvLzpTuT1SSUo9aw5x9QN/MxyLiRDPMVR9k8p0pbdZ60B5PpNaNOVU6qV/gFOUj1Py3wUPwRV5OLLYWItLVvRmoaYNFvckt97SnNra8y4IKySgBQ+cz6QRLGofRIsKo5h8PX2LnYI6wpXXhsVar2x68F65nSi11X7xHyc5hF/XUV1VES2FHc5ajxptsibFcOygfMvCn4XMU8Bn8uPTX8XMf5SNM/zWVSleUROzIvIY05t9j/HjkAZ8nCiINDoik4L9V7Id9MlUUNXin9f9zOF/MCrrKUOGWEg+2NFqquclH+j9oKJO4vZSSF5Ev+aLXNj71Ha8caQIsBfO37EodGVcCaKTIbAgrJJ1XNn3wGGF6XcANk3MFzub6DoFLb/4nYIoTxDDEREX7aJwGgpruSBxvmfnZdmj1uOMrt82gstNtPE5emJ94LaBJYk5TBWoDdFix1Y2QDvGmCCBxWImLqKZ+BunLB2O6TpmnzigO3hX5T99lvWBzcdu0Ng/H65c9iVvmTgelolcSySs8idage8vIewl5l7uNvLcawokjlr/RCjHLCSaY2kAssL55hN4/+ADwRZcnAiao1hty0qr6ZNUXggrYXpND3DieIsy+1CPyerma/NFR0EMGZFVCTCBeabTQfERQNZOmEunXdN9hSXFK2V42N+6UZX3A/lZRPEZ0UKBEqg57RnRUSrBABZYbLx8zN28syD6liCSoZuHgkRzyzXHcEQXPx68P0PmIyIyA0qA8kvmhSFLfhQTcbkmU9mKCsNiNjNkJ9M0s3KVA2b1PepZPKSJK6dRtBov9nUkyzp1YslphCpP4vFTI88M0bEEmVDjQ5+6IGxMISFLdaIEEh08gZn4CS040c9uk0j8IkIiWZsKHXKCvH/kb2hEumx/9ShM4WSzlRk1ICpNvZ7u7syhRNdaFB2NDR6MahbksPLyCRbbPXhv+Ve3MrsaJBXYpMc/DXCXVWOEY+wdd6h+iGMnEQvhoFr8K5G95V1ukwLGHAuEtzoBMtvOQTzTGrBH31yru8cUvxlOartLNyw5R3VAbGPr5iAHvquyth4OI8BmwZtNPw80+YOiAoWrUpfZ30O7FuW4Yk3DubR2+0t9Bh1zIhV/ijowheZJocUGFrInrR3L8wgDRiXf7+v+t8W1/gU96rmnm7mMgh0aDZuyGU3Ihg+5Vp3if8zfdGi2eqrI1hDj7rGT/bk4rH6el36oBGRxv/T+Yq40ix9M+LbvWjuz+LprWimUnWqSUc3X1tlVSOVCnXqMvnXyymJOXfsTDOaPDYHaa7fA16fMEWIgCn/HBnvQW9TMXIlYNUetxfHjNsGTy7mIip3x7dZ+vdWDnqT2Tit1+wOAoIXxwY6EJjNE0hBjPm3C0mN56z/13rYJteYRFzY1ZmViUiEBmm6gNzwXh9+9M50KHV3vdoRVbVBdXxKojhhqy4M4+7m2gGmtgIbzk9FiTZkUoZ4zhVegUZY8C5nH84MA+rfLD88Un/dlUzuwz9bqTGan3StmVOlEPs5h5Evh3AfCDMIoiBJSIRIbcBj2l3D1yn1hMsjvgUnPV3cNGoGSKsKAynGTO7tw+qkXUCTuLJ8DEg3wSF5D1Z5ois8C8DXgyCwPtgzz44gilgiYWof0nQoMdsXS6VAOgHmsy8oNh+piSipoqFrUwDzLFTsH58hBEwmN5my/2E0GKUB5iNKULH/KLztq0BmPXOTouJ4WF3Dqt/DnNzQ4Exa0JfI455ObG+NboK2hzjBAaFuO8QGolrceynb7AuHra3/h4Q/OZY/ElGT22U2yhW9FrCBbNgTWAEYGUx2jVxNvjoBZSbOL+fhOImKHRC/+fskn7YQj/QLD6qSc+OWQPjCP9d1YcGbnDwPQMswTJslXZSdZO2tgkVQSashaCO7JBTgIthX8aaqJiC5bycTdQYApFO7DGF8qbNS2Bm1KvPlMHBEpeCoxTkvfyMczMMH6EmL9cyB5UAlAjE7GBeoMWW6BDeDFuehEdbWdcwkhbXN+HYYp5OQNCBpRXRVjWASPjLL9Yf+doR8w/pZQFNrfsRARwLY3EtKRD47F+x9wRGFu2uf0drrmeJh5IdCXnca6WfKv0RJ8Fa+WFcm2RXIXRNiHjedrxjauOckBW8Ngbo55oGOuXsp2wiTXgJeLpk/qqlTRGjL8bvh4T8nTfGHTV3HWMFy5a9NiARmzvsACEglG+ea93vLXdH4i5oLVJxISPVPSjpz6K2Dwpz0ybRhbjAnXhi6uCN4WRNYOhqaoxgDJ8Q0WpwcD48P26N/UbfQytitjPAbYyuhOwBKOUqpHgHvBxev3hoyKgsgWet0ObVMrKTr0PbgI7LWLMfxAIDXEJrhFo3hu0PxtD7Tx/WqbEBpfDOMMowBKL5uSHPbdm2rC9C0asZdxtEfXyt1JgoRuM9zYW2ZnIffQiiviS1Jq6pe0uCxqE85tLGL9DjiaKP11GwHe9mclvg0ws+ppqHKFfxgk/avqvmYm8tzxs2uCxs9y41b8EH8XaMlk2xAEBELCo/Mwt1si1mk/Zd74dgwxYkxRkQe7AZb70+1JeekQMmBgii7TT8ryP/s/jU3f/586Nk/LQC2nIeTkl0JHaVRbDQYQL00pQpK0+027h/CJ3aE5eQGlHMjbQpz0UVI1qrskdtb53UgeOVfZ9ItOcPCyWOKjkYIPLSd7HNZtfdbKwvkVz1vNIM9VedsH0Ja1bm2iZTIBU35SmCyili03cX6jkiZO3dLMWl5ZyIP5AWKehk4nymy6hXf4Qim9Kfdm5y5gv6Z7ds3ZqOB21IOkIVKiN+MHMpWoO/MSaxNbRUp3h/7YM7Uo5liO4OBZV5nYRSmZ7p3pLzgyZWdStVB3VEYu2iL+PctTTNAczrs1gIalFlInxny/1Yqyz3k0jia9eFn+ZCdzBhYk1alaR7eNRx29oovv4Q8zpNjeX0md7dW0xrtViS1e4kXH/xKQ638WjvdU1VpkmeJPPB7iJiqxEYHKhdghN7b4aIJe+8LHnqPWChT2Y4T5fyo/TZVrXdHMYOYh4HxotAnQHktT+9bG35EbbO3bdbsxoPwZi9LeN7IxkZAkCRCasWY3qimW/CaDGkRuNeDMKVpK2ke0K7wYMKAxQrx6ep2PYPqSGTpV/kn0/AAxB//siwBr/hE3FdbJnx2HQGC8/nBIhA+fRNTtUvKXVt5tA+OtKQkTt366v4ZYiDx3obbr9KO9Jz/TEDPFsIrXZwiH/85/1deCYU+aiRZvCz4bsWEFozk92hZt7Vh2bI+HYWtwsQTxG9/cX1QOjZMgpt2Kg39uYLsQC/n+PguYes/YUOlyRDx0jf1/mrlQZcHZKFpno0qFCxy4MthXIz8MWL7HUwYIlquP1ePnz81iWA+yrp7wftJ/up1IJk/LcJwjPkT1z1nm+PxY+3ceeSzPJXPER0GIr9RTw9SlNNH2L5W/grrWii9PWe2pQ8BlFbfuXMjwzfz23IYX+1RsGX96DHxjlnMU7LRLOS21GQva2VfJ5aAxpmA9Yg8aHlywMZX7RJRlb5E/iYru2DKhKbXOZJXaOgP9k1TDhaQ8xpibPy8CAF4OOZjRhMDDkmE21bLk3gACCr97b+GWBHX1Q79AQhsDjllxTVwlfOxT+Esg4njJDu3H1rZ+lvJMQrea7FG6jbE7In5nDxKetFwSDrePbooWYD1ZQdaZ2BQEDRvD345HM+K1x+a1L9+rgMT8SFVwlx9JMMMBva2qOQbWz91TZ/1tA0cAEiPNsW5qW47pIujROavVmx2kAUMLVCUvLdTdn5snwFP6hFC88NRiyj1vuT9l5kuggvByiu4RxUvsLrCNlFEMLTozMY+xNUdW47yaEtuXEMdYAVZIuSyFY4w4z2A82oC+VonSKJOQt+gsWIS5Kt1JQ0EMMSaLw6qf0LwnNsxKzmnVpqX/rrFs3cclQ+jOQvxQ+Pbx1ViTuqtYs8L4bPzFEVp8m7omkndSUgMQR8y5oRrigGa/hcVaR5YcfCEZIKlLJUkKoDVi1QKn074LkySrBI4Yh4DWISnjCvyL7XnN4zyqIAe2OkGn2P1tDdTwPMAsnxSBDhUolVN8tHWjHiwAiyABDHSF0WlZBLtJ4q4HgGpfX9y6gSWigKhkMgkxCpgcQx7/aoEYPSPNy6hFN6yBRBxLC8XqryTxEmUWOvwQYYn1TTDcKq3tUZGCq5OuA1lOsyOmt4NUJ55v/0AYFWNwyIFLZtHtaD655dw11bj4pIS+IyJR/VrHdMVtlqP2I1xdohFfwWprUk7uBzNiBSLkGLmqkPw6BU7ON6CwOpNh8sLYhEnZ1HOAEZgJUyYdOglAcrTLYpVvIcYB6/GAira65Qr0zcip020Lxo63Q1oodMDdixuV61lsQkmG/2qWzNkoHNtAVVbiyCePkCNgMwlfrmz0WxbG9z2oE5xLnqLmioo6IjRKRDed1mLcqFwKuCiYmBWqloE5Rxum3iJMA3///uSJSWo5QYvyMtzc/GJlChgopQjQkvBswO2KaQ3BnQCWXh/gbtDTMc1cQ1e979DNvVM7RdRrKXIqQKOjXmeNBn+IjbVd7LoUYSNNsZYCmvmI4tFZ3dglaUpm6DbBLwfhl/+ejtN2FL1dk92CCOh5nZj1OOBTbSvniTmsmxrSk5HV9eyQF2F2uBlc4BnE3dkStfoGxzkGlcropqI9mi3rD2R1B1bHr+99K5lyeo79f6uFquyNW0Fr1t8fWHlHdee9esCaUCwgferq9TE6n87LUBXgSRBuR6LZWZF3GUK+mcPI1umtEiM7rbA/fYa61yemvwGEt84aPgTDW2LLE54dkLhk4bDfxY7NnrVgdBw3zhOiwZI/u8ST/jBH3MYAy5Wt3rWwBkZ6vRKpHZA+FqCNEwtC2bx732SKajGQO3+rDYEFmkdx+DsWxgNz7b3fNAnmM8HoeTDiI/K1jA+7r4bOlHB58VSQoDUGwWGN9drLPlfNsQ3KzVvqXsuKx4DY08uXOy5kb4yXlibtuqO4AAfQTTqeSjdp7E57yPh1kpnDvNS0S0gcjUTeWLoeQQPsfbxo/MSK4o8wmef4jWIr55aPrgXiT9sEjrntGNuw+/GaxUIXLDi7TCToDWJC3mPu9C9NaZEcNxT+jYsoVlCG61DahZ2FUwZWnNTFeG8VknKHk0haqqXylaPr2mM+t1eSO0Qj8WKFh4VbzxYqEW63QOkMNBNzuTBJ1ojfyKsiUr26BTFsejp434p45Hpct5FRP5DLuS6zL1Stg78jO9XzR1CvtSW/VDkVGmCFRrNlpBkEvtBawCmde8f5D1aP+BpyzJr2ySarpAx8x/qO8/jhgRycTZ83xDgk7onzlyNUb+Y8+07c4kws7QDJMVXIG8gLuy03ujupEXTlH+4T11R2885AHvc9s8qwV8nAG9ebBqAfZCFPze/obGTcdTQeaHoWgH8q53obQot24Hiu9x0u+hRJ+8BufIPko9S9GHI9xv+ZMHn2MkJ9XBzyRq4ac3GAGULv1GVApD91yFw9s0pxf8Y92uEAuAueW2mUAcYcArFt9szAEORtyx6iF62uweTk2Ng0teEGlxoMAlW+tzkLQoj4uwGkskOaS/CX884bBAkRGhooMlw1gevcrFYnw7qnVoR2Qkrz1qEZazNnl6sBcCu9E7w7zA7PYeyR1YLQ3ylXTZVJyjcnMJ6y8mlCaXpOYuA4HVYqotYw2V3AshP9ckc9fecjR48DJ61TKcfPlkB0xVQ2g1u86hw6erhVZeVbQuqgvUrotFQCnPztk1WofM6U7MGUgdO9D6eDT9VDzr1H9+8CeZiILiTB2bo+6qSE7u7xb4k4Ab6U7yGNJPfOM8kirRY8kGSUfGR97ldYCgyApNCePv4lruPOW42zlHmCU9nBj4qw8F3esUfURGJH3RynWAiOIVDY+MK0b2oowDYJRcVnnBLDFi6zU9xi+Kl5xcmWuV+FYAjbvomUtCF90RL5Iq/RflZWPTFI35gEKKZUuDAmV6xtnzUWoxsdsTyy6BwkpNhk3aYp+KSkm4wD1ktQTGXVHj46OnJZhesKwB5VY/KPKd/t7tP8WR6wtpxgVOG5PPCS1L/hkItLgQZs5oxKzjOan5RL2rBnseKK9bXba8btMvhJoYcBhK6FoBxAWzgCD8hm321BlzIgPbH1xYAWJWOyJNfhy+ivXI9ZHT+lPdVStwSQ6IP21xNUJ3kOQRaMTAQLxasUB/2r+qvt+4g+9Rl5wkQ5DdUSR63SReNFYlF7VZNdXVYrxQCLoVkuOTEYjvJQ4K+zs1sIwSk3ZkUoIwIKyjjgq/+dPgnEaXmtJVmGIhDfqz3vxs3J117wg6Ozt0L9kE7GAa+FJ+wkWu5yQ/Er6sGoIXTJ9/dUcNJ9v+50SJOJ+gf4BzyCMh00y8rRp3k8UPCwwcHFz7YzafCidRqCpkHmuF3NzZs9dgxFeMSerGuiP2f7uETv07LZOy4toM4tgxZpJL28BBpRqNHr2qnrzGyS0dYQd4o7XmmeLi1GZA6PbAFJDyc6l5RnalZjZjOEnMwQidIxxHwJbHbkX3jTetYCNDpS4GpOLak5P3p/4KcK3bdjzl8qsB4LXfu+p/Ib0NJumt0YoUehwXfC93khN2Uy2dwiX5pgjmXQtRj3fSmMBGxEt/nUjDXAqopCpa5dWil2T2VVWbMGZI4NRUh3mT4uuBOTJe3IwwG7fKGktqtZb6HShswprOzLWLzsMoV78A2ho+q/3SFhd22wqYt5YLOHehV0XvuhDJOrl36ZT1s0LRgv+kjqZ/ki3FCkxcFpAM5qgmrVzFksFHtMHlJ7L2y/oF4/K1FKlnpSJF8tY6TZ2KMqRdNeUTw51q2cTstrg6gYlvi9V7kbAo9CbGMyt3S6zAf5NDka15R1Am/6mjrQpUNVRFRatrp2Es2kTu/oTQMdPARx4SZf/+rrCMKa/6O/2ZWnDJb9WaKgNCZO2dYyqD8dft7E/tC5UKFhPvVXA2N12YEekRvFXvNUM+Lul6P+yEsIE+48KZPEfki4p6SGOuOK3ZFwKiAb3lE0Pk6+Itif35XppllSx/2qSZwFEDNSZeN4tXDUyQ/SkpMYHQ02tZljDeS1hpfCGHfIyoHG4cJaocqzQXlHBMoI3OyvNG5aKiw4f7n8Zz8uoj2lF0yAd86Nf08kE7Z9TPcTxglsR1SNLRdsETugV2oszkmS/fxGhYhbliFuDnnRj7GS8Mf5OtqTYrO1gA0d1ue8jyQ0fNI0OQErQRzlwiR7uCYx1YMOdXEoLJfzxjE3lk8lN+SWuJABc2dgHU5Zre1VNcFXqqWYBHdWF+rCGOT+RcTUe85zx72jmdHaXIt/a3kp5uX6GLGqIh78rmG4KeZomOIixi+20utQELUBoeAnpbATEJpStm7FPQ4pUto6LWeETM54OSBFbBM3MES3XgZECPCQtBFTp1uEi0uFvFGgW3sCMOJyDSHZaEEQdxuZnyk1+X9+rhoc1Zlg0C6kodKiNAYQxIHSoy/Gz3aV7Zop8E/M4YY1/L1mAzzuIChMm4bkRPhLvhhXei5IA3fBgbMqI+OD8vuHqtev2Ai631mi/SEpgUygxefCs6r8Y5rhxVwrQEB/DZd7LZ2raUvQWw+1peOFOP6pCoqTQRYjS35LnOs5cpOLktYLbPEO6ZRw8sSHwMEL0i6To2sF8dHZPGjgWLsdd9zDotY2LzYPTAnV21ckjhihTrxMnXXZDdQ3iO0L7s6Ry5zkWIUNjuWUGiVyThK5zRk/G/JVTLMDgdod4jMXZW+CNbJgDJsKgzz8TFUPxP4K0gGn6OtdThfdpb3fkAn71XxvKh6suWkd/sL9wWhdKRPWn3pFlbUDnfMXLeuMUeFeePdOBQEmCCa99Utp2s9HjHEQmyvw1J14zzncVrIfLZdegd43SCVXsWvPsCpxDk/y3u2ApgAtGH0cabZwAO+SX8atcpymnz87bEgg6APA5ICLC5DvVHXRj7kUzQC9LWS9YQO9IFTGB8LCzSQVQiJ/kry0kkbdPXWnx76gjs0x/cTjFs0EhhmnQP6qWWz2YWBsvlAAl9WNGVKzoK2U4gCgC7dwo/702192TD9DVV1mwK0uQvv4tHrBTa35881sjMS6g96IRf4KeAn0jrMa10J47sP1gk0EKaKFLA1sbR0phDJZsDDh0mORjsLzXzbMmMqWt4DuJckHHZ4uClepNnbSdPjVU9U5c8Zf5zMlO14oB+EwZwRKrYUUnUQFYyFx28Tv0nCmCKh3OFWiH/uj9fD/KDWlXTXQw+gO+36E2yNxBMmT6RUn8/Vhuh7cdJaKyHotX40NBMjnS6Y/Na91z9wA3B65AIHMXvrhJK8Nd0FvUEhqu9vjtzUvJ0O9bFE3urQtkmmHIh3L9XV57Gizw60oHReSKgWcN5LhSYd8ztnRj5Nf2YBcP2yd1kLQNlawMAJCPpVlVs0h9AH5HbGJhIggbUXKuIQwvUQRaRjXLMG3VGxjhIdoyTNBOsl/PtPlrrYFHWRHzO8b5zHdtXDoe/iMHi4NMtEk7rdM75JnZ/AE3Xqy5E2xPJAI7I8U216z4Xg0M7EsKzkHl1Rmz6hayzgYTO7cHFe+aTNEUCO2GkpqSrDPfUOmRCGn35/8MgHUY72menTBcLEKWbcfEtKJil4laNp1A53rknDCLgqFcYjwcvRVcYafYmQX2e4HOKf/vbUmnccn4MktjG5U7ArxVFoPoheosVJp8H9n2eQO1moMIO3EM5C5Gk+Op1DBxmAVTNGBqrJ6fULyAXGi1cyFoX8qwNPNub8Q4BByQoTxeaIIsqrpWBKNitDsyTvPYw+JSlmpZE5kbaQyFjl8cNt9wyxVWuQNWiqaIZPMD1zbohWBEtdiD/B638A2V3eDVMwdTakRGMgPQO5UhqJ7rI1DfcXlf2GYKbEQtWRljomcEiGn+OU7/lB0mUPfgdaQWTEiJN0ss6HNhSokLwHF3yOpJvCZ9KvbLDKCVL9Aj//xK3PzwSaUG4wslFXSYQxsZsTu+pNj1A+dzSspy7zvbep+mjTgqlRYluRN8415tyHEFW0DzR3MshA06cG20Tbkyt2obzUXDMQgZOCdagt72AltE5152QOU9y/kt+WA1vnAFeOCw98mfgNaXNZfinoaJDQxwnrpeT8XqHWLL9a9UVMfEMrXIwuWUh7bw5cdNdNgAB47QRtjjKc2KWCcRFxi4cbt3D1FVSEoXFHwt5Jsigu8XbteIVa0G4aYe27+bctqTfhsSy0yxYgBaLS+fo1aNIgv5fWqRgi6HOxqgFnKZsNF1/DNCfSKbgN4+uEWEO51Sep1TDbcgSxAmP1JkbUkG2KXbwUUfVu76olCpGkvxRJ4Ldyj0Hxbnq6Ce6u3d/M1eOGn9osAPMGu52KzaMzY+vWsC1e8kgmcsn8gitdTHE+Ubqhw8Ogs2YeWwNsu5HyLEyCJOsiHCPv9AZdTWDyIAq5DQ1ths5WpsGEwsn8hvvHMpI0Pi1sUsMW5l1af5JGyuHWkA8m/JSlGAYLx2Ch8l/aKMcKDpgkymP7D+ZJLJyG0ByMv/ejYkunIr8k8g9kHEkpOh+hrsrsjxI+qxIOLabMwDSBQPVdj6SdP2RUIic/cCFPnxzqrDB4d0BtfrZQKP5YCQSDpoYF4xY0IC2lalcToqkdd/5zM9UW4SbwT0yWMgvDGen+Ow9l4wYc0kIrCxmnmAOZ0l2RuM9MWkwJwr9gpXP1gDbIGzahGf0i8d4bVndgh/WxywhGxJ/v0/jdxJqRUDyRP93+gv9ylBzaCmKFuYzpQMzNQrNJf/u3TfBr57xcQBOFCvLLC9ZBwxfz00FlaFkNoKw6w70+eGcsVSwq9OtBrCHebbUUCDa9kP8fjEqF69uVkOwBFX7MMkdlQ8s9gODFPSHrZYp0OXfpbCmK6ZWZKLq2WSrtNjpwHMiRJnwAPCULZy5z+mXTjdpQOQQv2rt+T7Jdq6qtt2s1BkIiOdmD3AodRyTNnKosV8lJcHkwYe0iUL1OiWmZboxxPGLmw0M3xOA4L8f2fE+TBXRSBANTJrGUMqhD98iAPy4tU0TJbq+XKVzy/zHJ5m6HydWrsFtNNB5SPRfUhNW1X5EVMxYnKQrkFo+yPPEvraMY2NXqAYkJ1WOZ8r8iDrvY+0Ahw9M2SXdWLKi/Qj2dAj9FCtYcrBp9rdwNQkjLxUm6IIarFXdC92a+QMPdcJFAVNZAL68YAyHvyhiG6ef00Ifi15s4LpNfKJgAwSsAH1jgujotbyfdMkYwXiM8jm+6LZ+PXwAT+bxjB88kDFDWefa6ds4XpHGgzHuAtSqSBt/jn2zXL9HrOtwA45c4G1wOaPow+ff7mbrRZNqBVRIZbKNyX8ueIEg/YdiMgfnj4HQ9L/xfrlRvNoE2JWdhcN/5v5JFnUGtiRwQ9vDoopD6mS2PxoMLwwTO/jpxhe12VoA3p/30cN2+qsM5r6EUEKB0B5prSwFPNxRaau065lwi4K5F+6et1SNZdxge8SAJvjdBEXW2qiZcvt1+9E2YJFgMjLiHoXLY02DsVTTKc1+/Z0aJqmJwgvXlC2Sbdzf2+QrEjRKnaWgpYe/toF1ncI7rzCVI6sYuhmtYJWSsy7C9CEj23itx7sYzKTM/wU07EmYuZO2CJ8rqGMPQU21lwwrU5IqJ4aMcJDXnWaL8K6Ldhr1txuRiXm0OVtA+2wi4KL9+yeuubt6fVbKX8y497Ko2v8oODbgeVyhXrPOpvuViRhsHyKdZPTi19qfIEkO12Ye0uZt6RaHbDKRvYro/G8bfrdBA0ueqpu2emfeZoWjTXoTY35jo5wWeZZHWR7s2lHiJrPGJ5QTfh/imF3ePOPpXCQltxxUV2TiFvPqhpCjQdMYdPHsTgAYJw6U5LKaSTTcSdXwJ74ABXD15Ss7n5ipZKnHeyxM0yh0cKK7YpEdDylWfmRArliarauq4DwcsS2k0FVab1kZ2z0NojhC7HyulU3Pp1TJPRexP/O9tC209R2SkvKQ8NBU1JbEZ+scZZyOaSc5ru8jtrR/1oeBqwpkuH7C062htFBikXC1s9GTQv2wNHFVT331zS0iPJkQFT6Zxlzp+fgxpJiBjuubjQbZuq7MnT5leBXTy+Zu3zi1QTXM7A/eEYneWSQvcOyr03kxdSsa+3hrdMk7+Wk5HQWy32yJLRfrqDiw6F8RQaMhPoP0Q==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TAGS" val="1"/>
  <p:tag name="MEKKOXML1" val="4HooU0THZk28POP9trq+pbTvvzd/gcV8t56cq85kb3NDTsUhojRA0EsgEHHMH7oYP1SYpn09ysXVivguJdhTvfyVMsBLTGvcX7WPTor/CmWiWcfk2RmY+GE6Q6T90sFUr0lg9IPP9y8umrse/9AoLT5R0GKq+XM9pr/aTyOTf0wptcuHbHxeyqBm9svU01qeeEM1v0hpSHUgirOnAK/wuvl5jf/09ap99kD5plAaxXVCNjEk7eSh8qzNCHVzDwg4tv+lTGG6Db5+KUUavBPoiliMC3X9War5X/WM20nA0a3ZyBuReIaqDHFemqWco9yxEFZc5RhIYFDxCCtaF63Gjz0TeNrdhkGnSSf+qIi1ltlKka5lPyi/+tQs1vBvS/Xu6/hNUjNR00hkI4NsjaUa+TFQ0+14gmi2A5DxQCRK74MauCsLncRDGt7qg2hk2F2935u5nvQTb/WciSuEZ4KRgYU3eIlvrvaz+A4qoRs/99jRiMYbUxnJGyfILRdmRvPzsTxXv+jTCr/Jh+BaDI8wKJ6i+yKFgmF09zY+JE36IVV3F2EAZSWhudLPKAMAmbxKNcvWyCuR83n4utfYivHI/x+p2A+/H8zelj46bV9fF4oKCme/kwJxk7x3A+CRadsfHqD4TZAY1JmIOUtTsrhToFi93y8xRv36yS5fpDwcBbxhI/JOJjQDe4ulRyPmAmBNxgdFB3cc8GGfq15G6zXc918NmRSSmqTALU+0HwPxnScQEYtFQl2xQeUQd0FeUy9F3PVkn9bBbewBzpTLrjZ3Yh81TNf12xM30HZRoinKnbh4EhMp4qb+a90Xcv3XJgMv2Pod2pOit9vZ3sOURvjctQe8ywfKsV7FDTTdbTm20WT68+BVku2lR3a0gkTRA9dnQJgS2pCLGmxB0P50GQ6H9QKFhzDW3s7he8ct1XVLiI2LyrBf1lMiN5Ex94Hwkb6wB4Kxt8E1NhRjRQ71860OyhFoNAO/CdnuIyJapdP7eC9sPLKW5cj50VIgwgvxXS6uGvsSnRbRON7aLljKbRE4aaSds64BVBQnpO+iusQVRCSPaNyA5ziN9Kqo15wojzhDrcQYbBqOD+LV4yqPudr/n4cpb2M9ap9kJMR4sb9Zv1PXocd84Sdze/WPN3T18v6AaDPrpGFRA0Wj9ilIeDfWrbVs2eUMNBWwslo1COFA7+NZZqnE6CbhJjfb/ymMUL6UCjSqHRrkb3JsG7qSr5vJUW0dCtAxcRZVn3a4ME/1E0rzAlfngQFvoG0OtkQz49TIUMhy0Ikp8dwtBuN55tykO7cYHOfYiKCyaqX2FBasurQEfep5L0Pe9SS9NLao17biO5pzhWjwVmtMCSDxF+hNqo2OpF/ZtnLWHpl+E/kdlOeIIZGv9X631FzEtGrpAMvbSKgQnbt2zpU5yDilNsuKa1VGjlnFVHxgXZczSNaHonFF9iBLsD0TscXkneLkV3W4iXzASYkJwhLbfTfnGvOJN50g6MJusGcNAatMBJQQnEiMML0yQHVph3t3SXeLAwXFyoQyIm3ps6bSpKrwtlSUEokV0kK77v8vNRj3/wv11Dol4Kf+LwO4yXZfIc/ScHbET5fmFTvWMOJMyeNK4bopMEKyK+ogRkZBdTtMdEZrup+HxeN/KMIAGI63XMvjhPP9v52eXcWUdTUc12Cvhuwb4Z+FJfEbTM357hHKxlIQF/FJtcxRqpu6mCQXvllUID4PpWhrbcfXJpqtafHC8hH2PdgFQaGKmyZbZ4DFII30uMNtMi+FuvdBtZ6aaPmiXfWyIwJfWbhKZOWXioj86Mq+VWyL1utFq5W2BqXcyvKJ9CJrmsVC96wz0jF0QvPfJExcJ0DTI+lvGUYOAtjdO/CRd0qHB8yQllr2JGwc/jM4Inev10+ZDRxjaIlbcy/jEgc9UFjSiQHTwnBDUNY7nReRKfsLVH7LrIpYNXxYJ/nM5HhFOs1AUU39fHF4Of/tKCo7lHNXwAQ9uVixz1abPHurZVb3tnIFNJcnG0q85VeQ9PN2c8nhvory2TzdAP1F01s7pdEHqbGond0KffU5ZPzMJGtEPiGYGAO9fs2MDn4OTzGB3hj2eVMNRCcL/+Lv4wyHXszUk/Y76ldgePXv09CzaGyyOw7pBKiz7jV8QYp+Lo6gYuShEIxX9urBn/MvLPuhz9+Ke17zyn2n1CYeBeBvEXYPpdlx8loQ1bZtmLuJxXEMc7ckecaS3T9Cf6dU+6dcaKo9VJwb/OOGxceGqDLoC+UxR+Y0I8TacWp3NsmzG0u8BOGAQ98Kj/NOhU/vfs34t3L+Hw6YX5yzB4jtZ3WKe+ohqwM7GbF7rU7O4ctLbMwLtr87q5PvB/+aGbRUQnLohB/dYHtNHuxkeLj0q3RMI7aO5GtsyBj4ZPhzh2ndU0e3lRfrqlQd1+v6LfzVzMP0ycDrr9U9ArCr5Hc0/QVT9V0QQ5X2GrsOCQHtpn5QWJwOHRDqh0z9eMbSI9HxBAsd8ioNFAzchStV4oKoDE1HBH9NYSiv/6yuROUCQau22KIH4KYY4F1anE6yi2gPMiq+Gx/OZ5SWautj8c1xC+3u1MNLU0j/Vi3Z+kr4kQ+kszM6izVFVW+WPQwZyX2oUKOqA7KTFaF/tzzMgr5NFWqTzMpOGpoj1mK84UFC6LsPmZneGQZmqsROdVtFhKSsorlKdPuP5vkjbKeZmCRW8+R1zUtgWd3XJPvMIQtRmdiUidYQz5DJorkL1iVFI0WwgGnODTaIkNzloasiNBEJy5E8XT2S6PjUYQ1XFqJwpAFq3A0Y87f/q2gBkfyvOIkIwmmgEnTNu/U8zCoBTieIXg1tnzT8HGb/4AUaYfmPlLIjICXP+Rz2K6tbBboGYUJNypuV0H58uc60qhM2t7nMMd7PGuxym4yCUKLfEGuZ3fDe+DztAl5VFsUXqx53IUvTwZfapTSPJNn2JVbZ5wqtvBQSxe2Nxvf82b8ue5QourevMOE/ikrC3U/Myj6TWLLDlwWmGxDBv5LokCTSnASeVSLi+o1e3M3gQRCYvfHXN+AOS23gzwwtDHBXbGFCW9unK/h1+v2bGWaZ1cfMZNwLUD7T3Lx7ehX5A/pliA1cDB/b19zBrUo4Nuub5An3CAjbTvhAlyo6G2GfPqE4PzFxhi+1Ww/Y/xhqGjiMGtt8yjdNHITmeyYdxFrDMTGfr8NgoJrh+0dh/mXwHJ3FGotzu5fp34PIYE23zSSi9MoHRH45EV383disWUDD40tkGBkkouF7qiJd4t8pQgDYRcHeSGLcuvV2y80w4eQ3h1NdjExDfDDPyaJ7rIPSkMUGH2ddFwBdNZPREGnscZW+wHfyMa3Nr5Pp2T6wKGTqWbGnZbH4bw/fMFEu6tvkVLWPOSo97rOMgYaRUP9sPaXNMYl4H5TbXc43e3zX4UythBQfG6zK3dulnXK2VmORxXelZsoG7+VE8IdrLdext9M2r2Sogrf4XY5mq/48sCQKS5k0nz3cnJRpxXsapRRJSbkNlyRgrrWB4CigGDItipIjUOG3CyKT7bOw11gRHP+8jk2IE6a7jgg88DFwbP1ds36+8MIqqzPfaszwxzkvpqSg+PEAoYLY+4Tv6u7AXZwut0icciVfAhBFyyNs6KMELN6b11WoWIVo5wTW6zwlIEqlg/VnUcVB3QVuR3J0Z0lUWpQSE5HsRacIsRAiSwvPyQYH+X2r+7qxlU6ixi9+J07m1e2JInC8zpRqRm7eygyyDfWpCQUNXpaEyRm8AgzHkb/Z5WoJswhcuRfQhwQq194nxXFOZ7RmujsDZ0FblLuTFDw7/TWdERxTPo3SIv+CmtrTvkt0McNg9wwSvs7StDVVdLYHBbyk4VL72sYc/TkjO6xnlsHwze2mk+i7JUv76tpB1cUDcld+nkCpCtRtBSEwK77oWxlHQQ3xh52XRYuqIy05uvT5s8fKAS19NzjQ2wwRiG0f8sV5tPELDGYJvOMbhgGIluxYznAuyfR/SaOiwbF55GrnxmJVQwTijd5A3JZEJ5J6u0or4Sfs5nT/h97d+lTxNvbBzhcLNI2/heyWe0L5wouf4NgUiUKQmjaXveiWYaLBXtTHVUS6CCoglulz49Q8MKrQUrBIRcZGWQiov1XJgmytlyp1/vIHBNSK/sXt8Wp01T24LlUU1nRBKnRaIUeRy+ciyuEMnEywpO3DXK2PZFng4Ag6vQ2sSQigefcNja9ORSXJKfuvCzwJitKuamKWojJp7LVnIqW1DjwDpJoFhBXH7niYdUIlcL643Hsas2A+PetQVfwxYpITq457xRzGy6ngXtYYJKOVQ6PUq4Mowz959IFBYnLrEHTKgkfwHsagCQ/kPlwwXD6yGRQ5qim7rXJ6uf3TsZDL48Sqjoa/yBYCuivBRSYCKSQXeb03ey5cFE8uiOPwQudLtZjywLt61XQDuU72KVwo933ZM4xY0XpRlsu7/he2sG1BH5atcwgSbjftl66vT3T/xyxRU1+SBCH4bf7bGu4bKb6suQH8X9taTk6d4FTEUZ5+PiYCZQmJhCm9gSzHsiNRfSDh4HcQKvpi0dN+pmbTb33dc6mTCyy43A6b4x0qPMVCqUP3IFj8OBJvD41qhTa3xMC2z75yPZkHb/jZvx2eKy/yOfa+d3PAI44UGSqfC3R0MhwIgoADxUvMKYF4SUPbUr4P1EOy4G0x8XrTfuSfl0OKD6tYEtrP2qOZiORNBV2fxtzF+fFwhKt+uTUXI7h3RXI2EfGojp69DnwgtI8ovruy1gsu7ASZxDemNS45HgllTcAYxSaKLPDEAIS32jDtvLqJbaJbB/IWlZdX1zZjFYW+xS4aE8kjHIM9g8fT7+BNx8Pg+S1unqSO5K5m3TngOiVnWXAKT9aC+73/5lrB9VtQ4I7i7Sx8hhBbx1QXZ3WhqQTIfTjIvlbUHizx7ecJcPrdMBiK212nU306RUDtaK4GsSOeh7N7GiCfLCIBgHMGfBnkApVrWGvInC5TEG4DaYqSKc/SQ0FaH+lQIicZyXnBPU/Sz3FklRmOvf0cjbtadMvuK9TofuAcBtY5sf1D8SYW4ifsZxgL0MBTgwXOpnCTCQABRMy0AeGyj3ya31ZVvwFaFYDdk2WTGjB6aftNmytuGs4pNIN733unzO50xO8h7HvRVl+PHn+2phsfjERGluD8zNES/kPDnkGZnZnBHL4P21Bji6V64/Bqd5yl2Xa2uobT9dIFX+vKZATi9QRg4Ky+eHVR4VaCGmA+j7zWIZusYXSQgWRL6u+NyQ5Se3XmfgGiknkv/f4gQ47KL+hieC0raMDsaPYsPFuUujMU28YB19eJm4dgepsUvocMyKP5AF+u+LOMaJJoZYDDhYslqWnDxeM6TksD21SXfsXUcG/RXaaF1Y87fPXxsu/u+Fqi9XGMjigOPwpkaSrtn0Y+hfjrdoLj4dO8ewPxRW08oit9j3UsmeGBlRemlXFRZiDfJb43PGIG5csbn9I9K4dP2TA7fBJpCYo6xOdzIJaPU0KkaFPA51/cSnb+tVsZbIuYpaJ7yWR40aT5hPuvpZuJMyCurBRe+Xsd1ktHCNYeL4inaLwTEGvYjM9TMybb+doW51eUQmiD6WP7VNXqdc52UPqPpnUtNeg4T4O3QcHO8YvgKPQFdDkkKcUOip4El+1FzKA5Kppa4wOWK7VebUCWGe0wAMt1YP+9HiEvd0M6UyiR9/MdmMw7ROWhl9LD0zarkjfRot/3DZir69YsQ8jHvns4yuQJVmss351Fbnlcz43kpEXdDTsNtgtBvVj0ffasRMo3m9mSKnzUzt7ci0OU+M4qXAN7P3YoUG3qd5woCf61In7QsOPrbVHt3lIajwdueNa6U0QVRi/4lakuUKqQcd1btL0NW3koOHwDqDWJ0y+Jz0XUJ046InLdEX/N5wqIpJX5ysxu2Vsrd9gVC8GqIzs11p6pZM3KcBuAXkXdFPqRhFOb/C/RgT7bBYnl+InFSk39GlwMhYotu2Yab8gLTJZapQPx4t5J4oIgOEO/82G5cCn+N9MYiY6NbJ1kSa1Cpx+jpqPtXfMm0W3CwiKXS2q38mvbv8aplUJqvvEXdst/S4BNHgC3hCg3uYda5ZO41W2JpG3+IqvxGiJJPBAujt/8Jn8lL6TAoIDYFKYgS+h1KwsiUFGyRkJhfdfoOTwbLzLyG8yr9dme1ykpGqUMxR6tRxCHdLrS6AdiQTsgjvR/Gw4INAWpIV18fiwL99IR84wHE/OZBNkNORwRWnyCCjKYXXe/lIt1QhZV5RvfWri9YUwu+Un92Dl9yQCFCa71S15sELcSX49iQwkqeggz2/1UBoASGUgiFoKrb6ndOXGnDxGVBYAhzxwD7CjnJRDYA60w/5SIlPsKK9ZLCUhLaN8sD/+IWa2j2QRoszbi7frZu9jXZV5bq/JKlh9O5ir9XoU2qv8iuc+t+FQPdBifxjUWv1ztE307xrMJmh2xAjzeL+L8J1K9fcoplHSKBRVnlPOkVLC6nLkW63gAegP0V5QqqW7LdUR/jytuPRWKqHMnY2MpQ6XMu3pXjQLhpv2v4loKlHbX1orCRSotfbdkByPI4Fm9awhj1EfVGPKPmQQtjurXwr4wl9i7ILW04nUk5yWY4osa70ydM6oIufm3r7+tMAUcrXiOEflEHTs6TpIRkDWOGPlNGgJ61y6PA57odLHqPjy+6TTaVK4ZqjYHje/JUWWI+YuB5MOoPxXINgehbWJJUZAsPTpY0sV5j6H/pe+rPPSxz9BdfltQYFu1WTWIw/bq+MPM+1Y3hLUi0Xcc9RKCz8KG+5ASSwy88ATeQMHJsw9JhK9dz0bmI6fywARFT26Qz2yqj1NsKmTDN51gff+nQQ5funOFsjpyywwyRAvnb748hUVucFCT9HeSFHe1RFgdEYLNA+NKjMMExzT0AYtKRYA88h5y+GuXSRcQAb3QMzGOtLZGDeCCIVvxRDCQWdUNRYFJ+7jHffwF8NnpyWyrxipNqfCSQWjm67OSYPGYQRvlK00T8D0AhqdhnvGqxW+RRm4AVAebMHxCJWSq0w05HiqbT5bSTS7jIZiB17sPDsGItYfB5AlF7MJlcUB5T88DLOMzlD0riB0dBd6fl/ekJE0u8Tf5PdAmqNJmVeWbgQAaw4ohsvZd/FT4I87icaYFRF+6IM1YhL6DGIpgaUnW0I0mCQ6HAziaVSiOAeIfsbw4RUCVlqSsxpDUa4mU2ftEvcOK9sn8PPnWnPB95I6wHDrGt5IKG3ZS92/T4xKSyvQNRp24QwG4Fxqdqmw73et2RyPLx6soSwdQMtBMMEp+y0nj0fix8Q2A6iUnfBdWG3EXVISE1Mg9hnXB4ga2tqRYPQZmbCTGRwDH/rxngAbRJShZs5ODOntqLd9ALNlyE2rjn9dYwkcpT8U/zCMxvjHONuWnDc/TgOjImuM9n1psyOw5KYNXr5/SdXMZ5bB3ClF+TDyyCPF8YRCQuZSLGy37sEju8wqcW80pxMszDk12LG2TctjwoOlSgmMZE5uOy4NBlvuG6wdzTcIlZZwQE/LP+qV58XkxOuMIyUIVVCz8YvXHceOTjCFMo97W0CjKjnh3eulfU264O8FbmK/8fgeVY5CYOcwvz/8jTYkTjSGpvSiMJU1tRTjXkj19FqSLGLWDVIeeN5L0OXhImmZOr+E7qMQ7RTFadYMgToW5cEp92HGg04H8mF1glne18Ngm5mPFcw9/F9xAO8fgMzBcKMluAodT4fVBQziK/Pe7ihGNfj2zJYWNGoZV8IfJ3Ot+z7xLV3MuUxdl+bMHjVfJarrPwAT2ipEBsZ9xwTa2tOeaakrwvKM8Y9sqBFT0SgU1Fuva3uXv60ZNdHOkGnrzfBftbjSGisNUbECY39HR17D8DxhOknX5mW9yDxiR+BvgnlsMp2YaDecKt9GH7VAOMPwIw1dwQzioFw5B08GTa6I1kXwWPXZMm/7mSqn3lTbnrNYx5eAS+PvFKYdcfYkD0GNgI4q7dCgKqAF8xy6mxCh/Pk4gRiHAymLqppChr84pxlACQoDumgXWsapQRaDdrArocvfgtyfuPM9njntg+VCWuXBvwCghz2AL20OY7YZM7GP27SPHu7mTMGHyBeyx66YSb+vqBdJ0dg22BJhe+Y+nUW7+re+fKwijdv1OMwN4Kc+qYZ/mZQ0tfMCBAMtczjcYbig6jlhyp6LsBYqX4JdqYWtfgotdYE+SGhZapjnGhyo0EkPs7r/PSN8nXEn8hKu9m29PlX4QPqym/165qYu2Ah7gM2AncGHZypNJHMN5uB4IHxcK+s8CE8EhraHmz38lFV/n/KlAdcI6yCR/YDQD1WC1f/cr8yGEY7pvXnNZM3li5NJNQJu9pBzGmR4lwJs1mHXCoKPMZhrAngnKGx5UC5o3B3e4VLOpJCqbituOWzvkvY3F5yemDRFZh8YjpHZUnD+96sDdbjgw9NE/c7dHQ1Lp1IVGir2ESRbsZxoyXjDfLhYjWO8hb2uiJ0Zv+eRbrw2RKfVTWYmjC/XfxJHkBiMLVPch8X0jgw7kEtILOt11cVwtOFVszvRCvcK9Geio2DAeGsltc/2yb68W2ZNFvKWxORv8A3DTEgnI3H5et78NPOf2INsO5wj3zZ96OoK2LSS5xzkD3L6k1JItJKnyBN//9YHpJZu3+Pg/pIzrU4wuVRhdra3GqDPjKrKLmNYeXwjJEcOxTr7/qbSklt1kLXFy9G3gur0Z6gnBtDvKxLQffdQGUAWgrN91tcFNRpbfwiiTguUvoNMdNM+bfAwSQJDEzAYx/8EdQSgjeTNBrqLMvuUwhFwHgkuuOtU2hmj4CMt3QAHhlNAVJ4D+WunHwbZVMy5Ys+bIS4E4P0SvuTZtw3abVwIFoDwwc0IDweIr7EcaAQtm4kfLdVJWRsGZzCmKeuoyLyPnQef+DwM6QpsD1iwQX524NHfXMxovvcCICv49gEYzdjXY+e2wjkiMV6y8iKU93wDl2fPCV13h8/1hfR91cPkea6gHtvtfkhJLcAt5cfevBxZMnMQjeWKqJWzHO9a8DrV+57VyHNbUosKKyvnYNp53lDUk2nHiH1E9OUudQc+YjchT6Ssj4Crfum/fdwffEM4NCOxAF0/hmmHLSkTTgy+Br/49ATKubhevP8FyDVSf18jDImLEAeroged3YyvkdQNSiTHadSFipcTpqrS16Cor9Ltsx/e7eSwZIGKK4NhQ1p52k2pykQcRkgJKOa+LsAWX3ewtsaQia2oKL+ZuMoc130wG38HCmrJoUtokEyN5OfUyo4Nyoo+gumZiFF/ToHJrMlBBbLEwkRqfD4ev4rOITq5P/0mckbTVGuzA/Mw0l1dPeip7HGOO5hAUxa5kG5+WSTostN7mbXhTVVBT9MeKt1PaUBeDbphCgCXd7dgCm2y+VNWwR7j2/w5LXHW59opzyktv664Gw+5UM6zBkDiBDs5T4oK8IxCBAjWbEAL1Sgco4+pI7d78oD6BzbLBXQ9B/2PSsWkd4WgI8gWW+k2bY6Yo8vJRyKrKvtT++Tji1xmeE3Uh9+7G2GSzbUwnzjzacfhUtIvpU42GAHv+AgkTAHKr3yTQ0Wb15pwyyGt19YdgV2ehgFbe6coEKBXg7taQePlvrl6tiw9MMD2O/EmFybF25WbCNWsOr7m2ueet+Z7YW4QByOZaacOWbUi+WyqKx1Hj3KrJkU+rp8qfk3l/Q1ZqQC/D1vRUY/Sjp4kSANWCO8XUg+ihJvhzOYeWX/qKB9sCPu2Y5n4KYkjCDRIsqShSsX0ZCWwNhnSiZgs4GqS+TtIU0nt/VlUWzMIno/CHTt6zdrwxhgy784Fmjts3h4QDamZyKwry68PoUuL6OfelEZK6m5auoaSBVY3NWV8yqnPNhL6OF4qsaoj3THepyoOcVX9hro2q5Sbdxcfwcy7DYIdo/V2hLiumLCrEU+mkOV0mzT5oieetiCnQQRo+2G8+tmIOnL32LCJH+MFGED7KBP7EY0A/kh2Q1sG3LIwtWdmPYqU55Y0A3N0SQFgFhQkNLeteLwiQVuTJK5APKJ7kHCzJnFDh7KQTHzo1PJNI8G2SHIStQ3YuJOYUicnPiVCg5LjYpf2ANevwhRwbZTotcqV1+g6ybyqlgvhaVOMgMmn/CwAkXM3F/o51xe7IvXA6pyLQz9IyyherAkmNbVHQFfBWbAaR2RwXaXHQTuS2+I6yKMKK+9pFvzPbu4+rKu7vXb021hIHYTsgEE3emDh6nicvXJjQ+VIeLuUVXNvTBnLffdDUIclyaPlTPGEHEa0VXnAsSa+HEkN77a9p5q2ykFw/DTG9m79fi0B2QJpG+IQJjSm3lq2nMykl4lTAyIjLOwwmPOpZLZB3Fe5iHwIMKtIDJEB0N5334giuDPM7b4nV5BcT9DMtFUcKmeKuBGhR9sJz+oaXG+B9+TGDtTlv4rfVAuQT2jNj1Y0hAFPL0CI2uQ2kI1aEFB0nq41tzPuOHx/l/agU74nq1r0IWeWjHQoWyuyZ9KTtJBfjLuMiVOK3X2FU6r2wV8PHIdrCUYYdSyalwzIqRZ8IsbLM/YzcFqSdqx8xYvzGLY2vE4FTJttPK7p7N/CBPi2i+cbJh+ZVTDcto/j30WjL0J/ncz5REPwH/FW6yGR/yw6m/sSdThYkLw3zuxlC7Qn5M1M2d3ryi1T6ZtIXbkZVPwPSGYCS/uQEeTEhB/eP/1T2Ut+B/ahGCAZg7FDxjuoThVKA/IODrowdm/BDvLjwNwve1FjcOid9eRgOOW6fvKRYI711I7W0QR/Bq5RxuHlOeeWLD/aUt7elSjKThTOc8HcVG9U94INuDG4q3ymnwWp0OeSCJZQOf1X6yX9KUF3GunGOywSWyzDKFNrMMdI0XbQQDDs1c16gNcLiL7+lV4raLv9oOE3I+AyIGbYh/2mAvuXa8rqgBMqmM1iO8oazXw0z+p92aYBvpJOlbEYteKMp84BgXs8H5EG+f8L/Im7pt841xb4skl2WT3SIwlSK0rCUco8RZ31qWGlgafBGaiMYkmA5+ta4EaSJg/Kh+d71SGNF3DfLOwwp/GlpQsCuokOxX1OuXBOhQf/0Z8bDcmyZGG3tKzS4g8XOunVR3CPgrxbdQAhQFC/4ghklffCrAh/zQmuiaKVT60pWx1jGkwLOuBtMK39aM2F/ageJSdql/0OeXJM4Lwdrew3aBe8WpbjSMmmlRFHukDgzy+jDmlkAP1ijDlGvhw7UTIzfCoqaJG8sodUHrl3AEMWLr09MiZtmfehm8GPfmSYExUf45Ju49l95mG+Se0+iuwxy9v4kgL0Qzxs1g4KeJlwM/i0Qn+6KMBRWY7VJ1+yld1XtBH7pSsknsyDOq8Ypyx4D3NZe/OZIDmPOf3LOiVF2lIJ9Odm6Aukmg27dJVlh07emfRd0d7KPZ96x7zVeFH32dOewNqs+C/lO2Peddv27IKM9JR7SX4+Ps+W+yMz2fc1QrQiSIQSO9xIKSMS8igi5njeVodpGZF4JKAGG4R0hboicDbNEva++FGdDLabR8QtYx5uZWwnlb+G1QPd4Y01AoXaXL9OD39qSnCnupUfI5dgTW4Jl1GPK48NiLjLtjK4Voxxt4U4uXThpLSyYYz0G8lkrWZPyFWYzUVHCO1Z2VhUU/wcSUqVPLBFF+KXXYSPcyD8IpEle92cj4huD/5vxnkvMm4dvh0nOK0ukqvihua/FiRL4E5aLzuVBClKgnU3CuWYpX6G6uzeKcS0Vk8xXed4rbl9BQpcjJfKOUSobcgZ/P3xxNw2pN7SkAWwk5g8OcbwdBEe/7RLp3ZEoKQEgJvfSQvUAmBw/GO7H3rEqDOJjOUMhnnMRVIXfjAFIrjo5WmOEOk44bjM638Ln64adGzMM/hrNW/zfI8fjkfZQWFESG2vo/sChvkxLXEY0eRFc9ieAaf8fuEG+JqW5jDnQ+Yv1HijuRjrC85P4TLd/lMV6UM+dCfYXCW6+CcTB/AgPn5SvTn13K3lOdb3IEL061C9B2p8uM9/EKKaPe3BU76D+vAwz5m8zH/85WYEi0XPO9P2n9AHLq9Ridboq990Cq+KFYlU2a5GuHIxVVrW1vk6IgkskjmcWy75RcT3Vbu/TfzYgNRSGn4QERGFYW8NSVAnx2JhI4a6KKMHfE5VVqgHONodqnxXdJLftZ31cHXMlKgeHyATM14LZ7IqFgWfIC2h+GAY5AU9nhG0r4IRINn3ViZJ4CK6mUTFwjXXzpHJd2P02IxblW43hDlL2uCOKRvlO4+loWnu5ZnTgC7vKkd5qeFdYVn1U+IBurUGuWoZdMcX5dwcUOkS1Oe0pSdNAVicYTnwq2BYxSogPKZhCXt0TAQcp7EF425j9rjz9g2jf66Y9YYmnePC5eOVPJVu9Umxkt5fKw+fN3Ic/h5cVepE70iSL6vLXmg7K70IMSLeCc+jg/8CUf/A3QOhPkcN72UkPPC43C6/GVX7qj3j9FlXQb6VsuyJ0/pFG5R6/xrP1WNN4loAHprBvUdO0cU2kpSoNK5n08FQoi5bNl1Em3pmynVUk9uMul+FWySpf4oapkCMZybuf1hzQaxA42EnIVETSD3qhzCzNTdm7wTDGvALlNchUhFD9bcG9u7ZMDNwemOF4MkzPDmDJY/WRA4HJP1+3rSZGJLbLSWsF3yEZ99bY9zPpsZSx8oU91F1Se1fEeymFx3uY2BiXPWsFwkHRtPzsClMgcA0EDqBNy4nlEkGSwXKPNbCPmSrFTG+TaLy2t6nM8Vx6c4omoslifdKNzqzb6slAm4vdvtR2Asp+5BVe787Ddm79VWGQ9IMLOoQJzGHxwUouJT81j/QwAQP9nqAhuAe2mp37GSDSiuUUA4ebchHuNs80PF4NLv8zIpQVOk205MBemJEyY3ucES0ZdBCLg1tmCyEySD3PQMM3HjuWYKqffixw+mMIMRLJVuHz6C1Q+BGclgP3C7fN2QUHVvZos415lQBSgvCeMMYNdsq4XScAe0DQUzoJBEt5yVbfeCY4E1AzBc+0ogS09su7BMVae4UDAVKR9t+h9cd7+co8CalgmQftx6eORAIkPGdEjpQcw6RVgoCgjbo8luMhEFpR5on8ph9wgWue3KlsQm4NX3IaL/cWSnLQaUsUE0xsJ+GmKlStscXhUpfXKWfV7mr5+NnAIT3dGJujDQ2tSGiz7hczfB9j7x7PvTT6LTaqKBNylu07PM4FHHfYWLQW/pl1Sdwx7YZvpVTtiKdd5qFYLhvZb1sqrubLDuS8Y11YHBYcLZfwH1mmp5pNWC6gNsMVcbL4YBJt6qN+eLKLwY59XDJFP5e/vFgu58lXJVwGfLxojQKuToN3jVbog9xpYdRu3kVFcRssnq5NOmE6wWFbn6p4oQ9ZPKh+gwb0Ywin481hb6bmXD6mwju/2vRMTVh+opmBzAmtja2mqoodtDi68QIdcKYuTIZbtYG1ERvoGyZvDbMSDlKfh4I4oPucyGHSWFKMc0N8dBX8bgdZ8XMB3RpVYZAICHiN7XWzwk4dAZN4nGqhXt99T5nDTIjG9tMF02uckkqFMVLhi7Ji9OIEiyAOmIFZg1Do8U6YDeMv2V357uqF47o9Yd0dV7k/bJGROXLlRGPjcZTPzP4+5EkanD09hV5qoHJYEAsqYSgCydIutBbO369V0HOSQyg+cAiMlymnY9Qu1tBpmRag4XfI+xa3o6FkuhO/A4JGQTAVermiIY4MKY0d7OGKKQvK+UPvxmiecmPumDFajlYRhA2fdiXqUKT3vIFEcBFDNd4OucsSJs21p2JYnqcLKr411q6acv9a8CvYSw5DLp6xAnfhXq9X4L+X2qBFMoOvaTgvZ5OwaqQdOO6f19ira58/QONpmBY5CnwaVkv234NXOd3WCGmS+5Z/Sg4jNWnsG+WJyjCZip9fYxFZJX+I46Myy4ul+49pk7jYZzumn8yfft5lsvFLOxmz1t48Y1cvNWkv9q8KtYJaMF/bi6pKd1ZGtgd3vOPwsMw09tuy5qsAmGj3QV5gNTdg4EnKQMoRRLU1Xcs9wzLyeZtVaY5oUk16lh2/L8JGghkCOwnQ088UNerNre6wu4DDp3GGQSWeCwIU09UhCTzfTPRetzAdTx18bGCk45RpRkY1lRNABkEYqjqf/IAo/V4aTa5ByOkpkwWGtrIImbdyiBlFeL6crec+2us894WjV72alSu4KJBpLMTpcDrPjrfp2xR1BhUSFznNfBprMZnXsDnf9nKuRJ80Act07jC1r5nNCHZJppqy17DPCOBT1qdVch855HLZ8ITKLPO3K9oSdzxRA/TsO7oMQ5q3aPo+TmPA5UXOxORmp0zOGr6VFktEdSoPhcGZoYPtmz21PVzjqAdOJvya23io2wlsZ46BNXXazyFqAjGVIKlBKxqXouoYGeXeW3LZJhuiPjZi8CPW+/cSdLbU+2mY3vsalbjcgqKE8h1dcxtY8r5mRwvochmTcrTv8MpwLWmguo5DdFAK7ipt75UsNLXQQQ4+OxseWOOoiwIaGEpzXwya7RDXMJHFRO7SSD2Tb0mihrw+OPfyAPoGuUTG8qq8C0uaiARi651nVTOtpJ4x/VrYBqOzcoBmV18wHfcvZ6rv1/E0JFrsYijR1imhEuumznzdx2m2gYTJd8ZmaktQG+Ko+aH2NHwoyRF94ERq09N3VasoKT2+6yJBpPOJUAJ6nJL50lZtO+ky5ckgT+sDulNPjONeS+x1EGbwFi9jUFdpblKUwyZ7G4/jcixhmZKpyoz5f7VW5GZ3j64SlJFSRcwOsnBEDv2hLzf4kxJnjNUQvV30mI+vQVXR12eJH/JYqknOCyFunVhOoS7Imiu+M9vu1chUoIV8IBHElQ2/HndXG3zGONuwme4IhppW4qGD/v3ht11jC+kOewxAmLURFrz+a7pKPraILJyBOQ+ZwXkl/TRyeh9xhp0WRYNojzF6KarSr9aEguwQbKn48BWx1kevPO04aLD0rOxqZFirOay9jF+u74a0trymQ4tMima4GzNPeqXsOsVTk9lzOcBgvXVY32EBxEwcT7UWMCxbZsp9LJI/DQMUWh5PmYCzho3rAN+4ZN7fv0nUNVTEo622vw3Sd47KwgqJl0tD8STD1WoewQE79N8T4Nm5OA6eMb/WN4OSUtI2uLDYDlj7DBtuJUkfYiWMlrBFKvL7fNdElDeC1kzMJ59HZeCY+1X438Z/mvbmL+6AlTtLKY8tYpqNAvHtAHmGRqOS1V66qxmhZ6hfKN01IUA9qAbOIc/Xzg+TsgWoJGEKwN+8+4di9JGAZAM2wK2NOfc4Az77i6P1w+mL9wQyn5ZCfndQLVRJJ3Wi7KoGvQLuRfSsQf9J77RnX5rD4Ri6dRuT2cG6Z5ioNdHNU2lcJetWWNEvhBo9CEiiQ5mFM2mcRevsGapZoxIH+kAXeNLBTJg2agVI9kewx4sWKtMse9cUnF8fS6BbW4eYXxOe6DUHqhqwxS4bUg6lwsVeJuXUNeaDOOXPKjeXt+n3GVd8oMTjiHpLBXQK5wONThfEUKySVGdK46+2f3zaEv20DzdrH46HeR1TFI5dfEp+GiIOgPtsBnsiChDWCNClqPWjTkVeJTBbzXIy1OCqXsx7lLkdLnKkExRUzI9YxgKS9Qp1bulsU8Xjq/QPO+rb73cL7PlheJS5/MS3sN/gq+eI6aHGoNObS09vw277u4P1CCOibX1mWpztGR0fbdNTde2U+dikoO0q7DWgVh9i9UQLreTO3QQ/P9wwqDSRKvb6AhSwQ6uscvd7E4YmskxAz+f1LbxZe1RSWJv92Id3cy+i0fq9FS/xd5q715IguUbNDOH9TLuhN8bzF+CptBimPfoiHmZMobiSyEft/YJGdQmG0V3wEr6hhyGdxQzKNCmB4d2mmnBSAQ7D0s3Kxzss6gwoUJoqUgXCUNkqL02nhupzsc/D5tbrsNN1+0nN1beWe7S1pgQYHiHNUGT0WxuiHuWv0oN72p5T4u+lZNyQOlI8mP5QwT5M13gIdAxmd8sTfjTPcTm9v5gAcZjHOudcT/VxXPKduq9Es9nvJFLmdFs/TJDgjlcLq9SiNF7WRVYoaQPFYs6ppHX1YynVCYV6ttpzUiLvJOUxFG74v7cLrndHRs049NRcWqeBIOXQvU70NeEXLOl00obMDcYIjz6UK8jyysTb5NZIesI97uBLslqLk/LAGBmxM3PappmFhXsSGrTepnJBBCFiY5GTtaFc1MNz4kJu2gkmJahRJ7ycfbvei7CY67ACJ/rzo6nzNniuuej1yuUu38C2xfXJsfqFheEpvLEnjFgSTzYjzgnbDVXuzmQNGbpKp7Yc/VASpA1qAwQQFjdoHhFuDosHxUhVotK0LfDnkGhLaudenkdLbHwQgLrJhNiUCijDDDzlZfJfK+d9/CDX02ccmCNXrSaX9FzPWI9Z6UvmBy1NvCkX44Zry/hoTq/dFdRbeEJdErbisCc+9+25/z0yCnTMtdnW25XUg/LEm72W7lCeco1gBReoOXBOaPoR+pVvmgOf+GmuSFXVGF2wyMummw+0dHJMi5xa6QjMJqBEdk9L0i+CBIAmgJcqZvDhrftCjubxDffpmzZoFmVJqfxauvVvBkXyRHBpK3vWQzdr53kuXE/MLbExkStgBQ4I7o/lU2mqmIpCN7Sf6VP/3ybx4E4JCMCHQdb77CcVZx0sQfke/pb2CEfi1OddOUMcpkp1tKv0VaEqxw4xVQM9RFITKqeXcvkHuhG5x6Cv/CB7vQpFtC2ar7lF6ZVl1sb5d+ZcfXVIiw0ctUwLawtef18VVeS3b7/0XGLqcCUQZe1jpqu5xvoa67KRS7LaRdwZP1GfYaqlaj1zSU9ysbvZvXlgFbJtGF5vsAZGa4K4bxLmjWf5agfHTW/Q4YH5TV3imvs1N9dV8XBH5I85tQOuiG+6Nr6VrNRckpi8IqzmeEkgq5IrKsSGyiEk+AlEKSVEdk9yJVOSr/kGD678eJdDbfJd212bW6kJ2uKhulZGbcnlOeOReFmjz31L0kSN87JuTg+Uh1OTWN7DiUwPcXG/kHCyJz1j44/Fd3X0cwW+ebkGuKmuEvta4RS6nEsHH/TVz6chk2j+7Mu65ZWjqhMSJNrcTiZKxE5XoxnG5HWhsRKtU/MT7kbv0KXVcEslnKi2PqaDHC41GQEItoHAISdqphI4WLa25Y3fQ8qdHZDuUeDWG8rKXzyltvjU88IzqBH12a6kmFknTpKp9FAHDnkiu9TtYWSAgJ6Hc/z9B9Y3znalRuZ+nRgUQtc2VW3IWLN+Hw40WGe4VDxhwwiJdFfuhj7VPNw5VdEDgM3rV4Q7SbkMxvjkCIKfQ+FrNNyu3+lZHZUssv8MeZ929q2qS2g4NNKyv6h2nIYsspURwLEdqFgy5Bryh00CTSSUvcrjj04JCPziPGZb0CL3sIFNbOOfOY5lIrshMvjMWbnhM2hIqfT/7zEY3nu9nbCAd5m15o19Fyb1+IIXG4YbtV92yei4qbRQ01+L06i0NZYo7/3M/OGdF+9qknzHwhJ9/eV69HRRaYEYTjsYsAMgVhsflyHrxXyLeZUyWpf7CQlfqNQg5CjD3TIcImyMLg+Md1soGaW329wZMUTyXyNoK8hYD3XFg7L0paRnTXytW1luh7xxK3fwLrxmSner8tofEiiIlIHEJUBn5IRbezWlqSPXFFf+ajzlaD2R4kFLs6M1Jmq+pTK6C2XHoiYsg0KN5OncFmX+2SkOAFn3ngK3gsRkDFgxk+hKyIBS6BNVHZu8J0LTG1hTXSzqEn0cBJ5tybAOycNMHIOK3KPiTzHT8DMsPv2qRrfuiqNqW3k4pnbElwT3qDGd7M9BEvjqkTHbn3VZj4d9pyOtUCx7PgsRzanazx5UnK6NjRXTt1zRTmt1cpvshBp+vKGJn6mWt1kxuoMwiw0tfxSc2QL6ksN/sZ9mZk/z+qdR4IbyWAtTXobRzLxlWDqT2YWiA4qYVuGXnYjuI+XUVfSSNjQD6WTrzFMAFcxCW9IPFhznXOnq0dcGoEsslO1YIGV3vl6ElczTfqG7QfFyRs+DT0cNy3nsvcYlykLrMjgnN+BedQSiRiQo4Ky0sjGllQmJVUjcJvbWf/0xjQVrpxOOmeqzLB/sRegC3MF9DtRADv6i1eZEn3Rcu+Vi+Vf8L14KPcpaudu18Ir9HaIcFnc6tZugOZbfmojJdm6J6UBzgc3SXeVjcR1KJU1LUVfUByCHSgNyKi7J6xWRvs/hAslMfP4gQcP+I3msE59lg1qRVT73yhgn2rtedVYC53l91vzqIKlXcAK8ZG9B4cf0cmVJp7XDSnt8MK1Tw/KJvIJ2w7gt9h+H92vNJB3+kI6JsiwZ7sPED5MMj5A38alYqsZ7kytUG6ThbZVVDGzeWGMPe56hVlIIZgm2j0+Cf6FjUYkIvwo2ad5aOOMCZf4HAiaESilgLqLyWpTv3naq4GbCkgLTOCSjPoV56uUdsvo5aF3Q2PMRGUyK4Hj1GFOeZ+LsDqNPSjPXPnbdiFw9nMJdMke2vfZKBL689RtS/g4F/pBkNXlUEnwb3MsJ5YF7+gRU5M+/T9tSKwurXqN6wjv5MhbceposU2jNP/PwsEWij+dEamfyQ2Z8y4iHB9Ut6CD7cnNKg4h39FeU8VnejeVKH1EI7YLec28VjjuyFBoOwe6rn10iBdogiA8btYai05RVhcI0vpiF227C8bFIl41E3h5VLhBHqIZ51zRjJO1IDornnnZ0vUXfu6rcs9MIEyO70/2aI0BBIXlUJlDmswFGvoHfQ5vLIgYiIFyUV8GXobU0Slaj+HOmO6O7g6qhZyKKJ+BcSjYIEY6Yt4TsXb0dkEP4fxIWwXsAV7D4OT6zkYyQexbvDDAAbUgzY17LYmlLkYMHav13nACMou+Cv5+fU17rT1SjWJ3BHJiqQenPIh7KbOvUgAZbDbrgO/wgWukNjHS+CIHoC5IdpC6xYuTUlQN6psQl6ye+Oyut4MleA6oNu5ki2ZtewodUv6lAGcI4KHRrpNSzVX+UMsfkeGrmUy+1TYwoNjgXA6NiR2SXN0NOuwSanUdfUuZ6lHp9Auk0R5eib++R4IE4FZWwEIJacSMNx7DrON1n+VVf2yZHTOcvWkIIxYsPEycKk22qw4QNBRvjLateXLH9fFyKDq/qH50wV3+mqd6yJAOM6rBp9k1gjo9D1rk6RvKd1wbpOqnhCyQJeZ7eLM79c5M4N7A4NljWX+EFdGs4W8vCc+qzmWAW/nEYbfFVRoDXtoF/d8EknKhTh/ujBJmEWZthyVqWYpIB6Hc6R+rJF5IyYLDme4Jdw9eMJodmiIIFMyXr9CM6OXMsZnQu+agvcpONgl66TuZJDa+MySLNf6TmgP+ICqK7WXs9heJWOu6C3hwdzdYDvizWaKf4u+e29fhqvNvnvbiq+quUZEcl9QDDtA11xUeFdGsIaTZ3vsSy1lm1VHpfeFS2jsvyXPAi1cNf7Q3fRHyu0H1ILvDjxlMeWLicewE70xHudBoEg66aa7WUlZ++d15PUZF0eJJxT+yq9gUC+wSrd5xCGfJJQj98qkaKwURJ2kcvKAMqt78ghHM8fUD1z51xMYHCGY6T54krTjlNvGHJ7SMETrDb6ZsAi+vUaia/d+PmgKSE0QwPTCol1xI0hPDoT4KPMSijlwU216z+sd6U2BE/4sMyMa31L35Mzi1pPyPXVaLukpdQNmHV9j3P7XTDLMjnmODGdOLRJP+9a0rU7V1mzBGnPqhKKYGuiNPmorW8S6SPHv40JsnQMTFnYlyNC/cGAmBwjndHHv0r0IDhr8fzSZa4Yp3DG+uwo1+646sHbB6JbU+3AtQ7vnaQ0eYzzlJ/+hcWmIW9S0HltPdMOKHVVcD8Rxr30blb0O3dAj0ZbaUEijyCbPEIfBOSJLBHOLzBvmLCFnctjEDfAxLl+2TYZlhbNmh0HxWoUIl787FK1gCNepaI2crTpxlp1JHCtbdrXbrF0qzGZTO+gD1ZnXWAvkDsjPt54kt2qxkzwRQR5oezAP50fZWG7FBsnZmCJMLMw3SQOl+iA1k1j4gVTRBknke66n7PyzjW/s7tDY1Fkukm5s4DVkP0wWTOi3Ejhaqplfgx2LzdKlOcby17aIA9Z3GjdZLv8pgoaDiNoNRsGyefE0+pFkKw+vVDMvRpac0SVJPP/Ixu3eLBzJvbuDE9ZjfYUyPHp7HYsbb6q7tAelTObcmFEE6vPpDE2JWtUnzk7bFktV89H/O4yliHl9LV4uLh6T2+mqhS+T5AFV5OeiGMzqlIVXC1Bh39fB3Fg4gU2+cve1Q528hcF60U8k83J0fJ/Iu/GkRyzZNFuulKBUBpO6GYC8qnJ8/8LlnKuWuMC/GX0uA57VsT+tF8xFreHShMG9tdiBPKO8B/FczoGOYWWJJ6UYJSRSDZdT67YTvau76UeTKG0a8EpawJZmEkgA/HQMchrPI8YAaaR/IvqisSxd6IBtcojpgN9IGdqxs2rFhqHV9dhox0zcUDA4SfRBGB/Yhp7iiw5MtfPrrcrzIRIJIpbL9IJpYdLnwidOTXqx0QMSQ63m+IYWMzbyDOoMsMAhOmstjnFggI3Y6hscFAJZVzpb8/5cGGVsDZp+0lICR6yMnS789CqRGBf+2/F3AOBdyMuQ59teGTSO6/0QDH7VmIiVt/Y2Y1VnVHg4N73/G+U3N9Tplo6c/wsa6jpjTP4AgdSYtBZMKgMn3CFcrAMU+r8bEEuhS6tVoQkuHlNkg0Ih3+oG7j/+dVfLqJUEjlS9U6fdZ+uLuAvCw768TWoR8PrWWF9rC6tp/M2X/fy4FBRVWY4goDIvexIquuugTb/fxqJP/AvVUnU2wDq8R1/w336yM4VfbMdIfvwRubVnB0BUCosFOZd6PoNYXkOk3Xqy1gwTs3HaKT4YSK/YxfUJLpzYDvS09R7ZTcdKb/PtUUNM3xKCdbO0L5eJw4XDX77yZgaZ2tuEu+EVScU7BKvnX1/UUKBaxMIvfGWmTbTCORH5tAqDSXKqBJ5M8+tGY9EGaNjZgOsi/K7Fhd4vFSouf9HWZTjWUY0kAhDDbPdCkKj06bTOwXFfLhIdrCNJaHUwtaK07ZWuQ62BxjdczoX/yhKVdy3I4pYbTTNWaJgjOBuC0c/oaq81rpUvg9vVK2YvVaa278st5eFeYJWZ6nhFVmrsXKytBwxMIiPmvtjyYT3339/0TyH4leK6TSlrwU3tUBKbwWGWNzSBh6U91jAWM88Gv8ohy/4XX3GnCB4i7cjygt6vCEhsNx4PR0cinN/m9FqCEHfvCbJUZqtUqum9Vhf57dNHRpmW+cEgn4L8eUA8mDNWEaM1GVa4E2TuNu5gHOXOWh9LIOIt94byXiqeinR3Ua54ox0v0UO4Z1j9l5F6gjU8CTwqiyo4u1B+MtIY4JJNCOenMFydqTX7bcbYrpaVw5B0sv9d7LsMsOC+MKL7LRC3Md7/2idU1coQ0FGNNPrwKfakPimb61io6hSj0rqoaAn/7PQQeCxJio1o2D3Zher/EAhR2kMMsAR0tP1nKT19Qo3ZF8tM0ALikhpgSRL2Aa5h7aloWUs6jopIUx6o5D+PP4N58aOfBtxuH1LPnx7V8xboi2IeW7jBwzXR9xmrVPPBMgpJ3zaysbN/CnpPvewCihrVu9nJ2G2rWSgjJkC5M70k7QabXZThrHYbIYMFnZovoJk281iqPkZpu1X7ja4ICv2yT2u88+KrI0lTwynbfciw6icH6oqlEE9gpcCJXxE5ZvmW5G9ckt5kTPGERISbWSQUbYuuUZ7WwXspUn6y/Mdlwol699TYYuIpOVnSFz8a+7/mT/cLjzCFpcp3aW6X2s5Jj1gw7Mw8lqV6w9sPYIP6AkF1gcBk+70UyGK/oypRUHMoqR/dxEE/SX0/LbuIDrDWVtrbphXTDyd7VT3tZZKmpBI/EMa0OuPZzcE5kn5U6t8ptyl4RuhHHS9I3Ma7/DAo7UUxQcmSb3FhpUzq2OMdosSOGZRP+btvWfu5iCxOCGzjCfP8v0PznD3N//wEEr5hd4SeCs3D7rk6KOScQbo8+MRjT8mFYzs5wCMkv3P2MARCYWtK4ITSY5ecI8x6DqSdz7IMQ2jMXesT6Xj8BzKL/dO2n7HTkZW0WJkv/W9v0zqUhnFO6bAOmQE3DVxGJl8sTmtARzU2FmzkJds91RTIxIu9iZNIyqFWpejI06Cs3NIQfQPNcqtq2+XS13hzA/cEUBNAQNwC2NJKIyWKxOZYhY3e1zrWRLjYJfzOj6bWqHV+hO6kuDl3KmInGAYYvJPrJMtRFSzVMk7V15YGD+7rOkaGiH7CIeOyb5E7Xo8x2/zomP7s89eQn6GIueqN+0kmYV0oyx9oRPQrSC7L8qA80u3IAH2t7ox+I5oAjIPZMKfvW16DR3PuTfwkIIX7m3oVN1Fc8BbfhW2chTRvSUWXi3uPQklFZC7zPWEdnIjIBTewsCCyuq2DztFO8g0Sl8t3MD9zb9CjszM7NIoTdKf8Tq827Edwm0lssVbF4MrUxaO2kHnHPy17xwsQHZN2+aaxZdzrlG46zcZ19oJ8vWB0x+0R82WKItuIjcJ4M4CJNLYcR1NyzBE/VIYwI9qKS3nYli1IeLccJ09VKCnHbtbORyvHpTpSJYxGUgUw/SEAiPlULmIQc/vYLxy/7uXW3KYli5D4bnVMtb9a9WnF1ToB2PHd2DVyrChyQAoLYS7Kh/nkFT6kzunX2DszOvZinZHL+jtwv4ErjDHaOIVfXMILc60D9iEFl7ni3mt7eavKtkreyNiPIUDsVsbsqbXbA4Pp3CigaqpY0dvJTb5aRsRttGpUHULha8ohr3McdD9jideWOPdKjpQlsSU7HjQ6izI33k3YmirhXiQA/RR2Q9/gr3wr7xLULRXLxw1n31NzUpOxd3mMMQvC43seO6MgeZlsZpBMFKlbmICkplIsZClBqkn6DK6BEDIvocdbdJt+jt8cBeRUD8t+/BQKCrw4J3PtoTFBZUSRK2lkD9LAmwL04Bj/0myQSBcKw2/9sLtw+nLx2SYphlXJtXw788AZxfCyNgngk+5uGWlkVEvfn83tdUM1XcJAa9f8KhprmyMuwIBw+HWkjoNlELmfQamlV0ejCdFNjbXp5dQYUIq8NfYIIuLaqSm5PB5mY7ZXjvCBokAv0x2nNqPmiau89scO2QkcbQrqsdp3KoNaP+DMDTeSIBEqDRUSsqeKHH0ZiIbTGiAZREuOchzrwOEsACwFkOB169cgSQr6SnMZbJ4GrtnKv4qC2W0wOFCf/gUPu/Na8Lx/RK5Xwm89xMih+tY6ho1vPJKowHA+h7d13tdEMZWIVMcMedtSzESROmnNjM7eCHSzj6THSMNPJUl60ycqpOPEL8qTDaFT1EU3J917aqAcX3oP/vp6E6kzrwthVH66Gzdx2nXGTHWitxF1ms+ypNTEsViOzbXqA92IxKt4RcTSUGGjQywpRX5lQ8agzcNlipjrXV5ZAb7QuCOQYfPisOKjRBzDicwmTgXF0jfUcOOgyQfm6+q8PJ4HotpzVvEljOVgEFj3i1nnmKCJsKwG8tIbv7J9xHjVhDcDuZ6E024YhW6uVOvv+F2VilZax5S2uQ8J9qYP1Jus1px0WQ2vPlsJkIr1q+J33cDhMwueA9VB4QCrx51fpmlv2kwC4lU9hq7rhDCSPQDSR6Govj4nYTZCgmBixqMG1w+GAhT5YKJ70L4iGOyvZpKYsXJsi/XAvyPlN5p38j+jQ98zivs7Ot1AkHbLAonN3qscr6OSbN24L7x0/AiT5zdry8VbL3vWfGv/+9TXqyfjLj2XUxNkymc6BmaFH5RiJifCVvmVLx5lfEu9N+zxdRN1G8HTJqNig3Dz2T7Dz3D3Cfr/42dtcSXOZhSfmRg5t1zSVCB0wXCoRQZfXOnGukeBVOOiH2SS5enqmKbcrIrAPkMHaa7uMscIXerelZ9h5qIge564Oj8Uv60ZBoPbvIrW+Lf6ur5o6KbRcc2reuMtmAg8pvOgbEJGa9oBG6niyUMzA2yEIijobk2qGZ7BV2gnkRi4f0sBKP7hajyyc6cwH0hox7xXnKckluNHpb8UmNLLe72KkJD7b7OxWxtnbyb6c0VGWStl29UqP7ILDN9t2xoSxQk4BH53gN5sXEmx1hN44T4WDGlZXyQTT2K1unODBO3t3Wi9yOFRRmAsyx1PCu17LI8o+i/ZMxfnHMLlOZFWPaTHNgWTf8FfVKx2FZM1UxtTJthGFpqi1+JKUaU2zKMxzExlZ83jOUE2q9QfCbkYm4Z+rc8G86KGOlwYZ7BRKu3nI3FvtgjGFMI7IxXBJZNeA//Pb2waoHJC1KRRm5BJpztyzRNkioL5zgAtlPxt1rROViuEw4V/j2RFC8sQcl8vUW0vse4FdD913GiKCr9tGBUcfwEYe2b/vxgsOvisYhtqWQvJURav7gxUqoqHafwfEMR1EayH3NzGD3QHb5jEYNzFBju7x7tleEL0batspmgiboygxsz3N19C6OBErOuBEaqWWsoGt1NIocexFORe0+x7Hd9+YG1fkPbPvn+Xk/EnYL8w2Fd1+oAWmoDwNV7AL0Wk2Ia5a7HOmPTr28Hvr6f1rmqVt3kQVm0bjA6K7PDR2RowY91baQN1cNyBQwjWe4/dJQ3StAfU5Hk5qBtgMfvLZMSZfEkTxlNxC86+plZqvyjrzO95Yg3itleHIJKWYkH1kSCGLNcZEUsS0dAVX3nSTupRh5m1RgHpYunQ+fCew2Grq5W/26fDOBV0ap9FLELREwonC5hkPlNzcnDecEcHKAg9rGKt0m2AKxREAqxkc+XzH/hU9m9PWcE6rDJvIUtLYD9T1QqcrOmw+oiJMFSA2cS3XqI8jW8pu7a9G1meElI3Sa2HELZ0gN1QW6Fbx+Sgdd5isJQyelpPIAvjCqtHgmXggtmSWx4/WgMjaR/PdOZwthxTJIaNeio3eSgaenQ2bt55njBvafy3v8oV5Aiz5kgw5im7BpwHH3XuRI1hPJGFF3MG9pvdNFgwGxbdUPAoTfN5NCy366tCrUGPzTJKD1rkMV1NWXwRPBln4dOFjoGuBtt+Im2q8G0VxbI1atPn5eR2mB7X258wwsWL7dcvdeqN4ZIVbmIdSJnPr8pv5vj1gefG5ErqpPYSvsHVXOYtwI3H+FAlsuH2PujAYK8nVJk2j51F9132Jq9Sbqu734a5MzD/Iz6IWOPVypiuMndefe6X3ZzI2Vmc667fBdJLw/HHM9wU/iIJpJd/uD2wKsABvkfNAIOpb3S9XbXfyWhXK9QFtob+Vpvxwoc9UFIFj5i12ORw/tKY4srnubsOHL8vNRiicVKpYmGGmz/r62kNB1uvEAeDKv+mmxTetbmGnlzVzxzDF0xBuwjj0L/BifVWdw8YzP4Yd5P97CgvJeP2Cj0EIpd6RoVGexBrjvopoKJ5KVuqwL3mZc/+H/PFpYzoaHmthlcUYwH3PS7x1rRVUJAil6I1ktgUQaewrwEe+M6Hrb7ergHG31mwQwnVsWAVpHBWm89q2ouaeoJb+y/HGk+J5y1eVmaXQiQHQKXx2WAocOhwWzj3C/bhSollFgMNbptm3Q40Jz4LZDSyoBudR3w2nXdNEn8fVpnjUsf/poN3kUVetIAusPhQY+KlTK+HX5g9EoDuNcLR1F8s9Rj/e61OLNMAVLc0NMS14oB9MJNn9AIkn04sSy/CUThaRj7em7XfdfqiPiYhCpb2vq540nWbL3ANKrzl06rGwiSLugtDA4+xlIeZctVacWay1SoSLhomlafgvlnysKAM49vaX6RI++3K1mNBUEcgt9e1rsafWLvE2CHYQ8MsWsn5n4Gm7LrQit384aObE4wtalGO46mUwvK89aUWeBNlClLD9ew1cz1RaEIBUWoSyXLL/m9DiqVueZ/32fxhUHmdKzX6/cXlcq9yVGL8rFqgc1/H7I3n24BQ8Cq71lir58dvH1huCRS02y9v/zVWqqnhlhUABCaA5SMwCcJFm8zxl6AtVVS0KlhyRv+QkeRDd9bYm9rfC6VBVhZJzXmZEXm2QWriIud+tRNVIVVs4sakLDMJXZBRFk0TwfkTX4J0nqa9NUK0OIE9skUEu42GPRx9EdiRUdh+9lp8S+M98N1uk2s276jhJS0yjqOo2YUrUg485HLRnJfzII2gS+L8U0+ZqtLEjexE8G3ttdWxh8kL3aM5qbQt59zFOndBZ6nTwnod1KoVUIVCN6XZD5x4Aj9TsNA4fa9moun6KpgOarYqmRku1NVDzVfiEMocrhvoga1fwFIXiFVRjOLFv2gM/f4SjpTQh89rwhpey8GJR7LQHrrPWyfxJhJX7GtrGgqWMcWPdly4dXyj+0QE5Hjvp9sNUFwsOzG0ftrLA7eaFu+WsV8oz/QFKVASAkQ3zvDKGXzUT4HQvi2WThg8BxRxo0ODth+ParfmC6cj/x0RL0HXrmU/1wCu/sSuUXMhUSb88w2fONdUSb09nBZ+XpDw0XRKuj1c2kcfGKWdq4xYxPZPK0jv/fYCuQIarxymCiVSJDT5JfPnqtLTpOppympCvXy1d0QZDhjXQ11EUbwkJsNmhd97u3GCdqYFEB9eBTLp0weOunZ0iwW0JyAhqC6GqqoEL3YIVAPuLNYgvH5QfWLeo1n0oakQCKnYg1z8+KYg3JHs+3yzQtQhFmZQ8gCKbBdgK5lzyJJGpDiuO/4v7BxGRq+TGpFh0UUqAoLjYxg30Itw+sdyAwM1th6EYVnT63aXMrEFrjCi6jUTPRxpJ/wUus8f4znpdi1u5QSNXu66qR3+KVEV+Hk8n1vReNt9HPdrihlpDb9Dhxn/G5hN59Cvh6pTDHLzBNMNoA65ixOYs9gpfXQrv43eO5U83ktwq2dTDaALRl0VUDEKOKkzoxOJgf5QdIVQlQYx4bPj8/pOjGx/yUJhpf53r7ha7u0dSMmsNl17csxnrB6Nsx9ipjRaxFrn/0y+VSKFpLYPlDFS0OSoXm30/5E2MtyIKXz8xuH+62p2jXYLUkL9vs+62vHqfrpboiZ1zFXr3Np2/zpoz0gFIWt/fM33lfHz3uuR2WLRWMX5/YBb70P9ncYg2aAZ88s55o0PLKguM28JPDSuOqU1HW7TWr8BOZQPolv1qhe/maCqC9PNo5CYbBQ6SNP8K+Mo0P9AXxHorz9PUmUWoO75h2iB9YYo6aen2QlLHI6QCqX5bShgjWBRApuUU8b1PAjYRuAQjmpgU5Kqw+S7iIDHt+DPnpyHwGoK2c8KN5bNCnkSt9Un7zwoxWJxj0bpQyScdyok13akgqxxQPvDRdbBsd02pzLJ/SFntp/OYw6l8P1m9tBFYjlSNRTd/zxxluczhpSz7rMD2FEEZo6dZyhxg1H9hwyCakheV9pMJlEBGuTTgRIKQHsIKejrkU3zamrZVec20TkE7KWq7SoG5kNialybk3bApfAm4DxAL043Ba8d2e+k/GeFFC+7n+wHCeo1Ttdw7EAL/O1AG++YQv1PexrZ5tFM3oXRZE/H0QHkx4xLsVmkymMx9CW1MJT4GZU11QF7wDNfgCFYWsnFH3zucXsLSV1auYRp5SR8reH+Lxdb+DSEPtsRT7HWxfPVxOB7M8f146g2qi1Lcm4IbJJP14AcpDLCdq+/wxqWux2Bb2RlCo+/DmIcnPR9z6V4Eh9x60cK8rKXHDbtttiz9TtUCScb8PnvB/1cOlSQWJvz+ogZL0KfhY0NLBc+igrQz44jlVIPa8x21cgetbvIJ70itsQYHFLOXfry9gyUaU+D9CNCUhxilccNPGzFbMHoezlDQmNHv39D8gSbmkk3Eh8ImXajClSchAbozwRs+QW3gJX3Pnd224dYIevtOXZwXMgKLKN8tLa/qmR8l4ZyeLZ+8O8b+/O96FVOCLr6MN/dc5xpJVfklo8qCN4UETrd+BcEPyrL++ZO1vXqpQGDJtIEJPQwnmvMtQ1c8rbfOwlujVll+orjUCv/x3MaGnwO/FEiupATTPLdvWViwKEWsT19j6psPE6tfuJXuC/3poqA6kTxKtrpe4h2rG+BmANgBY7zJbyPpTxDUAxyVTLUeM35lTYqbkSEWXZXpSpaABeSOF70P7KsGA/Xi1uOCjyMoYni75dMpXQ80g4jc8chhwt0PRwHEmhnSbOsyyMRnzFodnOepmk/iEPB4Hm8yUOK+nTleie/R8U0h2McIe7ibi2xJzyB8pcm9oQidZBOXqpobtGwH8zidQDUv37ZBVRBf0Wa1Q5jhJRMdWCn/VBLF4D0byOG+hG8uvm+yliHyxGH4rMnd0lkNPS5yRFwpzOfDiCmxm1l9/Y6dme6siSlD8MzsVvJtNLBdzuT7YfUW3pOXsfDADnjXXuaG/y7WO5T8lYaWyyc6tbNPg3l9Db3fqri5ghSwmoXkVl0f3WKxI1R/Z5ZIAlbq9Gos2DqhBbCdnVIsHZfJjJopm4QItvjF27M/46+TXZn1qSb3bfhh+1yS/8N38stELXQyOAWT35Q9Guagb1CfGc9IjVxonV8rdQrC8axYRKiIxS+wUN26FIyeOvQ3/QcT2cM0XrUxbKewN6eARWmSvbFJDDQHgqFWPNgiJTl+3XqjqX/+tNd0Y7U7hLn8aXntEG6LZ0aia5yVEdg2/K5UrafmRKIgzjCh/Aszhnzi7Usxpq/o1Y3QzKzUuSOXD5qFwk96MLfXrw2mKXioqDU6pWpT12/HAyaDqAs4GMbGoyqQuCIm1QG6GrIzSXr6PzEXTx8svJQD4A5sYCxkyQK9/q5rn9DPAjwqPmO8pM8rQJvUdKnzf1DfQb9pIe+ttAelfeyRa/OOmnJWFneZ4g6BykefvJ7i0Q4VrDpyf/814dsSmqkv0Ux9iRzIa0kDhNxsYnQ/pkJPaIn4L5WD7YR3wDiiMW7i3Rfoy87XCxbLraY0+9W8m5IY5XoqoD56EpiVNw0DFdY0QE+aKokyAp0DgIpkIIfCQBskEh+xp8j1ytvDZZMR5JFTggqxIk7GsWYVzmtBeRc3i1QjY72aZwmFnTpJs6c+pvs2BWxQH8zWIwcrYrSIBi+ioUDN9lIpSoGDGzqgxofueUsbCYiVRrJBhkbedfT0ba/NBzaQE3OzaSF3YYgdqOrnDepX32adPagiDK0KDiCrFBxzWwfmGpb4QIsvNmIVXaHW6pCgkZZRBI+qzQO/Eru5kTC5ij9h7unWzDLFqlTSIa4Hnl34czLkRhGaXgQzDsHzqbLZU9uNP15eMXTYwsU3hV9Os/IO/CtwV62nOwGKnfujArYhzcZ3rrhNqOyuY/Dmg3h33OKLdBIkF+s27ecyEoy4e1UFutIEaCyFd9D/yDYUitV2G2Y/5wuY0vKdFjF5OsAvKVTuGd6xl3nK/s1P5h9uzJxhoNlpMtNZuNZsd/SuNBTQusThVlZ5K75MBfkyydXfQAqgu+eVagSogTFbfPKthVvME5UgyFQ+C/nWTP1O+jIbwpzbppp5ZNgv66SpPCj6P+hu6Mh/n/6nt39jEpYq1gu4OWygiiV4PzrsgXiWctjdpPCOmeMamfDX6boxvdetmx9UDw2eENB1GpH6eCgd1Cg/tjn1Hi26GPlOvhWSjtie5Tc4i5EHJ1Jl6cOgCrnL+qFILn/kEGjaP4nMSwovSd3upk33hJ1zFYNeERiS2q+WQtKb/VnVzjO3XKbxmX0fatT3vc6U/KqMjKGHdjPsQQdv+WETWk5UJj3qpcvsoXoPkQB/i/cvlSRl7si7JPKqBz8cBAKj/lbVfv3a27lZ03BsDOQGfWnU+12XPily3EziTgo81ixvPpFpWf1Z2z6wRNJNJHkyX41DkNDbPsZm9HR+/dEXscXMznsHjswjHXMFDLvkQ4zCjcFago+4n0XV0OtU4sMtL05dGWhpun/ApybBktqeKSOHlJBf/BdgyoSWLGF74CA34I2gBSkkzZsJh0Pqyj0+8ScQLzzNeb6fFptdpPjP11IdXAjV1n1SZeYjDgBcPKPbzknqU4J7kpzRYJvyoAKHw3ZN7o8TeSuqmcIQpScnDfy2gU2paaR2yUZHAjQrPSWfJMYv4zuFQcMXYNGcZeRzr5RHP9Zic8RPSji3tVBTbVJNCseXM/vpuFG023vXUjGynmBVgBzDBnNVoRySHzisyhlYyVuqk1X5nb0kZJMd74H2Hqys3mMBVbx4hto9POVwGG2bdgjhsngrVupbGDdmT5YCm8I+00PA/oELoHVBRTvdPXhj2A4f2Of0bzT4G9zX5AUJBC+8xx+ztIKrt82QuAO3JmsUWrgflp3Lbg9lkMgvgYpvdFaW13iPv1SYHX8AfVt7wLBBeqRpgJsugA66Td3SQaxlnTNB00iyjpRq3MKKZViEsSZH1rtFDyX4NpTiqN2DpiBwvZE6jHsw6HvMN9ZgiDbuJ4Il/wOdli5pzVgRWe32uPgVUrJK3F2PXoz3Ay/D+7rRZGCbmlqGl3ggwTto2yesFiFY9Z308KPiCPcGMjjobMYHkb4HtehX/Cm/7Mx5XJ0YgQn4zpicTFg10I6ENLRySR3QPgn9IIWwPhdVV89PJuTEr3GzoBaknRxko45Y86zotqKg2kp+34JWO0X3vWkyFkrZNGmrvk4O+8UKVpBNl3uKyx/EMZkSdAdl13pnfijX0Fuk0+/9/+bQZEnPdLkWfE+xiLCunaUw2/XlpXFv18F8vw83uZ8XjulivbzZchqsSIjqZEv/4PY5LS7t2jcLldoCY7LLIZVVvFXDNABTApPTkdVifnNj3ftC3iJdqrKaTBya9n5NPr6MqIfVG7R4niarzm1NRHAgrQEM6+qtiDhvd81nuEnk7KqIv+cAZxNwgKbpvY/SJv21gzFFcYvi7TZg4CBT/VpLqWccZ49/CBqjXXERLxhzMcrrOgS0vMUo78L0m8v6WJkeMkT5IkI2LZP6qQxtGwzCxRM3qhFY948UFiixStJrI2Mp0l89iaJAwFjKUEyvCGRSIX8KK/+mA/R9MkkvZG3r/ueQbBj5+ooKsv5C26eeHKZgOGcf3lfcsgPoBtNxTCiCIBFrU5i+klhZgEyTk2C+Y+UvHnLH8Zk5NqntqOSsgMNVth2XauX6kiaTWpXojR2HQfQBbY3djt26d8TPGPiNvOcGPxZMkITYppUrXZ0TC1jxHq6RKuWukICZRI8S5l0qol/2NtQbZ8YSKqUJ9g7YJA3x6EW2N0HwSlaoBTLh3yWRTKNL9n6WMOpf7L8SKrfsYn/OnpTs9k8YHEWCiqVPqLEc9tefRsabkKO6lKchkgRKTWi81bOPBKw6eTCmfTiyEbzqPeksKfJmusp57Z+X/zy9zIWvb4ajYgaQIM6uDaoud0FoiuAdLj90plQ50Lsty0vp7BzqUnlNdHusyrs0hrYfKhehQvfrhLu+epbBQVPHcJ5tWXXgF3eWbO74cOYlCVDM02FtKw9PhmV+P4qu2xL7lVYTeGHvJ5HfRPAxH0n0BYxiKTExp8P935yOh20SJi4vpT3BCCqO2KNnbJFax7WkDmfr5O890t+b5KOmbACxMYt5xbTOZkhmmV2IerngEWiHLzb0U+fVv3LUON9cMel6NC+mIxDo+tw3NHRrFBXuIHeLI47l//sQXKjML/Ew6H/LLoDUXBVlY8WQwbPG6zvYUnsplBJrIxxhFGZN99xUQhIMb0T0G77mCm7Dyt0bIb5YauCTXZWbqXCftm+/mqnlC5YrjmxwCcraJKixA5oLW+++Fydc/nhAeMHccCnFVDBIdiZpcWbREbPY5iDDWDI0/ZS2DlFr73qIEpNOeHHDXJqhw7MTJKQqpeqaNU7lyFLDvbckZkOb6Vi6NRntIT84aPF4EPG3s9/VaTRDXBSR9TaTg31PQuqeJYBH524MiwjxHWN2c2umH5NpuxodQF6+KCoiYtGE7aN83IsPUZ5SNNK0TRS2ZM/AknVulR8MhC4d5SW6znIFqnOa8rw234kX7yfVEEqOPhJhA71AnKfSZdsUXgQjzZ8KWKRHyLHxVCCw+SRuQg3ODdoo/Ab4AesdI1b/F0bMCsADk50AGw6fmhC8sO3zP7A1xfHB6RXVH2/aEU8BeBuREAO95izt2Ak4ALY1cGHFqaxxerW+ZZnd7jfDBs5HvnOQOtYL/uI1V2RoTOGxTruJCYQXHbCB/fdCQXjKDN/P57tPIW8NXjRdPSCU4UfamSCAEOJz06uKNAfh7vOGULE7i92Rzp7FXmfq4Pf04o5bQZlAiHCRjbj6EKqIAVM0R1EvVSMca6NJ/E0QQsak+qnX/RCcPYUboMCsPoQzomYVv4/6mwX9PXNy7JZfphHphy9F5i3FQe8GnhTemd6bW93XKCcMs4XSsd+73OkuzM408h40xQ7VhTd/1/0Wo+Y7vmzWqLmE8MyjGimwolVYEs/ODygRWMaczLnTIaBp+dwHBlv0yAj3PzzbPnIWsFQwiVhdMm7PMn6/Qd0IlOhkq42NYXwZnecHNfyFVD7YUp9opVjFfvXc7GXQsFamhK+5wz60uvtGrglYS4fLgp6sU68XpMX0jZatVbkA6L5kjN5AZ/53/wuXAA2K6M7mMfkPUk0S0q4RVEAke+pgM0owEjSh0r2MWRl3AES6Yks2EdrpmMVt6nQSlVuQtel20+SF4P6kUEU71V0vUiMzyjiB//12YR9IMdGNUOa3ees6cxz0q8zr1cLsG3Qlt6fefwhuQ4fACiPDFpw61LRSb7TLBWZeu3yKdaepGFeFKq6Kis5Dsfa0z+wznVoLd0WWuFEBQgMxqPMbYmZ/47YG0qo37uARZJvhVcQRztGvMNneDtdMV1HmBiVhzL95MhheJw2KeUodYWsNXNjdBFYSTEdfe+GeEPcy90xqpcIUq3/bMCwfSMg9ZA+//MQGv+iVRlyPnDg0zZpdQtSB6EnPGeh2IQ5dpL/V1ypymYjQyotACqS0ta6la50M+rGumXDvXT3LbKEeQh08QqbsSchixTpIPp17QJ6RWRK2XV1KBBjgxEyTJS83u5yJ7+E5qpCItc/R8MqzTAuF0z3nzitr+hTdp8c0IC7GP7BGkxVrGv/kERHOhavv7TfQlK2NS9T8uTc3USTxZ7i7XmZi7oCAgv0jHCxccijFUynkJCtCJlrgHf/eAjCFOxe77J/dpXboYlscwGK3fUxE4aqNFV2/Gxunu/AKaJMqjjDUxgmJF+eEBhQYLr2kmqlebJkJqRWlsFXccO7hDomPWbVWhoooP3oqlPLexpf+B47gibwSFQf/yIhjc2kYyN2h9OW5GgBCN44VhUkNoyjjYo7/6DlbSCecsrmng1krVL+stO8vjpnrTcKw4Ogx7NM2Xh39TplsCeW5Wg3WjgtNJPfGkuMRO7n9EQU5wtVBTucv7dte0p5S22MLyT+hmQtWU5n9YTSuWF7c719g4Txd8JV6tGa/PS4XqP+0NWiO8MPnNMuWpE8sFsGVFT0JNcqFerm2AcUjbNve15838PM8ovBV8+a2rs5MzZaOuWAJqNZaqdiXMDXhbQLplOcUgwS/WqS3LnaVGYPd1pHFsfmw/AUuElS+4eQAqBNPyaw8uqaL1n28X4L2rj9YC74woNdQHRrLTpasvBMBwEZlFvMe7/DbRZNVPR4ry6IvYQNPtI5+GJDoeDQ4EcHJPQY0ySRN+IeaoaonM4yHVGCR6c+70aaDJTm4I2bdYMYoGeM+hsQqyBuJ9jcoNGhuLYj52hGxh/vCSdBygu+4WY3POl9WksrPdUSageDcX6RR2cCr6KsTNyKKuVpbFvLOlhaIvfyuJTGPKlQVNxOyHPNId1vzxllSyrZ500DbnsjA2RffQ4eRqbPLd8CF+DxhBMJ7kSX+04cFsEbsarD969qza60EjRROekkPD+9UJoo5MUxnxLEcufniV5mrfFJ3I8tOSp2JWiaovEe47qQ9ky9/0EZqgLQSesbp4gnV5Nskv2rj5n7Hix/nVIOuvAGvT2yQ6o5ZEhegNHzgoUY+5qxvSU/qRoTGxloyNLso+vKBRaFqqrWC+DvEt6RzmR8x0AKtoEO7nbgsOEc+rw8K2z6MZCKq+THp5pWORFT3tQ7p9JKktNikvw4GuwULOW+RC0KCbBK4Da9rjti4a70xb7N3RjJ7CPhdvHFomuuedLZwwg39pl2wXr1vThU0vPa4DYb8os+ATFDYsZqahQJbdC2JEZDS+EBexpuqoMex5QBFd8WhYtsg2+BQKQhyCIu2NCVR4hYSRL84UPiMKjmTbt+6p7z5nxrGhIVbPPS48pu0+lgq796hqw6/9smqqBwhLLT1WCmEnHv/A/oIPtDLeY8fAYVcoJoEGNbacJdyxIaeJuCdEXU5GgzXZAc95l5059HhkiFhkcbHDN5YHENZmJo8JEvp/BYSHExNYJCMx1OfATxQyMnAOXlZhzFM3XyVfUFuXy0DeNYXO6mF+EzIyMV8zeeAhPerGmIuuiTltLid4OE7S2FhLUXUlWf/F4ji9tO4u4dko9NGaBcGLpJ3lxlElcrzmKYHrpJW53L65eeUTYjvbahBXLK2VbpYwRV7Q6n8hylIa1UQxii1RiOW9BDeP28/X7a+CpacQ5hMgc7eSpxnHwDEIHl3ApW762kpDAYYBgG+WRGr78DnjcxHglt8A2J5DTOjDllqukPB1Atx3NyQeGCdq/+0Pe71v514v7BHn9RjJ7dDoGMtOc686om1/Lr2tmmta45AOOa4l1Y/Vxhm8JMyfAbQ+rn4y9fb0IbSAPjxep2zjv4W5RLALhQ509l4pkYL0Suykxa3Gq9/uTiAD/LirryOT/loqHoppPFesFs8hPjVfMA0IyO9b7VHYmmTMB074wKkiQSf0J9RJpUbvPtkKfS/UgbinJxiUTLAnrdtFuz9+D6wPQDSmeYLwBT9K1f19zxNTw5OZq52vndcn3SKQQhS8kO6TgXc/uvfrXpQxXhqcFhFTDfQB1/piWAZjdfbnGliA0cOcsWb1t3rTSG63JtOo8Rf6QWmnvg6H8F7gdNig7zlSiPnSTx/7cBZgWnBKbXbxYVjdm53zrqDVT+zaZIkC+KJHgEkJCiYP8L0BvE4fxGmq5FRx31KpXTHHKOX8rDTRS6pftHliR095mrc/rmr9bbeFoCtlqLyn9H8N90SjvPg06eMzVqkUdGJ+pu4jVXmV5D0NAICzprkBrg9c1LeRSeGbU6fGMdGP/rL64ORQbhFxURpBtIs9Kz14RNQCtrAxMWeBNo4LG/mycIf2sq8gJghsiTMOAbHyz2chIC20GrhJGe1AyPv4L5nrYGBq1zHaufbFroPvoFgNRaNRuM1YMt92xyF1A5gkmXwXk2Yzplpf9rWg8n/eu2MbYM2u0iLMiiNujJwoUUZbbCE6RHxxSDGBupFoRT3A0oua51Bi+OVxBgQ4AVspSN6mKFtkvSOYpFdRrogdr5JauCGSx+x8BO8YktDmeA3D5up7NC7W4qKySfbPnwfyJ5qcHXblqKt8luUEO0j0OQ40hotsXdyuFaD7aOVukZQsyR1vM7VnNTHRfZbo22UeMxhIfMwX3MI6mPYkNPfgg8BlRB01E3n747vIe6Xyxq8kbMgnnM0rLI5qdnEMBrm1opWBZLjtuLB3ebvg1GQPv+V5Pdjnap3RPXleBbuAR+P3aCsl+OVbE4AQbnSLdzRKDaUDjlkjqdfcsKwJrtKaHi1Kcd/TMDCRRm2FCgEFyFvHE36oogUqM/gh8X15P/cfx0CRFfCHzwLIzGQM9E80tAieLik31Q587Cjdci+8Jg98z7E/qzUS/Y785aIWqs0qH8r2mnkPe5/PwbquzpAuL18lnWBoGgyfREu9YgGQ+Ba5hqoX7+FSR5Qx6j4wT1FywnM5OFO2xqg6Dd2D8XK2u7BDLPAWhVTijG2mzQJ1mHY5rU7mWvy8BZLQppL5LrVJFnE2IRFNsT2XhmZlBSlLtq0bYkdWEKaAiyu42uw+dDG220gttIyUQZSsPrGpDqCh/uZWsau+k7yv/b8tzNCRc0Mh42wlofMm2/fVs6MAbrfolU/r/mDep8LGvUOFCKrM2/ugP25ekZIgU1ViMzkYhpxXHsGWNmLMVvTx1k9v9YumTKwNyLkxjdBvVpYYRkTzwsDGKLULFh8DCf++Y8dxceD3NK7T1fnALll/T0WTVBRqaVZ002lcxAK73PTU3XgcWI+0yuhVSNM+qIlglUkCPnXDCdYmoy0nhzsd1QezWceSjKLWVKvVSm3dfywBtyaCqS9xLenaF5olgGFfBLfTwSfnlnySbuZbIylVfAnj5gnuRwlz1U4tRgw7QDBMWCakEbH7rrwX/2fa/suWkGAhwqc0CkQicxyKHq4+MO+1hFQclQtLXFmrZsY+9wUR5gDWoUKgs6Bsu2ApacprDM/6JQSm6yQ/8L0sequ7Z0GFpdR3/2Q0K9o1/ER5mV8GzRqupycUVyG9y6o9t1+Oqa0ajMnKdNMd1+1aPthxwE0MJE37olv4QjTlT/u0G1/QXmQkwHV4LNr/45KKk7taJ11R+T0dtkdS4mrpb4zdXnRs99kPMruV3+WCEIR0/23VdfVjli70KsR3iQ0nO3QRanScu9scayXTkZKpGnBdregiVUUvGT54BuI67XHp+9rdF9iilTPOBRdnCa5LPGGw3bi8pbO4NdSGPeY8LptQrqbV42lvTu2p6WwAWgHOvEvs3IIfYY0tYM6USPOKNMW1Xa6IprpwSvO6/QwfEIO41jyCya7akW1v5HTgarjBrr5pp8mmRDIK3LwViF/xxYMTWb/sB44vr3hc1pK9qAguli0idWkhk4Q0yeqFz1M+nP1fdEfroZ2WjcvM87DE2keeRxprSe/S8pmpZ6VDKIRQYk5PbJWWjA2/jh8eP+W1ZiQBuJGc3C4LW9nFw9VzLSZRx6CLLC7EzmvmBB9V0eZ8DoWJseLtbD+0lout84xf4zXh/PL7HmsxUwkuDlWJLQyjh+veR82q12ZYipJ5WU8jLvUSi/5u5tVMdeiLr1NLucqSooHTUkD/RC51UbF8/SbJHyZtezYQMeBTq+ma2V3AYX70RtZr0zoYKvxLtQuBOyhA4lF32tHysAJ9O+SN9gF8Y/RUP1/3/KMFNPDWEo95LWV/2Vzjp9ryCBc1Fv+ek6zLHWtZLr/77+JLy87wtG4RtPi1ANEkuTptxHSQ1vqPPCiJiFNAq/P6+BL18MH8g3LnNZkevZtyUHRETDTJdCyWaBwFL57EfSQ3xWOH1dL6qR5XZ73Ji5B9QXjNActQvuVbvRS+9A1r2CKQsEJ2IaQI2F2FvU3JjHJnUvxRLtuTIanXJw+Xoc4OlIzLO5kVW/MLrsMvLxTbFtuctuOnrIGGWY+4U6GuKf8tYD30tvWxKn2PSxNc8wIY7C6s6q9GuoP5zuq4v3k9VSeMY7f7jcsUhDH7lE6wfmaU/U44CxJwmoISKZiwwfzUUwieJEp+lLFqyLBKBilyXf1b6fPFEZxyL4jE5tth0l+UJDn9ukGgeN9tw60c8DMYEgblq9UjXVm2ZmYExGan44m/yCnltbAeqHBiwhNBUy043dH7SGd86JUUeV20ecVRz8gmG7fKQpZ8AS70VMcKnSYIXrPjS8tsWvAJNs83Te9D6JzkYz2BM+FWjvjMprS56M8wbU5vQmgtCp0MsIJwWxBKYtDnFUk8y6l0rVDc2RqWpc/JmHiwrJlYrzDtn9r0nAam2eNyRxp8srZbrEN7eDKJNRzBZ1ETs4iJh8ho8VQWSu+seTtz7CbVQKUk1mU7ZNPAsg5TC6zqScMfGB6n0SdrUJJvGnpjjuWKFZcSfHZ2+MS/O3gbxaYqKr4Nk5gfMVn7rqyjvNM+lAXUF7dVfsZaCJS4cbBsMQnpdAJLq0//JTDxxvoxlerDfyjWBhg7aCLf+EX8UEZVIFx23xc3mwLuxCfQOkDhGVOBBCwGij4w96Qaz6HempLrkt62mvLvD6CXH0mbN6K2HB18nXl02Gp5TYKlIX6BzqvGHGxoOgL2mgEB/CrAAtLYVLI1zelfamQ4iK+OdII29mETYsKElidMj2aQ9Xkzjy6Zl0bkzDAAIxb6HEKzbbR3z5lYB1UxFtY9UHNbMiNc0mhOsEYScTg3A8++ecu/+6HumfZQb7NuscdWv87soWm15/ZRRzeVt50tCCuO4ljJEvWP8nJEv3r9SZoED/VsTyQOQCGG5cVjktzrC91XnGINFzu03b+Bxgf2VdyWA6OYqEHAybOupuQv3pO+FkYjR0rp8g9leDk9kL4R3v4sbieMrePd/GY3Inu4fPI7tJjiApA5UneBpN4jVY7jOwz/5BkMvbTUiquWSlHyJzjeEZIzL0jDey03Npqxo+T3Cs0z2JadqbIY0YhmGlS/JR8ApidlAFKlrgoDFrE7h6vm//Kv02NEx59t/4+c7RpO1lapDbcNTFdFl39bIhj82omAQbZqa3Bpsjj+pHmlnNUYXimbKhFJgkpbJHTWl/ochZHDRCk0FKRRtlkJ/Ud1NoenftFCWaSBbRMnfuc1nzSZAj8E3J6Ico/thN+2aBmYKMyNsHck29uI7yYhpffKrgbJgITHBVTZ5dTNxfabe9/i2ioMt7jr1HKO2A0BrtBdOhFQVTi+TvV/4kSDacl47rHxbBOzmq7DUSyucLZMkPN0PdoXgmA4vM8No4cd1eiW4qtqiVKsmrn3FyeWjK0b/61PQkJYWXkdvp0A0J2qSHwg+1QCXB3oz/RgfVzNlw/B3LYHD97OCCrd6buKD7TuYuL/boqgxHGGTLbM+daa9M64P+1BcmkTu8TYlbvsK9/Zrtm+uYl6vjs+GAWkZQx8H0x69olT0R01NMEjXo8ZCqw0Oia7OEDCP568HyHdW5U0/IVJskc4LDbQjPw+5pgXx/ta5dsoGS0Xo1/h/NQsxsuZhOqU37N/C34ZR972y3IzHLlillgzcPclRzqWt3e6SzkwJ3RsfSL17SDluHoX4gYJTm6PvMaRLUG2cGQgqRLGbK7vTnKG5E8aqnky8GV19NKufbhkIuUXRCMIuwYIWp9fxqhYUjiHoNcazkfzJo0UtWVXYACev9QGFG2ZGSLmsAS5amFs8CWOJBsfh3dWQwJdiP6O64hi8VvLUjIbcr40RouylbjRaaGvY4xPsB24rd6p5kLjfqDLVdcWC2c0earDDF6qPzbJXTmqpGmq+2smCBItSWU4kR0vqwGRbo9Y2rRhEyNYxEfbO8Avzn01e7UdI68UfzqDcXy+fUBUCqA2bYDErErGtLhaoJugoLVXOuYYDUoErHeIL5scO69cTOnr8/mzh+r3jAgEMyp+ppVDFiumWh0b7KlYtAFx4ATJz7Y5V2a0xc9yzs1+Wbsu7wcXizmt4ef8FBN8wxO9q3QLbxLts8yrqIbZ15/8VOFxhVoZSEAilziecFVYWw1CXlrVWEJAWzdTznezKXABjeo45Y/88Tpdags/fgNUjnKKzPF4TtCc2315lyAXn6wtapYFjriiPXQdzm/RtsAHWdq5IYcJViXPl5rJSeNjN1yDcArf90RCMKPcysO+QsfhDQYJmFhmxGiBeCOCkC6vwWBiusSA6L5AhICnImucFfzuZ8XvHWUDnaaPbI1o/EGpPsgNQWmGHxVQSO9APRNzqP2GwBOPYeDg+1JAlMW9k74W9E+vw2lhVlR8AR+UQ9FgjPx7+nDecxqYmTmJzov3emzLeATliZ/pDRF2tkv3SrknFd3ZwZZnEJ+cGkARtcUxmmYCPLyWXbktZSaXSySDxYX+8y5L865Hk45/oXNs4e0KDzFmzKoiQpZpd41ZrKeXkL/gawOIbFQrWLjZTaTNTvbXy1mBFd3ddX9Pnvj5vgFxDRlDmltOZ3hozLyrTJ1IcVe78aMKoPVMpKpF+pdU1bWYcfREo8GE+05kpFsxU80Pvpal93+kaufrSdwDj89T3hbLv4BMcc9VxcMfD0gjGIN2mUxNUyTtCIneLeT3zwzdlc1PF8EsdloRRvPhhnL70DZYEK2uhTgREI+fHgPDkMJ7jwU9IzYJ7s3WMrBIofhf8uBbh3Q8Dj+sE7UJQbEF/BdCDJwG2yTEKR/vfXWmFfJr0q6Aej4l2ufPWHNXbRLETyTojToBCFarzm+NEBblwYYcld5ImX6GPDZ8g0JO89nQSLz+HP46roeFXF2zK37a8pKv+pjxsYypipBNDbxg25MqU/B7g9jarGSd/vcGYQzez32FuE+9Kred9KFzrb6BRDRj8evkuvWp+KyOWml6BFBwDpwEZ57F5e4gZzhBpAhxL3F/4QAhm+xAC4GJj4RWPk6v8DBIpWWcGPStj9ppsHVxtPUslgc0hmdoDEcYekbfA5EcO3aazlgVP8mVybS+lFEvYyjqWvmAJNEHkO8FvM/OVMYq11PC75RxwNd50CgW8v4reyTww+kww62MqN3G91yd4ob3GuZpVeikdRFvC4RmhLrc2x8DH7N7vD0mO0LIsMICGUhZHzVa3yiMbrN34+/KKU+R+X8K9QROVxWI5GkEwUDhOcNCq7+deW+UuwIDiajVlhGX0aykYdewzu+5x4wY2LN7vzyKlppJ0P3s2ilpjapacNC+uu6sgFnaPUOfGXP8Jsx1SXnoQIyvn0wqq3Fh3IJT85QJlqc5KOG/lu0e2xcuqHQk/I4ltyMT1XuJufMj3CLH39+l0nr7N3NcfbiTJ+J1SCpPRvKpy3t+2HiRDJ9sAv+UdEjZTMYcO0jpqVncL1J7HOygWBDE5WO3wyNsr9HuY5wo4XZVxUsWkvTOseciMWoTnf4De9sResB4u3xRA4C9+xwSp3qqX/BoGkA5rcH2U3an4Ny/ZqI1CvbqK1CQfvuhTMjs/POtMlVgYICqt8s57XFIUac0f86e97rzVF7LAVTWan89OhQnEkCUkRHT73AVDyUpriiqDW1wBjkE+nqAre59lYNym+RwNYdA6nS0GLQW+hmjgTh532JCEub7hk46Y8ul2vJt/d00+8bbFSZzq2tpK3uBCJgLP8TMW2A964R30RyU75cDHu1e4QjDAuJyI0gvRTKGigSOQqQOcyUKY5cXiEdhIsknBDVzR1B8LQkq8JZPpbbYdWjAj8AKLuP29uGzCOeY2/BH25mfWkNULNddem21amWpYlS31gDkFaoXD/6iOLzQuxWfZFsSeI9lyjNe4+3VxSXZ7c/a2KwDGH/u18twGgK1rw4M6fbds8wxIg1osUmGnBiT87KsncHHGjaDtjKMEQpkNMXqKoNJtWKkjwKcFsIXsCWz1G+HcfoIVrPNYfSwM4ZqOCfZFbInwbw5Hgbyz/pNWXMakLmKSDUfjWu4sQAx/4zaBUU+AIFoejrcAygJt2kEfo06PTgdo3GbxClfrJdMxvxsB94AmyWN3/Y4AFbeqDk1BAQVfJBw0NzPKjjYj6Q9FXUgkSSwUGJ3wQBSgXaaukgbO7jik0XgLu01jCtwhDYhy0jIk6kPa1prkiOoVlf+0Pj5hiZmgf4xQ6vPoZbkDfAt+ZY0lfs+sy2PNVZKfwHnc9PaONTbchBJuqqX0mQT6ipvMorftKT3A0sNKutfo00ndmKw9QKWNXihbOVKWfiWStJKrecDsVZGqWFFQ3f3NwRQcA1PhdySHGnMT67iBxE8CS6EOR7MBZ86TeKyyxG3saS5CMsKvzS4dLmd9WsK2Vvqbxb6XM3dPtbIw6ztoGw4pAqtQaoIX9tkHZednpbXxYIEZuZMN9kKdXFNqUKPDw6xiBkpCAqt5Evd71HPrKpDAOLg3T6pQd4P2T6RSDVQUMctkxmnWTGSezxsGf8rfVKP1iIad5FdbUePrL6pYkBU56f7qisDkxdQptyyNHU7X3r1PK1Aoeh3AFa64FT8BrU/z1MJJzq5rYogIfGG9XSmMgGQUjtjRm2bVyDA7Jyj4aN6jirXFMna5g0BLk97M7qlJWwEW8EvRiRdtagxSbm0wITbnFqwUbB7CyaiQJZDWa5D9VAd+6kydHoPFsor4qoyowj+wUZPlWyeyEaDs0d0VuGpHEuIwa41XJfA2VZKKdPwnENh/f+vURkYerb63uzgqWjqv3aFm5IkwOLAgoxrAW4QaAFXmt9gVRf3ojZkR0qDG/PU77FZ1a1YkDICnCX0roWskeMvpAe6j6+IhwF2BSHpdpJhL3NmNhucCRV+Y8LOOOGmQRH+svLJorax8N5+C3kFn6z00Ux4iOiwGOWZJimpzDNKC9GyGZMiMZOIJz+npD+x7SxJM0vFDD4Z/Ns52ktfF6a8QDRhiEdk3h+VCb5iq4Tom4vSZi5I+QIskQA0eus/EDU9A1DWcISo2USexP1pgl+1dnm+/bXbWkJKupP3m91saZG9dOTcEN3K5DMTlOmpGIdbB0ucQLCMUz0RSdRJ2RHqsspean/Udmz6BmBKeXm1c89SrbyVkndLu7AbrEwTu/A4fnY3NLPKyNzxxyOSifsA4Q6uboBTikbAYLJsP2nCzSpVysYhoEXEuREm6IZNBH4TIkkLIUqPwNaOyk91F6yQ4RsBuv1nQzO4dcpnRzkjwQqHJhFEuIqOK1yWBN6mHwyVdnro4Jyx9d4VkGdHtrO07ZS+l7Ss26jpSQWePF5d+3K128Oq5TS7blCTg8FxGLwWrS07la2YfZ9kFT2RsqP522v/A1+66t+e7PLKrqOmuScJIcAopvSvAc+z5dvWjpsDCUbqa9HEo9w1IgDtOSFtpZFZtYRYsRDlsVkVotvUaAYj+hBxaQ/MAN9PwJoqiYHodJyvr+pFmwqO+sglEYe8yyrE/8gZWTHoTG6yna9ygP5bXt/o136hivsew28q9rtJA2jPz+a9C3Hgys/eWkDtGR7zPx67ben4sjHN64tnoOlLug+xkkXoUIU65p/E4ofYEUzMSwdbSilqdzRCsX8ag9Uv3OqECYYGQnnWo5Y4U2qDe+iCMij6HwXWB86Y1fiNPTXP9MTNkarVNjPBbQPRC/wyHfGmdEeJ7uJPXkI6Ak0r9DDTy48l9Lp2lEMildXm1qQHqORCt8nP1SelM+pDLsFG0uoWjwOeD93FghA+2X7nwr/OvkYRnfdsxkLWZy5YX76Tfydu6GE+VGwO7uCkyZAY8ZWgMZV2Xk7XYNs1rPnLzEasJvnes7w0M8FGXOpOVUB8VsqtYRBhIeMNU0JdxE/xu94b3LdgAVyqPdhHWsbLwh0v7CxeZaO6WRtscMCX/l+eUBlIKyO+rC584TquzOk5+yjWLv2VEe7fxv1eNKdamihIOCQUDfLdAPWwcL+PlZfc3r2wSDPNKrFUg1c1vg65JG9mMOed6f/UFQCerS69uZhZ051EBifIaM2PqLdK5s7IWnpzaZJcMc/oyhsDHdY7CzjSxO7/Z3AwxF4Y2EHQTCMj5YOOTsD/CBK48ioJ6BpLtJEcA+wtl4T+4y5eGrM2OzF9MOB3SaIp+DBtwuuC7Hxfz5ZPOtd1dQS384YEA7gmrrrJr+a08XwKkSqmWvgoJjOOoP7fUse4hpDRXDqPS0oLiYq6Y6P9KFm04pG5Cx7jb4JbNrqu3UkYcQ19N0vNRMRn1JZERxYkRrBL6VgedCw7N7Eabp0Jx1u8uus66xY+wXnN7P+7I9Yqmd4h6aREXNHoQ00yFtwLidOyFXagEnOtG/2YxEtHOXcjhUgVMdbG60M=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2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ANCHORELEFT" val="True"/>
  <p:tag name="BTFPLAYOUTANCHORERIGHT" val="False"/>
  <p:tag name="BTFPLAYOUTANCHORETOP" val="True"/>
  <p:tag name="BTFPLAYOUTANCHOREBOTTOM" val="Fals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ANCHORELEFT" val="True"/>
  <p:tag name="BTFPLAYOUTANCHORERIGHT" val="False"/>
  <p:tag name="BTFPLAYOUTANCHORETOP" val="True"/>
  <p:tag name="BTFPLAYOUTANCHOREBOTTOM" val="Fals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MEKKOXMLTAGS" val="1"/>
  <p:tag name="MEKKOEXCEL8" val="False"/>
  <p:tag name="MEKKOEXCEL7" val="False"/>
  <p:tag name="MEKKOEXCEL6" val="False"/>
  <p:tag name="MEKKOSAVED" val="1"/>
  <p:tag name="MEKKO" val="MekkoChart"/>
  <p:tag name="MEKKOCHARTIMAGE" val="FILL"/>
  <p:tag name="MEKKOXML1" val="4HooU0THZk28POP9trq+pbTvvzd/gcV8t56cq85kb3NDTsUhojRA0EsgEHHMH7oYP1SYpn09ysXVivguJdhTvfyVMsBLTGvcX7WPTor/CmWiWcfk2RmY+GE6Q6T90sFUr0lg9IPP9y8umrse/9AoLT5R0GKq+XM9pr/aTyOTf0wptcuHbHxeyqBm9svU01qeeEM1v0hpSHUgirOnAK/wusIis/Dw562/ylZarflkzpXsotLVJSCrZYtF7RsGG1e5iqe9MG7z60qZK3vpZqzyZtFVBi094pZscNmYtOyJ+gEByA1xH7Bj2c36EiWyuokqXstVhKAMzqEl3qnbW21iw6HU3tn9ZxBpH4S8SEaZhu0QvZFzEZXIgJrA6kzdz3gNSncoJE/L52VYKaKFV4mp/9oA6bISWP+1mS85QsPrOJND+rsTsHH3+7slVdxGvf3GMwTXlTPSPRcG7+87yoOrmULjv+CVsAXyV6wo6m+2vx48IUjehHx7OA5QoHuQL5/vYBTi5dncSfPznmq2FLxzTDnxCnXaQE1l2LZ0/UiDOddGLVcD8xsbv8ijI7IUlWCizC1fUVmGYnecoIStYh5kUZVhfi5KH2XL1I6LKzWli7Mc+wClVgRaSHioA00zihjLCzt6jb77kkwqb61/zDHGVMMB7BN7b0ZY/2VZbSz8RAE7wHD7u+P0xqzUO1BJnlBJecS3gF83YddB0kWs7oZHsIf6TW9Bw8s7R4Bi9ag9OjQ+ZLT21Fn5eOqArXmoA7A/eUNGz/oLIhT5mx+A1aHdoJIdbTnbY1GAc8LzpGH5gJlVuxQoWawwzMBIaLhtHKnxu32HJ09SqxWB3/jqpcD17MNIMkazDrZk5K4lRQeFkzJv2o1aH4ywE/6NCpyw4VnuangborPdKtbKzA3cxnhhB4k9KdhnuEomAmIZVJzfSOkqDUPHYMG5eIk3WSPzRmgnZ5RIss4a+U+mqiQtH42YfFJwrDtsaVTnQb+wklGswg92PO0Mo0CdvMOS7Es2dTueGDpVT/4jsjbfpxJX6juKxcH+O7ycCTaGlUi1h55KOGiIeewLBK86dwJrALUhWCeJqdJzcN5X85dEY6pvWj5isiqWbkkpFtnkuYqH7t0JXeMs7xq7wBe7ZWna2UezmrT2lUHWYdAEpzoC9B2h2el4ANZRqH82TxKsz2QZM8C35n7Ce/prohXG9SZBLLUj5aAlX+/Ayeh3/8SJ5N5FP3rG9v1g0So/qqZuJLBH+RBaEh59skL+DJMznRZqGStkmd2InD+DdfBeFYrsJspKAnmbwiC+rgcXSZ9RcLI/rZBSsqJyfy6Hjr+TiU7sCHo49rImITV4ARGJ9pRiWknCe3QMknnwz1tmwNbozpCgzygzy9THNZOzM1ILRcfKVHMnljOJLKqxuQSuEfMDqz4A0vBeeH3zSb2B7BRcrqwAHNNvMjHYvTJP8+huGaGO00MUbAk4cZACc7G405D4GixmQl2/OVaMt8zFLacmqIUjOBuzxX2zvkmYqv+GwYCYCyoO3vCskCREkTp4kQqeucxYhv4sHbTmNIbEfzjIj/4GvaJ+n1o+BK8Vi9HkrGkAAldCHL959oKGHt5exDbYHT9dkjjFNcqlVWnBoTwZkYL6aBUZ/MsHRh2y0waQjgEBYaonwT8K9b6UTEEccfMpQ/EQh5HCteh71bUsOM3I4w44+mSSG6I+YnZQtwy64pkfguV7v5LtGnUy9DZzIqKXfflP10/VBo/n5UeXnl+IZtTrZ6NicSjDdP9NsOkRAMQvlGbbLpjn+nlfBb4lNuFWTQgasFbvQ8cA8mGmON9P2qbjS446Pc/DxAq4kw+uylhPGIgdWt3TT8Wnf+Xe3wBD9kJTh7wHtjXI35flHZkS8B5wkDcWrMW5EvGbTS0SLq4D/6M2eCAXsHYnMo7LXesEHQpVPLdVuMfnX2sYE827Z++Y9BIguou+xxTRRc5TbMpUpwE/nxGaZn2+yY08omi4FsmmyFFz6rkXDfPRMsXSwKPv7rRpvc0nonr/AdzEP0Wv8G/W9odbW5tgAU1cZmNUeb2AlxmF1AjnIDReoHfeosewv2iALiucNqbGUEFNqE6cmCRhYoatzPE4eq2FIFehQbvC30xc5+D+9YptWlX3XsbJ6Kzvt1XV+aKe2bzUWv6zCTSeFN8q0Wa+T+/EqSzp5KVqK8MJ1yJ1tW3S68Ljb4t+O5ZOufcVreqpl8PEK5Axn4cDfaE/VQ6Uhjg/l521kZ5FiHAcbzo1ufqLzDGd0XtLQzBuXe6oLOR0IQeHG7tnjYnKYCQdSp9vzI+591GBoVygBhUjgWfEGJD0lOZ261+3lskHMNrCOJQ9CkD7yVATiCPeLZq7cxT1l9lio8L1Hk78BjEhaI1VrNoAvdBGuKBckddxLfu5mwF6TM8Ez5cp6V0vACB2Ha96ELX/0BWAvuO3ylox26bQ3QH3JelNIccebDMX/Ow535UXjnGix+KO89mTGaOSdpduS97HG27ljRf0Ey1qIvrmfvVD1wlGFQeyaG7+DmbmBHec9OMaxWDziE7XUjNTK8oKfSarxu1kwUOdvYx7V1UflTu5Lot6Q6sRRsdsdTsS7HSIu3CvcieZQMBk6VPIJnRhQK3qWntfCIo30I7I+sKCp3fS+ZtpVIXW+KJHWdRqTmHpeuLaxeyfJo5mVNViVHWsCjpnNwRwd3Jlf5gj+7gqDEs9S3M6sDC0Hxyc2QyFZb+z5Att20BuUINxnM/xMOuvauhjWs2Tg/MJ7c3yMZ4DB21ztYAzsm6w3GFSv37lAE9x8rjyYXJMPIGSIHlHhMnO7hWGfOPEXIPDNjZonuCDZZhA9cFsM2VkSm8wut2WxgBw6LdyvIKx4U60MiwcLNma0omhaAukzxASa7QSBuF52vqNoR86H5qZ/XGT+GpiA6Mv0XzUEXZRiT0r5dCNxK260OO7pUkKhvO1DvtS9K97Fmyluluz3gVHFyI+Cq5R9Slk1Dhisny5Uun+gNvvWOnj7AdyhBht/0aVEEnEW39/mz0JmFVYULUGmH4YVMlrHzbyVPAZaEtvuak+5E0ANvWomo5UvpzT6ONAhTD3iNcTaFi+tPoVy8ePa99T23QWTLg9xt3pKmfwzMeZIC3OpHfbPhPL4o6f9g32j7iqPy9Ybm+kZiBm91pXQJ/l1d4clEzO5qvHqEKAIGUdPS+Wx9CKR7ud/RUFUTEC9OwkmDAnnE6YSEK9dQPZf6iPI44k1HtABH7OTj9mKCd3PFR4NgcyVWgoaXy/iEarwLuYc7wMz54kAIKK6A4uhY+53DFrBuFgB/fm+d4mVWWZChPNqGyFyGA21uKSL5EH61FCAFXo4kxFlONdth8icfrYqCnQYSnSzgiJV7sdCuQFyNa6iUoV/N8GaSfj7QWW51izYsq9V3f3+Jh28fiMEzdIuF8ao9Cb/6kYDzpNZpqWRRSws7oAgKc2ACB1OmfE3BUt0ZgrjWeH+LpWr4Pe2Mj0vW8b2fgEBmF4En907q0HpIAq4s/2NQ9ohFQaIhQ2ulszQVzI5N6UdoqIL6Ns8hMr2tOXlA2oLxoRAiw/5ffFXvBXYgmKx3hoI0QOk+j3P3S1ZZpJVN1+rxB7jzleLn1wo2MR5UgmZskFLhBCKAOLUwQB0d4L3xXVUkHOaqB9zCzZtQPoCqZjSnwzza+S+x4tfFI+h9tz5YopiWwT2AT2zpRqSM7ggfU5wnoGS+UpwBAxqu37O+9C909tkWpZ9/fSICnUXK+2QNKAKKCpP7iQCIqdP4XOPwu/qrwWHqYYmsCJZRN2giLUfpvur1zDztVK332TD2jIvv/miaLWNN8nCvL1CgIUMoi3kTvsSuHDlPN7hPSkMsviazQAK3pOlhajkk3MDcJrpjl8tU98m2pLiUktGMSiVvPaY9fKJhjwnspD57f+ldHyQkCoyxJQ9y7GiUsxeHsenlkXtU+JyV5WCo6FGI0WxSsxqL/N7I3+EgTjqbA/0mYfCF2cdlzdkNungj+MBYlv8iDOK4JE1u+ZhtvRjng7zm2n5jJQijZGH60+IuRrbfj5lqO58JiMyNyf+efxTUdAgKS8UUgAhzZ1ikSChxZsjIP/jyG2EKCdPxsn0Al+1BOjau1vKje/763ny1+GOuVtkJ1Y8NUs2af1jF8XAuthP1Q9m/2kMDdGoCRK3pna+cF0VXqMRChaQxAQzhRd/qpOqdQ5W2JDaQrH2cUTS2/h1aROPgCeh7W9MOoXY2ExOPmVUBl9HSCP4/6ie5sA37rP1cUD0vzTMhoEFzeTi/6iDExf+L33LBbAf9mcKyIN0s2PX1WZOONTSj9WXy62sh7JexRR7S8bezEoexS6X/ItaKHlwATO8+6kOMtczVvO3eGzdAGIP3v6oTAH+qoct1z6+ypQATPYpPYQmiRhwRqZG6amN9biptQ3dFGM4/Hfd+eK7xpASXfKqCG5LxDNCTY2+Ftxw8vESMcqRlSGaGQ4GyyQUNAGeYYgAWKDsxG8CsUujUmZT4yJMwlidYXer10jNF28MGXrrOzeSX89CGdxYARhwNNFUBhq0EqOgJseLnQfKKvRfiG3idkIItzUMbT8mFA6VcuMCpAipbbSEKV7MsbDV5QLbXQ0/wX19fX0aFVSGZlFpWt8PNoJe4qBXY+v8lrVy3+VH5J64ichg759y7ts8fEaCwCXZY+SEFrLP3bdhwtHrDRvsrJCbvXPAL0kOtTEZg0UqFMNzBLdq8JGXNCfOzAVusYXiT3yembMPTUxnsutNDT5ORlb223Vst+IdKaKmzdQ9F0HO64QF2dOFhZx30V2FygWlXod0PwX8dlYhMP+DYp10t6M1YeYZHgBTKl7Hu5JYpKJLoLLLeeFL66GjjIyKQTv6qcIjCZHNqCd8CJatBDJJFdG/f1JA29PvoxOFqxDnrDILT4rl79oQ+MfCNuqMxrFYtyA6V7eRhO/iWwaPBJU51l51A64M9p0V8ialNG7+h46SxU4BqoDfD1RBoETNP4KlFqNurS2+lORN5S8FJ47ii25+5iW3N8Xx4LD5zY5/AC/usc14rZ5ZywCWu8/C2voI0xxT53QI7MH9aWZh6vQ3bwv53XXf5ChDoHoTzZ1+PDAju/WH+2/+Y1GJOKmMZXSvyoqCyaQS9VdeP64sGFS4eX3wgfVYcBYw2eZN2EZdRR2xQam9+L2CXJ2DStWk2EJihMGkxYeFsdYIpDSQUDPdWaIeTIT/wYq1jSK5EQcKwy0aN9wPjCaPtsjUVRo2jiwYOGLlmgKfsrygYN7wRNvlAuNeTF/Sl5/pxnOgKV/WZDEQNqZ5uHR+EvgexZIyRRISkz6ImrbZ5ijO01hCXoe0FBxudS+RkXH1wO1f+squoYJzChaVvxd+TKZx6qf4onGXHlGVmQ5ZcSBFnoVRdTI3Thceslk9SN4E8+qb+sUVhEM8JdCCZBMm3J1jRdDx6Z5vUVcsTJjzkWeRLR9wQcdWBG09CpvvoKETqem/TrG2A+S7R0qbgJnYNiOQv3f2HzG8Nf9sXX2CIhDvus7JqI14SxnTZGlaz9BwfScOMcyBLD7RupNxh6aWDlhRjmntya/q7Vb4bfl04pfhuHZk2LDyY4o4kpsL3krgKVTzRSdZGvoViY+VHIdjloO2K/irjrdEedFJfaExHQthRnWd1aDqbcQgcP+fRAXLsFL77jGbpXm9HuZvtNUe5zWns5aFJVmYl443sUMDmQvWfSy6pU0CjMtZgV5Wrx0ROAfC9VKTM7K9pBq6J6476m5v607bARiYnXk7crU+7yimO6gGJN/TIP/GiSIrKI42MdCDCv5tuuP9AGP+m69EngEtkumwbGqYvJT3lLxHD3EqSiO79ff+r/yM7EZLHuWXeA6eRYzMGWYnyeDewguvFJ8dtkeh4Y4uwGgCEnPbOP0CFogOn+fZfyXInbjSQpXPOKm48bYeLP1fcHWtlqYv/M22XhpKpkahkdUk7R0NUPBxZ7gp8YTWBDkSWCecZtoDmu5QMtWDxi08h3g2i0+YxMRt2CamsqGa/WCaDarRgqUAoTU6rfLRd+0DtiZfmS0JN2WRwL07PeOqGn++z2HbwxqZE1uptKVERBMJnE9nh48hp50FbxzZr9nvW+P2l2dBI0PvsFludjkcYzOqpFTFVHP1kGvQ2b8ANG3YXXhokAQrZFechcNWhHU1WP+kgPmFIvHGDn3Yzm8pVqJ8XqymihW+ai0PAjTkueZH8q2SziHQwPam53RIlgk6szTO+ZSze+UI/kdhlb29ryDpyncREXN10/TGrVt2a2lm+NGjIA7Y8CQYwNWJTlQ6Ep0r+KVX/wqB8agfZ7M9oTQkmdU4P5KNQIbWpcI4c0WKwmq8Msjl6OLKr8by/T/ttT1yNiCm9nhsNWKfWmmCEdAGM1mPX19EzZ+uSved6IvVB0F6MevAV7B4lWX59WYZ3T6ljhBLwqkTUUc/8Aqr/Kr2bHBgS5INvo3CY9K1y6L2fQhiRUwDJXO5I8zGzVjAMA29Wj7etAftVEZwGsAQmqyYd5Bo530pJ94DCDflHZs6YDZ4kNd09cCSkQMHYRFbFKttpzUcW31L1mDK3s7A6CS/XdwIu0N+z1dCbXMi3q5Wpa/FHviCasw9r4mnT92lJymUwimZv/LdGWuI8k2HJzF6Mt6fL50lq3x4TG3YwJr0iVVEGXsC7S0zzZU0r0KRZBIhHotUmf5GMMDfSHIdnl9iccQK7mUMLyJsyx1Y0r95pFdmd4uqmk+kOPdslRGsDUPn2Rh59tfD/F8inDb01Pzn4tJad4WHLOwjsREEXyjpiekZTTk1Uv91zDkgTFYVXTu9e+MacF7yJIxzwOpls+UN5yYCLYCGDjvBp6bXXGeoOZfr6no6ipr7D4liP7hz1aSyXGW1J061NlLWn9uEUKF0PaH3iHd4c2tou8/rENfwiTDGzokU4s4YE/UyWWuT56YFTESpSykSzKXDczitE4MeuecA9DCmS4Y88a1qaJYnzZM5g0IUb9vUf7XXY64yduXDS3BMWv0fzDaXorN/XzjtVfn2FRErb4Iqd0VmdVKft6ARViRkYqlbElVgWpqerjbcqXEbLwReRJuSChEwIJU2ZOVsoTHnjEyeb0bYfWwJ9tp/eqjH8mjcmxc0gebQ2i1LWMmqi9avUKFs4YlECr2sr57u9sdo20ideKhDAnd6M733fV6i1TBJPZVuc1V3m1T2pIqjLKRncml8cl0o8StaV25egOmTrgSvaAzmfqvh2KVJpzVAnwTPPkTkzd9vlrzY3dRXLqDs4nt2qX1eTmzinIx4rDuv0z76dmh2L/V2W0Gw5go/cBIdz4qeP5LfE/66oGnmTDq+1MGvdVu5Pu3s0kzsfNzrFfLgTFLvoMvxIVSYvxhiZNw5sKUOKS6JcTXrpAM/2vb0SRIRful/kobfDnYxEJHBQo+RLMF33ManNcjLtUzb4mR7EoXSIcO2vbJY2FO8LyhpFEusy11wlLAvxCy5TIFDeG3wss72uM66iFcVEjHdQzv6t6l4OUdngnBwQGtastWD5yV00+vCw5VOrcKXHqBc2Qpsg6bE5lwVqfFcLaIg2zUVN9mUXqyw09JVT9G59aC7HdjmcpJ9o2fzm9xO0x6NzVwmjdyOWAlusWqCDYIbXoSMqPbQErIWmNYQuEofUyHruFdTm6R1OJZlFktPc101H5D0DBH58zOS0pGu98WIKcjlxQepSpS8qz8yAqh1V9awDrhpsRwLlIemBsuICcatRjqkRYcd1I6RHPjptdsmYDG+QP4xaF2+YL0ewH82pwdEYzU9bdQAWaPnXf7wTlk7mOqQTVW+U4A5Nki0Q8zuY13JlRsRxKxIhorUqlfn/8W2BDWPEe+jki/TRxE5gx2y3Tv0bvHP49hYM7YlwUvRYs7Z0m5ZW39dJZANKpm04EVsW+vmVyUTq0y/C6OCXNU+yjbE8vjUWFbe0yk1UiBMCxFA8xyBqtSD3ijERVa+27R81AYtR4MqE0L2NwP4knv3YIIG9DHBF3ey3A/ueGhZMr0W7HcPz3DJFH9EDyGRzt1DTyAVDqHMm1lMrvsqTvUfvwDywB+SCQm2FWgYHA5Gv/DIxj0j/BhwI3ZJQd4dARmN9+3Cn/0S/jo8Z1boi7HuYaTMB+5uJ5lEOkvdTC9Hd7WtOd4M7gi39uenZSFnewiXe8YmJ4r9KafJ0/UdhrLarWG8Ngd+9d5JOt3EXpruZkSnHhOxqLGdRNDW9+nmwViMqrmIpc8MHu9DpAeK5CMQ7Csf4em+WVvjfD3G4IUlY7wLFO/8o6itpg945TLlgTmUSrddM8f28oQD2Z9U4KcNCpoQm2XhILVGzih5v2hRo1f5TNgaGzxJrZfSwCaQ6f4utFPFMAP02jS4nAoZ+Ja3QU9fsA+w0hUQE6cIg4aC8j1zy1BRfJQMYFI9lPpAefoAOjQT7vi7A5/ICC1Ve3do43bZ7ERmVyUw67zvTZVTuwHB0pVPIhKqBS7NfSK5EZaZDdUDQcpH4VnkyndkO8SRcWxDvtt1dDTY2GN/4nuqLfyfKpAMByAoL2wM7eNSMWUy+unZO91OXVe8RI2V0J8KUP+krex0FP+iU/R4qg+vRcItYPYy2wHsxA9GcjCVJSysse+dDmVAwUeJcc/EFmJAeqnM5/ZrNg+Dcc/xnTO+oUCzt74rEO1UYcgz7iir/TdfdNVTLQX43NYEAwyfnM6mRzxVQUCc9aIKg46grzOf74d5GBm3+Siod6ExFdc+gwRZHTTj0UMpvefHuvz0ZOK6hcY8Ns4oXRF8UaocOpIPaHC8d83SfHe9hUgD5DLSIGyw6dZDclXYnrRHKkWH15V9a0U7ae5OyCM95GZkonD0l130YzkBJH8bdHlUXYqW4pvGOi4MgfD0DvFwPIJIqwE2TUymwBRH5vucmgV7l1LQQOeAesZqI7iaTR9uLPhDEf2ov3aD9g69XCuDq8xyWaMMFdBTPJTfbA4IWJLhZ5NKTpyD2kinC9bBeWPUg4Qu4BQn+ZOLaNJoiqF3mZOpBC691mWzXYApJvrgYjqU52/fMKUB46B7A7hajQX+W2UJDwdhgE9BmrTOGLg/YQM0eZLHd3WBt7971AH+9rNXgeN0Ukdr1aaQ/YGn/rmGUf86zZoKSzMigO3gitDbhdvfQgDABnT3II5JYSR58ZGJ9521Bqon4yFIbnn2LVRFwWc/pdHuDF9aQcJvpWCbD3p658CVNwQnXba8uUWAnatJmIiY0XpgHrtIHd45UxXjJvufjUyzbyrUIvVOvk+bCCRHSX9VYe5x/xmsr3s4XridrthNvNiRimkSXSIhvXQCMPlf0hVn8G4BNkEHJtjXAWSqlN0QcoXkFPv+9T4Izmgnk8z/5zcUuTBnv0isld3+A2Cl9KCz6RJRsbduf58UDi825do3JleX0NhBB7CzwjEo6kaoLelJPGYxMB7Yg5BQINRk2fk/vixI64x1gkehaEl7X5YYcNBhC716UykiCucZyuJtWWuayN9qYq37VFfkenUWV6f6utVAXZM0L/y6k/fFOcUl56C1U8E8HkywPdND3pcKf+A95HU9IAx1pHlgtG7JoUdoRsbRkP56z9QJlX0kqATrd124bY/wwg5FYn4tPjI5i1OaCea0VKZB2toOyw2eiWPkHrCzdLEkfRcT4qth3qjbY1pwLFuPMVqnlNsFNl3sYKDsvpDK9Q1LKoDjUJ8rHYNhsaoy14HMDN6jJVlAyOs+16+fkjkW7Uk8YpR5qPGSp1rSGS+zswVYdQjRTp9tR0m9RmmEAeeXLLVzsdA+V0WTb8WTk9hxwukcl+MZkvECUdw/Dn1WObYTXfWphXg7/8rwjThOfgWjuutAwDEzO7imBT6DY5hC9B86Rna81TLHH47JfOOw+mhyEenIvNdszn+9KwYJlUar/st9VXUrmQod4fE43kBwDilQyYffPxHnDV/Bhk/X3EA2RNSxT5cD9exgUoKlLPLriNLcSdUrUYx3g37R+ZRH2X/mtsSER3JkqOCUUcsgPUE8bcxCFYQYj6fzSzGsx41pt6EsS0YSpo56nbAXvtAb9BmwiQQUm8+QcRKmnRZ+I+sUz6G0r0yqO5RrDrUVRD6bjIUEOAOdO3jROtnU293sXP6mu3GiFRV/OPrOzTqa4n0sK1y+tLCq3iAKyu1FyTX7TZx5RKhqaLAwSUuenkOWwnbqQdkr8HvPiQJAiIYGXC0BZV8LfQCc92QA4Yeb/9tkV6vsqBqjJrfbRKCtmLasHgkc6x7foIxR6BXKJF4c1aITy6sAQvMx/Z5QnuWPl52RzPCq3/MKOFFm1jiioTxg74ubQh6SLFpPJzVlWudz4JFlcDzMlX25K/b6OcW8d91d3vrCN+oua3Bka8+fX1XJ/Jcj+Ox51aF693dnpnR0pek6eWp6+KCKywXKX2oX1wHa7qChtLdkLRT2noKyqAXFnPsua11O9HtwM8qPE5hllMOVbIZjJDMLr1oFqzdpCtq0LLLt5V0w9UI+EMbmBjljJfBTWRgJO4w2h0APbzNP7ruhf8l5EarkjyeOn9LybPGxOeuibmOx5oD/1MJkrPBRPIPyLRWlQkAJNoOLRYLptUkZEgFIp0BaLE9v1pMX14GzoZfnyTeWSn+uOxdxydwn+WsFZiOc3AnkoeYi4Zdz+WMHC1I/WqjPSjuvksFhVMlZfR3lrJnYWQ0EEvT8ZmUiZbTc7lmrBRB8fKEZQQZF6JqdTLwEQryZQks9HuAEcc4h3nUlWdQ6GBEN+02W+2bypOcL8en/w39vt8wt1zQyl8C+LWlcC3O7twjtLQS19csRaJ70DfUPvthPwYCBIc8qDeUWh4yyGxM/teZixYAS2sewStdnZAz18z//YMqFb3cCuw661c79cuP7EUIaZ9/y/1FQBMP0aebr1CNp0RwRnviwmPLP1ss3oKH3/0jSYzkz/gmWjWZbdf7KZYt6pxmRJbDaUV3ViUKIlYqTNZEUaGuI2rryR1x5EcgC1/zXgCTqQzaDbfCd0toavRllIXXOPN1xF850IzfonXBncHODk2AATDDkeG98rsc5hyzx8/aNjvfTU4LvX0ykhRwu1uq7tYxyndtMdo746MnnTJ2VL3GpMuDn7GigyoUt+4lb83I8/oNeayZnWdqwhcIG1jygeL0ot8BwVtbdhKIBtO1ePw4A3GynwrVykqRMEv/fDWQ+7cDnI9WaOQ6Ud/BEC6z0KZ97FUbLNk0A5HCU7qP3GurAv21lB4+yBOsFL7Ac4immt5s/vpsZWtKSE+CMkqUw5LIQHFuAd+9sN+8QKo+FHV8YHufIUTY4WnutcLSSQH0OlsGad1bZB6WHpV6rK0mr9SRMvX32kzqiHZPTAewFESP/8liIkjs33fTvlUJ7QR7nQqlcvErrb18hc+53SOVwMOFAljwizY9bQIP/s8j64r4Sf1jYHmE54xIX80bzp0jqZQ4k+f4/37TqmURzFvEnGexzlW6V8naB8gCEW/dwoiS5wU1uADNDQFnQPtEjvSZDLq4Li/6327eoaGvOq5vW/30+kl9+OQWP+xYFCRQxtjENc9NCnVIoZWxjhRCHpRDdxK/uNoGXiPshf1vkeTvp98DHLdPyRFqcEuvpGX0Kowot6dAJXSwJAXu3F/VGXwkNNOdeYXQA7zUF7MC7RsV3fj1grXVH0W3E51he2aQhxZL4YFZiMFh5HDRKeViIVwBFIiEykKYOTEytXGui+Uzz9MRWOz1lIrr35aVbQ88kCRqpAhuW3UHLJHiJZI1Ro70yEbpa/ryRnIvKy6jUr0RX9SZvSXGR05kg3/QQtqQnRl+3YjNID/5gsP4KPMBbWZnJychSghTM69SL6ErAnGnitjGhUv+74rt0+kejx5sCsJnvTSsJEvXTH6O4Wzh9BglCsI/X5is5TRZe4z1uY4RhfMGDb2StdcFVZaNiX91LYTj1eFonl1PGutLGQKggniB8AcZxcsvgizAOSnokVbagX4GZlKvQUkAxXkphW6LOgWgyBh1XF3xVlBhoCb42RjOKNsT4wrPGJepaHuPZ16OO9GVQv7wR/AjSsSTMSjmQIYjAZLyKfZu9dLyYKoGXvR92L/bJM1T84FGLrEiylk+wMnRqEUPhqKtK7IP8gVNFzfx1FerHgi51qC239/nnLtuxnk1DNN4/DEnDHLCwF3fMJ7Yobn5vz03Rrx0Zpq45BvAEVD8yCoCH/YknwKcdNx9t6kaH+izoYl2Kd04hkfD8YcgnY3XOCo91dNMP4O0gUXJukXW9/C5TqWTL83hDm65ErW2lvX78t0Ocnwat0C3Q7zJJBU4IPFYaqn/BsVGy5/2/8jzIKGO3TkFWO5OxE6Xk64EAUAh2/IYJ6BWlSrXR6pDuX++yI4bCGnw7b6DY8h2QJJ0kXBDC99oGaITMjhFtmq16og2JE6zXKgWwU674U8HPItFUAdt6cXWWV2T3PI5GtWllf0QKTQE2Tb+yosEcwHTzCYkxAMaXKVyVGcdoJmIMhPAkTJxKKqXzA8L9pL7bd1Ii0Z6pBTCjn7oumYd4TjlpJM5q3udkrGIibH6QdzwkrxoJIlAq0B27pZcw+ZzREikeAm5mHnjwFIhgG3uchHb+5TYpfhEqkSaR/yKsAtF5jsKSk7EtHM5zdMV7jIpa/8I733NJ0+92G/XjQMRdR4EntuzS4lDqWJHGaoI1i/4cbxI6N+ch80Pm+VTRV0QNgHeg9EdON8HlVcQ0D1Lf+EX6FW6J4Wsna7f100NdYmbA76UO89FkYufc84kGrmmullHf0M4uYa5qSyTlGgrUzWeW1aZWT1jTMFLtE8o77Rf5ykFFleFzRkyokeVXy4Bs/b+CwxEgRNJxWQ62JA01EOUfdOckWNQaBDq3gOYfsKFTs1tiSsLXm0NhEpCF14O4sZsdN+QDd27MvdxqcYMZV1G3oFv1NoDehJxYO5qq8i6wCl/pDrax3KFwnqvzJ2j+v8DBS2ihTvYqZRaZ/Ojl3ekmQYBcOrA8juAMei0a3c1OMqhEr6h69/tlCymhpF1YtcOkJDbnBPmm+SO+QJ7IWaW/XwcUoJuXXZHsE0z3PaDoAiEv0uG6knjO0l0SgHCdrc78odV1OXmy+s2aPBd/SOlQX50p6LmcdCUX7M7dqpLOx18IGZNlTAsvO9oo2yNTJwexGE11DgGJmIuoWYaBJfOHkwwXObHDBeiP1YD0If/ialg5gwuw2g7kbYTcqCwqfOqyu4w03mnFhc/n7XN1QFTJaskUfjQMzRLN/TDjXkKWuC8fXiZLm2aWYUiFhqC4As91PFnJ4DO/Ss+PsjPP9R4uBJckwQXxrM+GaFk/yh7gTPH2BXFM5CL77541t/Arm5eMF+VBNNX2JdHosaBGZzkM/myDgUCQq/qBZLB/NGwD4MUHeSMkuiy5CRBPo6Ycpgy39VEVj1wOqhiFw99ktHKWIgJTuVwcDdBvjdO8PA4wvKB6uvuhuaxXOtfHhtuQOQVZj8gbDrl6Ok8VCEfx5qiWtexHGGAyrOz9JyJ78Ef24IE7DHTMFW4wXuy31bXOa4vHmIdmxFGURzgEToxO+As6JTkOmlrq9wkclEWP2uaH/ikzKORZP9wwaiFxI8wJYGZ8DRh6VcnL+Ya/dFVZL3/SusrOjFX5vIHHOxX7E++IYhZ3gYAir3qCIo3CnBJy0+jJNt7ERB2Uw3MQFt+cbayar3OJ2b+h4FwLG04a9OY11krMwe5ywgdZ0FazslqtFruhk4zEYaKOOjFQ2XuN02y0Ex644TjkIqFwPSB6m/GomgqpxiwGDK3GOjWyoephU0GLJ4KxKbyzxgwhFtLbpbyGo3PLU5sCqRmuy5iVRiJp85xyqgfl9KAs3m8B1b9uU/EXbvimUhfQPQYbiBWuBRyxjJuTbiWsTdqvrdlzGG9R+mphqc/wuCQkzJVBAaXI4+FUd0lI5IStGq71Y0iguZWldq1YkhpOrl/AYbXQxYhcOdC1cNn4ImxDayle6dRSTJRA3LVVPsNr+MDtYHtE9G0SyEyyQy23L04vWxmkjLdcL5Y3qKuFQuw7b9zKjtmnK/4Frr1DXLqqcnv0ZXQa4FmTbaGai/tXhOSXv6fm6XvfFflzlZh4ktjm1vcSU9krWpDOeBM1G5Fm9g55kekTZ0MoEeUbJO5+/ondWT5Wug4zk5dm7yFVIG5wje3exhe4CiBi8u2v9iO0Ctu2KDaf7lwdb5AK8TYStWxYWBsBPPeWLTX+PGeIbazjJEZMFKFvYlVJ8x2u2t7gPaIYIqYlzep9BQUCny63Se1ln7N+ZVP1qAdq6ANUUtWw2Qlpoj6zYUZGtnY4ZRxQ7RGbjqaFTbrO0mua8Wmi+AYDjJKkfOhamjL/pum14JMB9WhNOVqArHGGkIzbl38eF12uJMhOWsio5Z0B3E7d/gZ+WKDIR2wb1WIx9m+SFeToJzh0Hclh0kVAieMQkp9f8e4md+TnKOVKwt6hHZ4NV7+y0EXCd08cXGiSbGX4zD+DQwDl25tpHvEH+p7XMNLMfjCNTnr6Q67YAS7/V0uzcWLDK7fLzRLiy7L4DF1VR0nI1mQMOTdT+LS5qdlMI3cYxj8oh+1KW+UZN03ZuuuEiCXoy1eX4InmlLtBuomPylecFuR6KFbiVOhJx0scFqCeTcNF0utauUKm5v0SRYz+pb3E2MEjC7wcJWAy6KhXiE9eZa9voHTYSlJKZy5Y3ivBIgO2YJZUOhj5XIzbyTL/ksyXweBJntKWlwMvyLXg3XH4DNCN8wwtwWNemAP/iTHmr/VdgYK09cIcCIHkDQ7dR8cXw/XTa31IukFsSAdIkezzEXee14IdFqzYUu3qCm4LPM5mRJ2pSFrzdToYgKjpMUf5BOUCVhnqMpM/Rym33492YVqEzobEFF4jSzc1WudBB1cQMpxgcO4okczLEEQSYMfaTP+SEe7aeAswvv1C2UEalR3NxSfInka+6hX8u6zhYfEjb41z+RwcLOCj1nI42VGKne0ggezP27OObwFu8gNVytnH9J3sgHGqdRsHqvbKSo9bw7sgCDQ7JR1lJdVjj5Ufy8e81R2T5eqUD3dPjiE4plG7KCI7Kr56k80BpLFzaLpXg3r7XLGTxeqoUtqVHbwqJoxuZpxVbrwyzYXznoZmyrm2miMEMxZ7DepwFZlT6XdnCtDvaZc2wijWgk2U/SSvJK10myZ+FmFPm0OOoNSNsw9r4bUM4OYeJXnkofK8fqoyTNg6TRz4hyFEg+Askus49GurrIw5wurnH5PEAiKLyO6u5uAdQJ/3HxVhWgWrQwU38IWBqFsN+sbGvocE1CG++REr64j1Wnm7k/LJfIXJutyDL4a7Dj7xKs7Q74zS9uihwDoyKaruDWDHmsF+WVUw3Q/MmFRAp2kZk66uUQeOZZo6Xm2THENA6yhQKk23BTEhDnyCX6/Wprdq++s7dbcmDL19K/J56FEJVSJCsGo90kQufkVS4KX4ZUctFARom843xtkNU3KMjgIbUila7SS+7ClZi1bqZxxWcjdDWAms6TNDl1O0EyzGq1aN20vViH0GjAlp47QFHs1S7gtcYN5lCXogHBzTM0tqxgH054701MviNpw2FV7CF87fS9KDYZ7yWk6UBJhUAN56Buh2A+GOY9BCA6U7ycjk8KBx+65exEqbjw8bmNCO6N4IQjqx2rdnSUWAhjFDqHYGwLCfRk6s5ABvcmJD5YmHOfyE7NMEflMbjNq3jxQTymtLzToDX/bFEJ5NhAAtEXMK55btu54KVDuVDEXsSku1cCwNshNHi9IQiaspzgKZU/ievtpgDeiroboaDAV9qNBa8556sNdi4A1zP0PxMcw1ZCo9dp/FivI+PQu9BcaXI0RiUTzuMq/FMaC9+xj8CiXzdwcQ1ZCjc0XqoBV0n8S4fIj0yYBpu6p4DeH7CC1tCdOfm5PoneTPtZG0PCHD5Wl7eGnzKnRGvwtAHdLY/q8qLs9UIX7f5ynQ6KvKxhoLIMOpavwb6no4bBqdztGwQDAVyHcmbgfzqklZIhu4ImkmmnqZNspsSwPyTsyMVdLAnJTLDwvj0ZTvl8o0jwJ6MFwmTUTsmpzrK2DN7nAXjfsUzq6tBIe9zluAEGfavbpmtX+DBO5jawsn95Jx7624fDrTIeP92DGIi+OHL4vc18D/u628Ur2PVyC9Ces8l0aKhzugQKEBWsuNKf8MZgfuXtWYDeiVFbalM900f16Mv4eB1nH52I/maf7H53l6KPteeHDnzgvixWWthCk2/g5Cf2TTQqrlu3s963zl2FZcUjPhbXB4GekpPZqq+iY4NhFT4kTvm84G0QlQ6QV8ag6X+u4ubAeo+mlj/JPqraxMxFKojg3aHkAc1l99FG7UtFBTOpla3kWzGqJIw2CBSgY179Y3lDpKIZXAZ6KyTOzIjnoIRFMNAu3dWP6rnQuAgWCE91otGGw0gdgrIWUjR39LlGyKms1yzETF7LSAQr+bFqDg581gknL8QpAklp23q9qcWHHnV+x2JC+5yGnzOR/y5XB2hgnzgpMsn5w937LQFuLUbu+YIGeggKrQyjfuGlXbI1uSaU5EGKRxJ4alGFcmFhOJ+xwWZ5+DGaJQtlSZMQNSSppL2HSiU4RgtcO7XBgTRcp2W3m0N2YqDBPrxnfZQH6YKFQo1kDj0xaoEGEHVnILl4IJfY7QjVq3dbi7JE3tCsabvpKtBaFbrGSVdnwLRbJ5yqLMCp2IGGWD22Y+0+Q8yR+sx0FwczEAutiTHF/z4BTuCnHCU/sMsUyBdk4s0bCh56oxi/zVsc6p1lnuRKZd3zfmeBDhu35zm08D7gpZWuS6aw2yIh6g+WlHHoFZWpAeaS3mC4lZ1DEbzmDLQ8ItTBWdW9SOOcM6uuYu/aoInK1fK990kRctTSHP0gDk6FCu8y0iqLWTLZkHBnKOlpeGibzkqN9VPrGC+h/FMd9wUmKYFgubD6UJXKqCKEQSkcnCzqXtRfPq4JMBbsXqGYFUWEttNR+dyY11cta11uy4BA8gufQ8JWc8HdH1DfBEjfGJtQC/OYkFtXZvuoPNRpADribprHWc+bo1UWnyhZatUrfCxPjIRX9zqP49dootMD/KkT6yGPml5icv7oVXv769xaSD28FOMRYf6KNFfMR/CWQW2DXmWmx//HWTOabDH9k9qMK1ELagsSdGtawHMsf3eh2cR5KX3gDfcWYFJHFphAz/A8zzEZxZu46AXWu1vIs3t+PYdP9hq/PVv3HgX7cxcfRTExElrsC9tqKx+VGFZv/mwcwThU7J4fSvTl2U7aYg9xq7OR/d7vvhwa/zBRrXAJpOFace1gVp73Z/mjZ9/VdVuwsuBqB/zg2lDf+qFwQ+5bRBrQ3H+EbhwjEj8hdvHm5q/xp1t3EBiwAixg7Cvej/oyyoEzdTMhFC+b1EL9Ik00Qc96LucfFuvxTNy86STEjNwmbb/CWJRqlL5bLJk3uFpSlURMlEFD3zX/ddOWcfGbFV4s0nGZU8gLj2YlHZuhB2hmzVVrIrUDIwLn2j/ugR6Ubsk+W9IOEojgOLCVVI8CYWWWpcg0NQIhZ7/d393qEojPVLcWZ6XkUeN2hNrsJiX33YRXg6Zg81JE/TJqwsw8hTWzc1HqLWdYSbqM6/oPLolghcvsCOOIRHPcmqTMYHLFYAXkRZkSHGxoLlfehwXjp7Swp2i3xORUpMUfHIM9mhRHg33tFWXWB3EpFj+6TKIED3Ovzhxe/9oj+D0PdW4XIKDIAdSQwLt6VIsoGF/2yumTH3FHm7BNPr0nm2oLOhn56NK4X7DjazObmFTyatUdr0ZuZpMyWdOQsQNb/JDaEmP+nDLQNLMfUic1reSzj0x2lYgJJMWKZFV0He0oNr+FaAnOyB1g8HAYV5w5iFnTFSNheH7qwLSEvvXEET5Vsr1W5sqcrDbBueXmFl7aHqev3enYv3g6CK5x+BfsyzgGBoukw6HOAlllz68gq6a9B9FkJiqBSRu2o+jbsDLWXUBBCWHAjwFwIAAibnKVbKBXiDOgoVqjVYO2DP843LKbpDM8RE7p56CNlM7GEYtKPlg3sYuoy6m6HLn94+ya6necBzaAjcBnEytO8AwU7D1xPaixfiVBXJKa5lX0s6oP6B3NGrVNu3O6NxbZCl9LgqgRtgFPk0ircvn6lftuqw54lAHg/nOqdhYwA4CLi5xK/ye6gRv3RiSeJokw1iJq0wTd+7HOlqPGX5o89ldyJMCh2/Uj/w/3X7NPxXJKVz/RXj5QzokXdOM6NrxN6V2I9JBOSm2vwBH269b6ohBUbUapU/jlym5mCQAVQV+JZF7ZqOfrDeQrypcFR3rIjIt9c41HeoIhqt9Nfv/+3YXFMoFvdpN2ewTSgKaeFE9opk3Edgru59eER3j0PZz+nZaPnI006G92Bl/5z9KtoZyY8Bzy5rM9ZjvzMsFvOWvcPWnBlfxgdUjljq+05yuafMQq6XpZd41Ph7M1XhbXku9hMN42DmiBb47eZRbXLm+DUcx+XJ7+8wBppVFnfNjsq7mNTh9dxcFHC+O6hK540Zjg9bXWM99qrN8uhY5KpDNTU8JOsJVymbaeyXkzzdOfYH9q4nqjO3nGBp8uLLOFA1v8TgNyniqdTGMk5ILHVwZ70XRxZoIvuME4sxEK/hcFLPLN4+kQmUW0x+VoKs3NfUJSiEzsQKQu5MNn9w0ZHvU3C9+j31u/iqGpwOhCsfkr+/HqE3chOVV/HX4nEZvcFz3IcLEj8Ict5sqIqfR/yU7O3CX5XQFdngi9YScfOvNZigle7NjtlTznLQBQyTmEvj8ZjuTS0QedU/Jh7LW6FRsmySLFkuc0Nmra55okvM0xO1RA1QLiHRAds6F5WeGxU8BIIZ+JL4hoLkOevZ0d9WSLk2SunXao1DqhFClX1qCrledfCzQ7xYyHOaqE+WWiupvcsmcavm/qsvXtUONe7wa/n3FVhUTFImDhvUo51lOS6VecnGS8zPdfvY6qS2GOsY41mH7iMswdJ9/ZYYJqz4+ewEr/hWkl/zIvDZFE5T2B/jgpiDE5Bg522tonpprnrdLqmRl3g6utBNgMrXtzBmulRA8VSzNdUYSx8SwszQl5Bl4f5g08LrC+wFWGQ4OG4ro1tkfRnJ2hk1gAYJgHQ2EXgwc3Znlb+cxkFyZGgkgia0zSRGYzr76FQZIYTu8aMqPDAIlGZhgiq0AVhwZN3HziY8ruUXWiMc/NsI/qXxtX6AbUkTmypDwCUTsK/4DKzrdGe7DhJ+8vTP2cFJfLYmPUBGvc0K8zDt0jZA/uPNGHQMABtaPvpML8mVvrb23Hyowu8m/JOWhez9O7NmSLnXT3PWnC9WGMkTf9YSuikNaKBC594Yfc3QHa0zhvSfBvmfoJRt6hqZABzInhxk11Dfzft+WCcjugUHWaZMLu046vDjImbuap/oNm98fsqcWj5N0Wq4cA6CeBRBGf3Cl5iNMqruiDscRkCYz+8sVbU7PAddgwEaoYkN7op/oUUM21jtfoZVkcb2Q8CDuJHhbPqil/pnbSXF5KCBFHy57lkJVQA6cAF4EwDILwnT9wjrxoc7l/ksh7rvLuJBWVlK8beHGllTFtgVfLrLMlBuHkXyUG+IPc8FC4wM0EP8iD0XMU10MusYZBrQ2Oc8BWlqS/OZHxLoSS38S+GLSpJXzZsTAsauJWrtfIIBsVPe7G4JmMBcNlCk/Bj9FU5Y9Kt4IYsoutw0yEU0rnTZ5WybBJRbaiiT8F3mDmDDs/pxaqbUdCaXRUoQoaBHtlDE870JZ1VFKGn04+oHzn6PBJ6l8SEAAxThaBJu6bDnzND5JMRjpt3shohPYJFZdHOIpdnjvhTMG0cxuKbvI5eVP6x/e1Ltw3uptCfwtqJGHK8rnu4ejr/HTvRx6b2lGTlIs3/r46IFjJ5aZT4kpN1Atd0wrLuKQBE/LOYHoHgA+MInn67d+7696cCffB5H7BVgr8AmlI5fo07DUHJPTYnqjyk8tSW/DWsnxyWgL94FylGdSdpU6pFJfNuoNjrPvWlRztTmCKxmbWmVfsBX/RQ9eDwcJK4PgRV3yxkhOw7WV4ENiF4Bq7q51soufc9uPQecoaFaKCICPkMBlcaVlKAU8svuNsoTrjqE8jPS89FYQ2GFGRoRxF2nuzRprr3PVfWpk8gnyMiRHOk08HqTthU3Ky5CKKNP4wmw0/uQu8G+YYf0I15afEbYbYPIq94NYMLbM+wNi2SOJu5PtmmjXtnTXMpT+cRj7a/2IUCIxqXkHegU3tpIORxLBsAQMLZCu+cucsBypxOSdn68G65hLfuYKnB+pugTxiVwJApMW8241+d/JHJ9BN8TOjkxt3wPZn+4sPD3lGXj6EVUP+Zf2+V0CZDg+gNbSDL2/5xDDyTr3U+EWbgWb68GntVSLc55jqgI2MnU1xAjkw5OCgC0gn3Ja4+IHvPRPJcvubh1XZi6ILYASUG9ZeicTRDRsW9sx9viGgR5Ac31Qd0Lf18oYRIHSKvPQ+aYpB2GtW5WGn5c7J8QjSCwhTbKYR0JfbWFmGB7gcQfSmxd9H43oYc0A+m582/9n/8FvNr31J9CukUmYy3B1dWIiczxQchMqt2TPyITpq4eq4EoIy6PpYdd/pJ26NYmM5xVy7EL/vFYFEaedqlyH5Pujf6w7hYtaeaieq1ev+FHYJDzi2E1PKK2VEbY2fAmhGhRFLgj3SFRM3aSQ5Fw8dVP5nK9Mh6ENVGRa/UmT6ZeoKi7pJqzmd0i9rbRz2Y96om63MhuRg8EMXo2dw4/csr83701wRICyf+qL8A1fZtycJO1DbHCJVqZRYx9XPfTKh9cgpFyYyl/yA69OcNp8oleHaYKnUJJ4NQ+UJGCrFk1MDnUsiiHVWuQwVv9kJY1zb/JjcirQCTagUSJZVknh+MIAFk/dYYT7eAd/dg/cm034wfgyAEMMQoo14a5IV2DP3Z32Cu6T8Wq8zLUnPkzwTphpWiwS/WyuySY1Z42jyCKAOAxs7uBcCMANgSrqv75QVApQfSP1UV002nBOlaKEtXqwf3IhbjagnBhiGvK8myz06TD9ENpSr7GqXssLIOeBqIYokukiPbOHqrz2zy3OzrdVwPCd2tlW7/xJqkF7v6HosARuzdPjSxI0TBippUYtuRy4XNyLzNrGHqb8+9kYQS4yvKU5lbEvKtjm17U8zV+iwBeDz+j80l+F41vl7XoT6kXXgrs2LcvADnVbqQuwBJZkSwHuBI6y3+yAQ6e9Kja+9UeS1z+AzjgjtTvMFhgHOtzDlxXKsDBB8LmebdL46Zx95n3WN9EnuBPhlXWbXkIaqpRFTygweWk50CgZitN1zOyIt14+mB4XPwb6ILM4Flie2Mg1stf7+heid92+PXDD7k5xdkYj8eYcODXcRaY3OfLG6I1DrTZYUFR9zE4VH+6jYh9W/fMzzr4Z9RYnkcjgS7J4SF8vk6KPRHov/h0qkot9fQibyG4gWDSEaE+CSFj8lmCYLuWFuWslCxZSSaxPN+CIO2xtIzURblE6M2s6J/+BSI4OMRgFCm9R1TtGkTht4C435hPoU0uVdQCNCeAX4GNg8qWIwcrocEh5eFcX0aD8oL/gFQNAszfQNbA6zbqU/TXA3H4Wvkd8ZwFi8tSZfVTmhA82oucz1PvhAQ1OCfk1IWVk0BAgbaCoyIGK2kwev1vEQR8JqLj5gmbba+5AcVsDu4iI9rB3mSAgftNsicAhaX1pGWS1HJEgsZTO0skM5zQNTWDolvju4RUHqNuqamHWD5ILWjtp7WBcwZK+W20fk5IjEvWywsmsu64jQsViEH1bVqwbR3ms1i7XGXNwnSA9L3rXzu/b+VitsWbIXZ6DYvOQy7J1oBrHDnNhe2pvNlEkELZHhT+4w4aU8XsKNsJ/okXLS9Fp/ZrhdMwgMjj4ubAqDms4BcRZBPRZDaLAktWbfAGJ5qD9qBx2zBONfQn7wEnnhuk0Bhzm1hAPWySV2aMVcZb5/8BYdkqbJq2/QP15fMEcMH5iraek+atJTtpUck+J9niVZi6aWn+9hDU7+c4EfstePnlMQI4jqJwti+YQtrkEIaPSoX5dv5pAYkQFXMh+lZ3RZxK5+sszpS40J4WN9BSaAftyPgH9oyB2RyGG/8CLTJHrLQwtemZen4y0NIZ+gSgzpCAjMDfvKFGLKF6Av8uhYEZFWxz1btmQxk0tbegamGiqvlEElNAosfBTQVrvsFysP6D6RbhZdpst2ORVPFlQy1YY7ZjFbm/NxBC9azr8p3T9tnqglSdTxYUHHTBhs/BaJwc3KBJsqKXMJ/9ef1Bh1mY78OGm1S6EDG28ccAPTeKNWl0dwenfeRuWEcitpauvMc2297rqYpcS0reCdpXOwoHWo1gIdgHDhS86TlLRZ29K40fjM6vIYUCvzwerICak/EVRqX5Q7jydeplbahl8XxUMaTD7pmvdBsXPmcJcnV8yE7dK9yYWVnZiq6n5j05u3dc1VCt3O7itohMzqvyqkZqspVZXAp2vvOOLavri61fWbdm9gTaSF0FxUoFMCBZmHctmlBAUE7p9IbI3oiX9uun7sqT/JPOvJjscfUhwNLK4Mm2V6CBrJjnphxNl9brHIP12owBV2SptDAi6wMGjxiCMf6if43nz0Et3nE5/0HXTTnaCc2rLSdkdgyBcpiUwUOI79DbfuSKB6WsqHoLZjdZwbvVBk3tndJm4bFadVD8pqO2Mp4IsbMulnJwtNBH0Xk3I/TiJL73AyJR/NYCBp4Jtj/ACe4LcU6lEZLoH+QvSqU0JswLu14/Gx9C6b0WlJLZJcm5mz5w63k56l8cNSsgT75qk5aawgIW6npRTCTzcgNVb4RE/koJSgwiHT0gaB2ad+E4whI1Aw59sBBug2ZxLk8+r4M7zrX8tFG5+E/1pNbymkRn0Nj3LIiWkrXsxcgVohQgWGlc+v4TT5AWbgjrs3TocQwA+dfePfDdqSwKe8NjUqHE9ksZMKeMNNc3ME4AorU1yDiuUim7KP/aFNA0VKLMYxG6DU/ybwdA8QKxjH14bQ4F4o+HA4XT2rdHgm52TnyNVRN7EAHyc0HPl8fbJGhzZ406Jp2f44oIASM1iV2Fyr0t6Ii4adJxGc3y0DIo4T3PQGHm5uoJlydmqicIIlDREwMyh3XbdzMhO7WfO8nkoCgwApZNrgGZBSLCgnCbHzd9UMhjeZuhAvJXkPxBK2U+LanXFxENdh7r6lPPbqispLFX/6oF5+Wld4r5S3L2+uQlahQivHxkCMiolPrb8B9Oa5vWpx1bdLXJnIRUE05ID8hFb5zASqzHCv30rNYySBkwS72pSXxEfvv0SHtazvcup7WF+P5Hah8hOmQEmfOOAfa7fi/zwfYXQTZXW3PLdmrGKhYK3i7VmJ05ydhewWyt3YEK3ipTzTgBx7hPQZZRpyTVRPZOk5CzdTEp+OV3aCWSFJCE2nAkJ+G6j6u80fSUSXqJNiUsnQ8vBBPeZlGhxrOLw13yrRncJwjsBL29WCL8v8nprzh89FgFT9H3dqrwyPlrGp2tmtT9JXh72cmYKXtiZHqI2seyJ+riK7N+CE1HlWD/Ia43e50o5FO6BRCExeLX5Psh5RxIqzm65OWg98Ay/fiLvEuDAuNnjM8a8G8Lnu62CylPg1xk3WXPSAZL/bA3zQSIwgZfN3ba7uuecbUc8tcUTmXv5Nzfx1ZPsRYky/voQV14PeJpyrEay7lX0o/O6zvPzUb7kSoZbs7iIyF2nTtbVU+6qTKrXWcl8euF+0oYhcM3IFttD+DBn/sRxr+Qof6vG/pqVK949Pacm82SttforOcfkUy3/u/t84wRqi4srhM11xeKhHM6jW217FHgCWtF6LiORUba08d3rMHo+0yH+yAzieLNRvz2y3HbT83veEDUUnvdbv1mPSgo5+6OPnHqPUWiCLCMTP4GQ5gtwtWN3GkKdsRJyTJrhuxS+oDjWrEiE7pGdIwhIUooAZjHHx0DQwZLDi9Y44CU8SXPhj3cFKGgtMjSitZtuY/0BG1y7ndNcazawaZvX91aKx6Y4x2mwOD/KCwY7lNicco/ytt+TFvNeduxj1TNMj1izZsmVbhmkoPbfnHib3iDKxyL4JulAuObe3y2ncuU1gX5Unao/NDFayuQHjJVSRRZi+6VNFixpHU3/KI5yVgaYQ1UDuLO/n0RXbPmiOl55kCvfu2dUUVddv/tJOXTO/LP9pnBsdiY9TRPvQyxsKXOTTVY18o6KjMSeBpSRVnuTjqX/w41j1VfBEvjVjwN6LSpRuYL3A4Jk41njSO2SyUgiogf5TivLUBSZ3IKHp3U1/H2jYvmYYom4A9Vmy4sKFzA505imujSCahDWeHYHscbgEh9bN0Rn8hQoJ70H9DOJGkyBIMuVQeAGLwXEIldeOybFkiZfPoJZ2EHLAgV6WSMzl6zGUok+yANnYbVe55neh4cHbr8pv9Gf4fpEPpQGmNcfqxlgoqad12Hs/J0Mo13xK1Sg87z053A7D722m2wOsvkzTBYoiDqU+gZ9hASif0dfNufxVF2GGaaICSQSo1S8hEYEj0RZ0CS+mBGz2Md6DFTp3Q4Z8uybmQn8FfTgzvq9J36PyDWPyJTg0/gXahfa+MPnSnjpJA3v6TmCoJ/0NBAMB7WEyx8aIVjn9VzhB/3Uypaa4LGhGxJlzVFe3ZzpMJ5a29SjEH5PO0DiMkk2STCA+JdjPAgi73cD50Dxw1k5r7D0zFh1DMgiaVA8m8YPr5miun7K+sv2i0SmWa+12C41jD3GroKuVypcJI1/zTOHxaXVnVJVAB6AjsDZxQqDhvuP3I9FTKT/c0LaZqGg4trkMoREakx2qbzJ6cqVJerSqxoUFNHwygqtspGmEwEA8KP10+Xb9iCxJ/JejrpS7ZfDtkJLfLBfAuvRCAa8XrPTi3veMdLx8IBOCsgZ0Nh0NYehZbQRoGryyz/37e01GRvmoflVK9Hbi+j9t1xUychDFY6LMzA0aA6W0cOiwCSlIZD+dxDPO1v0LMVbz7bvTtj2eD0GhpLdoOTiAwy1Eqs187o76JJwd2vrCty86/ZAjG3nr+RDX7etqyW+DfouFAH2578iQeBiEKOXtNXQprCrsFviJwg+J7W0c2TZi6XEAfjR7tG7ocRz2IWZhyf+9R1cfgeJIKBKV5ej8UhoSRDvxgLV4UoFTggne3En4g06fVcuWVnSk9C9/Lr1+aCmcFT2wRPGz2rfZKE2ZWhdbPXkjbIp0hwgheOaRQus/S1yfDO0t3UfyALMv54pzV0kejby43kBjs89+AgUoRFQJf51DOoOQ9LGXTV6fKLV73bIjBHyAym2Z5xPrF9cGa7ER0ayGXLS72CA3nq5Ln6mFTq8QYJail23ovfbw7T5BEZFHCNkDscgq/77tbGIFxgZ/60a75MNv2KvZ5Dlc5LwzXediL++acG5mr3vybDmUsglFRMqubJcrIig084ZV+9X0kVkIO3V3TeerAfFa9T4SRutQmAo9gr186wB2BpBcuHPqs9/TIJ0tby+ZT2jNoVxKXcuZbmjnBOdy6tT9BL0YDPkgQfPcd/Ui50ro3pLmJxshbKfPylCrUt0IkUthflcgD+Vv+o9MuL3+5/S0jSJit2jzEg1x35BGlkFYPbaYrglpCQbDnlbJBpZtVjPDFCFi7vP3lcATWYsoCXL2o0NQYA6ePDTmgYQOS9aMwqaKX8jzAHtgP9H+hazvNrZyP8a2yb8RbIO99bJutC4wmQ6H1FWIUOfcx3uxVjN7I9H6PnCZUBL2TbPhzhaDrEMPRRX//iEKzTTIpg/qL6LlVJmOoHA6NN5lwH/z7qY2J97MIKnkIwwHLTW/SH8B9eTQhhwiSMl88tYAqmHmynQUJYa7T2bKdzrPO7/4Hp3PEjDOXtW2d4CT4vVjImNksUn2QHhaXVC7+eNT0IkQm7VICX3mTDpGDrcMDIHpaShQEHETqYZwDn5qMQLngf1Y+fVcmOBj7Sh9D5uicD8oeo6BXbO41Lbhfmo4poFW0WiqrbQGLwBzVw+C4IMxxNx8KPyjK86aH/InLicU8n8bsC2BJ0GQVZ5mUmBxbhRH0xGty2w720jJ4h4s3MA5AS68caNsFWjLIKqns/WTqY1o9c0zQLMvs5zaAV8NCvQFiJI7FQXv/6KGpAplmi1GXzFIJ82gJGAWQOfvjeS8DZoSr8xUiCbrD6C1gD7TwJOzY6p5LEoPr5k3FKl7v4hkQgO8Hcs4TNQoIjGIaM4Au4UDuGdrco1Dd0U/EcIOEyvcjGT/K0v1QwstOxxabVRSXR64FWUvKHgH54E5sKkm3T4pP4CGgsSxUd92jCQgBpoVJrEybYcWZ4JaN2StZWQws+OpvopKo1bkbMcXPSXN+rsOR8xEBmsDNmAanjGHgpisbECKi1s1J77YSMeK9gLoQEtBPTQKLvIgdLh/O/pbOq4o4WJu1MBrQuO3l+x/xDQLTjwVKiM20yqNfwyWk37SRDO1FlisvMXfvHV9/XI6IjXRKnxOuBgkIZrh6cIwIpX6QGGrgdn0aK7Blnbnep3UEbY4qiPWLnwcU73Q8cVLNhF8jtNIJ3D1ztpHVlK3sp7+AUERSmvOfjF4vfD2mI/uaOcFfOlXLvFeKT83ly1lVDJvEjePEmhRao2DIoWp+X5OYJkqWy6F5BbBU1j3aOdAestGbJoqyjczKHWwSp9rRCwrjK3rmwD5CFVDOF5NuMmDe5YDT5xpjEII/1c941YXqxaZl+vTj5kHsgk+5mQm4OCzL6NY7B8hF7/219lG4Q7/cuvvhkosYL83Femmnggscj5yBF6rCSHVYDuok2/AQ4dQ7285A16mVcX5F1rtpWkFgbWG3ZHaM8uKOxKvYPtHqtAUiJuZyEa931aCy0WGUo6bRio/pA5cNbuyrwemEv1Q9hsDVZ9yzZH+4vSKQ19lexRRe+ZkAPwzwCQkiybm1BRJzkrvLWjdR71ZIOvhwsBekgKOMY4K/YG5WZL30TnlSUxYJt9L90IikUojEpjQPUbuCqZXLXz+pWfJc92ShxrytTWyesqprlKOzrwnQqmLdWhsMspGphUrWNp52GkNrGiCiuUrn7a2yQ9WFwgOmm+kESfAzCM0/PrSVF7Rl93FFhG2T4HgB8kCkw14YD9ndCR9578xJrFoghSChteuR9Ry8mFGE7Y+47uDAC1XmUlh26fKIS1KorpN+3hiZTcdEVYM8N8Cl/8I9XhESWnrSlDH5wy2uJctI9SMk0bm0yfP+N09xhPgAHa4kiTWYWGCXHBVVw/Ej5MOxaevIPfpGwiHtSlL4722RtmiWKmCJ8Gbf6OOigc61n7FbabZVpYW/vrreQfy554fdAY0BUaM6TMrCqy7ioz2rbc0VdmVOjTG4s8L4GHu/jJLIYikgGkg9yJNfFR6VwnH8iC1oQBjKT5OFcsqP7sLTowoP6FOqPkgXMNtNLtQC3NqntE/8CdAaYrUKt9PHvulovJ3ZJuWFWHLy4+UaPfs/+8xRe5Axr0KCNp0JCcZZnblwwTOb0YhS11f5ialwz/VSs4V/wrjJHAaJEY08yJxN4ICwBGob8i0DLf8kzdn2/+hMmEd7rZYZXTpHGfgB9GpOIQquY7LqFFsi1CWUFroGwTkhosbjXl0NtYl1xd/WDPZlERan2hR8mYcGH3Tig5GSAVLqLH3nOZnAUWNYkDUS8QrH+bhZSV+FKUz9Fgv1DeY3qxTaCYakS5LWyzKa79F5S02kcflarZDHqRaQKzDYk+Xs5GFGKjE0CztKCrt3gc/3U9u7V9tPuQmgA/J7D5SUoHhAvObWSNMXjuPYu1KOT0M7nhDMPRalycDMFGtM3nTtLY3IcT9UVgMVbXs9kNjuH4F2Yxb7UMESr/mbFGDu0y1DVsEK/6qhPR0sDAiopsy7ADwoBq0ccmxgGijwnkzahfbXuUeGtthpCbjXQTGZvnrgxPUmqXRIwfYjN0llvZF3OB/nAc7Ak2b0Vgx4Z6mBp6xBqPuefuiuU+RBznLyrDwBDcVgBbmz2H++WRuEZn5VC7mvAiIU8xKUcjnyxsSwad2alP2oJV0LI+VDbNeDpgsEL6ll2iSf6T2w/FM51h1V37XnlmQmk7Px8XaIyCeaDXS8/OCb0H0C2YZ9iCyZJc9bPTPyvaG4s6MTXC0ksjoBsa1oYSRUAhNK7S+Pn2MZZmxHXA57u+Nqr5HGTcAGAmN7XgunXn4BHr3vTi9UWIlnMtQFgHbcof5KMaBn7b8aO6bQsf09hHa80G9qIweFyzdADoGlpg1pCWhupm4iQY1LRvbySn7+vME/dMLDW5I3Pa31YRNGCnjYzt3fUlpW24rYKksSGUCOChMLT51xrSPUOl5V/5sImo5ycBVu+JxtK8twt+sWWTjEQcMtr2VyOkISbPLZiHj2XraYBO5UuJ20a8t80KDmWapqiKRWVJ3NjYwgbw7aRO+/E1hkhRHFHakjekeKhw0/3T/hPAYnUlPoIZb53Rbyxpl5pdxTjWHZRzEG6Wf9NJjtatu+XPT4GOIocjreIjCc4fQ2QRa6zSmCu6MhZEMvcbEnoxaPZCo+++9CTHhcfuWvA1gp10U+pEFocaibpmCCzdsfo7dZL0PB3/B3sL+V5EUUY6NfOtT5D2g+72Wdchj0CW/t3MlcwNID1gq651RCsfUv3wzPREOvX6fV0yt+k1wjMaJTXkU2UbAbGeWNMoMys8PeC2O5OJ/BgiS0zDsceZaH4WmmLVjBqP6JPYa5ZbDhDWQKdDv8T3GvQQQUFAuFRmfzYC15yUJMPhTZjjnKyO1Pguy6tWzRQ3OW4IfbsjEp39XGr++9h4XpZI3u7YTj5KWC4o1FsTKenI8+2N+BWDjxk07IzO3v7tyfFPqtEZYjs756ji1AxV5fAvPPuSpQ0aceenDdIBqiXDGnUU7iJJniYw3eIezOQxhUEwOkD97p8LoYwe1layK/881xsCT7/j2XemxInXXIMnddsxEs4BtpgViD9S93wJidaLhHXGRKamHXm72xTf+bkJm/v29kTeGo7nUoD56zK/144jPR8gJpVqt/A3+2vRM2/oPTaUduwHnzI3DaJ90S2wtnGWTQvnGMu2iTqPAYwOBmCL5LPrsIjsdNMuGZwgp6nZbNPTjZm8Gn7YRwsmNqOF5AcH3/LybixmaME4+/wrb81ep23P/5LApvJYySna9LLaK6dViA6OQlBr4SU4Da7cZFpUd7MUHwFoPI+kqbVzUBWZlhCxc5phHCQSJE+6s+2uqTGDrDWMUcDUgS5VWFLOhnEmrywIN6ub6NoE54BRnhk5Bpp7PnNDAt1WezLHPT3+Jer5vHiYmTjvrK1rwC9h5o1ivT13ALEJabfmb7eYaDgBs8g03FrZZUbVtHFnDg7iLc0xpWGcxS7VYNZoD+M+ac52M3/iS12zQ9sD6+tFnnI44W8ib7Sguru6SSn7N7JBdSv4jmWazRpheCVqTFKZte1KcclenA3FLoRhvTWhZCc3ricH3kcabs8GtgXDKjUw1pVUE8mZBA1k1dhnS8FmX4SbH4Dgu5wYniQ4TRvgS3EdBkZc3ecLaqCwkWdFwzIzh3TUHwyfYgcGfyXmh6fH3EDZHAvGVb77DOOt4+q3GO73TJPwr8cIpu4+Rg+xr5faVd/qZkCgWl8zM0iEHj9xtHcB/bql4NSBsmdbjEIa8/xdiEwAFF+lZwO/uK/w6T4dWKSc4Bk1+ekGTw3KhNsNQgyVjhVL4FMh1Jjwa3hk83kmEOiHEANxP7l5XPDVXAW1dI7UWz1k4Uv9ZXDV8oc22GY7lRVbS2eo45dtKEHH1lpOQ0c7YXtmEcW6nhxlNsDks1fB8AsNg9GNzm+wpqwBZglsB6SX2E4gnsnqnDJsT40MVpDrr/drX2Xepdui3wsN7JmekHXP9fmlpWI7vR6Rd1LqRaZJaSXyBKT3Ieja7BPK+SxDYU8Y4LmOJspZrP2hzQQdz7diSCw4L2qJH1muLERwsaCmhYcAQvZZ9LDtEv5h3hAyNOgz1VU3dHyZMKkd2vURh6nG33GJOdMkKjiyNHGrvpbsm64i0lsV5/SYvHpf5TdMa7YpdQQIrz1wd8CcyZvUfM1ScEOh+Rx259hUL555QeeD2Kt/Kd+xI15p3jou0xbIFIEpQiT2z9rHQ0BwNHCrRrpb2Bf9UboMhPaj8nl6fNyGI3izq5rzXDETSx/pnl8hARVQ5bheRKykMpazEhiFWzB7M4c3loybohUXaqsV8vWdSUGcJa3BUXDxGSl8JB/R1BVrgiYCViu4VLKVPJ6i9jDlqtedqrpz2yzduVPylJtS6J4wp8soJPYB65v4Ff1eSaLe1OMevqsEM1Jb3/XADMrLyuGKLNR+H3OP9/mVvoVdi6coPbQUz3Av062jZaEEP5OY1e27ZxufFfXLeuBKTZpkHgZu+zpyHFmSNgzOCPCAQA814gem+6H2NxcqiXC6/AUE3inxv3I72kyVu2kE3dAtFac3Sgls7t0T0LXZU7PQYSV+losO1V0t5DLbOx2WET0NaKvASpyZISN8C+Qe1iQayA7twxfcG1Jm42s3hC1fUlJ2w2bpDIHpoVzbkBGVKzK3QM8AKBffYJAdv24V5CvoqwVpRq3tmdTz0aMWeUaoM0oTTZ8T+PiQI1UQNMguRrtwLrPFVIbK9EVqSvCfAjRufkKE0UvOfl+1eNi3L0eQ8axHtx9IDY3h72VFvsI2nlixqOAtjLD/gISc0nO7ojGBs8AZIwcRg/FwRYc5Se3gcm8vgAd1DB76IO/QJD9XUPHPNWk+Poz8bsrp96MzrzUbHe4TPoZbvlNw0r2Ap1uD9AOXTEYaQDAg/OWBySDV2Io0ea2wfRBwNU18uKOPDHyGpfhtOVTw4bnR0WOJgNKMUbAGCquAt1dNUUgyOUl2Mu/mPu+ogR6Zdq9WJDEL65FpO5urNY8VX1mQ6HQQWADVefHg6V4iZ9Zykf1A2HnWUUluBIp1c6Z4cA5reGOeEKwPHxbHRMZUYT5EjSi9A24VwBohd43alMBW0nPVnN8+qIxVU5z0Khpx6CWH3SrBCVFSmFuH+BzXjjWYegJwLwmEzlHF8xQOeQbbw7g7QhO4WK5b6MMbmAMzLute7SWC9UH7vtHhyZyNzm8KQyWMVaKcDbdVBIR4YxqlHVCKcFzumBpqLHadMRUXJytSHQgO/4D5BFbFIl/7kEK1ZQYgR4pzro1vifq9/wjETNESMMpOLF+lEmLbd9GBj70nYRqxNALqvCQmYIcfLsIywWsEA6uzDrLtdC4l2O8ua/gMz8vifeD65FLHqhSEBBDicSfB8ZBWIyeu4f+a00AmkKz5LOOhsJDBntRAnbuai9/T9r4cEPNWA3f0tBPODRqyNLQZ79YR4ApP2Hje5bWeHX6J944t5O2bRo4u3pjshbL01cXZ6vdtveJ4KAVNVMGavylUsiO3TJdT9O7JjyuA7vzJM8nUUdB+tLEzYuJ40SDZdkIQV0FDsHCe204QUX4jML8EPp5manJ2XsA+Qa8/k0VMyqGY1bOWOGkWrMjeakw7bt1oSYLFg1BjBuvoIf0mPF9+3Ar7PFeV5CBQEm8OruIePWdR78MPzcfNHfqVBNHKWnqGzVfqhoEK1HiL6qYscnG/ecj1R1479a07aSB+4gTkP8n5SVXLBRjxz0pqlzUONi6kOS5p0T6rbsL6Ize1a94cCcUhca/52Ik/OG/J0VzzzyqdtX24TsH8WqgpnupSc/6+j1IX1D+EdtYYZUA8b9GlXwBwi79IFTmMTBLumOdfLt4WsALtiDpZ9NMrM7gWvbUoCAIKlybdhwPkXI8fvm1CUlxddGoKy2qwT14aoYixPV9kWQTu7fV40tRFWdjVlhExxgXyDT0uH2obXwN2msZEO/DRn5mMGfbfNJpMNnaKMZzdiMtoBrfpeebIvAcHv+hfWoXNOMPoTReK8FEM2CaEAYlRER9f6smTDxAYehl7/Wlm+g+3pghUjxwyeHVIP7+pZtotbRAmskzqZJLpy/0qLn5jRAHxq8+yStjIVbJnqQQXlW4a6albO91r34ndEc7puXdbVGGEK/bVVtLy3tOx5F80/P97o54EpuklhQulmhhpcRIDT0ieoj0FwC4bHS3W2y30+01Qo1zcsvTTEbtknIr7aBNXYa2G87vBoQ+pzxO8UD1cJL6mI5/hbhs7SI4mRUoWmwSB/L//VvQxsl7B6HGNM3DulghF6xOFePI4zKRsVHdeof9Wz09BbFUCgYmvdVAB17YWtjMhdSg5FFFfuiMJai4MgCPtvzxgyjrxDAxrNvAmcRALQstwvwOpvwjRuCRiITowbT8Ps6VzOf3Eob/zlGJS7AMeGE/dDr4gu+//6SsXtteZxlpKy0jtfOHzX7Q3jJMFIVNGdn1echHBanQ/k6aOp6HOBS+tQMPw6PT/hbRb+qma7HlVw3puk0NYeGtHyOH/i7lqlu2R0zblZCqiX+NgS2oI5atolooHGnQGhuN0FE/z6iHo9VkkF0Es66l/NEldWTxqnT60C/QE6KKA1AXax6uLdMzM8bwYpbE8+D+4G5ZgqFi6uds0Pd9UyhHXdWWXGd+dGQ7e5b0PpOmHTLllXg4Y6o43Lb0xIyENqQRAeovO5vBeCQCN0b2czjW3NZRhTf8CWeA0xmpIPecNuAYxFQKyp3W6T77pbKPsVpfJIaYla0o5pMctZegUn0fC52KLD8Qwfodv6DReA32+2fJObsrfEDzgscmlF2nJMxnwvti5mrmi/I0WBoMABqg3tV6nQnXeTcEgXvPkOYz3ErU/kcpoKdxCjXKdWk38hHoaDP+Twz1Ktjj9/vsyN7Sq7MViAKCQhOgij6vbKqZATHBQ6JLVxdn5G89onR63+t8bpQzJaIxxh47Mro4fxHFWJU9IZyXPvNMsnCl1gCZSulqDyMx3TeTGfbL1aZcw9FlNEdWbPznSwf99rtEZnelSYCqOnRUz1ZSfi0P0R0c0oh9+k422Hfsv+v62VNpF4hi+vQcdIQK7tJ3t5dXJGyTA0D08ljq7gagEbsj+O1dQ3lAqINqqd6PcrrGDIiawoLv4OZHdLgMljqyd2Bj0jswEbINPX+yRfoh2DaeUfTmvBdi95XUwLDqfWGzzt6VxL7ANsOPYWX2gxYCsTrN9y1GnpJ8MrJItTjh1TDrcf91L7EixVFLoJBRzNNrzBC+KNhh0ukdTZ/v7JXvxCzlRx3Xf4J+Gi4by+x5R6NcosjxSy3Ub+obc9A8rnVCE4H6J5vYrS2KwtGRvP6PsPcphcnbkMrBsIB8HwJlbP6elbhWyLlaczE3UbLBuiBJlwGBYf/aaasj071XxwN6K3J8u4sAH3j9m0s9pwrxA9GkOhsaim52xjr7yQ3yRlXP+gB+jlP4NG5PbbK24EsdgytE7evBaC+2ItE7rpQS/rG51qzJnVs0YWjxEBCvd+MB1JuQjzADHvyBGt1S1G49JdUxCNfzaFDuKNBmvhm27QTSeKnop6T1zLUuaVF7t1aEZ8K5fX3/DOuTm95GRauG3hEMQR4f7LIL4EZ5CAJ62DOcuEtNtQcKUNDY9RS8vLgEWfvmIfE0JePZNhumZSPabyXQThAUDK4fvz/qhcWr6zACj3sQD3nV1Ds26TuYy7oV03MkjemwzB//fE6uqr0HS3c/WbB9dXEAlM0unw5xrO4uZ0YUCigzsSCX+YaKOr0OwdAkDMQIZALZu2hrHhg3WOdACEX95CfzzsiM3iDjLzS7xV2mJxGIOaSDs0xKptZUXCNza9AerQnGFDfhlStmpbVpLf9IFWzVBpm9snPiSR8kGQmFStydQvRXfSjD+zzbA==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MEKKOCHARTIMAGE" val="FILL"/>
  <p:tag name="MEKKO" val="MekkoChart"/>
  <p:tag name="MEKKOSAVED" val="1"/>
  <p:tag name="MEKKOEXCEL6" val="False"/>
  <p:tag name="MEKKOEXCEL7" val="False"/>
  <p:tag name="MEKKOEXCEL8" val="False"/>
  <p:tag name="MEKKOXMLTAGS" val="1"/>
  <p:tag name="MEKKOXML1" val="4HooU0THZk28POP9trq+pbTvvzd/gcV8t56cq85kb3NDTsUhojRA0EsgEHHMH7oYP1SYpn09ysXVivguJdhTvfyVMsBLTGvcX7WPTor/CmWiWcfk2RmY+GE6Q6T90sFUz2dD7pS103gZfJ6l4USC3jqtWOPR/ue0umjYEY9KlLthURXCUyUuZbmGDPUXB2idlVQc+R1c0j6vNnMaKvr/AtZGJgnbuoyON96bndofJi3+Ri6+EzWLacpDezOCH680Hhfhx9h1lVKFlzvhxYVHrfba2JQnl5qgtMXioJPor/F3r+Z7vxBptNNmlUwCiC6lMl7g9dYVSHh8eCWMYf/7hphjn4EPpOcU1XUxOGlQWImFY5zYCJw+F5ya0F1VUrioVw+Nr715KQLsc1fJw9BgnKMcEdFw/iGgnPaY+FLTZNCJdCZ065gGa96Mte93NPVc4PG1Vbcex2pplKc8pSxqCGGtBUgULF/bQzosiM+vifxGw9kn31J1AaXuM6XTiMV3cr3jP8VS4yCJnDNSA0/ryNXp7lzOFfV2n/81nqptEvspVLae7hwD6e+K0umA8dY8fFiwaKmrI6wwk1SwcbvrUknXPLVtZ6emK07ThbhlqLTUXBZl1yivUwWj9gZgE6TJa5xyj6B2LjDmnoxLrmTcPh6CWh8vCPcnrgqp0OKUn+vlbymEGREU4INaG4uVKyzEuoZabAvj2SSqZ9mIaf40wGOokJZBZ+YSDMc9sn98dfEJ8ZuBGL3MYmT4GIPaKn4qaC52LobFyvDzrvscfLCRX1Ys2ruD+jvX91VlGOb2+5V8ncvLqJCzji0BvKUcZ2v4ak880sppt84MlZX5s9xJQ1dn02sy712dhZ1u4MzPF/5b3HZTupE3ayjJr5oG0nGwn2UWmHHd1vdf1H/VqK8Cv1gfvCiWJO0PwkZ5uYialF9DEaxb+ZQuYRns2CYOYTglaSgYChH1EibFhCACKczGITOfP0zHRS6brmsacjAlJeh0REdSk+U/9rKUExvI2u0m1Fiw44lOPE4h4xYjV8Hqh3JUVwMGCh5xVEgiUvl0hFHLMFhe3VqgtBpr1RtshhGcKAXs5Tjq1ElpXa/YNdGc3ZSY65ofMmnVlz/PbgGNCzV89aYuYfdowEccdJCsTT4Vspne4/LN3JvM33ZCwI+AkZqczQ470FDF/iT2Q//7kyz6XuysjyDTUBb5Xvv7UNMvQJHEoRrWRgT4ocIGgf+tU7xQ/fvoSk+t4kKxjdWdHDmNUBXVzgtMY87We+nrM8dyov0pgKt7F8QPmiu5osVJPJNRRNCMRRkou43NUggXIIrWrdU1qjfGZqCKFmZniNmKfeZsaVs2W2k/ODdpb+/68UcvRYJitCxodHIsCbpxPfDDvWWu4yAniPjyq58+V7dhyFEv7TVmaRGiQDWBZNYJQLyPoikEih9Rkay3SUzXLnyt7KhUpvbcTogvsgMYqb+D4hO9Z63m7EuPZB7RdAm/Yzv44rfzxrM9FLvbWyzlR6Fg2Ly7q5VgSA7XDjFfH6qASGhsyQq9Dps2pili5cDCcGA6E1aHhKeF1STSj8NvEcjZ4ndgES+QqH8SBzQbPJigO8cPuphmdaX1xT1gwPYY7fHNMezJKPKcPp6jc/kG1Ki07vhD5HjjmFVjuQqwIhGA0hCrNuDaTWtNf6S1/xx87A/Uq895/UKfsGLK1bUC0jryd+pwvduqK9HB0JyLEvMzCQzWjxKAeIFhilPoGvgYlVF6B0XoFNWZqvt3/sOFYJr5NuCfMM9OalgpPxfwkZAwYcxUFoMWoms2A0fggfNLyK6z2ry4S3Y2dx9ouLQi8/hAAsJmC4oNb+2+5AgxfA6WL0MRQQseTMzUr/XAq7h2wWeNW0obQZsYQYszVtLL5Vo09+nKLbol/sVYOpuF9gXM8z/36qxY+/hF8qUIRhxsas5In291UrcTAIs72bnrda8QyiC4N82jQhgIwqRmamvRtAv2QpseGPWGMFCiWIkr/yhn7Q38WJamSEs22TsM8EmXTbX++8akCLlvCXO/gGskUdABuyoQjfJMpMBo/bSiaLPVfye6F7hOyCdD4quiQeOY1MdKNaP/TOdmPV7kNLsj7enIS0HwVGuit0R2wG5eKqgQ5Wk/Bp/Eq04sYj/iChN3AGaxaQS0Pldwiif3/esuZ5hy70vA1WG+a6+DXhVq9vcCiOP0ouBtb1SPeCObRSXlFLNFFA8ehA91LYUBFBixEIdaEC2ssnr/jV0Mv0DQ7IhqCfeOPgjPrb/4agbVnwEpOXIc6vtccdVB1k1oyHsFxT5ElWOoNP+qBAGj05xH1GX4mG9XcTfuet/9G8osAz75fqhLoLglHStaamKKFn65rJaIotuZDm3eIdl7Ucz5PvUylKxQJMYRlwlYw/IZtkEdwzmGPWb3IxkaucN3EK/+/e2u96z6fQ0OCzKkk8kbFBZryIn/iCiyIBvfLetK0WSsxNj7k4nTp9ZCQRKZQ9HVjWYAoKOtJPk3/POX/63LcEepgxZrsTPTUYbKWsrHVj3yBDax4KOz/LAJWuY0jxCFRPDUHISP+KVDoKlsKs10GlcOsdC6RKLTukyj/ksZau5feXzpbUErp0ncyajLrefBwh2Qfv8jEYn6IsmeXkj5JDmVRWqMo4Pw0VelS7Ci5br744JpBwbbPxFDsjNwzylRYc3TkLeHNM93OewilDaLnlAR8oX4JP1p2EQX0IQ6rbgQjAL5X3g9BEza0Juq62vIgCMXumXz1QKTgDBfeh4BSqRohwzUoi/rO4bNp6wbS6PuN1SUaYEaWTDDH/hEI6tfF3mqBA8r/TIKO0UM19rmfanIoqhhlCnGNhLEWfIVAWzHEF74FG3fp2mTuNa7uVoAxMOB7vlTA4T3brRw6MBBExmuaUfc4r930k7yQagIL4o7efEVVhubSz0bVJTVBIzS432SnJawEGX0mO0znQzEe1nrzx1EIixviNw29AGn6Nm256liJdtJ7IbUGxoaKCh6x3+t9TyrkmWtRqS5hd7tSOgTuBZZN3Q2E9dDIYXT+25a8xAsCKn7wQjjDpw4q9d5qFwMjoRGHjePn8UCAwLQsVEOU/4Y7cqEgOiDcOIPyPNae6A42RENbLD7TU3G5vJxVp+73ZLprz1eNRi+VJqpB0u/eWa/PZopcKpptVw8Az9Bp42MR4Md4Akll0u33LeJ8TlyznoUPkTO7ryCKyE7wEOy5JofUSfq352VvSnaYp7CGIs4L2QxUMgudvrDOmHumpuxUbzCj2y1ZoQfUI6yk9CAlNmJXJG1oGjXzJRfkltuMjExWWbToUIwAHGB9FY1vrd3cb5+p6eFQK6HAyDyG3lvdKmjXVXsSW5GgcFZT04JeshlQ1SaWuGFkgHrySsSselE4e1aH0gmFMTiKGlNMPiDQvtnzmIrtOkTQv0IRxVaYiSH0vuCSdONhRIuCxWqaO5GWtrzuuzT76/VbDAwGH2Tg9kso3BQvnjjKMI+zq8MRHSgMuHY5Cl4s5XigYeHJNVADUKNG6T3U/3yVCQVIjtK0xNri03WoSma1qaZx2Q3xpZm+oLNeby70WEvJOeiAXafVrxjXtow3qKxl8ELb68/zzo3RirR3Q0U9gOd0lXvC447CrFJBQrbamBucdCPI0tBmt61De17yb9hCQ+vlhsdaS2F3lsdhMtp0yRXd7bcYcVyqdzdSi1piB3ANKI9Rxe7g3+gPEtxC6UA5Cy7qPWX+aElQfSWqfbICKei3ynJx7kXvdARukOl+TWl5/CI9/qRJuxXBiNXuUvkCIx82meOMFZ+LW/wnK8d+jfRK2L3o1zRkZBtFFDH7PEMtLopQ/+ZmJ9NAcHjpCRjaEQBg3hmUxQQowANS0cF6PUyHTi42sKExKOuwOPKI236uWKER/9RpWoIx6F5x23GSiCTwDaqFvVDw9vfzVgbmGNPM10PMdpVBrH/j6SV6rTvoOJA7M+C5Fs/O8MX1hoDPgFeaHPGnmv7WSKQ2+Bg60B/ql389DYXFPLu8BhklysdmUj17r/coBKQ50wTYlr7LbE/qmn9/GdgoBc7n/z/RynyW5diibWeoIkRolstKcc/k79S4IEz9Fk/lMJ8uZnViXQ18u4b4hSJIi1ZQ/kUUfkYXvOZ2y4cHeQ/mkj92/D7gr2TIDqJD0MF+g3VRdn+jPDNOSGwRoUh7ZI09uvPMxvzVVqeiWAYTVapGM0nmvsXj8HM8VrT017fVZ9uZWzgi9rKgR6cneDV3x4KFnWsmTKLyZHxG/iGWBA5C1/jul3OaR0ZNMdQ8uuL/kKoGkd5d6mg2uLO3q/E5B4ibxVYT/GN6j1c3bChXNr2TUTZhW41uX9SF2VZF4iby94b/Bnhc6RtBOal4cfUshl09qWkvB3i9h9IO3bBCRLXBGh5UhVA/Xe153KJvrKby6jo6mpqItO9W5nujOsYQbcZaHGpVKP+iLzpBbb4cFVMR0B6w48TV1haKfSHEyZiGAu98nBiooZcR0UbP13BtV903MrA2SBApYF35Q0QbS/cYaRSFKULYeO/j3/ufI8ya1hds/5fH/rHTOUylmP4mT8RU6f7klG4SFnRsICPZ9mC4+tiJFEipA0pqGrvjw+nI38Oaq22CLuyBA0IkmFpcqB9uQvFW2CNcZh3grIatcEfPY4yaEA98zb/XAzykla4Tmo/DC2f3J7w8OqtLvECuf7VyuDUglwuVz3N5D8fJ5fAnzSte6EQPDGQvG7eMHHH43B1K2B+f5u6ywlKLeFIO9GxyyVZEzqvOtCTMP7eECQzYyOrHfY94xOY8pMxec11i6LU5GFonsUFH69mo+8mSlLSXNjvJeMyuvHrHx+ZEl/9SaLb8Qlu7w/HP7CbQtXRXU9ebfg288UeUQvhv/kYB98oTJAzytHx/gbmvggaWMN5ZKjLSaNZaUwK9C0Oz8rC4Azr8YNYR9aPjeql2kCyAHSS9kJ4quqD+y/wICXnri0lg4nDO1gq2L73hW0j9uk7vfbeDnXui9JzgfUu3lA0+RGRIvVnqeGTNmKMmbnrKpSx0A1jOUyjL/SYCO61zufhCrs8Wo/YKMZI5i5kqDSujVbq+2BHlOzyiCKPxDknCS4Z993ypjuELsafOn5z6rkCM/fasvzEeQcjBzslY6/5CYMFsBi+RxlXMdfdfewWn1wc8YzAc53QEt/yxsNkLdHLA8ztQr5BjaLjRQpHTvxWHjYJRa7+p0p+TnKUWxUdDTqY8neGYrZ7L0YrTGLoYxMXOWmcdI1kxg7g52fSKsjQFQc28W7sDtdbqZx+qwkM5qnE/1M01NlI9GcOyna3es++rMU4q1194se0KMlOpU7R6hJFz2KcENikgMUMpnTvCAr/BHcHdHvM0ywHZp3U21QAVyLhCineiOkuJFTc0YzDRzyELWRnDEQuVJlx6SMVqNu/jQdZbOfkqXYH0dT7M0IOZv1SZjvZcYSbT/PtKRspBR/KDsZghO9SVH8xxXLL2UzCXOK9jJeKx0r5MrCtejK6um61Q3LfPyHBKwOg/h23160rDVN9xa0rDyHy8bwhke/T4iP3xfZyWDvAjk61AWNcNoxWx6GlGQXuWRVOQ7KKPhPT78onEXtOLzsMZVOs2TlWC9QklvaXxYqfI404iRlBFQV3g4etAYSl8hYYul9R1oZo8qCMRJ/hv+xdJq8bj6g+x7V+67IqfARX3tRVAMvqbbuhyPKuDmtWmf0r3jf/cSSpNBQ3WbraavwT8QU0eSZhsz+6wxBHFFWkRfMtJhoVVYVYt9cS1EeChHb5Az0pStT8Z2P1kahGlH511rkq3qymoqf501UxDVgKOD2szHKvj+plhlpGlfoBvNbG6zygsySiXWk3ZecFZcqRxvlkAgp8Ixguziv1zVJW9Fz2rfIwe9bN3vHi8wagyfZN/a5mBVE6LffveUjKcWG1OjLP+vdt2/o/AzIzQQ+upabTuMUg60uc/WhhY7fdoLvs63RvVoeBcy2V9L6+kcsm1329iDk3Lnx8gSwM46A998CjnsYtUa6FLYqNcOVRI0zsIcgzjYnhXZHBTzmudQeniduRXFBCSsWDszO5In3hTFW+pKZ3qgaxSnbway9TooQPzMPjG01rCns3jnVMPoCQW2hGAMXJbQ2RS2euVa5X7W9KWnEdhGTedZJyqTGXwmDKEnAuMwNfx0zXiLRQJnfzwNSWD7Q0Nb2a2PuxTag5TYSvZ0zU65t68ZmDXsHxUv3Sqb7tHqgUyTLJygZOhPTx2vjQHFams+DeJ4xkndP8y2BS6gRNBqRm8Hc/7qbhRUOlZIWJx1HlARZ/bU/HoasWF08G/TBnwDpIPt6mv0tvOSDclDcuJ3pBYcPaWlBXxA2NVbGP2RLL3jZyysDmECb9aM5HT8CzHU0O/FxlG6heyRx19+LfBifWp8om9XuVu/ge5Y1z7eeCkx1nUkKJ5G1witWMTnZLuOUO/PZiTh384r+c8u3bZSGUh9HFsVYG8s0ix3+6Z2Af25iADkH7arq0QowvkkvOANVhK/0lFW3yl8KpqSRmNmsic569YTkJc7eWQvPqKLmh4dtSxk5dKljhYQiVA2Bwmsj1RiXX9BoUOwKbdInOVX71e23Zeywgo7+/CZSz4YijMM5IqMFI/dOJzsuxzfounfT3MF/kM3c1+BYqZufX3eRm+M8mFC4CNxno10AI0GL9dXPrMxk2K/O/XwGyV0x1p7W0Hoi6mY/Wy4Ayj11bRISo3JqihXqDQWBAHebYuGis9gpeAtA4C7pUrdC/6fxU7Q6igqoxfxjndcpfNE+ipmdkQK0+P8HKnJdAAYwv9UuJcWNXmvDqsdTAT3EBxbjRFIDzXUnIYRReteL0syWdcsHRxsu7+0gwnGsVUCOOMuDzBFheRjnoPUDoEHNSgebdP08swI50IJyjeUGv9oWfTDaQMJrULSaEhDsB9XWIbYJ66+IQ55q36Z2FVAL20IBRNwBscrWsXGzQG78YExafNUvgDV4kiuH1cYHTDEGhN9lUYNak1nbAkHQ5XnYdtNjHls4LFj/BCYyXbK0d7tFIBYQel4fkRN+4yb7hW6YFUPwXxXClTDdYRTxv54KqaXAkM6MLFDmeFVFmZN4Y9kW9GnFt5mxziutcpK1+1vXqkjH9cNJ5Mb5Fl6MAzAZ+GPVTc5gc6x6PC4nrbLDVQoUjax+dulaTIXspgU2SI3wCqxIZ6Lg7ZdAu7h33ykPJFuYyMd/KTwcjehU2EwfazzgJIeguNV1PJRLgv6KePoCR2Y14jtqOLPo4G7XO9h9q7jHSH5m4U6KQnUDmiLor6FrS7/aK+uyg304GU7SWBB60e0Drx8CSM0bUofWyzIJWYTiKOfB/mAO8hBkP7vbn2ENn+5fRsidaRZcFyNs95Drl+mq8X/gsVooHPIkMbA19tsC+Fdme/cgcGwdCWC25bMXz+7W/I3JnUhLoMHyRR6bK25p6GytrboxACcVdAZ5+OSKzVUjgnAglTa4cqpemgQJiv5w8zsuApFRgTqhO7MiySQeerodODFHIN0hV2wD0t2kL/f6s+FirV37QHqmz1DhupylH3fujWs/ljOvoPYUIgLmvUnen04NZKmSh8mYF0amu/FWmWCmW4wJqmZRkNtO9Cprrako7YBMpNf6jVPiqNWq76V4nnm4Du9EIM3MBJ4GFR3HRkUJF1y7P6zVlmRczdVVboalAaEnduRaodoZ3q4Xci5lwjwIXi8hCIEHVcIEmAlGy1nMgFiO6sVepXclgkqwR80fvTfWALUNvhUpbV/G+eP60eNtWK7EJwTD4iEmyLQKBXldivzunr2sE7V1J6l3FJpbgsXOe31w2UfyQ8tIgJqn6F+TqFrT0vZgGtA+B/n9Xb0GMwaBRT+dk1bClSRmcrii5IXteufgZippunoERgIL4sd9wnAJrNO3UfWG1MeBOIH0isoZwPxJoH6G3byYhOs2SK5Ps687mkCbbJfsiJYWEwQOWUG0yfva6xedxM21lIKCTGGzGFfAU99FprwWTu+cd7TojWszgSyYTefvxSqIVyk80jcp+bB821q1Ky9MMERL5zKxUSdkzkVSf1w5ydYvszGk3tegx4mMpR3BiILYRcdmDp1jCySoGYVgEWGBU29pqzQZLqEXa3viRhvg+KgFWI6C/JOvh3+ZZ8NxFpxSo98/v5rDqPB7aB8ro1t1Ehk/A6MD2jDdMcIAfOWhsjQF+9VZofov0wfmMY807QzIQxT6aICicPuFfksBzYt96BWyWxpz1xjvo+JeOJDQ8I2nuunID+jhi4rxfxGnvjqhlujk9dnnYLfQQpDaLv3LM25zMJ5my/cRf6CAbxMNqiAHaBeuvIXFaAyYt0C9ft8IVc7hXk8IruiZ+Pu+W1Y+S92xPMRHwxWaVzI1jSWNtTFy+x8fSwVdknL7JFbAZfXXHThbYleOefC9WLl57PgdPb3/s5HEye8LSOv0H3qYE42wrt3dvsFHdUeFm7qwxEzGeJiDj/blpK9Pa64VAH82CZcY0c34MIaiUk/YA6bwuyk9dcYEBrIh6QPKSKS+1fNCkTzwxOSf0iLQhJJtv5fy5iMdT/521OzwPozXxHMUdjXof0j7n+injpvd0Rzq8JRXyouOQeDZI4kfVfgDo1EHxMZEyspZlbaAw6wP/MGMwJIlBNMLTx2S6mlYeKUDvK3pX0LNujeix9ZznOrkjOsTcNMRSVhuonweJ+flEJGATM1ZnahMD1rS8lBiWRU4y9vAu6sXZHOfMZcFE1AENda84loThpVfKZrbmPXXByLvwyc/xWQq1dAG8tN462oNKWYnIlOsNMThxAigxQQob0cenP3aQ1uiHFQKQhgZNL54HcEZGdz/BSN5KYT8Dudkb3JMqZgXCfvDRog6ENIidKbkiEFPiRzjX4A1SIDpadiw8S7NrGK6JYutNWwqJtLMPKg0NseO/xGhjci3VBjnlmcpOeBoNsLYaKTTIK2NaqKCS8UmMN8mjvApgBWkmsyvkwKD4FINPXj1we2nIIth8iquXjcn0Pgx1WTO2t+y9kj4SSlr9Y5E28jct9r4Awqi7EpC4Y00guNUNNJm6PqvC2r6L3prynXt15AMVhQ+KfpFgN055TM2mdIXf43GqwomtaeIqkPbPNgojz1RhQQADq8hY1HhENNjl7WuZLzd/iq+TmwaoOLGvu3kenCqgSNeDip1pkhsDRm/i6BmvsUyINQzPO01Ao9NtM7zrXUQRN5i9amqpVUvASe6jPAFmJxRby+ok1jAiOyEv/avsX2MH8AveS2dMG/L1dNyDp1PaRYtJHL2yj3ZDmcGXMpewpCuTpOO7FTASmynj8ZBsnvdlAG200tUixZ4G/ohnxi/Vl7QAYL+BFq9pGafO9Kf1Rwm2mwtRmEZ/7wx0282HxLJZWxebp6/1L8jBtjXms6qrJ/C95dEV3KnVk3ipJUr4IRITBDBhID+YERXQBR6jIw7CUVuuv/a1B6Z3XWYVqMB7SNEQo3GfQV4u76THVSzFxjjUCACpSD1CTb6ijlKCKDMAUeRlv7fPe34Q4qzeibpNJuzlB6k+PH3NDsFu+gPKEKI6UHYdHQbW0sGqwEw/i8cUF+XnHOtGip6y6vMzNuv+exc3EILhtQUYKDkk7/rXuuSBlNZuDEDKMkGeKeURuxPAVuPKl/rTQQKcXNSXRGkGgJeCkXYOvF8vjBFTdfUutxPGhiPFmIoy8AA7/R9Bxc78h9HkD7xuusqQHFVNxBKqFemdyZ0RhE88MA9QlXI7QyZXgi/5FwuW63ja5vDXEieNr39daBsBDwf5e4dDjROeCh5zqKxc5eZTqO6GUAmP+JZHwSPHaO1np3o+LE1spTOZllYrMM5Lb31B1hKNyk91rOAGvZ45yT3TzRuKzibz8gTa9qhwRAApwifOjReqj7GfMatBVNIt8W2bQy8kiDeD4ArsvTvob/GmjpPDaxlmYcJCI/kRqjLKneVLyvff5EIudfkt/IpYhrVe5YmgHxiJZdey8VeYKPDBQbdr/whBsa6s7c0o2VXJyvSk3RQZ5q54f2QeSlq/tp84AD4YPakawrKCJqXCqBeg8uZudXs0kWNEuESNEtQbzSLPW0ESCtid+oe0K4JyftDhfIrUAbI85Luo5CprEaZOpacLvZxL6O6AXoXr+q7GfrXifkrL1CQSSeeul0LF2zkPbe9iKxJXHOxhkU1aqCIFCHVk8+LE6Qte03WcQQIPbE27SY2yswoM8H5KkaNsPuY0dopWFx+aMYKBUIGYwnKF4OGeDFGKWbWCET8jJNeKevtUN2KaDNEEB8xB5KrVGkINA4rtN21qu6VEhQm5Kanq4Ll4be6SEpyrFaenS0EdvFaPfvpIt+MbVa/GTJCj0oY8/c9uy14JSjda12THTJOxcx1JW9IuoL4lQGeWFFvIkAoGhDSE77GHTtBjUiHQ8tDf3/wJfCYx0zxtSWF/jYephVE2f07ifqFhBbvWkxogM5OlKH4db6WGya9lODN4dlFLK6gjwWUr5F731FTlz/nf0OXCyBb7NSVH/2rLA/ZfrhguZhXGGycZeTrkz50jrAzABpaxfj/IKRFH7RwffsNo54L9TgNfxP6FRTf6pQ73kdyOnqD9htaIaKM6EN48Vflt6qpdMHxBubAaIcNidYQidiWP6B2+wbq8hbRlvmBTU4KU5e6BgBK4y0/R+Vslb2bXXK2vuBZx5k05EOZOmDDLavcaCQm+w1gDkbUpqqfomBr/vhiM/0mU8i8IT+sUUDMyYHq6JKMcbPWESqUaUUKuGAJmfOWDmbX3z3ksyMIS7500Kuhh6xaPjkPPn4AURiXFFdAcfbrqYFkEMETd/0wjjH7rYRdTClo4KAk7hRc1SPvY83RqKJRfLsEaJEEewb6yv0XJN06VZhjKcPKHsoGgwu+OY/GFHKEA/vTsKQWbM8Vb9s772JIElzbVhDNclwOVo7YUwdJtddygIlTb891PCEXmVBrJyEINscCWuxQ6glppj9IERKDRrfNp66Ot0TGqVzZ+aJ/iygCE5qnniboefUPj6h33CREwYwwy/vZhqoIG8jcUAakWobPqbN6h9Hx/4aye0PZ030+sZdm+bVFmbVLl6KkzmZUJQQMRStmBG4cIDiEdBfE61DAKTUjSOjDnMghsOke8tX3eRttVJsbXGjWA5cuHD8w2SOIJCVZ1cFTeFLr7RdLjX9UAvf7F/68ohJa5OfqZr/XcXvLfBdK7PK9lxmWBAN4uzvd/rLo1h356UZEEF0CaY8+9AFOGZ5mZppRv0ZNuFSvL0fgRjoNIrryiQESuBB9s1CLSkkpH7zbOVqxCQ1PVeSk9Y5DlYX8XfPdGRguEf7sAXb/b2qunBI8/qsF2hGLcX6FdOjvHAvmprqB9Ke6J/hsDHzEHONk43fJ7fJKTM+2MjPkJJNNFOOOM3LCW4eGiNeFMcOKq8sTP5kkjCZ9mLyXUYL1/otwjqy39vwGGLfhd1x/FlD/TaXiFN0MdhFUr9QKdgrOidX2zhEMNGXm4h8c6LV0uQXt+pKkk2WLrWRBiaptUFmRFXyr6j7Bx0BvyjS9Vjl1nShNMDZASka59QKEfseJGi1Dm/GvUeaa/Jy17MjE+tXerEGJ+2qE17mtrUHrvOxC+Q+4NKqVq6qEn6mZWhqbTxsPZWCDgfeChurLC0p2NJxefy8Y6pO72nlJxeFr2DzHbSu+2a3UsP2sNpkt2BT7rwCBkwVGGUWayNfJ8KC3Zkt/8Zxw49heZ/dI7FufX5fdea2ZNgjYFx2NydVhVydO5cF89XcRkueKRSqLezqcEPhjnzSnXxcml47F3kwKDKll7ng8uUO63yq/VQRoYx4VyiBiFLhAhP/S1GYNK44CuqrRJtsGsk2rx01s/0KN5sAWK5uSmA3WKVQgumpcr6mdvOeGpN6T1lmPnc8dmNjQsrxTrg/byLGkraj5DUVxehLkQqJLcmTzhPCY6ZQAS2DaQsq2mBzlld6tR3EgFw7gKWKusdDO3/5EPJy1Yl7wKdSOdwIbWSblVLP6I7sjDgH3hlzLcj0ZUQB+fpND2A4Vj/cmlwUMAl5BtVI5LgKnFYJ/FenyMYuXDZtVuAELFQv3DNnyY1kLZNAMzp6JDlIkqzlTOEExkNHjrlGGQ/53Z1xrYynoH7ZYZW07DhIGTLbDqoCpSly6BxqM2j4lJRFMC5qGIdI0wVNo1Z+SlbTLuce9sgy8NlpUu3ulLvJOOYP32A99u7dj8FGhNWeQCJHrKL0Mjbmq4Idj+qWA5raD0J165LXcYenSl+ckkYPo0K0XKo3AySyyQUFumXijsyNxRagE7lkNiShhzuif0MetsmJbDrGjNR6RGRwgCa7pqsDdcHeaJl5zL978HMbbgtBd9DwVftEVAd7TbnAPBiTf2fawHm1kHVX5KCvlGdXC8fUp6hgKcGRMOTsotRtwfUEBavRpEV+9Z+FkVdTDOJDhvJXt4Ao1q+wcRsqdB351ofygN6U411uN7lpRzAoZFc7iFJ6vchouD31BBTRp27HQkIEtYfR2fris2HTp2hpQ8ZMme+mDdSG9WYFDee5OdLC8ZqiHguuDy0VXSYJnvkgUqeLiULA3sbwpL8BUbN2aeMRZzOi9jkRKbdIliW6a549XBK6M5jjU/8nc5zoqkzeBMixCee8DdPneunke+ZLFOk/q86ieDy5IFVRlZg2KPaLflGyFkdRX+u2CSI7GS7QQCp9ptEl1RgclW7b3JW0WHa7UGDskL1u1yAeEuaHQd4EhCWXrydTV5TdVVevu8aG0SEKiO/Bzq6o7yn3OLXQ+B/Q/jW7g0wHB+HlRhMXbOPQtDU34v5dzTEruqbAKwt3q/LgqPJaMJVqPhSwU3RK8ZlTnah3ryjNGMhAoiytO8axiS5LIuJmCj/bl4r91Ju2p/sLUSyftdCdlWps3E20TzoJWMpNpVBm5tVCPiBW15wYmKINfyr3a+BpvIhvJ6YWz20nKAIDpBd0cp6JMClAHDO4D+WLIiEX4rL4a3VdzcvI8+sOnIUGUapVTTheQILvWwZuzCYd/dLQ6QM85/F4fImktRmb7rinU3sGl0Tx3+k8nGrgz2aOxXFAkzhFuRLUhfjY+xY3H6Z5b03RbOzu1iPkM52EDNRlGnAIslT0yi9v1B1aJlGB6Lxt77fiz7f5WHZ9L3wAD4dwD+gxZSZC2srCC95fg1Knxr8k+YY71ZvT0YJVz+A+x5kyBFyQQM1MLaUYEIFZyGXF8tXnSGJQqXidJkwFoqFEsldLUNHkAbZsBdBNpofNNFK0JXbQKNyZumakYDosFsdP291TgI/LbzA8mzDD5wAyIHbhjO/DgVnL9+3afbc7tL7EjeBFSd2jdosqeDGuiMtXDNsnr73YPmmkirMa5QP+sVld8N6vN6peCGm6IYTXA7rph1uKXva/mCwWJeLdagFzUWMbHvcKRSbu0+Efq30E/RZk3C/rBuSDQTImja6kuLWN+JqP13LjmvGoV5B7K2bMWDfxiQLjgNajeFb3HRBg0goovE8baNK/euuGZuu2jVjgspoYYTF1XYb+G8aQycKDhLpCXSQMDBaqzckdYUur/0wn9kn1ApcF/L2npYc2QWbGpKHyXQg0gghZLw5qTf3DzsFJ2+TfGHZLGnsiIjr+x+fnpqNx8vJMdqO5BsaH2aDasRazDJ34xwzgyGn/pgMvRreRwlgwse4s6GE3vJdcHpgtcz+4fGBtiYZs3uRbFQLV8bHesRJZ7fjkelcypmkquvsTakEsfWMTaHWqQIB1IVyNd+WV0K+TmH0G3P9jLc9a9rOOGl49uPmglhOnLYzTZNUjDrLpQ9hwGpLIoVYaWbJCLVwOHd1/u2yEYwF9w8RYRgzu1JMJpiQ61vSXGWXSPxJfvRkMKyR9weSB1Hp0pCc9XLIU8ZG/HdaWC2Lg1bl5Lj41zk7Kuu4tuJu8C14fWZovJIVYaIcKLwS92V1qgSl4UJQPToluqRQOhWgr6aVOqQRcVwFEG/ADHHwzeVSPdIja+yp+KvJl976wiLKJR0KF7ZUnp8v09Wmnl3H+65lEqQ+es2tSu2kOwrcUGhb/dm0g065GVYHHWhdGkuLH1J/K4inkji49APFP+YR+/+uWnvrEo6jgOiDcPRGgfSP31DkvL0O0fOhuQpdvlsZ9V+wKf10k+BftVl5V33RU1wmZaaGD/XAa+TWgWj3rxYQKDN9WSHMpb4muK/XyUkH8w+5SfsgCWbYptllFptMfirOE3mcLt/Ey580J99kelazTxzYQiL67cU1TH8LwOeEbl2CrtAVbbX4vS40A9QP9aP5h4EmLLUt8/IlB0WEVsu4iyI1ZXzIARAQDweBy5jeqBfbX6B3kYQHpY/71qRJbeU++lXATIVKmoz1HYJylZ2Fz+Jl+brk6QIUapTZDID5QcUE0qJA5waQ6Y/LO5hrq7NZQOvqBeYQz5JMZ+b/M/ZgNWGbZReMiUWsEv4ueb3fRSOmKOGoYn9eMe80ykPjE3PhyynLfLfnOyc+F+gWvesxpkuEO9vSkEuc0mfARmDOAWIYqit13jvgTAFvAv+UK0+feK97swdd+nWS3hMBawUWJasNhSwGZdiY281HMoFrzUWbMCGjuVjnRGHj7aino3KR8H4faPco86jjVg4/bxfc/D8XIUx0bgLdIWpDXaPOXsdPocBrUic44jL1wRH9lcjtoSMvAty/mPv023FuhE1jMtSIBArQi6YE/pyOOCtUYiyc6Fm3MnhrboRknrBU5XtkZGDQVcr5x3XkIs17BTzJtRxug1juIivbKr7r1vuMLYX2eo996235FlngnyibBkaOr5poUTM57diwdK/25G4hoFdX+Y5jjZs1NAcDTbzj4Pgrn3o7Bv5FgsaW7JO5AwtxPtXHTb+g7Kbliw0sDsRHZrd7loYxjUM1aA0GltJ5whwGIrtX69ixEXf8s7vOb3fghjQoGyZNClQgZYWwDWtFzTwrkDF2kf10F3Us6SFX+8zv/xERkN8JBQ4Wskx6KFHd01VXA2yIwHGC7K27CcH2J8cYWOKtuSIl670Q+EMlj77Wuz+28e4bSFNJuMTQ2voY2CnROFmQxH9lsVcYv/8N+qZ/ujyOziohXgMmDToq1767+MXWcO58RnFLJm3nKznK/wn7sTk46mmKvVVlSW9WQAtLE8a67NcRvL3UZVFo5B42kvvX9Y9G96VOCQbA/C5n+D2JrO4QeQXm/vNEh40z/tHcb9GFCJoVu5gCPrz2nfaJWLVMWqIXQhpiUOs150vCY11ei9SM26EL01gJv5yeWP+zHAVE+KJhmpKzm1p5aI+DFYdFiuk91xt84zd5BdkhrjfvLZuizTX+sIqMu8JupxxhnPCutwY0KuZc7j0yQ8790XInUGLmpoAMpB2/y8Ev2++TgJs+PtH8SFCv/9RezrWfkSStB0Ht9ftXREowdHi1WZXvLy8lZy6xZcAknD9Ddp3nf/RM3q1WAl+BpCc/kGiHC5AtHrfjYTeC5shzaD0Z6exTl00wpecEevFYRogIWXBgio0NI9MaYD1Dt90e7IJ7OJQbQbjq6xBctoXZSq8IVF14Vl40K7vrItiT8NdMusqrk67tj/svXEdSp46A+DFRPIzUZwLdefOmXur9sijjuB6GFFfD6U4PnixKFcgDMTE2BvGA4DeH2VGfKDa8L50ZUalUw69MBehvUoUTvvGvw1Sxlyg8ooZIZ1x8BXo8kURvDRhrZdLhkkBdLOtYHZaYcjlywl2GPlqRUVwxvNKb+iFdujoGmmeL9DdfCfrYJJj8pt2kNTRJtdmp2T07K1QoHzfT9LiTZmXzzyBN8Ju5EfsPamrJl2Zzdqw4BPl4e+jNa/eavbFuBPIFwfAjJiIW2go8OLbPzmG4Qsvw4bn7a5W90rHh/Kkj3Lr5nLxPQHasqM2oWsddvg+g4Jq1dLUd07/WnHDtZn1BAbnpTN1EQbdEfFdRJO8w8KJCQWenE8thW4U7lQB7CCmLDsE43Pt2to7W8G77smK1v3fBQv2cBJQhQQzVVMZZ5yzRA/eFFf3zCuUkuUnmSIO96EQtvZsRsMLGSAmyHCLdXUh5l/3Xm8UktJBDUNlcnorsqcxZdwUXi1XZzUJK7mN2oqJKetmG6gwhD9dqIoQlLwdgIV9K33shD4/375JjJnRix0AAm/M6oF6yqPUZ2/SSao+nce8pQYfPrsZiS6dWLhmFKoCeT1gAb7oBteAIHUVqVckU8HbBOU37tIyIloqenghWRArA6SQPh7+VvWAehrzCnWtKCBYbwJh0dvMNM2vnPYrsWJT56ZDaWKjADiOiK4fh2/2p7kU1o3tpT8bZUGOd09VvhDa/1rnKKVW/yiXqG3ie0wLP0AYZZT5KC7+sIqNMo4uz8gkNSZESyF9IqSqU3bSTMHqpWI19czB2dDZkQ9PoFj9pzA01pdycD3SxiqBcVS0XkVJDyyCSpstN+WX1SLxDukH9WwYzT51hMkShXRiot5EsSSeAa0RtrSHI/Sn8dftHM1cvyjXXVoI0zw+0Ur5zZMiSej0MkM6WPMApZS2NJ0KyDwMirP19v7KbCfB+lG85v2KFNOSfaBW6kPj1e9yxicy9mrk2xyuQlBOB9bw5EhnAXodjT4bApI9ekT92eeYcBge99Xm/JOKAX5/iSBwErVorq9QFmwB6shFwacdGq5tV3Vn2xWi5B0B/gqxlXLVl+U5213cr+QLuITmPPI7QYkCbUkst0tj9wongXm+9BPuz2ChlCpKP4wwdNK6BKFkKVm3AmnTUuKNAilg2H/s6BxcsY6jvBoSusPeqfUQ8rB59yOTQaDHoV8vR0vrauHgwSbZqZrEBjWhc68oPjZChuvVXkjL/Pd1xiWNEHePR2azj+7HC1sArXHrvkpqF4RfWhPMx3fIoVT+iw0nCf1NvET7vQv/1lDaPUlTzND9lkoYFIYUoUF8O/MoTdO7x4kgTXeZvQ5Qbb4zggHHDbR3kBahrkvD6yZg1/SUWtha1gO4/lKXIHfitv/h+kmdNkjkImZfUlHxQMunh5t4oB8J0h+5iYgtcJzLKpJX32UlSPDuAst3m2K6d0y9v6zEXrrgXCyY4AI/Q8VOO6PSSmCQtTtPExzC+bVI2fpSS2RlCr9fkzXXs6MdVf7am8F2rpefb8GE1Woo3nPH1wTaJEja/OZzIfgjAnqn9eUpkvkfB8zMmXNefNQAxEyqz85toEuQUxW1EE0NFwMJm0sMj7RRU6F5J4mxvpI+td52YASx4mBX5TdFir2TjvKat0otSW6cjaoG+fNikGG0siBBl8oBfKbZjkgfv7Bm2S1lyx049EyaKfy4tzKDFaugBug0aJ10HP9x790McCc11zHFdPxrs11qo5Ym2i6fy05hxNyo0XD0zrNRf/Vr4FlnkdYT5Gtf3QL3YAOEsaAKeXyphAheu10iELLbtbKAgD6ZzYtsMHZ7Pftfw3aO8x+css354Xi6lAy/iFaWjkDgPNX0HBScY5BWdXvtsJ6Hx9K7xTnfGm20k9OPGoEPB3m74AbNHqqnS6h30VEsPHPyD53SIkebmD2lBcQl8l+BdcqUdmcWiRaeMUiizlxmInPdIu47RNxA1xA2fyJXMhsZJAi79mDVJDDk8u+awgifkx533k1mkX8eVDdc7qk9+hspTgm3qW2KwXJrRyYbOgYTcDZaHnSCNceEuf3KqhFpyzP7o7CybB4SdyhOprSt93uKqxr/6FdcF6jhUd3I9GvkFf8t/X1zIA8Pf/DR8uALqG+KzQAnzEsWwBmfu9c1rpYRjZb49pl0lRKjqxtfhk6Ky8weNHR5ABdRdyJ1OAvqQgkpQInA3ckG/ta2XjxTE5EENWqe3loxSg+qREIwRIlJTvae2hdy0XMX/MkxIPsKvKNKu83yagbxBvPYBDL2vXYT1CupsTk33nwDhEnNeTy6chG3CsPqtqDQ02QUdXksyrAGBTll6lNcuqK9z95qY2nPOXFUTUrRvuZZIbgD30k4Y+XPf6k2aJRyrMrizdqrXOKchWCXSGmIuteytPYRrBdrjVDeaBP5akQx5pk3qJv0pbxfojbDyQVyAvxB94qCTmJMrI984sgd58LNhVG99hrP269hz46akwxEddBdXpd8tEHenZCg0FHoAjD65Ju1fzjCSYVOWsew5Uofj1UI9cs4vp80mXgQeNqdbhP+221T6JQ9x2VOCFt204VxR1JxaTo9+3+T7ZSZa56Fr3fZxvIvBEsJ1m/LlyaBCm0C6Y9z5LAF1nDS8h3nEQ860BcHYNt+fIpCO4QSCw1hWu4PD/jnnrxaFNtisvJg9+qbnMpNmn2HwzXO3Cxk3+eNYQ83EPV1dajkFOD4k2MqJufgPMzNx5dIfvXmr/tK9lH0Y7iNZMqM/bsRaRiXLSJIDMcLm+zXERemvan90mn92pXF3hgUzWjZx6/48JqqKV4PBXSfiFOuCDd6+9R8+EVVBG6CRF6rpU99TtVjO+8chtXKAdMBzE+BRRNS6istbw4qX0sjJ8UAvQJo3aYkEKmJ4AGq3E+VUibOV4U3nOcNgYsr6W9MzGh3xUOIECGS2H0RL2jlyq5dU5TGOgJdi+9m1CeO78GUcUrioDPukjcBR33NnHO17HqguojlsT8AhOxxaX5ussbIXe+dQwod4eV4C0LtnHeqVlhvxSdk1xbcQLgDsP+Yy7IVO3HXNnTwcVNg+pLTP1kNgxQxRQ/Wmw/YyneDBaNSm23m6kjupOaQhRIC/nJOmLbBAFBb37ZQllxC3OLJUxv3gT+x2qYcfLsiSAREzwIEkzYY8MAYmeAQXJBRVZ3uUQ179Ul1jd9xdZHy1odc0ouAvNi/a/Q0yhOnRfjQIZ5ftiMy2XqSUMGEP4rnS00zGuSWvZeraZ5rmjuDBiV0/ekQba8rK3XsMWtHN+GJI7FLwt6JcZVy/b+2e5RCSBzUvT8f9267VWHgtsZoeZUUriOGe8dvTpW1cmZMn7nRI6VMbqCfkSQ5Eu8/iMM8iJZGtc4GmJXOa2bObHjYaivTkx485wfElQ0f3vHqZv5y4XUQP2cuCzRevqQNlwa37zf0xzhjLOg3YuYmuptI1359ciiOAqp9PUuvdNTmWFTonEit3k5UsbXTQjHRYD0le1Gmo7GdyhqzIb8Xzc/8FSRzf6W1KOP6nfXDPXA+L8dAsF7YpQAsZyQjJHP4dz0lg6+jAH67eMgIapgdc+cqcX7V8pQJWu0Wk+S+rXYArnXXNMGYkud/LS3zxwetsrN9BNyz326JY52MZzPZcBRxb/OTPLmHI/kcpQbxG7Cziu/DUcOS+sQKRfi90nKDXvRf11RARZrRm8zy0fU67y98lNp2TRrBVKMGuXQg6rBYNkvgvhSWZKT5l9tEFa0nJDKdw4nniXfRZFJ2aLEFDmWpiw8ap5bWAA6uJpKCMEsZ4wpQG3TwENTvkREIv7ntBA7imrZqcu3AGjA+1TglhTl4OUrXt8+RR3KQLuhZlafVORzu2ABD0K9YkuTvYODVHwJlZezRxI/aRdWIDegVfCK+Gy8FEc1oqSXq4Uf1LXmuGcIHFPRrnrOwh4Y9rvKjZx4PpnAxPTgU3YP5nDmjA/ayCTGmdfTwCFvJqnflodXE51R3PDsLN2BidAJa8OyVkJppIPPlKY/NlipCG48WE4mjNuTH8XHsmIW8bXaGQ2BwFGUu1UStODUZe3+lgnra+7JVWN1VBOUKa2o87waYKA4vUWNR7JMv4wCoSfCvzk8kp//80t0iSt2MRo8lIrVyCxzmfjmZus/nWzRGNpLYJWcPyeY1Z8lnlOinTz+kUyx5MTfPs0/uFzDFS/tdy5wwsYZqjEvupKgff6jdKTPd2n/76pnPaIVWpgzzTBUb4KWgZj2P5b77gWZJXBZJapfLfsx9JlWJxqaC/44FjCU02LA8h5plcVqI5UJRZsvkX02sRzZaX9KBjNaiwU3uoYkXd3BYkicj9Kg1HB0g1Do6NzLEYeAoDKkrt8080Ma0KL+sqkR5bIwd2gd1vxWMj3/eLM8P2KmL9ePsZ1YpWDnmazLmehX3fNOmX+uS+n1KNcOGuLDlXaQ+87SvenJ3cmPDNI+JUgo+JFzVvSEo94E3DXVwj9KRBzHVktsv8W1/S0yPYq77N1LxmEv0yJ5QuV7s+uh7bjJjVrgnJwFVehkF2MSsf9Patfp3MfXiDQ1ASoOgfgqVs0WZHp/sxD1dLw07f9k2PKDlxheXTQqWWuAEifOtQ4UogIH389XR/VKWwIZcPHhcWcWmfj9N9kuIvy9XodrQwdWGR1MoRMNC6cxmBlXpDaIdqeeHkDfrY4GPz0l9GjKVeI+LQOjT5yUoq2yRcy1gClOUbLzdXAVraANNkLsDQgKUSjm4YwL3ShasDZf1JfPCbZ08jIHRNW76T3bQrS8b6+BWw3naoNgahWLHbAZAqC0RYMucty4VxaoyTc9JD6HeWOfUxchU8qFP61KOSyjmY2G+wj/LCPYY8Ts3bVl0qk6MbdopGartBkQo2pXvhQpmZvjaquzeUwawvbOJMrwzVr5euAMor6zLytQStqRE/YeWf/tnsT3A885CMjtt0pIqtTVcaM1Wi2Mz63ND+PB/VyDlyGUAE6F28vH8133b7tbYRHU9ujHBoG79OTSBq+OYqvwRIqSuK4iyhrJ9Hg/c5pHh9Z2Uf1x2Hp6r/CUEX5iZjVm2bAI1UiLkr5+a8g6RF8/xxrU1XrVyWPzMejeEiXyF0L19v9qc7ajf7VdAY4cvNzNXgLT07vMpapfjOMJ2iEOS7r4344yMu24n4Ri/bKJZFBmh7AWsszrx3CttpntKsY/R78TLmMBbvnarq+7t2WXIJ6TES3mXqicp/I9ZRXryhAKwoGIre72+0sv1Tr3IGNaVjvanGJ8HmrpRYc1XbVTSwAcjGH3iLqKRYfqAsn82090vBGoFdN1DpUTtE1T+dxXQu4NVPybB19Vgf8twGGrin/jarre4f7xG41ccMxWWNrYCFJvbYGXdI4IJQo6M6Ei5jnLtH0oLxRp5khNq/cRMEnF/tNh4rRH2A7Fldh8IRq7GXVZsG7Q+TBMGCSI0i6uL8SjOaU8674fCsRkoz4IvSfErwhSGR0kOLWePVZwAZKCciyfaDQ9zJjp9RnbPKmzRfad95/tkoJ3Pfj/JDwTKX5KNnc5oZZxJnNn1bv3zMnwuJjkXYfMzj/+2N/J9hGFRK75mU0dzvd+kjzKYdtsBKuCHaO3rGstGkhYpSkM8wjBFEoAa5YqduGLRj4Z0SvlFlicMtW91UBOFFWHrD7Jr9631xt5vBDYHa/BL8f79XV5tDh6c+gNh+LsRZEJAIQG14p3QFTmJ+IQZPh3GoZ5TajwAbecrbQlRMIK2OZBIxX2kNE6n9QMSciHgR0i7In0R1vpk0rRdrT64ib2kutCQXCFxP97AcekXVlEy3LSKe0Yr6QQkO9b1pil9kqY/SsVC+Z5C8OQkaFNp2NvtRkB9SrcImAu6RrdcerwjexoLU2mbt4A1vTJffIs8U+1KW+s0+Gfj4CgpyeAbKachikR0iHconLUY40KG4cFEuVwjrUPGGOnXGmOIRUNrRdwueEWO/I1iZ8cxkRWNVcpo8zAAG7SweNkGutrvZLgXrpJaEB/0B6pRX7lKt6A+TjRHysTkOypRibGWzCJ4BevBuhMKbaFjtVS2bf0DSxWWDqUtdjXHhEC5RfxLhdoUVS5IMxC369YAoUR8l9PVA/xiVu4TOElzty4vyNAwmAFnrGpKiLn7jct6poSGvSUCB49E4blhQ03VRsAPILi42Z/I1xDf/SgZUxk9Ccw7rAGc4W14dxu+VjO3VnHBLLGWhb7XdK+23mipiIks+DAUq2qyVgIhPJRjBaJTYZdJcviJNPBlSDbOYfcNCJGh6TDFV756MCggab9xshnT0y1j91jnDE1yK6dAHUlzbo/N7XXqxYjqJtwkcE37FjE0qQD5yGF1DwIW0m2pA+vMff6SVhQs0N2gooCWtgz8ZjS7ZZCx78D7b18El/8t8uaSBL3i6kUBJbD8Q5+j3hE/D3yxlE5ZSgSg7P4gZ2EjG7XzNpSTYXl0GYs/hj+7AFk1eMDUdCg/7ybiFrzef+F5/YHzT/FWCOUTSEnGAYdivXKmQDpxBqbVgXo8AoryZKkmarsI3wcct3/6P9rnPG/ds9/EufA0zgNuTybLW0P2Yoqcn6XMozv2z2vOW31GXqNTstk1+momwc7VNc5Fde2/HD8ywR5LT9Dy5ZWNSfaSyU69My6tnrO82rxbE/9DOpTP6JkPVvo/FOV5PCYpd1D59Sj/WDa46Pv7yg1+2J1xthqbcRla0Vpr8vvPUWq2QUDlRxDqWurT1Qz5kOd0k5MAwkFwpvr1ybKIAldMSofBDssL89usVTxoCCN2vflnTMcBW+q6PhfS9V67l1oZJd2+tyHsgZ1kvD+RiZ8Uui/faCttYxo7qSckBdeUsjyVIXiBfA4MlkqLaeTwxtT46OkGKPMn7msZTg4pMCiYJp0+jdkqXwNWH93qAqOjzJAd424AEpZKFj10Kuq/PxG7/+a9c7CKKCj7USESEzlbhHwXKIvcekN3NjRcbYFU/cjrH4zqT/c6Sh7aL2KfKATk/q229LtTn9+m5V5ubee0bZYPTJkb31UspEWbz+W67DHrJm7KN1nrBmDYdflGyeF0iUoi+5fKaIfyE0OwZh78dlh8ka1V2TV38x3k7YQamQt5175PPVCE0XS4FYnWrw5yUBjCIxn0PxGwDONVOHGAG0fNs7lNDD9bgjYlXrWkIHx/jrApYKhX1Rpn31xR6Z/b10MtMepsDvtjgihxyB6tShvLmZnNnfeC1k1ZM2J0pXpaYhCsrB91syGQSVq/QLjjdSOSl2J1LlfStIk29mwZZ6NpSy95fCGF8OyUsap4sZ399lrEk0WLI7Lc1cYXmk7H2pRNCfKLyd1Kaul5jqY4xueH/+OJ3hg9h0dRDYw2ByUjLZs0LTum+WSODKWy3ijGJUil0NTVS+aRzGYpM4EXxWC7TD9638KNY/Jyl/vCIVyHLn4nkSd6mSp1wG1OECbkXuA5B8sX1a8QuMY9fIGWdkQjFdVNucTNEsGZT779nvn5Hpj2INdhLh/UuuyuA7Og3AJdz78R5YV/CAfNLAj2X1EpkLIMkx09IQ+PbfYiHBdyItfzBwf+iwrSMB31cVw6fdn9jsO5qNlbSTcMziuyj1h1ikXXYz05t60kGTJCFUTtBAkVYr/wgx0Uk8pYW8JQCZHtnwNM/iKu7yI8675VF7pP23t6zPyERaTtq+6WlMC75l/JdXv0ZBNWpvHoLaaGjK19pcjuMxSJQhBYSLSsVw3ijeq96cYIid4GjpeWhEAd08Vu6S7C/BecVk29uoi0LbDKxiZUTaLfZ1WSW+vjiChBLbGiRMPtQnsPe/frUbFijyABVv6xM1rLxajtnqsXtZlm+1+ImE7tATDKt1Tms5Rir8J824Yto9T35S9tgoR8r+O8BkMi82xnqkzwdhB0ub49kbsLtDY9Gm100bFPDLscHL0bSBfsDbTk91BFSEXCoWqDeGQTmvXT12TfsWFnjMvhpYl7dUpU+0Y+UOnTL+VkCsyUrF/bHVtvy3Md5rwJOwJFMpBLKBEvlSVlCvjFU0CJm1Qcn2Qm+iQpDtdtXLYzd0gVvFe9TxB6P/uzQDWWu26dCePVVyRxkohUmsDTsMptZEY3WNk4mak6mpY9dSuu+hBwRDmAXTWUX3CO+iC+5o3sjADjGxO6JWLpu1KfJse70PB9iZLmgj/2gYe9ttCLOa1Hz3GclDDWbB3cZM9aSSU6LvQtG4Tm4p4Nw3EyREjC+BVeXhoZ4KI1CiYLzZ8S1zDz6zi7/yCi08VZjqn/b7RunOhjWLv1qUVSvJzRcbd0OkE3kdWvyCMcKeiSRmqRKNx5hZeebDn5Cdbygel26/wvp+/lQAU2Ajtl+Z6/sOUNZWibyfewQwph4DYOblmXQJSKV3NIPbWwavSFsJa1H9cR0tEUByz5e6JSZTZTbtmGRKhbiXUsOODoPELe6i2UZQLGEnACFsc9BVlDB4/zb3lopos8+HOaa3XCwbmveCCCRD8/lqAbjoS7LsGNh8Tx+1BcvSh35aYuc5iJLDcPDV78b9dxu0vIEwPWdK36Z0I7Ze2T6uc/5UQWIG/8TznmkKfPt+2jkbZeNb3UqhibfZmgOzb9AJQXFsLBQrgxucCxPDjaG4ASCEIYqARhqZac6szqKODxZsANhh/E7AH9JvGlmIdi3/wCspFCpGq79ieT0/Yo3fB/PmxYKM7JipKpPAdaB5x4ZO+dPiEre2LRyAsl3cLeeM4X9txqjqX4V50eQmSweAknIIcHeb0Z4lOHaHip64NG1/koQXxtWaIzA+SwPujyKTiPzW+vAq4IciiQtpbInPqj4g2eL8YvFkDa+bHTsii/Or2TyDsjWunRbDE728TSEN70icxqHQTWnlhkhunyjhjWROarF2Qr6cjMb9/eQ7DX7W+Iu9RKKa+yFbuFl3vyY/3/ZH8jfpTFVE7LRqdvy28FJ56Gk08x5LAfhC84U9Ur+pTgnULlL17t+NB4aEZ+gnxZQnD/+UYCUPnhcN9oEPjKc/VefupAdka0k30kyzRVQ1+aBVwel7batlb9l/0AkQ/xsLKJZyGFcgMr2gRNg1WzN99GeJ3GqBcz1EFHjlqLuVtE7SEbX1TIYj6/l8s1dTCK9fNaXtyKz5y5MzTkIMZGfZTiSt7K9CCTE/veCOIHj3ySnL7oQmtgENVi6qaHVrZ4sTfkNIKxt2DS4d7z6Z4LOCSkkfV4t9o1zcViYfdl/hgqjZafTfr/cjp1EQgXHQ6ifpqc4hbpYtqRnI3rZjmYpm2OUDjM1PUIYFVU+d6EfNeBKC9KwCkn6jj0BYeoVMpCqhES72put1lbdGZoZkvKzTWUm8Vn1biNL9fvrNl4eMNpVFvOV430ElHhm0PZpDhcSi7APvFHhtAGMmWc00MnuJ9gzrc2o4/E7lRI83F8p92hKF7WszhS7HRmxUji+J1cClondscStFKbBJblwK+JEJHCjbivXhwUte9D8Pe9lnTrI0TMhhcKoeQXEA+SLRSG0jCmEcSkvpuBvKWHXjGz12HVSRYU4EySzIeR9P2bng5iYjCcYH5//AWo+fuHr5ZJjNCeoWdu33sNDbSDiM+a7lCuALN6vLBvPAo7qMaTgXcqBSGpa2wzj/pCcDs8w9ptUIejzlCbYezv9Jnlajwc5FOesudQ0DtdpzrEJcwW77lB7/CjJtT1MtjlC6+VPB4tLJ3yeiyG/TWLWzPBi2sOCBqDuC/8Vw0r9F/SwgSt0kdQG1SjCssXKNkFDeOR++ImnSV4B33AhqsBcSIs3vOjrYABJm6frXW5Lw8horCKZF1DCdzIGt2tw35I5tV+BgQbGe3RdNwtvw1O6KdY5wF9EWoqYjenPkn0px2Tmx1juA0t26F3EdejbZiEOwR71aQW65Nl2cn9h4gFfHcr6fqr5tnno3s9RadcwhMSzJsNlYJNWhEWt08SSQ74Zds5hCnUvFaCXPumeQHROyknYLOWDzxGYQqmL/dfOZ5gnUpn4uwvmdeEt3hrxKm+gkn7S/5kgaAyweJMygDPx4p/ZqfuBInUlLYfF/BeKCTWRJYMfTt3wvOn0tXS3+X8a4RnXot4DD3RSphe7xh6MQ6QwCqkb08j19LChGdU0ZPaSQmYvtL0YGBbJ0kVaA5ieBTxasMJzlWaenww5Zu9cTuDKRSbNHffcMcsseVb+BxarW/CPMHMa+LWvQTgAIS4etGRnfmt3mF3CvBUrE4k/lm9gU9cv1rgDOY54G1q8+nXQhtH37OuRri6ZqysoBfOpPaWCkaBp7GETu9JgjtX/s7QHDOf4kdI6DyIG206JRx88NUQGuf9GluTlVtXdWWoXm0y1/8fqZfBJL61zWhxJM6D+vWIEnRboEichXslrZpTxBawz31ctzZRZYakh3VTk5AfSt9jVCU9vnChdNxBoU3tVE6GTegx0UqsiPopBLqr54Xbl6WflsQR5uRLaJ/msY5aO5ook3Cluureul2SUgUbZALNzCXrrVbK3ejq/IM1mrevZHuMy4rszUZXAPJLsS6Uvp0YGLoLrSJIf8ankQhd/3iWgY0ZqNljyU7wNiwNx2HBb0HDcXjY3PUK7OcWmxfGDFHHgH9sugm6rOh9rBZqaOUFgzNsTf9f9E/H/iTe9oVfivqPCZ3oLEs3yIRynCrB7dnIHNrNLIjHCj5iI61ZzKjrTkae+sEE0kJ9uNHAsgKG6BpVrmP5LYRjObqCcF90oo++s+axsjwlLrvOpoHpeyekUxwTjiAxL/QmFkQdV5L7iY5gDTHMFLh/QtAgYl0j6/uD4AMuKFMT3C1RHhym43Z8GQqK3x9lNgve7HqzmSSYTCNXYn4zgrFGU8oQdLcgWWpxAvCiiC0taYkfUyD6DD4EDuWeHdW4jIRuRrOs7VCWI2T4sMJ2cFTxJIcgHO668qNFbFa3o19ylwP0cB9Ji5ITAiOpMBpLqq+hLNhqvCaTXFl4BzMxWhzXnlRfjtpHs+9i6gZghlYhrKbMm2FK9pVf+ywlbQ+i68+uv211wF9tCl95EI7u9qjOwskTOxrTKgJDUpUa0h4QfRoHYakyojR9NhN6XCl0KDKq8O1v1Mcmox4atzLTgAyTu5pP4OBS8QuxwYGBsz5JRQXbGh2v2IsaCsEi8YvrZ0mSGGcrhTKnNUMn/4xzYrnNkeTna05i/kPn4Pe4NH/AVRqz91oYOhhK/HpQJHiLvREUjd/obHdlWV1YwpXDvTcP3up/zhWJYfRUaa1HAZjP5H6KdHvqR/yFkPSu/P13sD7N4CKeH6AYtmVbYCY6bFdF3wy+Xb7fFnk+SPl3/A+ZXud+RcnoDS29dYxFYbMueEX2aamB5MR/SF+b0NCmJDFpuW88YtIJGPS8ldwLZ/OVPz25RMKqnVcLHs9P5ervv//gWzUJNFDPIqjVD7pVo6UsZRbpGMcn8b3EgfsCCLuPmvpR5JIEK110CpidRqgoV5VTXnZN6qvGvMqyNtugERB2taGZSWyx6nSOy8fLGbak8e/cvSx8gvk5K5Vldi3Lx/STGhicLBZOZeQMTP7VNTh3tkkzIEw8kilhlzrbZNdpo4ofXoAHcKWE7qt+tNn1EqvCTuXllHdPkaHvFJM+07yWaaWZUtmKV972gmeoKO1Gc8rRoLmcVPOyfzKUAgfI9pEc0xQ1ktvSZ3Rmv63iKb6H5AJZ+QLE6Wi6tVB0EfY4zqtvWymBtXmobdeQIgBQZKXMAh+aaJuCaNq1DS9GN7g4jX3Rj8mC/dTCKFyBX1zb1E1c4TVFgAqK/BZQScVgOMpBiB847O2Szf1rsZOULnXTpYR+sSuZuKvEzKDBadTa6tTKXdTzbxeiEj7XxPtycZfJ/qHyibSmKkkAt1DfvrfBbTmPbh+R2wRiJQ3BmazofJmSBdkvbBQ8t9BSKi6NxHGIrAudo5MaQfDAiRLJ9EyNSLACiJw0XLCf8xphWVDebjTORm/9fNDKUPeBH/IFnQ8nwdsSHh6aBFKUTG792cajThj+NWYGbSlgBuvd95KHjcg0FXVMIFIGoGZt55BDKr0peNy27qxglm4Vaf7vPD9eRg6zp6IOWDsFxxZWF/dk/vjfMJtDHTtnRqjOIQn39IKYiEfqo8mZak36L7gAzPQs+fSY/QiyAhE+zulTiEXn4podXTpULUt7GsUjfUW0wVg41JUUD/WerZNC+1Hx4JmHsaVrqyWKrU7FD5EIGnL5ffk4E7LwYEhjgsaJELBRq5PTJqGOBGS0vwhOkwEPbFgmrVLFgYqprKf9ahmKbMxJ4AlGHd4wBHIVJ+dktXK12+vsHhKHSz2oFivZHkxWfvEWWeM7cJLOgXnCp7OLrzStoZdcfOw9yr3fCSi8Waw454WbfDMgCqXx9Y0zAFDF+hYgVsj5dQ3QohjZUxyd5+NRHv3EGv2+TBSZgPvb528CaG1RwRshYA8hc2eOihTCZiQhBawOQY+Min/E2Y6czIt5g0Rrf0MHyFd1K1erXWOlCy112Ep4eIKGPzd+HZm0AAS7376ADxLssHo5WZk65BhS7Xz9iAmprr5jXAirrwoQgGkumOYw/+6q/BfeFg04Cg7Fr5ZPReFhNG21K4DwE4RlCVvOejNio+t92aWp47iLmK9sIXjqHa2P5X0DbqjkspXTryHpmRjG9u5Q4dcKLe4s3YRhL4qqBWeSBQE8Ue6nO/w/t46plqu3QI9G3VwkMRtZ6WqKMgFr2FEtXaAJKDpqsZAUJFxLbaWI0V3+cXwhgV0xWCQnFJbd0kBQUzFn7Bonacwmk1FIcOUlvnyIqvLGr3LaUep2Wwi/oOXaYM5HYwcgvgThVZnbXT9DTkMmRsde+qJliIR56fsjvdtIgv4i69ItBU/aJcrpatezRDJCENMza4SZZwxLlUiG3sd6amH17N8jVWWkcLEFC90g3Ls5Oepch/OI5VPzmZ/tjw4scY66fmq26FYxZMgEPiF873zDa0X0NxGFrdOBn/LTI0RTQtuC69X6xL1Qg+naKZ1b4r5gsP7Jnlg05QQkNq2sMsXiU9TednxmzXBM93iN37gx6GmCLfWNfQ706QrOG8bPENyNqGCEgqk9RhCvevpAG8IRSerjKzm2HrWrFvWPbRQcqXHKuRBmkW9oCaj7iEfyClZX2pVgNs7KRRqfFlHvRWp9PQyQ/GoA36WefK7qe4KG2eEklbZRk2a6Pdu9l1OvLv6RxuJR8iGqP7UOVCmI4rR+/N4GsucSZ3RLobNYnUSX90kPoN17ehE41N8OVppMSSdcJxHuFQ9lQdPgBkbcCAvRbfVApKcjlra5hfsrf5onOvFYIfsjGpeFhYxfj6IO1ft1UIEB1V6GgiO3wzspI3meSWwRgu/77cqvu37Pb7weq37GipRbVS1T6xpBjmuv77+YJxaVYSSWjMWGAcurmkURNbwv3id5JYKsTPEPafsf8b4PTgk0AsuTOcbiVdBUBcsQCLeibdBEYcevoXIT/3mvMR78Uqz3qIcJuGQT5OV3PZXuhun+D5qrfmsVThzP7aadEYHzWeOTVWtjOMEYUSGyiUIOgOimJzn3kEYFZE6UiZxvozkLlp3TjBtdBgzN59HB0KN8k68JQ6ENZ6GBiWrbY6h93gY2U3Z/nSA8pA/BAevZRyzW62u5mWZppC8ccmaRF+08SSj/e7HgQlOnJYoXGT6Zpxt20VB30YIse4Fo0X/xb5fTRFk7wQE2TD3Da0BqX4jtZCBONYN1unInBAlRE8RxZDXEx2OCm7zcXRGm+JmfXjK7STaZvUqeM3Pj0MA63cD7m2DcKCaU7JAtbv6IsWbjCnMzt996WGv+mfBp4cY02rDYINQ+GAlySeJHls6IA+4c+uQVITJHmFC4qRrc/eqR7Pdbafst1wblmhV2uIgi0w37tWlpexsdND37uxNCqqKSp5mwrSHuinHJMWb/+JOZrAUyFLBPrD7gPTpYbJJR9k6OcRF7Xx+kU9K8dMkwidfApEznTLvO2VEDKRsgfLdb8WMPSrm6QA4ioXGbhN9NCiZ2bIgQCF/j6IvUzmNRGWd3Cur8NshfC9flJ2LEwnFo2GP3biVHBfj569DXDBaVZnAPMsY+BUkkEOVajOcWHmWQ5L/tSNJzH/y9EWz0/hTQ8uLYmVAB0jilJPIhMw9S9hJlLemcCCK+RNLU7zggT2e6IBzdN7hzp5VP+90i4u5PDq8XK+PPPwV2ICy56EXluRIFDLzkLI5dSdNTzIBLK2Crfdr8ga0G8q0R/iGJA4zaRelviu+fbZ8IPKoRIOR7jmy1RyLXjk91uzRZzMvfiWZaSSjOPZFdeY/8G4DNuv1L4RR8Eyeq5uCwZWHQBJdeAy7RSFQa8zGi4ovnRhnfiH2/fu/XsOjqfXwJGsZcWMrwTw9uZA8j+CM1J4504auf8Sne8taTGayqbuw/hzEzatMLQHDdwEtMEp7sZvrLP0TS2fU/7eEbVhsOnvFTP3Rfh8XLYjdqpAnVpYxOPcx+ZuttzXBSS8M9H9dN9U6A0REdoroGhDA4s5Mqo1xLSw96sNLJJWR3p/48UY5cXy9MYxgz/jPpqScAUgQdOou7/kHjzfR7KyHkOuSZ7RqI0PnO6PsDPZRF0yzp8ZH7ket3GdI/UTx0JVvraObtjCP1Bmsc1KCRSTBaRGQb6ykRtfYuWUtbkr05H7WEla8b6bMT2J2y3uPxa6kE82/pHm7zJgsdGr0O4npTQm8rjSj7221tZsJ3nvEZ3+7+pHRykzgzZ4GKQmYzCO0K5g0TEwo6aeQ8PqnfpKyJ1T982e7HGDvxaudoitKMASn8BDO+koeRA7kBYTlZcs0GHQxrp5FZqB/X5MboQ4PVeX+EPVW4/tXUDNiWFEiRVlGJeN38zXWSNKxsep+j9NmkYcsPGZrWntonXL98XKVkBacwfoNvZquWBJLt3lBN8BdUtLr7kuyn9v8Q04BDGkfvkjMS2mQe7qG0UXRBOmsO5Na04RydxliUH4u8mM37uJYXdI8M5S0/LdP4gwboUOKpJyx1ZKKVSGpmTNa0MuhZL1/lKx9ttokQrhUjQVhB0+cyeHQKNdoRZ/6n6RHHPlpdinJtyk7RonbWRRBABkt/eEwJ54IGbapr68Fonzsnx7WHELsbn17SfxVMNI5ooP53g8KigOHvrZ5CrJr7uS22tJXoJ53OQ5WcY8b3OoCyz4tKFlkqjyNcsjmRgC4Kjg3SDqddjhXqiANa3lF88V3beIYEnS+qIZ47TNrXW2EoFSdhbGoMfAuRMXv9Igs8tq0vUUp+6cDsl9gl08EoGTz3my6fUxDvZ2AmRMxvt3XosrRJQo1lmXJfIydWxV1EGW+o1IRKWvDQktO+LmtCQIffhICTSt0sviwEDUg9XxnLQbyYLSRhTVPYh4Su60dWdwu+QcrRWNCLVdKO/cqqwAkA4i2sb1sQ44WGlC0D281YoOUCFnIWSV5GSfsl1UkWpRPaxvjLh72KBztvMJxMaqeElr8Luz1wzp+euK8+o5aUwxwafaV793BrWAaKO2Hgi1eX/ik8S/Q19CbLWKA9C4Dm28WSJkKn5Zu9AUVzj8WLPyxIuAxk/DZKxZYejbS4AUuNLPRRqCe45WQAYhdmVLQj3jIYRQ3leuObN1aSo9zmuE/7pT200fzhslThgfq/U9PX6L5G3V8Ze0hk3FCImJaxyj+xhdnI3J2AzvD4SYoexPY3hHBZQN1p2MpKi0cTkiBD1ydb86WH72wJQoCRISOKVWGuk+i8jy9CXoqm0zOgoX1HA+2QKqc8GbYDT/QdIj7rU8mrwbF5FJhfZhiL6H8n2yKKcCi+SA7dN89XJSjAhQdgkRNmMgo6Pa/N0b7R67yg2PyFHS2p/FupCBfnyb68YRy6EVOvIgGuWX1o0FQni9vuVOvw4poWM6Fa/VbNqVGo6qpr6tL5hNqwStSqPcM6a3GRR6O2iI+SBUBOBINbcE1xsMY/1fCXMvBqXXHcdh/3BAahw9hGQHovlAwFYQ7ZxnQI0QkO56FysNSPiEo731bLBGcLJOTr69vfKe7CF1G6DP/rL8l823+g80ex7072MQVNa0hI9LY/iLZ2d+MnqiAJIhcrAMWpnO2ov7z0ejPug2WP2VAMh4C+EuCKUGztFajoqtQLFIyvoX2NqDrPxorWvwWrBfqrjJiEKgidMElsyKTeg5PoiAipmeGz6OuG5yeDtxRsuDdhMUdUVYYfQ64zJ4cppm8HJ/7TaBr6EyusPMcHXLLlRyeLtkPSqwmcWl3uOu88EIbosFCzBCSujxvFDdWarLUtHEaASOnTHn5UJJNZ1itpp9LkGadHgWmte1CcQ404z5KbdcE8kel1Qts533WVJPw3zYz8VihT5U7RfP3jpIQXmo5//0dowkf3rd4XlG5eE1q1rrF24D7uvIy9URN9BZoCr/Yqcd1xHgTxRss+5LLCqq866150uly5VHeNS6fxVxj7l90XweMqVabMo3PL3KzO4aw6DEHpgeEaewB4M+vzZg0ftfViFiqRz66LzTZsSUuq4q8eTZ73PlCGG3j4chD0Ok5bzagtY3tM/42DUbqzIB24a04ttkBEdDoFzPEzcmvgj+fGwZLNg5SUAQxDmMfF5yepmZq7sXvwXkfWkMpcNY/UOVcsFlKUCOCL3QHi3w/ZIM/qm5vwqgSOT3sUNIE2CUbLBl5GgeSxvqia4J1o/8sW2V1Gp5niBTlkkHV2zGEwzJoHrNQVrzL2qhFZRIiU/YZXzLHdKXkOLOsMXuSJ9UTUXOOXaLcPe00W2W+4SIPdVs6h29IiNcvhUJ3yh0/u37ZuwZhGqSs9GXp6FStzyVnsxaZ8vD43/sUVkePfC7ph0K2JHrpVOEi+7r8QZN43Ex7zPAtGVCcHQIdsozZye3BTIz3zyH94Z1RR/xlUrNKR+5SCToLUCTxnYBSftH47ubZflkicG7cfmH7BUXGV9dcuxqXKHQ9hfpH055ju6KsfURSlJQ9lGVDK3hGq0a4n2DL3A6NDKUcLRNn/vbiFYuxqEcf6hECO1k9MOduAJJfQ2qWIM04uoqskuTaNgyaj1nZT9MxaJTstLkD8qxX4pT8RNjTCUvw16HCq2GqV6SX6NjaQSxrx6pbxi2eKelmyEGDQKNmSivpDqMwqbwWA6q1KX7NJtfZHAhhadxARBik9qAXl2LTdUTXBFOXbn2zmOk53M7478QCNDdNQF6HMt/p6/e8Up0OuUVt13GH3b4nAcimVEzGmXNFIwiBgaX1PhvvuhIm/u1TlNallFQ7pBT/6QYWLvM7MeqPHyBdW4/n3f4ZzpGW7Qk7orUbVA2e8V4s14Oo0NVEwuYZh8qKLWt0Nk0kA6cg7Yd8iHDUz4eg5Crn3Dd74v6DD7ikiPJqMy1UGVGVYP7Cxpwqzn9n+qUGZMnfDEu/Yli4ONo/woJghHQtfxoUIqGoPm7QxseriJohrWumMiC9zvbYXoEK8DQSNHHrnRimemXT/HtOhirkkDCOXSS802YG1BjIJVvqL76BCh1zQKdKH76AL867kjGeY1tkbp16FmUpw+l+oTjZ3cCURZ4gqwCOR82UXTvp0gLvIFRZpQPJ5CxmnG1/o/t6DE7EnQOzKpuqCeFZaY/NGdCVLS+F7K3vp1PQdIynY8o/ltkCueCb1wuPFWs+0L2+ag7eLyMv7/ivQC9nOq4IBgTFkHkaz2b5QcLX1b+r3Im9fQj/mvL0KwjEyJRIX6p1VR9woFx0guNqdPPQviGajENu5QluoPbtV5geoDBk+CIgiGKNLwSWSidsO2ClWGJ0jD6gjdd4RGfOZo3FtmlR91jAHfv9R4hQ20x79fAzf11NFOCEsFPt4q9YMTOLNUKjIubwWHcJBCABE30S0v6WtWXw9CN+5b+qXKcS4hrbOD8Tp2UY2aeF7WP9Voz7OMKxJKrYIja5yLJFQ/HnPHnjulrKwJjwdH1ybRrb8g+cgOFFpO5c3yuhUJup1KIRqt9fqY+GdbRwwNibVbIhdRaEZF7M1cs3YCVdgE045P4RBmHuSCvwnWGmDygcJB05qJU+3Zi/BGV1vTq37BIGXeWMlodgjlq4v2wQ75jfC9oJEjTCn4+RwKHkGeo3H09teEJSEfc44jIb4obteuBPBUVG3hXH0BcZpi4NAeXTSSpAvSqaHezTp9UdIGLp2WmuxMNlHCaVHhm8vE0WfEzVKXbulG+0Xm+zLVfvICd5fuzFvBAjkrP6kwjk9aER14cNT1kBb4SR7EqNFz2wN76GlFligQsnSFg4uudbhGywbvcF8yFrygMhoK5LQIyDlTWy/oBjqGQ1ULh+ccSvXmQWoHUAgcsw/twI7jh7j+ihq1iLCF/UmjJTVyOjhmO5c6GJ423YM5hncqs8ExdRIMNY5IwjiPvryL/4xzaccq1qHQ9ZOCPUoe5pHNmIU3GQcLBOCdW7xsfkLEaHb9zLaoLCtNbjf4x4KNxN+O2gzXSAVzloCuirgpuxpwTRQnYVjiMeJCHSN5r/rNTVIzQfoeS0FbjRca/Qkc5HU0q4fK6msjnAQW2NISz8Uyi3auLrwyv5yi3BQ4k20PkLJOidsk6YxFfmcL8LUHQa8QsOuynIEq9rNrlTa/nGpt7gyvXRTJng9fnzUR6pYC4C9hxih10Tu6zPJfQPSb65yHvEVX60wCyeqG/lYqluqSwpUDrVJCXhuJ9TQhi3WdMkn60fgpNwDJYOx0WQPxbqnqqPJSmhirxfxZOTzf3p6C9NAf3V5pm0PZC6fs+hpoR9NHhjq3YW6MVOrfUtvnLIB1m1c0sX9vfrzSJgpJeI3Pnbsf4prVybYezhbw1p+tBvO5uNQKpOIDWQwOTk8NNMb3SEsFzU0p78aaKKExA0la4qgyYbsMqhmiKrCtyOYs7+HxocnXCVikH6R4CoDOhnIkslE+fifNWKoO3kNTodDJeKfJNrEupD754HhkzTzHfObFqnz3chLA+JpAye21jgs+9FNtZFM3vHznhM2x0QA+OSdBgkB+ac/FHpirf4OE0PP3czOPKL71kIozM9rSYMSwbBCaBL31IJWCDj707KYVzXHtid4BjHm62yhVmj4nZirCAnKi3DqIxtmgKI7MAeiCgwOONKmi+CGYdmFSQbzzQ0eNVzAA9tMZAM3kV2hAUSUDkbkH80+wWhZjCCHg0wmtWJUdhBTtPXryMkdfORaWsMajAuGZxRpDTKZSeZQ3a6013r1ykUSF8TIHMcuYccDxIQaPcvYMFeo6+mq5pgMWFGtTwUqBqsn/b4NE5XoHEKhCS1WbGm2HcsfcAd8h/ctf+BWeEUBzTIrh4uYZQmUisrC/ynVUkBUd0JCLgRwhsPa34xC1umf30TMeklR5In2dhOZ0THpLkDziY8ci05yPm+jt4VYcDtzjyW+ZaoZAt0+7bgc4r+ZG/zh6ArFLR+oE6RyfjIZe6x7X5LmEp5l06XFlofSuk2IDr+H/udZjBjLAe4ptmXAQ3GsSQAn0tQABqn/a/kRzqPxDTqiDwunQb+bEifwlxmkuw2dyzPe3N0uZV07+dhAWrB9+qZo8NIr2cWbLjbMTYA+dlN136Qln86tqous6Ra4Qy5i7a51nEOIsoPIyi0TiQM3DsI20cktYuhSnAPU9WVFbIDXlFEd0y1qiOrq6Iuz2cwRASZpxO7QNXkqkawMRHJ0Ha/farcqihZLefzCbVILuw9MdiYURmeDn8h4HXTekY7uPVOgtiIX23izohO8yygbR/RJk+aSaWyCThVzS/GGIjIpzeOaTOPIzYrg2aILdfa3e1JQzl1FOVlGaXErspmvZDFQ5Ca7li/u1UaL/7RgkdQxzy3grhsys5SNxFnYavNWXHNA/RhA/5qICOnNm7fwaz/lPT55Z6tEajyPtYhlv0hve3kBd8Xp8wn+pvAwFgHQOnyC8R236Z5sdOxBrz5YJV9+s54XBq4H4xNzMumaS1iAmhQtO40lLRd4cZR0s6KDv0RPFxFKKAB4zZ32e6OPCsXBJe9TQ1XBrerJ/v80O0KFfsqMuIVj4R0aZ/nTpyvskK/DcZ0FY9MGqEgKJH4gy83SHphYtIYhcQTG6qEXxUiGUaMwv/bWxi08maTQrZRNnW0Rg1r1jFWFg/EQAGRs07lrJ1jpZeiup93CuyXWpo8pCdf2YevQyKMy9ACthzdfrZYw3KBl8HtABdpkByGAxErmko0mbAk2WWhduq5zQ2Wm6INfSa1jqzUHlk5ilF7f2pa55pTixudISe0rAvFC6Q+4RTn3Lu/34aKXn1vVFASmxnG1AiGE2kCST5xIrymgQho1v2YzsH31eUMWVILYTas5JLaHTt5311rjIBcGSGllveMKe3GfCejEOjjVUQ1ALJTcMz6NEqkSjqKp+wLuhL+r/WdVK3SS/vloQWr+fmB2YS4eMxNL7fWLolpEJKM89yZHPaGEi7CYQPySO7/IZfgfS13/VFt31b34L1AX9Cs89e6oixeoxgMrMd5GHpkDEQ8WHr+s0ees8v75Wb3Liosyc+Ly0HRxyJ2Tuxo5qSzEnXSF1IMyPtXZoiLCBjtAZu1vis4SEMUmuRB5/LjdY73daWX/nfBf6Xz8DDVhLSlHBu3pzIcOzZbOiNOpjoVSNjHP10ECkdRn4Q8elAp+AzdeLL4h7UZzY7TC909EaFYBMju+E2HwqdXAevvZwu3aOcbPEcrk0x4gRnPllIUR/J8RjMd8lB/0bRig0hwRXTqvXGVLDKToZLDCM7tDE/yyajS45QSdLUFoeTKfFjMd0IsRdnEgoPQZQB3LQQPpOocOybv824cwlQnEfnIHN3gcFeLFYIzTxziHDrKaGhoVVyEyqtkgENGROjA3BNpMOB75PHIskOsHyGhiww/Usp6T5SDDBT3sX+pvYFfMSSIA0V89OMR+PLQK4cEKYi9z/H+y7tERma4vk3vVP4jKZrDY2pI2cO16GQB9vrXLjHeINOJzZJUGXLCufJ9WIVwkaMv/YoA/y0mWgTPQbqGZM0stF/W66Ddh83DPIN1daQH7C2zNPT+CGVaOn4YtSB2lvWCGxyPnUa2a1AMTQsxYbHRS/UBEKY+6/Qp8Um/EGsDMRtifar+DmRSaVwlbrBE2Ko2BqlvaKruD+e/jH3hXF8rjthths3l02M7hmpqLxLEJQeykZ7rlrj4VGsN1YRyH7tsCXXkla6/DrrgD5dKPtxU+/FeHBrHXJp5IMdNFZVDLauo+JroUolxD5tut9vfZFu8NzgCy01J/BW7xpzmhbc6YuFXanTz6SFunf8z3z1D+FVL2D73rDjpah7G0YohLA7Hw/f2c6mD/TcQ4IaTQuBYqSjqf0b+eufvIjMA+k2VaZRemvfGYQRPMHGBQIZPv+0R1JArCPHI8zg6oVPs3FLSar+meaES0t3yS3nyoN3d5pXZBoFxAebHTvi4DZCvR715oUXMxK8cGDhnMqWB/hGwHU8Pdx7WHy7B/xio9hbcN9nT3yVubzk3zXlCb21cjZcA7hGTQZe0qFnFpK2y1DpInAXFcp9B/BSU6PlHA61qyKlz4zDysg4uL4SH+vMqF9rbHu+c6EhO31gFQp8W8iOHfVoE6dBFB0r9OSbfLL36ND4mdmQV5bwa5ScabjY7jw/JhMEkSnI/eSCKrVAsSsq7trUGnjg6vqDDS5oSlo7u04ie+bQR5p01iR9dcU/n94u/82VXUpaHI1bBIfYx/jak0zF5nxoxIMvDjk/ScTFZzG9DH4EjrokJ601dYrSE6OwfHRHMg28oLMAuKYzdNn/UwkJYM5MK8UuQg6UMQmvX5kea79vNJAoBHn+qt0zEbBx8C2jkQbmYxN/06nUpo1n7m6Z9P5HEQp/E/6M5lR7s1534iqfGpksHeBG3oSISLf1eUgXpGwLORQau0L6wJq5VgjBKJyXIRgTHfWtgtFbWTkBNLY7G04CE1cISx/AZSedChc+MAKhyrnRtu52DQWwV6fCumHtoNpPLuNJuVXaNNV5JeiC7cmM/GvSF6JO5c/Jw8geE+vjVEjZhP1fxLsLvm8flhuak0URSSYZN/rczIE9E8ASFhkpnuGesdD9GrXBl/iIrPgYq41j1kCEGBW5gSsuGBwYkLIl5tPyvZ7fc7D/3zoyVZf9mjgfjH91/tl3w+Zjiik+SyHkXCC0lhs/Mn0bdFuZ1OKidmBj9pOmBeuSDFYunhSaHO9wEioBnrjaJATL2+mJvG4sQBhAGYszVs4/zDZCU+VrQ9Qh3xYt+RvLmmC50CLYgYc45pz+5/0jsRBnwVmm9clzDg8vfGkMlnrZBG7hVIpt5DuP2UGM0Xh22pJ65DIfFTcSk6VldDmYdvJApm+H9+47NGq8rOYfCv1wqYqXwKO7PXDuYd+O4yhOFWKvykSnbJEeN5o44NeRreM5TFgFQ8zv/KT0odTivW48SIMOIsZqiKWO/7NIhOjU4sxPq9Xakb30ieQY+x2NP6DH69qq/QHCWBgIhqDLUXF/E7J3gsH0u5rdXrpeDMHZumslLSfjyJ9r/meJH2SB0v9vakb7LPA5Bxc29KXftF7DFZF4CCdw2MIX4wdVpXssirov0pGAjsz5Wc4MdF+do5atWlk0uOkf+V4PkCGy/DDmSXV4NRYit4CcDHFafqw4ig/0AmhvOoyDFYdz/rP9Qx0IaiXVkmAfkqcLJI1jYAQAvFx4pchlMfT2jM4l7rEIhKbButqXZWPMaHklUpN3WoQzNZU4pzzJnGeklvId9jK+Uv4YBoZhjV67LeLNmsXW9j4hBRsVuDVAeaKyMunJCnTc2/uilP2+ynkX9ZnSvOc6UPUYbuzLJZ0lGWX0kHFZi7WmFT9dHqNcSB0/dmIc688gz46SRVwhaq8Xf6wg0LsZJny3pEt0ZLgnX2OrfmJ7EQRbfFrUoZl0ZzYYEeZyfL8iK5u2EtjhXVHx9V7hwUviQmdsZgo97NiHnZ45lMqgQTDAKaAxWGgpRSqobQYiZqDRwmUDAeMYwhK9G+R1tBoF+Wkh4lHMWl+nH2x2DmvZVGSpoFDgmox6zHqh/k6DVavoJ37lMJPK36/5e3sfHV5zws7ZOzAzO6PNKE1TK0vNLTyVI3hLW3J/gkUjLrWZMGBAA1UXfNHhGLPvUItHs8e5HmMrNBsuxOWA14L1eOZici0lqIGNM3vAo48z0VNSQ/rJW6E/q75HO7DJH5Fc7TeFmvRTxfeZ37EpR4u9w2nvTpovbh/DBywKQOTE4yE+3eSgi6RD7wx684uRYJgbx6daOASSzL7DTOSpJbuANUwljc+kc8aNJ9DvvteE2AJsBrd28wi5nxlTSn+ZnKKN1Mi9qxfojOIriD50jM8Ua5gqC9Ghd3SqcVrmK1yemSEmgnG7uETrfXaY9MmkB3cIEc8W/YaZ9YL1se0XGIhigJVcq66usw01LtZRaur++TY5Ic1ZL8w0ctyHtmLC+gmKZZUdBca0sY/6Q/BL6WAxlEajjH2NyB97Gdy9hny7xG0K9dztrETRoEal1iBBfeZF//4IHhj2uIi1ZYmHO+fO0QXFrf3rh3OALcN6uq/XXx+HPO9sGLhfF/ze6j+xDQlxuoGwXjHSFJyn5W27xIe87QDZ4R4fUNJRHfa/7uruL31HPTzqjPTYgaftUBGYDkLZp/oPSbq+Y91m1sxvvoE81GBWjxWHd4LMITQcQAPrlcfhA2c5jPSnaKr4GMM2geh3y2A7e3ZvUUUQSCeGIq/Xw6HfF6k/psDefnouI0zIItCJnh/F0hTaVYvFYAmkZDFO4Uk3KMsdp0YXfdiSQwVUSw9mnBxvu/9gGZhwa4Eqfo4IMXwdlTOLDR5A7FuKUqA/T/myF5mTyhH6EvecAd/0+Bpz7U1PTGYqYKB4WwjhUFBAEuwlv7JGQ2micGQd4HSZo/mCEQ82w7XB0oo0qwsderU7ljuMeHEWesvwFDkTX8SXgheRyPaTM/8+qkZV5D5c03dDO6Lio03D+7o44gFRUmsjJA2iQ+N3T03yeJwVY2BURcWkt0cTHTHmI0PvBndPqDsh8WgBGgqD73OF2HfWiFVPUpv++Jum/QZm/qPkNBkUpvyt5/HaR2VAyW+bqOJ4/Aeh8Z9H4LJe/jB+EStlfoX9ZCPKsS9g6rkf4fEaIqTqDaTZK5GtZOr1TidqsftpnWtbkvwXP6Kj4XQ2dAAgSQzp8zdNL1NLmmORLePc0hJGbjCFtYKUqidgQNlJjDK9KqwsiithhXERmhdWpuTMEa15gbzs5Lt1Y51yxyUWbgHwtbOi3FG1f4LkZI1ddhHrC6pd85DWVoqpuQVNnk1Mq0oIROZotU26fkj6fhqsimA4d8Kj21vehj/msMQnT4cq0YINJcQ4ybcNaUJIk3lM9fWNz1fdxJM1XMddO0CMcSHBI5R+wBq0TtC9X41EePoeW7l8p1kjXWi50lSUtGyK1F3etqM33Kt/vsfBa3VLKGy32HQT0BGrHYX7aJWTDxA84pN+M8Z0EWi+cG5SvYvfDQtSllFrtqTgzf1122sNVXvOWKL0HozvpgIakYAaggHkkaZnUduS0/+PGAL2hbVcBbDmA7RV7OwLRCpm3Uxznz48juS5WaL39MgIZh04tjUXZRO+umwGCJ1fsEH6kiYWCr/3wmENXb+eAgb4VDmTynhX+jv3OcygTzQ5KBmZEGtBxMf541+cnY/BBJtX1QPABzFYH7rBCAd70QNV1qKaQdzEHsQ5dK9/cWeqf19gbL9olbvAUvBWh6nLOjpV0TmfhhJKnMDnl8pDIow/sDBGhqrVqc5QuFEHkphD4aRnSpEethX/xA22xoN0HrKX2jf+4hb8GuRhVtYRZAIkJXe8Bye2I0fOKHTLW9B/uEhzK9/zAyYaU+vMpoydqkjxbJL0EIGG/cmmHasNx6bw==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z2dD7pS103gZfJ6l4USC3jqtWOPR/ue0umjYEY9KlLthURXCUyUuZbmGDPUXB2idlVQc+R1c0j6vNnMaKvr/AtZGJgnbuoyON96bndofJi3+Ri6+EzWLacpDezOCH680Hhfhx9h1lVKFlzvhxYVHrfba2JQnl5qgtMXioJPor/F3r+Z7vxBptNNmlUwCiC6lMl7g9dYVSHh8eCWMYf/7hphjn4EPpOcU1XUxOGlQWImFY5zYCJw+F5ya0F1VUrioVw+Nr715KQLsc1fJw9BgnKMcEdFw/iGgnPaY+FLTZNCJdCZ065gGa96Mte93NPVc4PG1Vbcex2pplKc8pSxqCGGtBUgULF/bQzosiM+vifxGw9kn31J1AaXuM6XTiMV35PbOl5z2TcEs5fUDpbhXFxZsK4F7wNDXDuWFAGqlMdN9ipPbv4cPyfoS3iGjoUl15MGHfLp2mLCO1vGxB2WGWF4Xen8CQY+g1onKhLv+XVvnAIfvJc07dlTPufWAeJFiu+eKPFRIncQ6PcleehexDRo3rRDeTRFhxxfcQPP/ohESWSGuJle186exwRwd51LRE7wgDMC9YD0ffBbdExJBKLjagMHxtSBLe/zbqdJjhsfGghlxuEPud8vGz1fNLXX7icjySE+f/i7UNh4WVS8T33alesZH+6fj2gaoLJ0PsHs5S3cHI6cT/eL0dmPps3kiJkgTVAtEKMTFyIDXLwE4nN2aLYumuzOmm2Z9Y819jTDdo1Xbhj7CWNGfxncZe1O+dPPXshgUAIubBStOv8HqhIh3NzYgA4v6ptGTPe+tTpBrmv3xw3XtNDvDrrtYEbrFBk1lPqxnmO7yCuCpjUdKFiknEm7Wsi2dY2Cb5kRKb8WsdeRmkWo21ZnKecS99fjLWF8T0cMcm+RmsIJ5EEcRe2VK2MZHbjv286zeuHDlZVCGoXZVm2xWyHcJf5T4+kjnB7n3oqPAH9XgmpiM6XU8NXL20apkljrnHt9ZYYn5t0m9pRfapdRo76H8yqhY+1KcuQpN3y64o3JDO0YTXF75yo5RFdcYtmn4TdBcArB9uJT4s2/XAqnu1oVr/2L3+HjUZSQj0RNP3/rSaT1RS+r8kXcVFmXA1uNO8jYSO+C4wywW1d8+yoIF6GTAoq9E+R1WhI0MskNN79t4t5Tb1QDyF9OorDd+ijPee9anXj6CJIFfnTMmc5nsQ3yns4BWx9p3uik2QmrVY20rkAFmN15xHKd3QpHHdg4WDhUeUXEVkSNOIi+re9e65QbwzmS5l/JSjIqH6X9Bb5W3RF+CRvMBCshX2Z0YVxEGx9pQ8p6GbiqOb/INqDNGqL4bhtfRMUTa5jpoiequWPiQ7Jdp8lHh+wLqpKGskI0SY1Stei8D6++f99b3hnEoPxx6K0TrPBrNzd8N1Gb82GUr0NIftEAftz56yHypuVOeSj9tLRsqPJwd4Ef732q63hWcwzJBq3jWkktqPEg1mWuukLzVoj0hOyYuKEAxyoTxgOZfr7/c5JTRR56k93YRIQ7ztE9UpCSZY1kRPJYu7z0sP2LvUMsWf41PnuX0vuEGUcZ3oERtGhHt3AH3S8c5dRf0HIJOw533AVeXj86cHA+Jz3NNcI/Xn+zHM6og/phWfEmOlDf0aM3kfEROYyDW3nF8B2SjHu3b0hfZPWML/YyZ+vyFB7we4+w4E8uVORthR2ZuDUF/DV7Kl8ufIPCEQ8vBxWoKW2Hk9muYKB+uXzeEyB4aO5wVKMh+jKnUeB8pxIy0us1uWAghWQwFFonEdFYQjgj5VnXKo812nEjL8ucUmdvwyu4BwSDZblvXPH5ny213EqsvqeIHJa2MzxWYWL4xU4M+trxXT/r1+dlsWXnsXhOzPapg/j1ax5UC8D0iYT9cnZPbW2H0vJ6XW6tClQKpjf9e+ekdt35l/2cqLYYUr8JGi746ZpIuomirulMZXeOGO3rqxi/4ea1LHizl3VXB9UdOibA+dF7UzkDwY2tWKEUHuas7SgyuEFy0HF+37K4ncP/2qPXBeASrYRh7PLooMnZkipYgvaEAt++iY8ff0mxvSLe00wxyVIfUzWZ7ij/HzqCcQTb0u26jyN98bDav8lkJTwjFkuOFrMRFYRtqpEWXl8FC8cPFpAAboRqx36PdwHa24N734tHHpkC06ttN8H8WHbwRUfYuh1vanqQfxQr8W7E5v5EBdPF0slInuNeIkfEtRWjSIYwfE4Ovh2lTA8axDXLSUXUjQ44A7goX3cy2mF3ZesdisoYRVdNvDmEnOAqYmfK8HGlx9x4aPiCSWKPX08TWdePbtd/qqQkFrrG+MDlp3nJXVCY8Ln05iLnq7yOjWLxse54nVpySaCWZwl41mm7V/XmhuywhDyuHreMeL341wdxBqDxv2AIpKXtrPv/5sYgF4d1KXZGfYOiFbAB6Z1Gof5G1ey5BZEUSEgv3ZV/60GSZLMQOkc60PIN8N6FWv/Il1Xe52xiinZ5QxS3Ra50XghDf0hWy+NllUvj3ZRT/mmtLxFn2gNgiKxRWdpH2VL1O5u4IfLAlyqhqse9bBs8qA5SYo+UWPlQKdWCLAb+XxwwoTDSjmUW2XzXV2+dgy/rIcOpQ+vJwYlNu5gEbz2qSp5dXngwHaOkfTNNs5litSRxGJsYxJhF7spR23HWbriTOCCp/Pz+/VZOo+G8zKZqEjLk2oi0unAD7JGl1TrCrposvuUh6LbQLKb+yixGBk6APHceVxh/mLP7bE4htID4nospooVcT6Jokfr/zEA60dw1LI5KiGSTDTwdjWLgFK1+JR8HkZsDIp1GBrMYYAw7QVSaA0K1eFaTLGv+ClDSmWqm8ZT6Yxmnxfgnq0wuuebiCMwaAqr/PgWGQmIWBDLzqaW7EiKW4R/ocbHwU/s3nBuwLTr4cMgt3P6FXJsfWQJ8wGJ3WckqcaTSzlbcpAUURk/qizkkGJptXLsndwn/w+Q+9OAw8z/KNSLZC1SeeWG9i7x2NL9yhh8rBnlq5u5hSnoh5jGPAOLtdZXEPCMkf0dQDZHLYRsJAxa05c/LOz4L7QWlXigiAhpLEgI8R5/4A2S2DwplPDEJGJUjoFB1CyUDgzKNyM8HTk0Uzj43dygRt6OtpFzBlR2AzpDFDejycMCMriU2JeTTONgd1spFPiVobnnHBCxNZWMQ9eodVtQUSsrroO+AN8ocv/LaK+p0VoZ+Nd9GPwrp8Chy1oyoAY2p8maprRL3EXS6gkGczrRovfMAaNPevDHSnhxbM53Lp3a4Pp0/m2KUZccEvVhwkqL9ImniIzpjeirn4kxk1jgF132RFJf3YXVJPa149GDUBZEqxRYa/m9qGOhbgLtoUpFJ6+IM5rl0a6ICLbLiAqVER2F+V9DvVEaCZb4xSeGjQyPO0OrjXXyareQmdc/BXPK43oNeANiembTiMtFAruLvbY3ywyKkq1NGZccn3Cq+qaQM2QmLkc3ajB+G8m6z3eBGfsHUOVmyV2CgtI+scJKDJsRbYZJrqgVfRmql3b57bricWjJUv/uYGPtt1pl9FUJtJ7W5TkF4bu/6EuELRxdsmve+hd6DZSmLTTP3MoPF4HCrU9H87hVUJYufGRzWnb3EqMbRlpdSrG+I7HPvzstzMC9BZyixSIXE6Fe7zka+v2Y1UYgmeON/cZDX50kFErToa7ysWEogwJVIA1W2o25dNX7et33HTrgYQTCOfqD0OaUyr/l28Ewho3UF6Wdv9TptngJ8ZVT4TEiFz08vLy5COnP6HbRLeDAvuY7JwBp74tSNyJIun8Ns1IBx+2c/wbLJNUolvxh+xqsbXJ7B/s5VxWrchNKN/RhGrn1NdhGJfSORtT90NIfOWR0i5quJw+hW8DKtTTkywA6TI9i4Q9nuY3oBj4n7fjRK7RsUy5HPzsx1xk3zlFpOvCGtKDWfZoYmyg022sKEoHmtUjoCzsplD3KUlmid2cWLyl7SHjcRNdSqXUfZGN1jqMcujH+KBSRXerg2xRgr7cmtYNW+cjkMkGidR/aq8EDsW0iJC2XmyxjAPsrwPLqJctLXWEDUmHTtAchZlS+eMD4VLeAS2b7N2OQ+Clc7wsVLaX+HZqlNbx9PZcklOi89s6aLyPesgqeO+bJWf65fVw92DYxG6Fw0uOAEfcBz2jCPrlEXZiIYLeBxTPDptWKkKnK9rPlmmwCh+GmcUIAbYaxNviwWLogfBbc5/FwQrc4NGqpVDMpLN3wpwUuDLBGb6Zn8cdJdj6b3WoXAKqAVAgtuX7ExwSLgAjpagqGSeoMN17wenf8szzcWQR2MqHgWKsUsqbd6BiUVcOOBwkoXR9AO/B7HkInIuLLzWIbXRrfGl4HMwxi8eDUBTSlL7KOeGlYSV9pPdCj+8KX9VZWO8ER0j80ebxbaWSEkdh61tJXLAG7B0Jtu26M9wzzRirWJCS+OtNbzXHTTYTq8pGTA2AFSrHGiG6smL40eL8P2+/CJlb47boAad+5Nl1i3CuVuesnPDjUW8KGZ6malSmWCmkEF/fj3maRYtVryCDYRNqmK5q5cW5qIgKvqLVBqt6lzOJhLrYY9pTyIoauCiY74hjXMTblSiNU4y4jNXGI+BqC2NKnFntEoTRXZpQYI4y5SR7eJqARqHCt2/GZcwqsBo5AUqtZj0kOqsogXGGg6AW/D9TY/jUehKMzK7FK/ukmaKeC4W+mcEYcQJjp6w+/Ya4chsaCuq0oLKAun5AiT2WGZz5f4e54PPgykDW/eYLsOs6siCM2yVZyC0qdz7YV74EsF1p9+CutBLTGjSZxyLwdL32e8FqxbiecFLnQ8hi2n5rsLn1a5Kf3uVlfE89s4lSOJoX5Jlb9B/rkUn8cdwZQKCGJNyvYkeXz3uOEYlVTz6kbJsmBWnpIVCI8tp+EiS3jl0BhFgpKcnktPnWFokL25IrPVHMaysqOwehD7T7eJOXVLxkd/k03WTQUpfz3feKgaSfKaJQ+BE4yEcebvgNxH7MMQ/In828+qzkorESZJKCbmvSB5cevY/opL0QcHb84aQEYGVTlzIREoW/OMygCUw3fzXsnqEB083Iw0Z81TdLlSniavKbwgMmqleVJ5g8+tpyfZhfmnBbf5+8iLq+Zxu+1NJW5AF0mUJdmqPgMJQcAabHDBMY+V75ahgrJufxLXlLUddCSTyT6funmGyvrmW1peShFeLkCelJAv+WaG0sv4IPA6dToDv3pry7DFduc90aMpfCMCHDitrFTIfaP1B5L00Vj4lKFn0m1f/6iiGxw1tiF6gmja7J9P0ouCskGgswPLZNMs9b6/LzkdCCK3FsPj+isqezoLANd2SZydEWZ+Sq/rDpkXhZyV3LwLOe/T2Xc57bTG6sJE/QZnRmIjE1mjxxmOvGDboCsqsZk9clQkMFCoE2CVLVLALHpFG5MoKz6Zy5t45oXdb+Nf+0o0rgk1LZJZZ5WbkvJ7Hw9Safs7FXDDHkoOrnU6llsXhx8Q6ZJfaKKzu4pX2WBxpNoRzCccTI2pkiFbH8R2I6q3EhM5BaEv4au1g/t6nLe20hXx8yy1JiX2yZYWm0c9EhkdNu5przVmLfk+oho66ZCGsXK4WPAuZtXEYEdq7bGN4nmtCShG0Jyu1Jaj/xjyzvyVu1wHpw9B+6lZZD0SJnniSwUQXp+ACzrae4l2agRxtMzD1brgo6i9za8sS890D4Mfj+OWoFWcm9rYaf34zyskQufbaGciei4D5nvuLdR+lmrubNpwEV2eFaVbwHViUSQw75VysLqUe7n99MoHI+sSURoFemfQh1KG3BI7uy1IJw3n/HAAoSBcr1rJGGyVGD1aSsJyzif5BU3aZeyk/4qZcL9zlq4DH81DeiK31yA1i3rJuiUOr/PI9Uq/u0tDHiPPq/4MaFQWygXc80AwhWP7VAOsYzoScBtHPyyjNR0hlCKpIMZHX/ts0WuUYoZWSwvH9fVTbdo5Ej7ofE9sGHWE1dVz2K6quaOcmix3yH6ZZ7GmKwu1BgY0tGzPa9+hqi2mzFnRh3X1HqcZzcgAXuN+Ce+mZBiCBQ4jdN/0uM6Sy11SfEx/R9pIWUBxURwtWkNSgI+AUmoshLPsNFTTPPnVO6p93rVZPYYH3/EviCSCbsg52O/2NIHI0XIyKV7jqk1mPlh6yAtQaMjZAeoG65RIrYFmU4Fnj5botkNbgFc9n+pxIi50OnjCdpR+Qu5bWjnqeeOWHpM5kbpfkTM22ZtXuJX5RmnqpZrhFucT0fNqOpB+dkYnyPVQclotg9ams7+gJwlBPSUCJ1e96KBQIreZ5K0uWyRmjWSkJ8nvn217YX0eh2VhsAS35q8/dc2sQqrUy5iS9tvfoIUz6tLkIXycYPF3Ss22F/jwDu4IhwJorKLfPbRh7BqyA3ruiem3qqZ4agF3hpAyvNSTSeQ5Zt8JWSXiRvKGt4L1apIrs8HoM+vT/REye3wtWA+auwg1sD8X5xXUI+0O/S9+dQmxYBK4oUTD5w2tnMdVveEFFUY2+oBHtqSKwZljlTmun41Ipv/R7qeANO4hj+IkIi6QvCACqjht6JhvbLmJAV1s6tpu1UTE4NNQhTr/n38AbGYaYJ0j+Oo37jpjEIz23NHGXJIgJY76wS4QrvR9IMMxjAGg299dFlvf5XWla1tRqcsXAcik5QYcb4m5SVJ3PfEipjRu8vQhPJVePiVcYK1nI9uD3koEXTyi4lNyCbtP0JDCJdhdt6j1zwrbPxWmGdEwC45et+8HkBRohPVA/48PDHGaFZULxqsdPIrbRqB3ZH0YGVwxxfxWR5KRXiU4OXZLNhhT7mroNnQCwdxK7ZpWtVsoiQfEOo/6r57NJP9oOpWZGeSrHlFQBtIaf5kAEgxbzdNJG2n7ZctvtEPpN4ejpVlabzTvxpRNNBBvnzlD/njKIv51JxYSdesE8xBQQrq+OAK5Z8Wb33VbX6Kwn+rIJpJZkJR6ZthpSMjDK5XMyyqe184XFcfqoTzx2oLzEjnC+hl+g6D3U85oAJJLzPSMUjepSrAucQoMOG+/cNfHH7C1b3PKbk6hURM68ibwEEk2jEZP8+ffTv4mNeL2zE3OIiccS01MiabPv1oewL8/QN/atpA8+HzPtx8e8/9N3MkBPGhD7TCQ5epE1LkJeLRrIyEK8xxlvI2OuHq/UzpV5QkqNi0Dw67Ay6LQewMrEn5p7DXM09ZExsyqGciD19RVi+xscEcuf7f2U2OKDPgF1NJAGDaLWUVuA/zMvcCMxkZXzlibhI6R7H4EAWpw4SIY3Wu1oBZZJD+iLWX4/qs4FbmnnH5CK5wQH1r1dfVUytf/hAymsvX6wLcYqfBxLvS5g0rMSQzr8M18tOPQj52ELZ99OUTsQMf31jZraWHp6cFhgZyPQSgZNIW30GdQ0B4ZOwt3bKXuhc8YeoXA9p0xnhk3xode4s+8w0/EcRlBVqDAxx2tPpxHvhJ/a3/bsFXFAMzp4a1EPAuFy5KEP4DkrJrmmiu2ZUTi9bGpKAlQT+yHwaYzzfUdQInuRQ2PIUvznyuG8zLZ8mv9bUNeLMXm7TiFLPYEubvZ2YDNGLgUb3KEsuGou+DvLI51Qcm2AEVElXuThFTCt6DUZOUH90wkaPHWkcL7AUl/Pxw7v9TTL4hlS5oEpkS994XrKzRpyiIRHznTsedX7I/Lj9uPfvTifPNhm3/2pDkBGz9pObkVSaiOnjDvkD80t6HHEgiV+xrGhMDyNSufk7enPDBwooQG5m4t4JyxEINOF713+sfLVFZ7jfvMGnskeGAAjWTVp4zHqUpnw6PUp06NtUw9TOJ7UZ3ZSCjJsaw+En6PO+7FZB9rZH5IDjNrng835yZYmLgo+c20lFfrxEwd1cD983pbWelFcM3ebHaRXIOnYgsvL/vkTRPumh6WomiSV7FRrsaDntqBkrusmx+XYSAHrYqgYpKQCpvq0uR+n17UADq1HkXF7MrmwB+kkeR4CQbSeOf9/rZv92NF7OL8jEIsWtKzqQWbxRDxb6cT7L/ahqegj+hbUwoJffATXsWefX3fs/+j5vPOq07Zltj2yxFXwGBIrK2YzXjxw0A42yOeiT/ps1746o51AhtLX6Yc6I4C+7pyCMUOq6VCCfSOjtI4W+WEkE/nCyPplbwItzEeN1uBZdpGttcVIKbdSgoahXNtSoC4qgMpWQsl5GuHYLU2DFtB7mkTcMfuCQS8hNq0IpGbMJVXvewItMnh6Miji69fFLvAaL+gqBh3A4U726AVkAoAIOEG6V0fSo1IiYoCdZZV3WyJ5DkQeVmzBJpvji0RbdSGvqZRSM5AqKoa0hqH7kasw/xmj5QqrcZTbZzLlLfjPgBfpHyqzFe7I0uByjnFiopX9JwUachNXn4pYaCWBgo9FUsqJmn8TgZFtZB9JGKWCIOfUm5pCZApatPHQzFL07mnJmtZJKx1q5xF+k9TLDlbpysJywNyq+Scte9rKHBHQJJfwzMeaJvE0aQ04HeyL2H+aDkzeoPhpuEyYRX1zPlYYa9LmvUrmnCkrA0J2A2pPnmvtno+aHaBePsxkvEbyJywVYfM1C25+Cgn3YOnSmDLTYeDOCT5SWUs2mfO16tdQ7sQm33Sw4McTj+ExfPPclCSXHVcfzEqqfD0X45rmCcIbMbW3JENtiVs6gruG3m8v749BhAplbu8/VOy5Wy5DtxMpE1BtBv8tvSQE5I/xlWxzgEWCw+iSfiKgggEpY41a4rgyYzSnnnhvOFe4akAJZYUAxT5Qs6tv69aULazXY3jkGznoxm7B21BvT5KoOH2z9R4Y6+PDh6NsfP5q5TXHL3/rhWaBUQMo7DmuYgKEqf/KYmRm5wLw5a8RVSrrDik5Am44jSKcbxfeogYb267WGMbBML+92i63qp3yP6LtRDIRGOmCD5WbcAEhJaZkXuQIBAX8+w/iydDZ/I/XLY01b3TUUyVd+JW4LMESR+liLOWxoSZ1/hbq/D6ZxLMaYdfNNPSTKPib6whNLoFjclVxIFd27p3ukU88r/4JfHVe3bc91Oml6IDOb1r7QvnqaiBn6FGb6r1RLtrjs9HocJYZ6e9e/GKTc3UzjU7FC/6FbqNea82dhkDWh2zgXkK6XWb0Gu3YP+0bZKTgIclBkeFNoQ6ETriZUjxFW71FtRFvOGoNKhJrJtc6qxBbZPEDB3wLpkyxCc5FBwxwMUjDiSBsNEIEqZ15kRMZbFHEHKEn8zp5cdc8+vXFGGJVrNzw+Ppbd+L/TrIbRBZjf/Fi3taamdmALGtf+Y/mCmthVzqVoeTSZWEv2aajE40WngrIslhwTl8wPhSy8xptNMKIMoxoczfm1vPt1pACEDDfkrVZ3/tIffEKkh+qRjJOgZGBFkz9OWr50RJIT8ePRDAx2WdB1tw4NUGT5H8WyYQP9DrzcJYquArna3tX0Y7nC87FvBsPW3SrU49JHw2Nrxm2IrtI4KHmzxmOkzC6XOIPR3n03fRRvgk7geUjgpLRE9as8vJVvSnVYTMni9SqUJnK+kg8Q3rNAOnSdsG1ELhIfD4pDHSZ/WHVh8yXS++YRbLOS0rSmdeLsnIFzOEHphrWTg1xfinSOsHSV07VpYkgrI7J3EjFC325uIElnfdthq0BSVUHu567Y4tcrWA/Hjg37rh03qY0QYdVm/BBW+jpppuhL/l151lFvPw/UwKp3LjPaKF6iiFgwI/EqtDfpYjenOB5lk8Wm1dalnsPtwPsMCULLHmdb8zOjX6mnhg0cOhRp2UhLONZHFRn9pYrF3ff5a20Tv0/lbLPyd4BBJ5OIHZknWg2ajo5is42gw5qRLuBhJtMjY2wTgyVl9iaVGJ+6Zx6iR1NOgJTd97ktFTi5z2R1TZXr0XSuLLdXA6EqqEI2QsTZKpuFqTBwXjcxD5DuE22eR4xbuSAQ59NsgxuA1KkaNQejrAjPSpfzZE9pKbr+OVzJJ9Djrc/CQIu0oYGt5Sewvl4pglfJqcfItyVLJ/9bI508fwqlhgF835AfTZ18Hz+ZGtdcNPvuLhZoW2VO2TIScV+iqBbNUnFmA0o4nRM0F464vZoTvXhtyRdrbdkrG7wdKfx57OsR8300LtVMrJWtHJvA29a+PunoW+WexrfDYGsUAlUr7BJtnWH4dW8odATrYOGnIpKgOpOrpWpBzmQ81zRjtypuimeRFZglFO21g9wR0//LP/JoEp4BDbz8SrzlBrnZ3LTXC96aI3Tnt2xEmzTYLJi7lufanx9agCgEY/83wUe9pUpWkidjdZvisdRREGoOEfitDSYO6YkaWBnjUR3YEOHOV6NWiyTpag7kTKjz0VzoMHvZIorS38/MkG7Cq2VWxTRh8qd1kNiEtYwVkBJtKbSrms8CCi+3fMmDAQ3yZSB/j8nXJoVZyqs5ljDXgh6AwsKzUt+9DAhQWLZAeSWJ62sz8ffmIiTc1XAb+F3RNtXOYxzNzw4H2Rzr0PMwLoVjpzJ0XgqrMtqyn37Ao/cdOjmxoHcX4kX0X2PCb2ZAfIsiGw94J/GAqdEmq3WRS5XcJIodO4u2Szp7RIZbkw1lMR63n2Ohj2nF8Xp6Bx1Rcv++Vopz74GpZ0TKjAUNucimsN5oAC/Jlx6asXC+JKZuFTAin4MUNt4YTklHBGvT/IiaeVUpInQKoHCwie7Rf5rBrWrkYYLaTBn/NCuT3YNZcxtZ3k4K/I+ZJlJY3DsMHMZfCjv3FeJio/GPKLBMW8Roevy6gpdaiKMePnBiOpSZlm+HF9XaR+HiZKVEELdqC1H4FymiRU3HKJ0N6HBJaMOXUhW0k70iDMsDAXZm1rW2EqR/RMsw7b//32wA254Vrv+Zczz+Wa200ZhfFpx5MsZ+8CyaU73MbdD4F1BRriW3KBF2fQgFq7FmcdSDypygydnw4VzYmD9US85j60mspoxjFuJHMZrsJazqj3pcE0OfmSY6tULaCTZOaf3m6HFKuk19/6U2B9v4PnYaZCN2qZ6LMSZr5E4UvWm02ES2pnHnmUDnC1PwHjU0J4AVg5q/+P46XxhH9nl8EYOphtES8yYgMGYqgTTTCcKpO9CLorLFhnCtKZO+PoC1liia36j7M+iTdZjPdjS0CPXRbSJruMe/iWZXjEsnBwmDwc5vhQk7nGpzENo+qhc+oZEy44JVjwtBMXDfTVl7N1j/fXpp1fXe2E3jhNz2EJlD4hAHUfcPvvjcBFrGpnk8kfDk776kfI+MSTBvzS9C3YuB8yGUv8U80xsq4tieyVIblgyXepa5UPOvmzDm6H3K+XhdFDT6vq0smEcJ4R2MVgeQldIw18ZepGQ45kOv8XqzJYuTKFGTkM8E3Pt3J9GhSIieR/OlUmjtRaxybL0eDRMT/KotvF4hReFE58jr/IQ8LIwBjLA2QMlU1e73MVT0dvmWSYMcCotnn5xfQm4pGqqjN1aopm55xU0CnzKPNN+PEZzo+kFlm1859HbnhSEwPDaHdLDQCk6qiz6XLhXHmx6A8YGCZTGenS2jwOcdR6m66rwGvwt8rqTRp3GAPeaplej3jwkGkG436AM5wRNskB7UndCFRRZMmPfUVuscAv0OGTOHli/NPrIHEFib81jGS1NEVq4k8ADi5xMOVHRdh2UckS/Wj4HVUZnyb9AY+E/WhcJ6qfTLumfSgCsPPqcs1u87YTL1JcBVMVilmpknPA7xbpuId3v6veWqFzqOS5a+QvQuy4pamRkFqGvwYSBoZKSvQZnT0MTDc/88J2hGsIHLCSFOSn/IVM5trzLkXVFnlJV1/XtgmgJ3X+bHfMu33DWvUDyKKy3pu6RPXxfqk96r+l+xb7I9d3H56gH/g+RsOFD5pveE/MMIHKPEhrt53NMAHMXEuqTJiQs/1WYPnbHv3VAsG2Rv2hBaiS/e6+IuvsmBRB+3Tnw/82w4/hwntXhb77DnpwUIQnsRSdp/DZYGg2eMMhPok+A2nNFnFHadRaGzf4juPvFCJwEScLCdLRqn7C5tJ+ciF+XwlOcbQXaMXlHUkLMQQHBauYl8sOXKTjW9qQr7KwH2t0nBryuCGSTPniD0ko3/wvSrPBxMiM6pDlIRSldoMCNNnh2J70nCbfgGB86WDiv5qGMGY2kAb/Pb6/TUTIHP/rL9vJmCWKL6zBZ2aVTkwnvUHvq9+b2EyyFcSTa38UebTx6DK0mOHGREPg1uhQvyHD5o/DkZNhARg+svYNWwyv+i9rZ3fWHqlNeDzwZu6ICqwtSEU8PBxy8NIMeLEwenWbkw2RGwjJG3XlxoXwuwAyeEdNdiICjPNNdAZVGqj4gezlCKE3MBKLGeeO6IDoi8zYhaYQq7ousbXKhOtil3K6sILd5++SZ7vLbNKiYH5DgWiVuRYEzhfuDuCt0OVLijcYT7THK1znMWE2kPC0n0TloHZLrmEq8gP5DNIQRRzsx6rv0CAkt4jbegXrbQzvUC/X5Kc48lVsWZHH2P8TCBno/kKcjEduxNgvFU0UEjVTtt6YefYTemZ2OfZFzAQ/2ZT5YP7eWDdatuIQ9Hbpn+3qsJ0qU9wZcAYw4PE9wmxV6n5ugDueAcTqRQpifKlyzV8PQA3MoEcEpcJY0eCkn7Kc5/MaLRsSMYcukE/a3BMh97VpwwIIsFZZcxLODsxANtF/dYY1ycuD7Ajs/dHMzy77oqSMlkLX/ZXVPQ4Fq2V7NTVN6icPBmOb+wxwAPYXlGTfallhBKV7t4nJ9ZlItwbW131iupVb2WjonDhaCFky/5KYNJiC8SIgJX4NE2fG2fOHjEopBBlUw/RFqvIEWTZFpbRg/39xZ3537LfZJtckov2QiYNwMSK4MecflgIMR/jUnAg5P5Ek3aQLbuyQsB/d58s//T889X+YjGB2dBbKE/nRZmRQzMn1hBQrILqDPSsZwVcE6Lya5suQUTf5NW5yjk6mSrpLkxHtisZu0mUikx6eFOtFeYqclcuMH+y/mYE4SV8kHxEwgavCv8NvKuFCk7iB6HU7FkkePVnKsjj2p/5tUw/QdbGuwfp8uFX2KY0L7l3pIgPPQnIqpklAZm62wsKpA32ulHu3VwJjzSEtzpnRg5LshZ7Flaomm33FJUc0A7R0XjEFAeNHVIym+srGBKK3iVGjUtWLtZSAP9XNOERPYecX2Duqi+OF6pJfioFysi9zdIpyH+DM3v95iiwugK1ltRj5qHTxm0Tdg3HwMFgp0V00BYhnGNh3maEJVs5ZN1HILDDL4jqu5c0zQqn6A81G3Cinq0RJhnaz4IdjjOtq0WESv2roWfCaCKQNoweF46pgIofiq14F2DNOUi21Oi8DyJwpOj20UwF/tOM6UQ24kt9vWPnHmIOcy2t+9MV7e006alqLQMZHVlID9sL5+TdspGHAu6z+bCdfGGRJ9uSGYyXRxZhfzDDR373N7BNdCB7Z6Cb6rW4QunH+VkuclwHg0PcEgKyGGfPfyDawO/92B6Ipsrmo5ULs5ubA+8zZXAXG/ncDyYzNQCnTJidaZqFo2g/n+IKGTUpdRgeT9mpsLbWABVUH3lsSHmt7kB96zmdG85jnGxKFVcURasQRPqOVx2AFgBxGvAo3EAM7InDh0XR3CToC4CWPhmClwPidq3+1H3GGfebw2fF0q6E/nGwY32y+4ws6xMbUNIVDSOVM5aVa7fabxKTPxVuVKUyQymF16LyLqBfoBp6TEesFebAspALExvQgYMLGCByah7jpUsWBOIG8xHBUqxIXVhx01DhcC4g4Pbu0JxvkFdrztXCBLD2ju2LLQDfDSxRsUatoeVwXNXWemC+UGD6qBFYPRo6cebFVfwNVwatGjtuNRZfD8yGwvlGH35L3Y/Ba1TXLOJQbj2NB99ArRw+lIK3lB+7o1xKk7bjGjTK19vUIzGlGxx/0rc/h0458GFnoAQ+li/BEeoymf8RuVOHhdyfg5dHWW7jha6FK/uS9fO6v2BGcLX+93kn8eoGjvP2RMx3OHZmpJamCOeoRZ9DTVsA1Z+51ykM/fJ/aIjxmh5QIuFjoDJmT9cPu+sapiHvbUz7R4II/cgGjV4yVnFnZjUEAokmaMNr0od0ktPqCZHZknKQXxMwNALr3PxVEkNJACLOoO5Xr5vKsBGT4lA7P1FsZn+yzio6oF82sP1W3n0cR1p7axq4WuyhJk+6UprOXChJ6Rlj2sev0tx34KSl8VOFfvoZJFmcY3BqxPbSivvfxXCKhWuXV1CZ4D0FcWjq12DkTonpiWCZVvo9NILQmcV0phZ015I3bhK2zZxykjMC1P7f+LRcgsimNH9BpspHBk3T9zdKXos5eKBV7tfdDK8oo9rSNfbJyzLC3JVz7jAnXSVbrEfFPkJw7iAcKGVIA7ZuJBlCf+FRQjAyMN++3ntc722o3Q4BHdyd615ozO1IOYHie1mHDZ/M4PRZfAxZ+ViB22e5ek8i4aXkPTbyCtVqzXG7IdDZSS4wGsW7HKq1R6SQY3vM1LhmfHCEU1vBFP4GCHjepVdXtvFesdAcg4fq+YJcHXQ1Pg/Sdu62mAc1inQiaOoJrfe0RwIIRtUHlQI8S0My2klY+qdK1TmvJf8J/gwlt/psZaOhKArJuiGrD3fX1efCXtd/1SC8izoSaAonLJxOx2GvoxUfConDj7H+I1l4/UTvhWizrzS71El7k0h8K9yPM3lE7Ov+X9AYADDpGRKFbmjB51Le6aadhP5B2KU7VZ0OTbkplpUg4mMKkhvGXeQLi9ubGrjv6BYIlqCaD0Pi0euUFyhFIONmPqawD8s4XQvk54u9Tz9g0vEIFzwg+4BR+EyO9nMH9bbfF9NJzpJ1pNDO8HoI4mUJuOEbUSUGE/hkhtSnCCGd0knbDmVqIkP4QmRL8PeZdKPOE8V19x+N3Vi9oLiXWmgqshYptRTqeemqa0ZGyXiuuijo/BZaWgIeJip6mi0PgMFD9HwXvg0wjkPb+k7iZyHd89NXL0LJ+Ur4ViYtrsNeinITtnCxpjIOjaallm+6R7va3B63JyoCURdQayZh0LpTTa6DZZfH7p3HyiXIgRpwVrhZWls3ZN7Hvf5O84v910ZiIr3x1YKrvBef9unS9RpnwUnDchJT0Eh938Hz1VkIqIOGKkD5odkqN8GQPO60I0L0bgRDqkT6xQijYtPGxpGdQPBDvHQWphCL1FPwqL8cRSzklbWyKMYh1T5tTC3szFcIucBxZbAygFQR3M7BC1oIcjlaTn1V1F3baBbZgS4uabHEX3ZobitrnEZE3apLsRu7I4I0bsR2XlpmWVsYyxvMmwr2/Q2SD5g+9Scx2beYhkcMxVpfNxB9+SoXBFsZMpTGmL8CPUc0BA5tfKJddGRwSY4jcEMGo5vfKy941fLR2zk/oydXVW5O+17CCq/7TbUQTW7S7dc+1/pX9mxR5+KX/WpnTlBvNifbjGn6rh2Hs+sezhagF7YztPJnLKHTcnd7lOmWg9V5K6zyej7ZzSrA6Xjf6zCqxDOMzMWpBOs/Gw7+O/Je5vjd18HAz5Xi5m8ssSJPNDZILL39GSE58fBWO64pXoDTUNzhdmpQxlBGRYeL60yfU+k1l1pjvCw8qSgOgiBUWYK8iTIomRJTDVmjZPR1Pruy4R5k1KBGoDtsERY7ye0rbZ2gEuh5K9qNc2er3yDhFi8Y5IX77v0rall8b3oIQd7Cc0eVIu6x2Ewj245vO1gy+PssqcmaFtn3Q2vkIf8p3HLFQuGxsd1Ek/cxoD8WrmCg+t035Na4xF+XP8MS7Q7bFH010UDZmvqk5bSJvmPSWZ+LFhFTqwUfptsDCpisKBhy/r3t2c0e0dWI52txfCW+chTvcHvJZYdqJqC4AS3tZg0lzWSHOhzGMKYprs9kEaqYJMJFO0eqoYHosiC2LrSHk48qlo5qLewzvy398ikZcRsJji6cr5FC8nCXuQgAwiznhwB8DaAv4+JikMnwq5RgAioXk2qvgOPSrsCnd1/7/a9YOg6b76RzDVmq/dUHy9JnqBVTE1SiuxUhCWqczp1+dZCoRoAktofS3nm7wK4uvp2z3/3TMbrSv/2HxtfLCS1EZ+CrdYVJfDqsZMRp/drAyUCIBsj9N8zH7A+xOvtMd0oVT47MeQu8g9m2IDVy7Zl8KYMby1N9smcUvxS+edwpMSjURN2RhQx9QvVN+geqEmLMH0ZNyCkv5pAYYzgt4gJyIo1NL0RtoKVAzbYN0QG01ssCn+lqFbw8YOvmgk9jRZYnpXkXW3wOabSntoEP26Cgnr8LeXHny4gY/8aYeeKks23+8WdXTa/KLwP8Y1qCdluD6TnqyqYmdJSTYwKBhMjRbqVrs0Ru4UNshe3F6QSBiQcvckQlUFXbtjX6uR/3pataK6CiC0zJ+2O8Ljv4nCrTg7J1wuVX0SG28j1er/GfFKOk5W2GukTXlTZ71DUuc38LzwG9qMAuGjaiSGOLU11ot453cMq20+Jj/xKvfRAKiu0+r6CcXi3eobXcsVEcMb+welX8829fpIBpNNpF7kEUs76IyWWVIT8oszGwXDGLYV/q+e7GqsvZese5SYvxj5XPshX8oTO17WNRAveDcIpk5sZV0q7nnulS4jd4fuXSLcO0vjeh3i1cjwdMojPkO/WdcmpV7wGD2GoDvOAnG1ctKEFHPvq3sLb9zZS5vCwwjfv5X2KXoclDAJf12cQdhSHZyVZROmtO3dejXLW0Kkhqziu/33EMANM7cMqCwTdm3GolMQmuB/NjZbnXbm3UsJ8xLWB6Km3fMaARob3Vfz0yy2sNQ9mefkBEajA3W5SZ2urOp/NOruS8I3zt5Rr7d5KddAu7fPwMMUnZE2gNmMu8EVtjzIGgCwPeoBTQJyD/QV0oFoTJT0GfQ/7JjQsy9kL77AzJzVLcpM3m6IohHNXXNxT4RkJ5ImKnsrJZFeEEqx+GjFxTgJfc/mryn9vN32p73JUDI4hLlnFv2fe5ielDQo1PRgQaZVk1wLRY2ErV4rNabLgpyEQH6+km89SdebSYi8yBW4riy3nglWK0V7zBdkqh2Uf/MQl6Yf+pISsOfC0jg4TGkEirUBVx/mrb5Hz0/duksTCyGgCHYAEx6U7B1Xd/0jgGLYlgt+bcEQY6RNUwNbz/zarP7EWeGxTDKXYpuJhX+F8/14nEwK1bfL9oX9xaq0/0vOtS2HJlLgErjoaTrpBK+9DLNtRmTGbZHKTT2Nq+pk4iqxWU9JXth8RsHJv8z1ztB2dMDSOAmHTEPvHp3v6turzGiNTV3SMu7xWQ+CiNSy35btuU3389eqAO6fPDH3cRPkBApJxy/YFkwG4nnDRdbxWQlOd4tMNUpQj/JLviek5mPrOz1nW8hiO13+ilSU9ofgFtqh6C2mukqyZ/tHl+7/AQuFZeNjiyfqzZK2pUQ+HVtbB17it44t1IsGUECJhOfp12O7aDCkU7nA+fjWm8tOqT5d5DYHwQP/iaj60p49qvOWZBM43/CxGgXtpSqUKJu9yGiCuFDaGBK71LEFVZM5aIDWD1JA14Hft29QszWJTQ3wu+9+oyyRlOzgKg3jEPEEH5wGSHqu5/hUmEnrM5DMFkWC2760HmXi1rVJv96/cwatLA23wH+suGMgN/SsHbZ9qB+vZIUulgCF/lS0aHRD3iSybI+UR3uBK99X8XScY0fYEJpDg9Sb0oiOXbJR2aO0bkrgsIdR9y1HgSO6dfvaI3ut6tpEWyGyftWRAi1P+4PpYp1AMOb2JVUpiffL1/aVmWOGnAqYI7EgPqyjSIVENJ89o3aTxzeV7LbztSBykY52pZKBzwjfWSdGWjGKX2riW6OsmIAjX8RKXWJwQ7E5EtWaq0bCzdWD+gDQ/X+g5wJDyJpIbCe7L7tw3QqcksKm3ouQ5OGL4Y/Ih9mAo7ZLdEWOC+SyXhbsy1FZtOP2FGRBsD3MLDSqr2/6KC21/ZAXQrkrnuP9eEHHCXlt4D2gt0ms2heQJ8Ue7VVaHWb8k7dvqfgsmO+AEmje6SW9uUTwWNSxUlIgamrvrYy/8RNwccp4Yo8ogqhhmhrjaJxRCfhJRkRsI1eSP104WKbcjo8g1uJXEcX/pBIuxeD0l6d32VU8JzO7l6U2qKAgHnurnJIMLsXLyDLzp+wuQvsbYzdIRK2AqpU8izZnijCZ3NlmdioKbkN6BJ6vt7Cp/5pwjOTZ8pKQ8BE9gGg4pcfjiuKuamRJlOp1DxjTmj8OJxlE/ULB/8CHT/Px7e0lt2TILfNnMsN0ebavivlzBzddianMLP8eoz7fh5a5wakBYrgkHgM8yiSpfLzOMZKHPnYDvHa+IhquKyDzJsnY8+svcDdYS8rtpFppzUfze2DhyfAXnwbPmGpvUqWygP4sDU4VNps2OeOf7Og9LOwzgFi9DE+gFR4oDjBs/hK4nCq28PV+PA5X/6qpjU28q3ydNrQr0+qt6xshYvcUeukcFhO70DwX/GtSZqJpsHL7H3ocup0q/0FAJppbtFMbT7SafF4G9K3xrv0fFgxEJC6OOBbfC/Gfr2hc4Tv/xtjOo+cPZ4WldljQA4YakyPJDkjBqbnI4kvP/mq/bVtbO4w8d9ZDVBOWZpehKZhvH9j6TSHTsIDsbL4eDY0VTsWJIYiPobGQMu/cv+oH03GJ6TKnQwf7qaehcmznH9wSbuf6b5v45od+JrYpoYkt/XhVlrdOgNs4SsDhxhL+jK9O2qL41NWGwgyAzSDYrDPNdClAzTJFTDlLLHItcGemfFJuEiWKodohn8fmRFgHxShlje8BjGJ4KXiGIdf0OftuhPha78tnnen0/BTiZbJ1T73EetUYcS/Gxf3kLRiOLSyxR6qDp5qwMHEYUjNFt0lnoIIDek0b2P3Yj072KYjWhJGLEeP7XjFFiO2PoBNoSrhz+Qh8q0UTNgxWpEYo+KHvNl1eEBXySunHGlSB7NimSTKxCc5sPJjITZ/4HTUTqD9DitpY/lRKKdFuT0qYw/SVbTWOo3q37vHiHuKP7+Lcr7JMHhzQd4kQAACkcRRIlvPP8sUdd1e1tu7pm0DBB6+HVhVHpwdepYNe0r409ck1aCxItz43sVLIwWlKB74XhrdDQXjpv9GQA5z3Qi/qsVT1KQ+NXRh7FLYaY2op+vS/EzbB0d6q5YYsbhR92E1RI5VxE572TnGnOopKRK3UtWlJp15PDgZ2ur39/ekkXhjmIwbFzNN2MfsoocaZiFcdM28SomgGouovukyph+eri3HK92zeGkpoD0Aqm/yUPcKsL4AxCtsb/xgfkWPs33UQYimlo1AaBNL1/m+dzKoH0xVfvV8NLhAuWR3mDUimcl+A4x8N6pDEAiHRWlwvwSr4AOut0VHeHPOZ5N+a+pZKRNa2GZZIpMThWlD9O0z944DSj3kisfD+vKx7sn/vfhF0nNwGz9ecXEuo/dYH3NfuEjBpE58nMtWorStt0BENMaTl0gn6Q8SzVENrQXlBx/iuHHzW3gp+lM8Vs2swq3lxlRvfUind7+YgfCzdJRBESXwVBmFZ6qDuA6OEkMmfK6eBuRWBrAX3HvCoH64+wUH/0fvXl+Y/9ePCJ6aRMfQIJS3MKByu0MNL/XeK9uvHbQSifDr4t5PoGsi+d/1FNeDTSKwEoI+Ea5/ZjuIPnE6SaxDSKAMM1TOPjau6eC+ADHmk/s9B4UiXSdj0BQkjwg3FIXvyfq1h9D5reuoRxsGNvPm+FkOVW3IXTPJ9RyTKX2DjS3x8BH89UFT96T+KiHby/fUj+/BJSQMV/njZ/ggsEVvgZcNhnqJHFDNpWvtiqLJPUK8dU1ZhRkOBhfL6zPRmfaG+iqzzPDRE6w577KzExMr4YRW/3ppCzH6ksoALD/RcTVI1O8OP1VOXOSPjeB7UYoz7UXZfzQ02lFXQQBcW+n5dHssFUxbag97/MUnWOsELyHI1US9qh+Jm6ULoPI8zX48qwdvyr3EiVbajhjWBhGtGrIIEdwxktA/SDuy5mZuNYs3E7H4S6hlm1Gg2LshUz/+sGIqifcjl7KFBaLdkeo+KA3zUkYO5itdL0Of5PwrjlsuqdaLUSmOkJAgfF91rOxi1DfPXGJ6hJ0dNVyB1jjyPUeX7yHgN67KrWWspjX3qNbu8Ru51cqCbeGT2mOZUUCg1SbW4hnnt41YDKTZ1BbdoAGdudSfxV7nDOp3G5+c5nPeYkPLEMD5FfLvoWp62EVyNN0W/wagXH/NkF7hXOaZ3RkeOH9BIqFvbUeyS80O6SQ6hKCiVLgKB4t+/4YMD7f2Xj3G1VWG5SDFGUdu0iJxtNJotnyN+Rpg+I4ZfNuzQ6e+/t9WpR26Ep+4atJ0zZFgGPG76G3ZttJzPPEQfr3XilKumNmVRBff5zYTL5vufT5MXaOa+XQgJGL2R04tieg3Ij251DrWmqvBvdWh1HrvVUmb0cJU07Ote+b0xinJ7rpEdgXTXywfx2hezu0gb6TrUNAWYnZI4P9cPkc0uITx5FKgNgepKpym35iqknuP9hvWJlEsPG7W5Y5yB8K5mRuqUosMwSxZzLOX0nxInSgt1/ztL1gtZmN67hFHyJDmJMJg7DW6csgNgYJgLQ9OndzdlL0UipzEr/Vi5by8R65bil5SAkUwxtAtC1RBd3lNXH5966dOArwt1OwhhYNo4euqrl8CRkSMCdnzP9TLbuOKwi8392sKBymBHOQPI2AcPSwAux0bD/76H1aF71auoTZ0xeXW3LjblUpy9Kgz7s1UWoBCTIVcTVw5nwgoR1rwdxhKaF+CJ9A8PHCwTm6qO6nFFn7kpZbBOfMGbrtWLnph9TR1FrBGVelmv72Qyus7frf78798awQ5XjPOgXAR7dPYhVvDeHfjoSPVLUNhQqmg6//S8hDfpZRMoTOomyCl/lH+MUUbtUiPAjhM42Vz7P8mlHXA0Pbbi0i8sAvO0Mdz4eMOther5KvuO7EGHe5vsKnDE1IUXaA9PVlIr+V6d90gqufpqvJ+bu4X7a+89H69FBkCXd+FodUFT3sUBplPOvqsTYZeaNJaD6A9urU/Ktj2Jzj5ysfN+yzTtlCmdYSDmGHKce/F3o0cdfnxZuBrf6mQB8tzR1QpTCmx19czhFWh1m8Ya4Uau22sKv1URjIzpsCJYGAcku2Rm4TWQ6gzv0unPo/jhv67V1XT/zWbgQM73nDNiJLNznt3MKD3TU+THefOq9fXOxtqlkkNWSHiPQp0ZV1lEXDla/5IckfGb78p64Iwf5xuT8PUqQ4HZ0BDaWwPuBoRc+Z0ij9jwdpqBNgyCQTTlldk7xt5Kv2jkDh9F+AyZElgJDVNKlKl2FoSug5SD0VqpD8j1lNp35oDrKrht2eZ4husCOwoboJLnLBJYwEP8JIX6ni9DdoQ8F4HT9UJsX44DwajA8cMxythighd+lVcL/dJ1QH/y2YbNwOH65hr2PqbCxZ6xVuidATcwSSXpCnkDehzL8PO2Fqew2XYDJTIhWAcA/gfuTcFp/t0L2fMEICCjC9UFkAz2W0sUJ6XsBJ13hb7gA2Dzo/c8yoaro/3adV1Wz9YGha0XBfx7l9XpfO+UzQbbLonvru1iPJTV8/AkkuxXS2mize63M6bMDFXzJyD3/UiwNedfZ2BBY1htsYgWDLHi7BIesXp6J5ZMvdmBC36LVAYTa2R03/M97m97ZP0WMjoSquSBAQ9rU4TQd1rB56kHypfOzOhLt1UZ4JiJnGgdEJhjPTLJ3FIp47fqhEfdLyEAfXgBxQwz3ILrxm4uNWTWIdja7F3N2OkeApAeLlTJg9BXFXL/kHDGDhXO9RmLMg/9jwVUA8evkuHhTB5sGiOJcbfrbrFxz5ave69MwgbPjECjY9mxpXMGFPp3KsT840TNC3Oeit06DluvLJmhlTBCOMOCWiWDA+enILSFtg7/btVDBk7GPqrOcvDP/eWOrxtiUYDMar+3EXj6yn9ngMxZgRe/n+r8J6o2qLikAFxzwktpM0drB3VJMLkj/SiW8zUbh0Lz38FKmSytSPeH2DPdArn+wgdHiZTh/RwYJmPO+Krj3+777MmtYmuKxYBBi7Z3gJB/H03u/6oBjiHnoRHKd8NufkqSQAGG0LjLT4ABcwISxZjKdV5zl6ugTjS1rrnf3zQEhdqcbCeeQvLcBfj76V3N4fb6VkIWeR4oMtD0FHdpmOVi+q1A9OC+ypEeW13povIZZf0XeW9l58lczVNz/v6pl/7xZmRbls1zu7h6c5OQEH4Z/O/wXm2/RK3S/xirybQtrJd84iNrf3ApT5yelpbYge8DlX5xcnOCZBpJUatCaoo+iQPYsD91zDNzYvpgwCDDVo+vT7NylXIDPkImNg9oKrBlu2CvJEfVwGn4l9eXW8SHV3l2mh6GrUB9xCdfzk38kXUIGcBPc1DDUmsSiImaERZxbQQsE5Ooo5H56khXASsnshE+L69TlCJshpjvI6ANrQSOdfw8mCSg0Xoz4ZlT/li/WmvWx4c5/OaSCyVv61NwePqD8RBEZLLQrjV9dHEyvYsDfkrP3wAIkFBTcxFvIRkbl1HzFvtNVOkMCdoPc9kTXyWB+2iSJ5nsSgU2bYsGHtNRC9l0yGNRGX2y1RFTRFmZFoBe/AWN9H5s4PmJ0CgxreaBtbnoNfoUUA22kk696wO2yaScetGQyuqxyh4/k8Gd9WWr5rYTDmmhf/Afdaudr//yj5OYNtVIcUW1ambtq3l+y6VlFet764Y2b+zxuWy/jdknWr0zViS5ygGx0s4iRddFUsSRfxKqoyO7RlER9C76HkfeypMLOhBkUqLuP4CJ4uxL0nPN4AlfrBUWSZzCguo6Z04U1M6Fgkngu3uKLxbIVzzDpIubDHGnfp9Bza4XzJ21oZ7SFc+Yq0YLmFCazx1THTfbBhOy1bKvmkclAcHknMYTqaB/3ng6r6fpU4HHjt9BBlRflP2IhYhKnIqqKhKrq3rYVKkw3cIdceDhfA5bL8RIL6LmV7MJ58DNPDbkzUqbgg5GVm92U8m9D5LvCRWpf8ezIt6Iw6vLtDF7rMIU+2uXi9p3UcNMtbRmxEryRRmasgwh7f9BodvgbOSSsp07j+MHVqT7IaF5aTOR1zMoN7p0uhoa9G9RtUMPefJm4pdBUyAdRBkaauLMuaU6BQ6ckKawPEqFjf6BQlmdGohThUS4BcrnGZYJzVNfp14q49r9/oX4LY5aivl+t8IOCLLEp0uT9BiHiSX23tSdVIK6D0jYOcThMcTP1d7WKoTej/U9XGmcsrLP1nVbbV097ZasYFdcSR3ntlbTwWz6PgZw9M2KNlQHO2pJr964NKDJBcSzd8getR6oBWN04HCcfasuroBwSuUGqJ82UStbrhWVlAnMFW4VyQ+2zZnFegf/dU6CpYTdVUizJnvBJraLNIZZvB1yIvYIiViI0H4dMw5zP/AHezFbsmRxXeaJA5XHGXOPxr0ex+86mJemGowrCYeyopQEqhKr+GKvWK31DzwiLNro9QykySGhLv0hKRcBnGOidBMll0O6maLIlCu8lQBkTzkFRrPdjOT7ksPzVR0vZ+YvDNET0kwRxQR31eGf2dfwVC6K4lmuDU1X61HFiwVgZTMJ8wdxiL43UsyVC1/QUKABB0dYqT6Nix85bfVRlZuL10Co58HmBfY4rnVgZzw6NHigzmVemnfaxlBtBX/L5C/8+gavP0UP7WH4SP565i3hpDLCr69ZG6BnS6r9sBJThC7yliVHF3Vt/tpbFVPO6q09ANy7kaJ3aHh2EXN4Lz70UqtFBLKl3lA/Y938ooMhnZZOzKjZi6n3qC4FiYP8PRjqtsJYe6ntvUPfsgaC00c8AyXRQ6IrPihXsmW8dMZ4ZldVJt1/Vwr1pzLMznyQN73Mwx+JHhFdEsaLfNNt4dFnHMG7/VnGMwzrGTqf9Sa9YjGLi3fgbuL/xDIAB8JoP9CyE0dq/q/1vhqzCDB/6hsoZIG5yNRFY0mdnSkYMFg6Gm/Vwqp6jHrIXgGBJYyEQ/OMe3YvcNVW5ehXYVTTY7Nju0bIEXo7Joz1jqIWK3fX//EjddbdhdoSQyp4bgG18+S5jkaKmm97cZ/DJKAH+jZazVitkCn8wTa5j+RqUzoAnrEMKmHjo1VUP6aLlRssb0CbkASCo0K2YlFYFcT02oG1+gupbSmG3Ddg2zFvXwGRFZpwhmeFTazigGbN8oCBP1QmP3/KaB/Q4d30PDFQQOyfwueNnChfBzlbwNwdisF6/jpwzqXc0771+elxZbIUmzhnAOdEc9ASxYlzMaES6umgw9C3fZLOxqSVFYmw/D+j661lvN4v9NJY6Psmv5J9Su7RpYjzQtKRJnlWxQwQlNVEfIfNXL0FDCw6yirFa/YrAuWr5kIFHQF6ehdPbgl7qqa+nyAMAuGWjAYKtk37RHITwtsWjJgkmDgu/57nh033csRxff607na9QAqLocjXRCLPk1oQHGAS1MH0/3EmlP8pxv1tG5PV9JsG/CFxotYDXjIqd2Elu840ZWSAz35nTRo5jnIccCJVNNCeVvSCpMoaJMpIUDDBshU5m6jef/B+n6Fur7xzocBtONHM2Jb2NqOHkRZEx9DsHR6+m8kzRQBSmqfb7a6HthD85TY0BLx8LczIgIbUegrSmD6r9c8G47l0CXEqjxCso3shcUfJUPUsflzFsTCpzMqdRckNhAoalS9OXeidM2k7qNz9YDuSVcD5ho27PQDWX0DgMPcLBxqnV+a18Z/Bjj2tiA583YvWnrZFBjQrWbbgQ/mfGfPt9BrJU0uBgmDIDenoYDwYPi/t2Thq/8wgt8rYSptONRBn+4a0B6VchtnlswJiMXT9m29/9iD91avsu+o3CuaOnWMdbYwvS3RhGJrTisiEVlB0IzwOp4S9vNQoB28NugrhnOa0DA336ysPjwYXZEYwx7qsD9Y5/VlZpvVew6LAJonOJ86CNCAeF0n4qB44uXVf4xdKMneeCtGaTQ9KSmFe70Sg9TWlRZzJ5uWzTJgiTGf1eZNyfh7m317w2TSLtsVEQqFHJBETZqHftlPOGJY8Q9/59GMkYr3nLP28UnnqaA/cprm7jV73ZDNIhnQetslolJtEyEzvbaELREB3mdLshpljUjE/epDGGZGl4QTS6eKbhl2U8dE803FBqmS9ifJnu14+6u8MLDV5Zf+4QkRF489lEl2zh0ykqSGxr3Md5t0XOMVVt6vNAzSNLqg4xgHfFf0b/IrubSOsSo5hZTmLF7nUtSY165MXclbgIBO63zSPMoGnd3zFuGsEr1ECAwZtu6HxdqXDZutk7qkH3ML572g0ExKRGP2sQz0fSdcS/2e5uobxOkp5hxV//sSLV2NKWhUw05KquDNG/GFFRijiE4FMMIq8ejPnAiFRoLz2M8ufUTkwsccxfA3M7Y7zNnAmD0WaOfm8XVicFrb0AUZjtdRjBdN91DDKHrTGgRvUnzmlOWx7hEyAwnX6oTkf442RDZNOM4pck9A5t+fhfGzsQbEm8NTIMQ2bYL6TIJ8TyzQZGiJ1iR9PGaNstyBB/7bhDWEmCOenAR9KhbManzBo08Jejnb5Fvsaxj7e3hECKoN/01QnFxtz2oDb3J4tx1N734KDXCPr3ZbThCvpD8CMU/Dwpi5817Nz9cSXN0XuWCKKZ2DRE27x+DTSGmnGFhaOtomFPazO09VbyLY4DnmRo4fIBkTyWQfEXrYqTcbXSKp67ih/I8DkOak7xYwAOqU0htE5D2+dVsZNHajL4+mv9rjfOIEnETOX4/jppSlxRk260ySYIGRyPIlP0L0LPqG2opnlWD6XRQgwXK3D8+7KivPcJWjpaIduc8DFD89DWDOPEgST1YndRqdjzMmg+HW6XOz2FTelHWBFQnJgdMFmkobBvl84YWoULZpczSQ8AW/AAMquA5CK3i/B9vOLTC/wGjLEc6mI3BIFiNxy1OUWk3C6g9b1XgB+ogsKxUrRVq3QV7iKg7J1VSgfffUqFp5dxgeCspJQzdDWcJfWHkGZvYqbeSl8kKMEOLLVoscoIw+eWfWAUzyHCrSGDiiLO75LrQAVgK2eI4k+UuLyXvyKZtp1pDqdinGdanFnG0ttmdpIKanPyXU/UboS9VtjA7XMri0jYQBfeVnIvkvEX9AXSABkmkpSYX7rzN5y/fkIOh7Yc2g2tW0AGEI02DrPOe+EJw/mu4Kf6f5SUepHok4UDkc6SYHCZA0ZGfrq9GrXi6CUsEsauXfOvXcu9VjgUpbyCyzgNh4jCfqlyIJ/Dy6DpK2bidoxdBcWGK/fxkeygh7qS2szKFWIjN25QRxydMxcwI4+BLmMGhI1d0kVEVG2Y+f+Tj6IP/JmdxjVeadqQGPA+PCSpL9+eDx/Ykg7cFF24GENhtY7CrzPQoGDR6l4Sd8gOyTPqidfMh+w0vzBExLfR/KpuCZ+aaYpV7Ds9Daum5F609JVWaSwnnQCqSybGQxT2DoPLm8hi+rDFt6pVlrXUbuI64WxocNGvKJrDLa4Th2B6pc5U434huvhLNDP0Bc/+BvmaLqNiEQ6QlB+51TUcWLMWON7krA83a1VdR+9l8NRQiRnKy7VWBq2EfCtXd732pQhRNeHejQvChge3Cv3HmHPUuaoq0/rMqJek8+GoN8SxRIH3RovC28Yf1v/RrFzVAqsFSL32PwVpjRxY6yUOrCfUgw75SsSQjye6Yr8krlnbYye1TxOo/N+3PUDve9xPTkEdDEFHwvetkJQ/KJisvGlRYPGCUUqAei79EpnW96EvGENO2PwtOBUU6OUe9Bpl+03DuQQBpLo/b870i2+DvAkB49lQkhKiAIDlRJd38hUTg29VhVZKLKzcQdetwm+mADsIwMtrBBLMoyRJ+nsBFFgAE8z3LSW+Yr8GYxsKaKz6sLiAtCRie96m7ckaqzCfPSZwT/p/SzBvq6knVU1PUGHGoVujvRkAGRYNVdLLxJ0XEmYe4CpbJVK0Ix0ahizKy3WCpsAmxwD5n6/Ahx5R6iGq9s2YNTIZm3l2JGNi48VIUcKO34Cykc2tXuI0leT6LTprvZOH4t4/hJr82xmiObxbQeRQjJMuS2uaewngmJ04+LaiVXEwE3RvyZZMEStxj926P2hS9pApvJVN2vXGgpFLBE7pqCOXGIIzrQaV1fV2Nzpnuqw6S4qBylRT5JQrISFnaynEUL0lYh7jx+1Q/ru28Xo3L9oCRd/7tBOHTEiVs0UMOmVgBf3AmwphJUKtCjuOuAxcc0p6GJrjPLJOQZM/dWgf7F7FnIE669fz4VFzq4/yfLgncmKkQx2sTYzOBTLqe+43X/7V3L+GhfOgXJcnxiyaAzSyof2Xh3d+3nj5X/IgZ/HLT6aqY6jONdYh68liuQw0EM8GB5U6X1VP84J23b6c4PRPksWXNKetICXBKApCkBzROxdzkitFVuMMdvP0qakQts5V4qyTqhB0cGoofz89WIxE0uDsnL9z46v8X1wIUaucu62KGJAyyGls2ekhwah/r5aV0OZ+4jk0dIoe2V6Fy1UNvCbEj6f+dk7/mN4yU+P+l/hFyNHJGf8oGOKyawrAFsitqRQ3+hhDh8MFBf1XEnE+n+K7PFmVL2B1FxI2nPnD+XjAnaoOZH4HscAR5BqSDUq81usDcL25WRyMl7EDrP7K58rm8bVm7hBJRhKIVDZ3xXtokDukKc2gbE4xY1hszH9QmYts020Z2zY+YKLKdskUajQ/X00Q3hGUNsKifn0F6A6Ia5Qn1LG7Lb7Wa2jkN6J7hGtt0NE6SnkuShLjDHpjQAq0Lb1u5sShbjDi9hg9VlrFbgsgWvre8XVBhpXqA5BUcSZGWcJWU5p3bomU6HYV/Mwj2ttehP0m2QhozNLmiECCTCtyQ8MxHrW+7QdeO9NmFcDfaQAvpjwKubzWNNCm2bZjDXY3A8sMW5/tR2TRaEN+FsOrgGflvJsBsgsLV24USjnJYl8PuP/nPrB1vXe5yfqCZdOiItVIz8FIpCo8a7r2wlvuhVp4RL6S2z20vMQwuJAzBhg3glmBhXyYV3YqHH9uzuf2V1BkGv3AlwWGQByzbQ+JFk5yVNJMY9k6isVRgsc2ikeE45DSQCqvmtoZjOHt0DGgK9hWctY00v0ic5JJISBlhw/u5n5u64JVQs82+TTvGpFAg63/HZotiTb6Tx9wO5XJXSy+VBkyrYtYKfNjx9Wgx/+TCqwb9M6c6BoVr5FkKX4q7kA0ygqVsg65JR4AKcrPJRdylljoeYab0Yq0dxhXVwj49m8Fzr/eUo4QCmS76Ib0SpERC6mkW/YUsIe/SrGkJxCtpi1qksMidk6KdJF8jOw3lskmHQmD1CWuW1rFNBBVQVLOFyjcq71bLB6pHMF38Tbzi1vp36TnRH3zgqCBrTz+eesxz49FCrn6WWqVIMke3SsG04Ov8gbNb07tzVwivdHz6Bq6yU+/DCex1V9S7CbllyEvVh2ewFWc6d5upjlNtiBkCYlaieuladWnMClGR7EOcn21n/8dzknNmuaGYkTaNLhiCOEQXkH6+YVHex1ODSBkMR3d2+L6X0CzdzQEBL1LyjQB9U/q+T+dCDCb+0ZpMBv35ps2wR8D9B3uovaHgnFH/G3H34MU6SH+HdK7YpCxQuBgFGk+zHs9eeWyMHHckgVhwlntueNt4eamk8+xBvrxhEG3lsf0gqB+xbGQxD4jWLXaTcGry7VV04g24Gw00IpkmA2sLAdrDgXNTbqxN9r9PVtSUnnxQUpwNFBxHoL3z8h8hHG8c9PTeGdlsgu+TyW5gF7vp1eYabtOXKW1MeqRV+r+VqzwwoXkwoSFcRSLOSynnmVj2eUFb3FBAuuPmDV57qVibCYQPY2StO60PTYOx8iMb961ReXG1GUYum265AVVAETsDRORWitWyMYJgLv2oZySgvkkZjW34n3jwoBOfZYdYFhjWHt8OKAMyDgTWg2FgBFJDligWVtItk/mnmZTqxy84vgyc3jztIFyT6HIF0RWZhNEUnPLzaL7VO4nLXrFheD5Rz28VaPbhGkkn6QaITm27lYof56jc/zzR1X64ASHDYaViPssntw15E32vBHtc6ko2Ijd6SLl965DWVdpT62lOn88IsIqkSa9HhIQAc71B0679QOQ8WlcWvusxpQxmTegQMcOLqAm3tnvfqSm148gWcRIB2nCXdWBmeNH/eP3kWWwt3fqiaaz3d8A8ar27YfK0RjWxVprcG5JoGzReVXDFE4805qNrB3zedC3hTtgQjk5O0FTz2ojdSkzY3ysoNaOtUR+ZwfsVJNFJ2OgDFXU+e6WpZ/58TTHL+92Vg3Qqqmxb72i1Bs4V85r7jfyhovVKphXtCVswuIyGY+eMPdogCV4YBD4efBQwTYuDqLCJH/T81V26sJ/HLBUBPN7wspj/LvDbzsH+4S/ygGtsNZjtByQQarDc3L0+dw46/r+KuVp+RLSoae0n1r1OPNcBwqgDMcECEaohrZJBnUZa8MutTDS9ZLuEadqgdWcNoJDNZpPsk7c9tR3Zmp8msZc+aPb9PjzxhxicxlM28qF2kuy2tkISa3eWlvaWSArNnx1oQhR8GoAa6Hkt5LuJYxPoYWI6Mpdp2DrOwJYM030RUUb0vVVH1ImkpylKun3hNc9qckTRwK3ywaRExtU0U0L3DzlpDYX8qXdABM4CLY2C1hcY2eDzRCj7XnqxQHWHcM78z5O/hoYl+Ny34O669D2ZnCx3C5AokidWUCk0r0pwXiihoUepCTVV4Z/errc8wktAtJ8BH8hIr/TE4nzU6Ec+LG94hCJOBxv+Ka8DR1OWI24OvNdOMW5lO3zJRwyC4s1fVgC3d8uCuMqqtt8O15qPLYXmYh36gKwkWaGrLlp/E/OLnezO/hHXQV95xAIQRCaaMrGkV78G/qOdUUl9BYt61Jp6rpRi2fZVeBFbqJblAbmV8Hy71PRUJqDEHNCaYqQSd621RbdiEnPm6G/MsKI2h51I80UHBWTrr7vhqmJJsChBzlm0Ps5ySGbKRW7ohVvMQ37JT/8SdQRxk0Ql1tDARGAeDBq8cvCBb/nAcVSInsTf+6Ih+HeFs9z/aaCQ63EM1hs3dKUfygJ2jmMF9UB+oaKLtO51iek+zxNWEOPJV97d1qoTXZrH9KbueePIg1so7p753N5Sk4q+aGhbxAS+JOdG6+ue4iFuzoZ3hvIrUweuIpUh+Ao6VmN17XqQvoDNbxi2LY7ndav2k32BMsCNL9Vr8gMXx6p4LVREP8VU9OKRCD1om0tjfvBFTevStmpPqqpL/a5bLnjzYpU3wHPGx5IFulC1lPnjpk06isRQHCtT+jnJ7WRXuyZXfTrdhEX3eRzvQlJJi2PCfye+pZbxSRArWMVRsxHA1tDwB2ehsE83Vb0gN2s/476oHm9t9uPJU+RDQag/yQghBFbkfN1H1rSign6cIs/2xrxkDorGhrURlEps9qZQG0fmFnb/Y2mBwmQ6G8DRcoqOphgJc1eb1dwjkwKtHdsGFKw4NB3dhhwNzIJcGYnO3zPPuY8yAnGRoFbg14iKrlpNBeojjs6eLKNH1Dnr4GQCUBOKiSACzgq6zt7osG3sWlkolK5YQLwCB1IW+rRzQ2xa8VDfCgqnKhhJKMxN3oK/AW8K1ifZm3dE5LnRsRhTn5dbsJkG+eY9YHvi5Wy4FHh7iaQdOyfXe1RoFtnmMh0y89gcM5dIoFaxmFNpMll9V1oEWGxKkXS1gaplOtJf5eQflYdrxSGkbfw3Qo4gK1C9VFoKkhzaN1LMC6GcS+RaHGedBYN13CXtxi9q5FRCSwgFinnbFrXg91hVPHeWNyIii49wTAByqHf6ijZm/XpEN5eE0XPKBvzrJ+Eodq4T8kEAt2sm6drdKz6L0JQr9rYjW5GeE+Xhs/7vNRtTCUMlFmW0VaJookx+TmqnG2yXIvpnsmGcdERlGPBCipg/teEuZm4rtYZNrVMCGO7Cm5HQQwYSDDcUwHJVtdwLX+Da5rdl/EwI0Ve7EODtH3fUfwatsVIf+96aXvAycetRnN1IjN1v2F0nl9aUUyPidTKo7gzcc60clnxxx8T1zWV8KnAjtkitDi+CITK6WW2haOp+upEcVNDzlGflb9qMEuNruRInJtNf34tTNhFwIkR/4WAfy0Fk2Wr4GccFy957q9o2zd8Tp/K8lHF8+xr3Aaz76VtxPQAzH1nDReh79QGiwLMXeuF0cybkkeak9C5sCstoH3sNO3FLygOzO0GEOcoQgdAlLOZI4ufPfA7eCkBztSsXw41kwl2mnTn7vtttjDIR5G6j2mepGLI27EjZzazZ8k3mCCKEF36AEix9NTbpvW3GNHnnm4uZhrvrSWu6mrtXH7+gQkPYohQnhOA4aY35WY5JAXC7ek9Xnb8kD4V8kWjsNHb2l9tHuFIXhRKXyIiCy2ttapKrp9A30jPnqsBbbIY7lYw8vfBXrDyw2IObN3ERnGGNqnXLt9LsYLcyDJ27XQIrO/1BE5MpyTO6l0FdEhbpEQ1evVTBPp+lMsXTPlHyW7Jg2eE9HLk4Fq8DyW2ABhEOZH6iDdjxzowdZAOkDh79gr/pi8ZFxkkJPdePKVbHrbYMV5Zbb5Fkuax7NwXsdHdoOHn/QyjFKZNgHbFfnLRD2nQQ4GOhauI1+DRYtU+1JNKvVAdtYTVOhH7c9mgTO71uELdqqP/k0SWax+qHPUvsdaKn9MF5RVZHd5v2NZl9cv5UJwBWFZmVXWT0KL2do2URqNluSUzuaw7e25XYTF4sxwiBHeKZxi1cFx8BIkaJNKOXC+0h5gejw+PBKNU2KTDUi7UOsMYXx/4XbtI4QfUdbtdRYlG4f7OmDo2qxKSazPseCxn0rnWJG8Q0/WPzBoMPrPLdhZRdVVekpojHsfzZ80CvAM3komzd01sciqvHTm0WM5dtUsUFFg43n6OMQck2cNvlvfzi9MvTMkdC63FU2HV7jrmz1gwxADjw+IwY9OriQTmA3N+AqEfqQ9S2cmAVmV1xn40gZD+cqy5kOkpgA+3Bo4Buk6SRFR1XQ/ioo0ryypkC6FfBOeXmZc2eYeALToJAdCKtV0x1ConMbTx0EiXxVI+/mbBrzGLKZtz6wNXfM8X7EvSWWtbqippKU7/IW+8D00Ml6w1vPjPPZcM3zXwRsnAaIzzJCB5SHe7Bta7vxb4vxSw0nalCBLAWM7MqLFWFgwXpbhTiyp7kmJAS21a7woPAOxmtJAgJKAwQR+FAmRwXfFKbn8XjFwEzZmBEnP58bStnxPmNTHwY00vyGefu0Kv4nqxTJQNk/boI9K8olDg8plEHahzlVU0U/OubAhr5qPXoss0cr4VYid3xX6laLL6KWcTUHm7GHs8MAhJ4LbMkGcc5wgDHi1hifxDgFaWUVUlRm0jZsbzvJcispzA6ozPvushsmIQvzCppCiRg3isLNsYZs+OZI5IlHjvbaQ1ugGETnWWAk9jHFxw8y+giL7o52ADYz4QCuFGT0UFy1wRvVnALpBOXDL1C2gps3rOxeggMD+RozFCwyUwc7kGkjX41DYl8stOBrLf1Zmso7RECYPHfnNz2R11IEL1tq3Y84ezc6b6hi59tBZZ0o6PA16T4uZqg43Sl+BQgxSiGIL9QJl7Q2DPo1JwloDFuYQAmHQJCFW6RukjwDuMfxM92S+ARLq4+kEKqmUncSFLPVOEAlUrpyOIPeTWlhgx2e/0n9urM64lqYesBScEr6Avtuzt4k8n45lXydrJAuDuZ0A/+jynsIdxzxdeaezbaLqejBseYc3WHd6CAi4hwiVTyX9l9t5Ys2QvRqAlGQ4VyyARDFD0tCVRhcBrDcHds7f9DQ8MSO2kUsjfSmuD4llheV7XagK7GfJaDQlGFbcxMHp/8xwYamH6PLmg6yNlmerc/EcMNYfeUQTINesk2Sz4ty3mMYdLjYnCrMbvrWytQfdwCYhy2BzV1I6UIW8YPyVRMUYsgxgefGLnnptb+KbIYsIA89Iw4hVoUqWUrn6OhUOiRTFd539RoxSi4IcC1PSMLyrTLICCuyJy60co0sqe2rQ1n1j0AsyGYCCSF3oFPNubn0WCdiGPfb9opqbDyJD5YAW1c3TjY2ekyhvW+iU2zCvTrfOkurIGFotnmkAHsPglI+BI6MZkcjFVky3fehnBMs+2cyJN4aiMmBMDuHr9eynWaWCq++mkwteM/TjYudTTiLLB96eyxb12S8AUbLJQ5osoymODkScJTsWfdW1QxGiI2F1Uf/sa7MujM4d1nSAe2y2Evf+iX10lHHhWpAnDeI1Mvx11GquZSYoL20zcglKBNt7asNWMMTcMyYxrcq/ztjuJDKTmXWhWSWtAZuQgF+v6kCnoOAFFGSBRH9vkyxsJTJFEsf5/EvGUspNifD7+LSr7KEaRn68BV9N5REusNWmHNDX27DYgzGY+yAA31yD5Z5AFYIB1hSFzGw7bJotlo+1MJBhptFVPcMXHyWD7+W92jwPDZkNnCGQSnaPkGX9Ig4U44+XEsCsTz29Rwu3/09VacWO+ThOoT9027FOBk/A2rLUYFbI5ACRVEtyESE8I2SWS96KdxoHKRVaW47AL9Ex3JhKfBlhQqgskq3ImUTj+mBcRk2qTJsLsS0jhfbhR25i8Nq5U5g/2r8ZQe/5ZsqVeDRzJOWFMNkKYudE2Co8/FLhHjIgDPfXFNjci73y/ejtIMh6eGMhcKfafq0SFc1zOIpMyJ5qiT9RZQdAg4Ay9m40mJ5OjXqcOUMO5mg9HmIZgfvfyIHryc1Pwne9jqQkc4jD2ffsApuhBmve529dQFECxTd8yPcT+J1qhGNCtyYXuNEkd5Q/FNghH3PlOKUBnZltEgXSP7pIa4EjlG1DXU6oVX2nD0KqtR2gqxdrlk4DOu9UKcgnij9PTUmUniCAVJNnwVekeSUyf2dTh+zTf3BFbizsqMo5lnKaXYEqj52TfkVMB/sB+PSrcMO/jki9gUop5ZYAUZVesNlfFdmjbGBQjp9Ql8Hm/3MJL4lbWX0DuvylNHpQWjP1zKp6dw4fddj4GuQiGuInam9r+o6XDJDKg9ZucQW1O10UGRPSStLWZ3cuW1eO5OG85YhkB3O0tSWF+afhw1M8tKSAi8imXalMO2CJNDNN2kqrhPFKLlzEq5jxfyt4C6GU2acSlq4ayigXSps1HwdyuubYukh7/HdazA5hh+hT66FvXQedN2TNKNSkY87BUyCauS3X5jJ6uEfTQ7Aw3h3B+ZogvyGdDTvFpk2CEsaxuWhCpeC28olg6/1j597s7KeajrBesMqL2/GBL/i2YdGff6/oTdGwLrRpBH4WfkFm/xvLCREzqxzFF+aYBbpl4TlURHfh3Xl9nwSW5wDjVPrU5uBLJAWhbi4Znj+j2mvOKCf4ZraIMAExTrz/dwDRIz+kf0s0fFc7qSGg0ij1A+ivpDN6VYaHhQofUq7WS/kEqAHSJE3Ldm3JMGV7wMNPSKaHAe5O+/UZD8FV71a7H+4PjKoLV5xaxl+9r3lpA2Cy0eqXORraZCLACQpm8Kpq+BrYqF74LXFOxy/c9Zk2fKcZt+vgA4cs3aB6ZwRLTloTDF7TEwghJh6U/bKE8NugZBuCWn5k8d1tCFcNpe1w71iGGrybUX9rivxWuW8duVeixTqvMRF15hwErbD94oo9S/vIDwiLtrLeggGnBbR3cLVLRRSnvhigPuUljfa84IFfg3DKv4OA3Xx9bMoP3ToH22q8fGV4UveomrYtUEuYd1kb1q92eSFII+N+d6CeAssA4vAIVMLxxH5slED8uxG8CkRAL0BFL8iF8wKhEo/+8qqAD4fX0zfHYpNMDAT60506ttbRH3mvrX4Ff92YM+eVHnwsfyUEy3t4ar0Q7VnxbsA94DXgAIwMIX+3+NfzXSxn5HX1jCdYLoNiMlVb+KBmtV+35t9HJQkE/GHsWpyKoX4jKoKat8fqUcos0anQWjhlu+BX+6/Ni3nyG01sHl5Yx4D0PlYImYWr8XLyNhKIgJ2bkg4FHuq5wFfBkb2Z1JJgiO5/AKP8API4y1h+yzPXcxB5/AHzj42lfjdqqTgBflbetzeo1NpAwoyHyqYN5CtM7SZsNbz3j9noK190n0ubXEETL2E6IyEbibznvYYOzyTSRTwZvJMWbVeyNbLRtR8kpbLEzRCB+h6mIdz8k7eTKIF4WaIUqv9WCZ0meSakvy9aUhx8t9lcqaS8ExrZ7RwdMJielJfZMtWTGYXMOOmjaj9+IilDhUI+0sZO36YSvAhbqTvk4mGFkoiXkMGiem+NFg5SErPh3Eo4djSV91UVlbV288JGfJ0BOwqT3Z/ncJ7HAls6qtDrGrhLr5U3CI0JTrv98YCOqxu4d0jIF2ChdHJi01pQgYm9JvU/0d/97UzMJz4eXhGCdNIVUKOEJpL8AtOcJTp2hKVIkMAL34vxnGzE+/tlHRiSsLMtUEd1Z+HKmMdONcRfsmLbO35NGRsw6cchsuWy4mwuPy+lBnkzB2quhxp0ms9mjF+IrDDS/5xZP4EcwXuRGZau/Z0yBQJBAzRlQm8e+OemyHuy97BptPE2LPxU2d7EWsY3x+YQzQqzyAGp48xBkCF8EuhYxqPweKnFQF+3du9s+eku5gmVoC3cCqJVfUxaJYDMXZ/mgapaE9q4xjP9t9SvVqqdI+d1q0j/CecQ3rvwWk7evF1A3Hsm0uQoW92aUMIUspo6o1Vgpx5vVuRu7rLLnXZDvGW2IZTJJTKwGK5iYY5yslDhLuQno0pDv25ZEYoXzazbX9LXS/fs3qA88/xxoYGe9q8BDdIYc1Ih7ddwULQERN1E/IDnHhWWcupRths4bxd525HrtUSIiGDJM2p9Dw6/Mxf0LVjWNQeYxn4URiR5otJzr6ic01bGrsMS2KgXPff/qcZbB9I56uVBZtGuJUAzen13GaNlPodk21b5N2h6EjRT0LLQyNz8RkBcbN/cML+Bf2lsMbZ7g5illa4iISG+alSSl3xSueFg9IcHWds8g+M8Shk6SsoJg2eMUhoWjudTtQLVHqdV9VC/hTSY+PNEXwyO/oqt+tQzPXw7eTfOli13ZbM6sOfXmgXG+AwcaGA7CUz9P/ItIGheyOj4TtMxj1vRkRylFxGwb3bpbmr6eLXoo42btAqqvYphVh+NALG98N3Fx+2RQ75aGNVCufoRQpzEJYjtF9HIKpS92XY4Ru90/qR8AWjhizpw/Bzd8g+AIDoPKDxFQMCOX4eTrzGKvmiDtZCjVGpSok1lqVGYmCbj2W8qsfzLGAYwlPTmdwdVadD5ukIQrg+CyIvFaXZvQ+6MidHWgkK+Z2xUpDILdE0bB0be55JjUHcB+6OGcEM4tVYHL/V6yCUCT7mYh+qZLcg0aj3W+7jm6Ek3SB74SvGwh/53dBRVssvB8exi/l/TxxKjrwAst1Ls+Y9uOGUCErQa9SSjK/PHAl6EQAa5FkVM+4YbylwGf9tjJrrUB8NlFZ0UwZyVCxIGo3ZWR634IweGljDAEhwXoFqZX7tpmpTbwzlpDNMCtNlX4QLC4kxl/caEG5grp8+YTaVJ6MTJJpWZXPEbT4cR9feeH1eDsObllT7jVYuMz7OiZUWcdRqXz7nVRHDAf+7IG4+If+/MgKmaShGXyRZ/yC6cZUiQawFesiT2zNNj+fqJVLPXnMw7E15mth4n0G4BKskFGE+2Nv+teJjj9pJXBt5+5ymif/w9yHtBtMCDj1f1l5V8n4iNZJ5c50qyapU1fesRcn5tEqj9kL/ScVcLSjqSxhRTRyE17GtPhSVugRGL75N/zIMtgMfZzNVbxjYFoR5rIA+hG0bFyY9qLjnFphxyR1jD3OEGxHa4gvaWheHrTCBPM2kj8Zfh5rVdtoTaR4EswNOREQrd0noZTY3eIosIfWEw2VvZKCivymyMCQFmtXsnWnQX6sKl05UH7tsgGHP3lPCN7MY7aYcFBKveS1bfXqMwsqf0s6rQ6BqQ12ht93QagQGrymn+EC7qGJZLKXZ1ZXaynI8JGI+0HwE3dJk/yGoYtdh74mx84CyEu1+TN9pxVhMrn8v1eTgZNJz18csdCP+ZLl3SFKQLqjO8aOPiajn6wJw4Q5/NsfjBu8aLxFJ7DN7J/ck+xMZLRmdJpuMSU9hnCJueQkZ5RgLBqEkF7Ylj1rhL+z4j3Yq/UxaEFBVozVkpjBxphIuGosuNG/QzmHH6xnQKYNp3LfTrfSLhqnbJhaZz74RRnqd1ElIqYJMSYpvXZGbdJ/g+YSlJx4VTHPxv/3ZxoA9lLh++9HkAMQvngQD+bV12ult+8sC2eeB9JSBJVPrmEnb5eNw5Hy1wsswZJBUXOcA4NEvFc+NsZAE5PwfCUhPb5rTnThTRzhuFf3chojY5Jpi6lZeBxFL4KTJ1fh+AmKyPQ4iLM2gNW6ytRCfzu5YzxHj0w7MvQIeuxGSiLzPiuUh0C4VAOXnaQDfkuNzIQ4lG1+dLhY/XITmuXZUmHD8SE8XjlS6T2xGOkz+9WTpaiNPM+M/9Y8NTgLT3mCbOk+z5jGpRhCZKDlQIHiQzksLzeTO8PRnRsvaAMBODJDqAxk7uJ3q3bfkYA2439KZhJxY0wqy7VruU5H3ZxvT/XdosjiOPKm1CKyAU6pmBKTwZ9JXv1Y0GHs+KOnGQPCfI5ROQ6Z/xk/fPVr93NRiUpYg9vIPns3HUDYOltymxfr86+6dbBLqn/Ou3rDHIqmb9EEl5nFykGYm0L60IKuIF8iPR9IaHdP98IgKlAFd9A3HyEQ2MMByFY0KXs4a88SRL/s2DHtqxlBsPEQTQLAR5UxwSbJbfc0Fsz/2ciW60J632S1fxGN5bmJgYTEPsWQX2E4p4f9fh3KSlPJjo6PoWofa8hZ9tOT8WkcHrhbORTgdCQ0tHknRM/k7tdh0lB+Kjn5n3uScFuLZexpMN8jUbZ4OKJR+I5RIvrY1IUlaTIzHYV8xetFdZvcoVDy1RXBfl5COFVgnRDjS8ttYQphRak1pn3QuJkiQAoqdkRzzFWQyu2DEAmPFaHSM//2kVf4mL8qM9GNFf8VfNH3huOEPNjEjS+ygv9nGRvl8ii5hgidJiIXLcVb/03IEq8K/UPWsDqbGIXLg+gZhLsyZqSZ/jdQTU6NnfG3uAtyhPiMDYVTDThQ+jfBgrzoxVoCRSIQQKWijAVeiUDBdUUuSJUE2076S7K5d/nnkDDS76n6j6kxPCDM3CLDL1cKDZvArWigaU/71BPS+EnbfJQ1vTzctDKs9XnDWUXN6dIToIw1JmVVE2IB3fJNfCLyWxrDHVLLAYvgW3pr6WoeBZTgPN5tMist9aWjQBl5xG3NxIQCjb9xK0Ntc/xQ4Xmsq5dDXe7ltq9UGi/UKLm8IU3kLikJ6bhxksaMjqucaTQ8kTxMnBa2z+Y7YDaqooUKrjHyLCiMm9XkyjXZFc7/1/L4/Akcbe55UN420tVHi/+Qy/aPFn1q0oBTScVShvaRd8jcL2qD3JhpXCbn+nQxkvt/NAncroWFNoGvGy3XySITsvqQYf/4b5kMw8Cptb2eZXozJT6VvGa0J7RW8pte3/g4SH04Qqo7pHq5duNpRhb9wp3C4gL+tDDXSMMVnp1b+Vsh03GlFRYwxXgeGEu7+6qck7AHu37DLJF8gFb7abqmnt8FfdsnRK/eTeoMuvtN94s4pFPlKCqji7Hi4SYeZDUOvix962HV6Lb+a0U3JPKmeqVrWeRSj18vitZCWh2Q6rwwV+/JDU5P1be2Q463H5wNKby8k4G8heulCLGeHJ03yDNJgwAHPWCHQFvSrhmoYrfTFMu219woQpCzXgpBlW60YTFIJ/IzkpPCOH3TaA8uceshl9ZQPKl1gJd5vjJV2dZZ1KgVUirknhQDgO04SDm1E9OLhrjsTt06R8TRz1Xq42N/wlONMVHPGjn7i4T1QKtpVIoHmOLdhhN6fPZikzdYfQT3RdKN5c+TwAy5CIL9lajyzMDrCGJQn7FP4+M/rgAIwpc7x7aebQnBiAUNEtQ6n/tOEukfWLgLSAKBSpC4jwjuXE+ZAi7hs3deB3mrxSfxT3ywZalKTJZtGkrZJ+JyW7PYePiMrLZfjpPrkYV84hrSyGiG/RS7WEEweAjLaa0VrjR8BUuPftekiYzC+YbY7557EqtcNgiabIgNxj1A4GKxLvCtbs0yA1NRvaH879TwHTnYk7HP0xUAF0qU/QUfiYc3SwwtixmGdJETd/Kzqa0g/5ZI+FiGf15aS/9TQpA7N0cRCyaYTV+EQuTzr80vBpx1NPRnOpDXN2duhtsuyF2hmwPQe0stG6RlFsrDK0tVJLgTruMOgkQo5MtK1Z7Ult7BaWGwmxlyNJ/Z+A8H5fnMTFw5d+Hvp6Y4ZT9c+MSvydVu68eIemiF01L7DR85VOvnLo9dTpBGUEM8v8+M6XLMpASVHKZqWNlGbdTVvYK/c26o/eX9+a4T55MazNC2qFS4c6x+0oz4bEeF72r7HUZykxXxDvkNuv1ecy4beSJWqVTjmHbBlWbhNVTsI5PLJuIa8mCqlX+RpgjzwHuppCcI6p913L/5Z2lYSVe/gsg2CTAI8C6iW48cHXj96rFgbQwdBrNQsKFQrVE7JInA0mBHbka0rOZ1ssI4CuW6ORTwpioOmvBJgPp0p6mMgrU619XYFKjBTCl2ekGY7GVCCm3o+felRf0hCEHEoBZUP+utHJ1ipNIUmCmk5Fvw507NYxjyp6UEDO9aLPe/5K+QAMERXV9jAae/Z30q7JkibYGcVHeFYSW6XpsrIZZCWuABJI6Daesdp0C6f+2f6rWabnTkXuTs407jYxUoSCQAPoFV3eDBn9MxVJcKbSwL7hlTIpvZ+btbh5IvmeLLUaCUIhwXLtGdioBhIeO7Lox2nb992jAuDioDe4xGZEa+JBTT4WG2g+eBH2lXURwwCr85y1TITIhAP/Dj15GOS0HdPtu/G7IdzaFBqJugFM7awbIFsKhPrm5JPm97TEZEZ9zXdgpuVsa9l7VAGXMbV06ixR2utsxzHZZQyePd6kXsagDb2TzsYXyYGsLHQb87jcRhUdTFq7HhAKye7JUFCMXE8eBRS9Yi17JSE/Hv6H06BJVDeFhZDBmJ1xG/RJCCqLp3mLrzS6A/iKbbrN4ET7qj2wVKK5XUFbaXdlw9iJubr9ccH13r660F+duZXKBT9CoENbIoMrtEJ7UprkusbiAoMvDqgI/T6k42J9spk74VHIKPAbqKobQulnHvl2AIFWvdcUV2yzFIiLv4BKRKrYUqlMEYao1QvQegu3EMnWqkyNUv8jHX/O8lNEarx7aUeunaDzNPAo2QrVLRHmpfNupjBnC4vgyBx73iyzYHdKV8eMKdHdmaYlJLPbz2wznsv4qr7sFTDdHwbdw5PYYVYmSavdceZPDjpq7aRiOQBAdB3cDe4KNzd4rt8tJqug+J9y5DM7oTiSsrdisrzGJbJo9McRXDHqDMbmBLoI+eSPOxKD0SopcMU7TeMUshA5dLP/s4GVHXas12kYtNSZbjUxrXf7dXou+Ml8vVIO8MFE9K8rPryNnhV9Mz/g9jmMSbAewY9KLUQbE/y61epRv16SyWUyz8QSKqXp377GP4WUZtIE8VnVzjzOdGFN7DMvDTlPK9/6yPII66wrbSv+vDZunSbF6j023qnaxe+lUg9LevYvhC82VhZnne4zkIt5M3whZswUDxWgSL/wVeE/76Yqc2YZIBb/4Xgjo4+sPKRakjSjRSS/z8sTGc5LiOKbME1zqnCBMIhW5F2oqdC3gK55ojGIlCL09+yNAfDACTIv1rCpkj8vYryOrxdlUt5/W+VnyMipcmHZ7up5xlszTxbBId8xPgeTh+2wAoUp5wUMqtCuAB/V/6HNUU5oxBkreCY53OosC+CX6THe3h8IU6fnDCM2Fzph9I2WXDYP97SbTkXs0wU+uVgApllBAdlvfwJB768f/sNfbDYVlh7wnMUZBhtshxdRetS8qJTEjxOjTObAEX53TGEdD9UDgbXCGqNrq8Iias8OKONjmJNQstAyZqeKJ581MZUJJcvH4fdeCPhMaDjuUCLy2SnnAlT4nYIm9wSpml+PJoPoUayI9bYGWYxQttYQ5YWZZcIuuMU/xYEYs99/RLX+KprM9hlRyGy5xdw6VhqFxHd61buXe3AFLN7scp8gq4p7KkqgTi3TSm+277y6noNptFnUcVa8b+DQwKEaNwZviU5iEGZx3HU4l7BttWP774UtM/uZ/At7MzvwxVaoDOkk3T7X7gC3EJdZiq+xDh1csetSwqM8j/hLJZVVWMwujoP+tuu8fl6wPOqvZn4IyMW1Jm71yc7D6oQWirEG0F/YC/Mn4PW5v6/6UEK3SQ6aCNjq0GkklzMhjh2cLvH0GpshnwROHyse00LTxZPYa/RBnVLVykyi6XObZk2QwWce0zF88DwbpC2MMrE6qMvXYwkpWeAOkkgdqsOSXF0MltTNcXf07QSBk4fxGEuXtneDg3WNYCRWvOXJMM+61eOh7TEUrao1eApjQF067rUlUdAnzWsfh8TsaOaz1zaTNF7GqQChBHM75on+P/ooEL0cchg7AvS/VX7KfPCWHT5nplfOhDbxJggJh2Mwvx8is9ImpZJe3u1wnZqSi6iwJT0r87hHOSi8D7bLmMAzcUcX5SZyIZsDV0ufU2O/7uuwJm5fp0r2nB2amdZSvwLKk1WHCfRjg5JlhnEQ+1vPC7GvjxAoeFXUwyoVSkRoThgYfzSvhndpCTLUnjjMSvuE/A1zP2f3AiJzRmlwkf4="/>
  <p:tag name="MEKKOXMLTAGS" val="1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TAGS" val="1"/>
  <p:tag name="MEKKOXML1" val="4HooU0THZk28POP9trq+pbTvvzd/gcV8t56cq85kb3NDTsUhojRA0EsgEHHMH7oYP1SYpn09ysXVivguJdhTvfyVMsBLTGvcX7WPTor/CmWiWcfk2RmY+GE6Q6T90sFUr0lg9IPP9y8umrse/9AoLT5R0GKq+XM9pr/aTyOTf0wptcuHbHxeyqBm9svU01qeeEM1v0hpSHUgirOnAK/wuvl5jf/09ap99kD5plAaxXVCNjEk7eSh8qzNCHVzDwg4tv+lTGG6Db5+KUUavBPoiliMC3X9War5X/WM20nA0a3ZyBuReIaqDHFemqWco9yxEFZc5RhIYFDxCCtaF63Gjz0TeNrdhkGnSSf+qIi1ltlKka5lPyi/+tQs1vBvS/Xu6/hNUjNR00hkI4NsjaUa+TFQ0+14gmi2A5DxQCRK74MauCsLncRDGt7qg2hk2F2935u5nvQTb/WciSuEZ4KRgYU3eIlvrvaz+A4qoRs/99jRiMYbUxnJGyfILRdmRvPzZ0A8R1+JGCWcWgh++Lmv1VbN+Lh8kb9kb7FVumcuc+QXBlJX3sHCW0Y0b5M9p4DSSdD7uPUhvsfX4EJEs6qE8VrGORyIRIUbZlFoUOULaD5DpJBjFON/TpvB3eildI/j7aflyfWLDa2eo9S25cbapb8izl1ye/iSwqPTADtsmsKFt3Tqqm/2/p81E+yNOUc4fAejtAMVKjN07qf9Kw7VjPJD3jtmYnam+/FqD6fM2uqv6Uh+1bpycyA/02dZmtXVnhThBMqX0BMzNyok0lDHc9tveBpNw1ATrJAlY66+HiPvQst3zPnLKkN9XeulqMSpr+by8eK9kVuRpVJp6Iso/68VV1GTkydhxlEYoFvOOd5RRQYeSLO6KOncwrHM0P+aYz7JZ714qV98nXsvFE542C5QOiIqT6aqXz5uyx7SP301+3Uw80yo+sr2XQLlhVIF8wUXDYdJrVZHvqMU7MwPFW1R7Dh9WmROslndw5h+py6deEHC04gD6DSrGTIq4QPOeAsJ4065A1Od7Ym0c5Y1ZMk91UzcIxcXRfgP/wbnRpYUFg4Xn3EQQRfxA56XYosOFqWcoaWBEmcyvJ1LSui9KKA5ogeM1aNU7GR+Auu5BUecTHXuLZIFKTwQQjiVt3svb2TjGryq1WsyKOcuPzsW7sxgfD9Pg5DN8y4Vl2lkXM4zHpbT2F6AG8jreozmEMk2tnFZGbUmHO1T8M4eWFJcWyaGgofpOitdYA7/5vI6nrTB/OtsOVb2DBYuOT98/inWKvdx8BVng11YfVVCbCYn1y4+waBSIVELuTaRcgz60Lm5zWM0Bd/JcqbCTxDJKVO4PzTx6p6Rq8MagxC9Lr82Eug4apcwwyn92tGInOrIlexK9+KMtV4s3n3wKcfqicTZd1rCPWeFyTvyAUNweoxJi5Az6uhWrXrJImgmzC6Vx0UvHwkc3GYWCFfZXVOAOBWWIMaL9hu+4ArItvu3A5yUXQ51GYOGGHgO11sTIkcU9j8c1bxg0T2hQy9F4ZO5UizGSUA5usyrO00H95KZeuc8fz/onutQN1X1pZawPDpodbI9kh2lEHRNF0qIJQeusEK/H4hfRqBRn4e5J8/4p8h74fJzYFGgnu+iPb/6IpZf4RvnY/If48qwoCxL8oSGlx70U3rDmPNOCnF+LU9XXgYqtb72CLigObiP8xmdtUZmBTpovFyiHunkLZn8AhuDdXtVqmICwn8iTt3YSMR/xqww3QD+GV8uWwu3GJ8HyRqcxHb9pV0XJZ512EM24EkgVObVAqRYA31pEfUJOF6Y68JtKrwSZGsdfHXagY542kcq+jeWnEL/TvRQqVDdOHFBunaHVsAjREcBk4UDT4bHnbeMf9VDE7dzntVqtIfWK2RQLPV4NDcNthiiqIPiZ/rZnKfThczry7sji6c4A16J/C/zssrFYV/NVKVRWXl2ZHp++im7Q9m7CMYnn40ggB4AhTjdFOlpxxXV616eyED3jjAoQKUGwuplDIQVT1xK1+siuYJPx1znQHpLV2L3VgpBum58FMDVy5gbrmoCv4gxwiXPuX3wJFGVODPJWWz6CMSYBHUw/itQjB5w3aogQ0OpuXgDPYwJvqSihOUIno24ii7rdUaQfgCkP27GuDuT2Fg76D4j/uTuYBrgwWWHwQkMCuLcn3MuFwhrvgGZsc1Ukke3YLEMhozPeXeiKE4/CpqbAtk43nNnXl53SH1FJPYqDIHhYzjnxDKin66W1AtdSL8e6tU60SxrhNW2xn/bNhJIvA/V32zEfu+CA+MZwHE62mf6BvMzxLZW8rtldNZOusolAEWQepyCjV6s7fuw9RGknNBzrPkiQXDflt7i6ck7RlYkylJLi/mpoeAjkbNVTi5MTxSiePJb3/cXh+9rvibufAfP3I1OebMp6i0RY01SvsCxVScW02HU1k5BTWxw10kp01o0Phb+YmGuNo7tE34dyi+/+wdwQQJeKgLCSH8gR0tU9XKAd1nMhzpFhAIYTKm976p13ssNsZ5NAziXV0RGkUGy74a///TFQlUB7yKME5Wg2Zq6C2T2llxE16B+tQi4Z2Kv9ZbrW/NO0tzt6YMsL+bMTkVKeb4N9rDqxpwjF75F8mplB9mR7u+Hx/MsmGOJG/5jqvk1Y498E4ZQKVibLVivdwuSIIi+1pTCo+g0ko7CwN75VAduqrhj/LtNN1+ahbRjeu6B5rdrbJoJ9dsECxAtxQ+seKOwacO4zAyWsB8YmUAHV7pfbS7/8Lx5h7xgS+FEVLT8Lja6muIt5B7DYkBKSINgOL1nHifTwN+ebAceqTkN7eTZwZisLNMSn98w7R5DREfwoc6ud/x14KOYibvZqkIelDNlDY5RJMaIQs74hHni1i6uVTjydFYBLhCIxnTt2oqu5sn9lLnxsUi/rN7tKOrl8ut8ohqh1w86PGXAvvGQa5UY52JEBSlk9fU061AOEG++UoSqPXZiizBh50C21h8atTV0+8Vb+cojWQ9bCjVsxupOXxq8MAJyjyFg24a187s9Daw2+7Vo0xCuJEgRmjFdXNHsvV6WtOHMkrguixHhhYGSFPmwy1KZihHXVrgWC5Ghn6eFkoWIBrebEyX7+gUdK9aOmfyb0AEuWsT/XS3Yk07GtfgK3bKemMULjaCmcBpzAbRnMkbgHuo2IHekg2BMMm9XC1bYM0+RtihtM2hzBFtIEoSz837EZ98ROfUKCQxOv58wRihikfK0S8tEgls9+mJFzBByCluZ8pPuZ3aMpI3xpcxJGb2CBBbY1c6Uk5rTARZ6bH1UAi/ozvNbzfENd5NmUwu1zA+w1GFG6mozlNUazcDMGHpldEhELn/3pOMhQe9idP0jNMCEQdoMGVd1QLvUlAj31ZXK2gNl8k2/Tl5W1PqSc+k6K+mB+NeiWErmvZ3OFsQraVCEOSkaPwUjAwocGBOFHTY94j9DB+gGRsaK42SOrBIXfiJibhy6+ajnjyQRDOYIJAKxMTwwKDvj04swyDYxLUqbxqJKpyc4BmMcdbsr+vO5VljIHj2Tq/HTB7qIvUcS9vknpfl2OYLGYAz8djakEwDkiOOiPaNpeblShYThIC2athUzKtxAu745s6X+9BCkMUr1qdnwTkp7ndP1JH0pfdmGmpD4mHwKcND1U5IoVKU0BSFQB/ojFCY1MAV+kAhHxJ1R/yfGSjHiC3aa20gqsid3g3uR+YgUrMp0JTqgqq83mkgLVXMJtndqbR9gejHnU32x6mD8PLn6DDKxtsErm3MdRq7TIxOiEOXPeOSK/+ZjJ8MAbEeNFgZk+EfhAeCHTqXlXoR8r4FMQWbJPnsLxaty46h382SFcZk90LcHGsGR+hDobYO+LUdsRi9UuqLRQs4AEy9cuLKRO3WK79Il3BCrZ20mD/g0iv78c9jVGeXFwQwap+JXYEE8eGRnkN7/SOAf0AwxUsTvxs7e8cUFrfhRKpniYLEXUUC5WAtU9i3vkwAicA91wkPUMyHz2YJ436Ib0d3CCk8yq/PY6+QCGPamQvJpXCnCiGYB9m1Bx2UnQj/dp39uzC+cBjNUTG/GUcDcOER8JBtvL7rMKfArrVd3G6rFBvpAW2eNnSsPYgWiJzBTaKLhFvEY5noAwNMBhPmhxADNAtUqSgKng9Ylmj0cV24/nes8/W9TQ41SI8uHnkC7SNk6GVTiNxtnGuFcv7pnFYJoDY02bCiZJDLdudUt85A3ZYGpjWjtSb/whEgQ6sFmh6GLZzmTto4pRj/e2PyCMQAxyqoKD8IVtWumiXnO+e4fys1rkwVq5hcGpXh4L11ZhDmArQ7h+H3aBiP/lQJAm62W4q6XRJX+fjZKuWD/yv8edt+zMWkNfC2vCen2FN7vcBIzRSsjPlWZEaICUTIUAiTnS8b352rH6P4snv1UXq5WMw0yUNC03h0QiUyE/hoShh92sJc/uXDWu6Gzj/WxmT2QI8GdSZogTXV9ZXksfD2IB7vXL3IihZ2afbLuNqVZQZLlEabCp4o4ULMwmEPumryzU4XPm2V10bVgCVByi2wt3DQxWkeVPaRPKhCxuHqYTZnQKruya9RM1c8jI3cTyBG3aAFg4H69I8xKWvkR/OSbSwPa+VDg3Mj7+cGZfHOISYdp9PyG1RbD5vDK23RZlgfDoe5Uv01nXv4kiOMoCooI5/A3oTl9yeY9+1lKjW91+1R2zkmYZTmi7l3c7aGtNb0liAoSwUTnir00huXfDMmdJ+FrrIWBCOIn/gXfDJQgcDKBelK5zjDwICJdlbgmAh8/eZFVGP7TShUNTYsaozLMfvba7Tv5RsJ+YuRG+ST+HWNTSmUyyF9xowCIkn90jYQxowu0ZbcecWRscfORhb42l20yayvOQRhIq4FvIrV1fBkHdoGM2nOLr3BX+TNTl7Mcesh4g6F0HewBXzfDBFgqcvDASQ9hOL8NGOvoQ5gemeZ/6fgNBXeV5ThGXqqWGskp1xxqAmY7M+KnG8wWMvNx42GWDiJo3sfBzGZRUMuxWCG2tJqSR6tKA4dlrXf9xaabJaClKmiEC67XnLrkkqeJN9MXsgRgZVZCYkMl/u3eaoR6vKFMrCz6gT7GRBk0Oj/g7LM5Yf4XETINICIDH1y5qU+RaMwVvoKhLvVbXgRj36xA8UmKmCrS+L7aiWggXN5utfbt1XeQvVMVO0KdldpgJuIpFcSG85SPsJAHPyFGNdfVsT8NoXOsbDEcPPx5Zhv9k5itfjWymh71D0KxT9hxltABtDpywG0QrXCTs038TSxgTgPLuEHvFFsXf3JhxhJnlf33DZnAffJSvVXusGmfCY4S2lo7nabBmp8Ku5J1J/60bDWfJ1bnTR+BgrJp7GiAR1Msw04cOIPBg7o36Nijtz3yffu2OC6u3HQ3InTRUh0Eu5dojd7XU6SZxWHwiLBm9pGsIvG6s4TQleqBKrz8VSCavIyla6IXfBoJiRZWEnEpD54CoN7C6I3EtD6zCFDGchInuht7z2y691szn2BE+gL6NQAROWmcmJnU7X6jLyjFBUExNwFwrpxuQVUken1JvzaJHvai9fcmqlcUNSFuXT3SdQaikc2txUyM8dwgVhcT0NFFpUT62zdOUdZc+1ywv+xd7TszK5bAkgu9R01hg03AYEvJ8lAR4W+xum/b3IexMfUjXVLOGZXTqGqtyytVmSKVrOTuRfYYoTf5wt5/dn7dses2B4Uv5wY1QKPrdtR0iK0zdj4gct7k2ddwkBXGX+U0/OMMNpLZlj9iNzPBKPljdppNX5vVvgVVn3E2CVCdvvbEX4mp/sL4qTT0JdCykiNA7ho5DHZNRSCyfjxq0f0BXNNpg/knnxcRYvJXcWB+D95YJYd8MnwNaeIAk++rhB4m5PXXGrUn/vWYRwKBlJJtWIGOuu5J0SkRHA0Kdr+qrtS7FgdQDHAIg0G08lPSK0iA7lptIf243t3Q1qw/kgM3gZkMssrq218gF40Sm7lKdctab7UHr1HOyBorDCC/r5hla6vR5g+wH21YvJxRbb01r2+O8NCSOQWTqUfqJn6zGTS/f6YKOvF9nVca8O9rQeG3sj719snvAaPBm3Yvz7E3fNCaCv+3UOYA+0kBp5h8CJPkubzeG8dMlUC+ffFuTWboUcAA2ukmhyh9lZXQ6D3zAmSk35siH/k881FU38DT/TtWEGZWL2s2eRkCLUpahgZpz26VwmLCpVA1XXRhr4bQhzXopjHO9IbqqyXz7r0UVOPUJaixLNu41bIGknQFGlxPPd0PkltP8iYvKkOfQURW2XFXjnNoRfAhEuyXRf1EDz/hVsuvB29Fu8rkopSH6GeIaT7mrggnITnqZBWyI4w09Q3Sk4n0lYv6OT6Dv/4f0+Ez3ZbnhhZ5jkw4POH06C2ADZGLhNnIM9LFtX0gQL6rd7M07exSJv5DpR0pL4924PpK2Ukxf8dRg+m7lQu5jZAfIAZdSi0wPDIQ8/8Gz08fw1ih6BWZIRRs+fBwAnv3LzgkOE7T1UqQj9D9scwfphk9swOSgniyu3jMSOa8HSQRvwR3NSIQ3l9yYCCCQrlXQZuNZryaz5ulx67FjiwHXV1yKJt3paCWCug7wZHKntLszoGS2XTP/zWdWb5ls3jmhu0mq4tZy1DGCohoYaXLjIwQtUBXGDNoAAQDOuTizYl9SVvUZNfIyU9QBzYcOs85idOvMFK7PKpvu9s8fVv+bajpz7BzLQ6ix2N3HWv31KM2m1o1sH9Z/yeqvVeMwm3uUpyqrSKMLuqYIo/RggLrPywjz3cZoPjBd0GtGUmQJvLg+hWTa0uCDJbTinQCBGyuwesQLOpYJDVJlUv5Yrg15p6ruftou579aVKV4cAcKTSUF1NbTb1kDU6w6++baPYGzrfddQKd6VlHBtGWjcHNg2DuFmqSdUDfTv9EqruaGXRLj6NQ8R0g4ePuAiMF//S3GZ7pG+2/TplP0Q/idGfe7y0Ch1ljEUgb23WNBAYvbLI30dF/BHEqHDQ0ekhQUx2kd8WdPPW1BqZLzycY873mAQVR2NpFClvHm1u8y5imXlkTkvje153Hm6UcU3XbWflvktUULjN4WGp45Fb/hHd6iJRB59qe5qN06DI0UMrqUHZrMu31vwdb7NfZ4RJoj2Is5qyrb72xpUkXvMygshus5ED6vQx3GGFMbq/a31BQsg6lvO4KzSMlxR33EktQhLJWdkO4x0ZclTWxA3cHLJx0QBONQejwOWH53zC80QgPN7U7l+t9fvBnT9524UZHDroHNw7dz0NlhmuZaLjwtKZteJ+2xqh3phIPWvuQgtkpuC4lgWi+fqy2Oc0qD42TfM+tiqfRJHZIYfWUUXROr/US9NLvmFEZnetbY8SsPMgbvbaRZYSzjTbw3fYE+/Ua7MNmGueaZMLHRB7dJtlawIWcrwFhfAND7ceIRrrn4UcAzdmv9/z9Of2pMMQaVMyT8ONbTE/zm+XEfLiO2K86u9yMxI/N8edkLLTVOpEf3rtaueQnkhiYqv3x+PrInVpA4IGsOW2rxK82OVHJPZIWHM1bzGWOn9u2xocAA3PbuRXIW2Hvga7rDWfO5RZXANYNn7dNpBc7eCn3qYxyh7vGxfVy6BMw5/v120oSOt9bWzQwLtTxHScgXGkU05uzv/W85d1o6oDwlg8wvLY7TVCz6EEY0flBko8LqzoqCqzLIDmACIi5jLsKLDUTyHSNrHPYyu+QOpJIKRqXAKzWFmwn7O6r/YuaN6/ospcb/VQz/4z2ZvxxPDTYXOP9ApdxUzdYLFPiBzmXqbYHpKU96E2Nu0/4jsMiy6Hluk/Y9eZ/blITYsAfL3jD0rKPJ5YeG9BmXag+QUQ/4n93os/kSy/plXZj8sq7S+PRlp35oBsmUWxM8Rmxyxy/cUmtOUq7+TwVC1z6hZZFguyjx3HMxXhqAKhkUILhVYrSglsKjtdmLSHv7Tqnw1fBaqWZte+CITm4x5DZCtd3J6LbgP9BDqqzICZPIWE940l9ad1ce8DR+9dxVWlb2gwD0QU1On4rrKqDcVsEfklc/JbYq4zF6FddEw8mvuKa82lklP/0wEy7TKNvxFzRV3CEgPbWnDiAvrWtiZXJz2hnCikvEzcBmW5ECf+k7xXZ6aSL0Z57BPDSTY6ZpB+NJYqI/GkOw5gweGE1sC6CpZgl2tW7Ru0zU5Ca2TwwM9wJ6kiDBsUvfiqByN/AaZMoUJQKx8frFddrzXOVW04PGtCNmilvSw7GBEwHM/oiKyycouhfrPnwH58USyEyASAcVpu011XfVFEpry0Vj5PYJYOA3v3N5Lkyc84zhyGIkLKfuXqlFXfOi1woMwuDHCHrnyJfoFzJLqRXOSWS69wd9c6qpgIQWWAjk/e+ykbckS4W1SRFVf0cjcuEh3rBujONbzKuL8D5URRbkrpMRC2DwP9g43T5S6+IYOMwyrdwhbiofoCGTa32/RjBzvH6Gss2vEAVsPHT27tPPdazpQfvh8P0e8fQYsSDtvW5J48Caw+/Z333j1bqDwJU/bH3fVDfY4RIl3y+0C7n0XjdLO2uxHW2jBzVRSvHy+8zB7+kKHbAs5ZhTWvzYyMaVZUF3MU8BwbszlpkT1SUEhvFtyVV6PVCj7rFZOvj/hPXnpRvzBbmGedwLIagOz0TSkyTs9XdESmMb68yGeqBXysABQiBXDwl1jfp5uSotGYJ61285fsrKWz7xG+plrh0rQm+S5cdhLg4x9S0Re79zF0VP9of2PSRdVmcGO2X3PcF9Kwub3me7ElsgxUPepbxDTisEHr791oTP2ollQ4Ea75BcSVsTQ8X4KX2oKeeyI1gA9T7v2h95ajgylM9ieskLLvC6vyiyMYXaqZ356t2i8b6haZOxEvhYcJ0LFjmWO1oKAMLwygmSRCp/XZSarbTTSr31DCwybkjeU3jArrdu1hwngpJ2yeFsxZzUmBDnHAxdVpe+P0SNGYx4ki/zZMNCcwbBbfNEUrUlKdCBZ8j5rVexdJI0bPBxye9U/DRYskz3kUX+517MsNvt8cbCxhEsvPyC5bOwrPwoq1enCWvzjKDwpKOh57Vgh7kDk8r8QztvM9WPCsneMKY/T3le6D4j7yJav4qiIRNxEUXPvUCdpXnJfyHMZ6w2CiwxhUjFr9i1GhBBvvKOIW7sN0XpA7uNR4PXL6sMpTeZAAKog81ZLoteq3lk8Ni5bLYLS72OPf6V+j9SUDw/p+fpr3djNxqr1EI+mPnQI6HqPGHRM/OiTf+kC8+u4zi4vSHwXiLbPU/xfE7Dpm8F+5+KWznNJQM2h+zk0HH1ySGjHb5Q703YZ9RSFiPdhU8J6J3IlIfN9dObTM12hcbp5FA8LzrYJNsOfuNo9DZLMuHVSlfYH6GA2vInaNiW0BSwZbScYbgO5gve0soFCjQtTWk1nlKwuu9de+k1OOy21shH/zxOn795T5pzDpBZWt0Y1ZzV+5XT14uFqlIYBJA1rNNWB30W2ofcXkPrCXT2mDz1YiVj3iWevP4w3jg1aXBC1uwLssuBMpC1vDWo0/triYd83/2a7voSxKEN+trE2Or4MGJ31xpX4RxbYXRU5tXx2xlpN+tS7vTOg5gUcwYqbUr6cHjpcI/gt7NJOlGYy66fIlmG+e3u67J6u3r79PESSB1XWjgwdCpnsw51u5ol9MaLeSo8NY65jqSOtlrd5cKlLkJkRrj2UYDeOD4DmAUVxNB8WqlwaoRE2RNLrp2gkeE92iEvVmEL3uAzMST7h97nxnslXjDK7ElMMRDrLCjLkaLWCYy483xVEwURHTxAOD+XUO1mKh6BmdXDxgrwV3fUtz8RLN0bPSyGiCzZvqYFNOgYWm3sYMDv6zIY4JahpwM1utCzJ3c3/0eDAa/6kWVoR6IOUBqN/4M17UmTbsf4K44CWJig98UMaqTFe7xffdyafk4fiO71pIVFO4dVwMKZaHKRFqa01dIXDcTBbmm9jKAapFvNWvCPoNXTsCFZE/ZPH0AvrlDKORwpFcNHUBpBucl4QGyim9uvjeA9GaFXraPQZDISah0hM1be+xOeV1oZ5zRCwgVDGY5X2u/bWPlKy71jXcUCSulA5QfmAtwfDGqlXvQEl2JVX56VlD1DnWOf6Wr1sReItod9vYtIgXRS933FHEFwxdjmKE+2RWvWmsaBIeRsUhA519NpaXyHEo6pfitQvFE6z0+c48wdJRRxBb4e0b5LzVcvPK6Go+GX/tSRxjcKuvnPRLqX/tJL+SJup2626oq+k30O3TzCTBe6A6DLyiFhmB+K9DvHNv78wbQk3zLOiz6SVRY6smV8+9x2P08PN4ANd3y1x0DO1K3Gwu00kflkBvLRS17l7Y93lyHAAOaZOmn0YdG9l03oPDC1v52S6LiEwvklAQgK7sMUAgWtFe21wULTbx6o7/yzjXtm2u8cyJYkIEZBELo1i23Aw9dtpt4sL5KLreQfYmSkF6vRoP1j+QYklIUbu6TWaggjqi/io0k27HqJ0pSXVaxGgptVdUfnd6FQVyL4pQL2LVFJoxQOISnayhrvbMCMkQ7ywgrgxUSh66zg+u8hiCLIM9VHo5shhTxzyP+6ipaPVOtgib3AXKD7aTzIyKYseJErVih9aIxLhtbvJAE9ZNM/Gl9VXj8GOa9JtDFFLJl4Q3C6qhprn3gIbUxwn7D4+Qi/x0A5yiFGO3vn3dfWPb6IEabLScevxuOSaEZMwUybp4T4gn5TE44padgxnfuX2VQhCq6DcDNN/5gy3YG0BkjKoXkFzjSSFKpliZxMKbM4V3CBqe+MYoe1je1QbhB8Xnaf0T39UVETTtLtt3lf375b8lBgvlsnrUrokMd8ZlBZgNtVaHqSneBqoc29OzP8khjNUcO7vt5L3wOaODFT575DZwEEleBPbn+QBtmV6WNEtE9nas42bkuzWa9pcIfncdCSD+cq9Z8N03yk8cXz27lX8zqqluqmVr2SOGic37e6JYqG4O3VljCAEYXStTflHX6ePwh7zTWAC2WbKYS1Ekct+UTk681x9zhIeY7Wy+F5u0od4cwwOu1kLHS0mQMZeOXp3iH75TUkW0fkrmFXKHHiuDWSMWZn2KQQa949/7V62GkqcYmy/JXQXGiX7x+eA8kfqQlsjWOq1aTL6l1eBDT5sWJkYjaDdBF7i5Sx9dTCl+4Gtxu/QwDamRvSBZRPNshxDC+wgUOyyBKR6tmd6dHLXyQRLOFL7+H+t8DLAvPGcOIDY60yUHHjA284NcA3BiYZdG3hb1PpCYNhXbojBUFu4OKNmra5VFs/gtb0KGK28ozz8g1SeLjx6yWRilmUFt+lJBGeKYrLhaZD88qWYlMjw9jp9inkcm2q6oZcfT/irwPcuWqtkoS0mZj6tTT+ne1oT50PAQEpj7oLY8NWQS4GwaATMI+LKnrTC/9hSTxhDCwkzD2E3oS9550roDn/J4EJD6UE0Ts5N4mTm7V4MLw4CBbhxftBjGUdkkvZn/4ulCxOQ2/Aw8bhBnLkBI25yR6Ou2Dm/sy28O9uqK4Ef5PmkYXC69MmkkPVMlDfBoGbqHWQzT7oFi/RZBUGTidqi+87hXxxoqkWgCs4gObEf6DvIM5XVpvWFTrTGrbbFNI3k/yfFqW4W/lW0Ql/xUq8Yvc8dnNc3r/f956XSGBIBLTnuIwEN8jNijsN9UJ/FDMCKkIaiUWoMDhfvrWdb2OdHfrzd3SXhr6KXtdhOVaa8Jl4FaAxttqG549wVmIWxMSksEDYlxBC8qLoDFL1i9fbg3hVeIsX6voI84I52jVXodi3QPGpRvBJvQdSFajhHkA6CyNrpHbhCSQwfwppSRd7W8Alxyo9uxFrFzxhSzOzD4jPACROC2ZzjGXD+vemGnV4pWaA7+No2p8WuUmpW058OJQIdtVZ+pz30eOABbJPeJWJ5FKicEtAEn4tW55RCm0RZ3KrRJUaTq4Ebg4vVaA09GrkmuUAY4vRLabKcELpZYATnJpv5BRmWyxE8n0MPqQDUmP2gCTIDgpvLohumFv4XSuT03TJO1JPkG3H9LTyjyKZYHciF+cXtDSy5Uqoc6Se9etnbcz/GuMPrsFTQd4h1v2jVzLFd6lvaJNeWHbVYJa64dI24OGsBe7yLmfO6NqaIS1p2auFAOxmh4+banEkBgTsYgs0QuFXkXBk0lVZ7BWZsdJsb06Wee2dq29HWTgDNxlQMYPQvNjW7m/Pq4AwWMAA6YUgfCM1iRztWvk5vt9byKX9jH/W6dMdB3dU0aar58xDCMwd5WKwAXxA3XKNGS8IrRCbWo31C7C7iFovUXHFvcs2mv7vknA2nCkHSV3rh518XLk+m9/T3y86jQioUP+kr8tkUeyDKoZrK771Br7//lNZQount0RYEyPsYSfBJ8UzdTvO0IZgEhdVAtTVLsrXz+qsRB1qFqLfK5AAec5/dZJs3FcPQ7o7o72RqsR8vcW5OV0+yQs+1qIQdm0DhY3wdCAoWg6++PDoMcCfl0kYzeuvmD4FAwyQ4p5Ux6lw8jTY9zQZL2K5NtevVrTE12phIv5jbmoGsk3Ag45fFlLBFtDg1XYRCxaxwvPVpAlaWjF1VsouoQlyaNoToDryRGuJEry6FoLa0LFmOveWv9B/HMA7g/fRvi8lZwQr0jbNAQ6tN3zCOrvlzrqVhjjGCTZHshhXkEKY+It5bK7GH4D5L1yHqauJDA8lezDAlMMm1Zmo0mdf0/w4k+ZsHogaMRo9a+FsNzA0amv2X4ptApg+Pq/GlAuGRvHSUKrYErZ/32aHqDpD+QdDsgfmLnPPQrrjvMVgCrCd69eUZl8hHyNJjbb2T68BTcATgH3R3Q4QLeWBO6EiR1D9+wCLxzf8PJ0EJWaBHaaylZLVUpRnjYiEaPxdv+xD3kh5CpqYBZHL/6V5l42VyDzu0Zyy7MagcI9OcND6mexu8gvL26m0EI19t7g3S6ZZ1sShF0wyFD5b02GbFBQo+2fWMFpHaFzu0QDRW5k4xaV4ElsfDvIPJ53YjbqHFLYpSwncxmkFcrhQoyM9A7LRrBjy4ytVtc/AQDu8udnTcs0armv7YxHgzlr1TPnoHRvfuNa4ZFc4bDvowE7R1FRvGYzaF/zMV2MnWdAWgVoneIVl7Fis+tV9dZCZsXR0yrLP1D+7Jx7W4TdyKduHaYhX0IliocE7sFVF7K+9TI/awAyg9r4+3L5D8lmJgLyAmipLPQYQ/yt5LZpITRDrknNCQ+5AuEhL5naA/xUxOIcTDP289GRdZxG+LmtQTZrjDGmvuS+IuHWIr5bhR+/NBgUJZSWdf4rPv+G49ACZnPvBy+THGzV2iI5z1tPxnr311utl9oD0upuzCmlgS+kJeggPegiZwtQo2D4DLVmFs+QFu6tdRs4p6cSWyYLdb0ywMFF1Ez8MOlTShiyT7SN6NegqakxAX8ERIOnpPbRo5HBZ0LwBi5wF+vssiHAQbmRoK5dzM7At8ezBITA5e+LVnBWoB7f+AIqOMtG0stJjsr7HMycfMdh0QZzv9D5X/+uC7bXA/djZzcLiMWPnKPqR+gig78+o4KCJ2zFB6c9o0PyK4W/3/n6edt8uDensf2eLZqRppgBWs9YhVURhfEBibD/roh9mL5vU+I8AECKBUYmxZe2VCjlP6YDi6DamVcbZOGuO1rpAjR11qBpqXi/nwpfRK7em3UqoCSEo4xqpgsp7FUI29UHOk4B+aGTMPk0fKrdYN2pcEex1YbmOzS/FeNhhccBrI49Z7+q1lnRjWJNXzuXkeKJFHUOUA8WGRuToznFrihiFbd6vdUOpTGgKZRTXPNXk34q3Vwxxwh5nSXlJUbk5tchOUX6oeMHAwxQ8aFcr+92rxv/kMcZ8K2XC7KyksESQJPUpT/RRbYE47y1AEYQU7oI5nrCjYxK9QYLlv6wBUR7Bf165sIeNkyIsTHTB8qvTpO6iTaWyikbPaxLuXSNj4vorGs92bCTIh8E3WEH3EJes/MX9NvnWdmaPWKeK7lF8xowkdGvXg1wO/ITpea+fYdwm+hHvv+r6DqELQVByyk/ERWNXBHZeVuOroo+iLDr8PG7DQVKqLVfLj+Qu1OlXFAyMyCM/cyZ/Z4VKJd8rGLETPSuYRSocyuSBmNxL8Mbda7uZmE8VvDM01ItB1I76d+gNJAM/8FvKEquhtZ6Dk71pRsQGMUr/vDkEeHUuPIjbyWkegC1Kyrvfhim5f/yicpHqq9WJiaaGIDwFYp93rKlIxXqF6sLP+1WXr5rujpM0YS+/ikbwZlv8XjRSqfflK0myUzv9x8kgc2TQyhwgSOGtLTR1nVNkUWNr33PJ94e6bOUhHQfIYtgwUYptUQKh1rxjblKtNOkHNFtNjdrQDgnQ5jRGsM83GRoebzQfOZHWdviFrmf9TaUJJjz/j70B0n7fcYnB/T8NWG6G1nXjdAt20FsGeeMYBx83RsdTpM7CIFVEpGT878QUnVE8dHUXuvYuEMcSzfuvDKAOtNphrfY0ad3siUf14WbwOeUdKIivrRo8/jILY5lgqZrbX01gz9Wnrbo1eOeImu2/pOf7kkHVK//g2h8+WEPRxomq9j6R4TD4V+Q2q9SLOiK5EAHLH/DZYfwhgVoJr6IE4lAoMkeQc6o96aPpDPUlRBeL0GXvDrnppWG6h8pqTgV1eqi57HKgQsw6boaF4N00Fn5SfTsIAurNXVA1HG0mMpLcD4FKGjBiU1JQKfJP47UC6QSKhv+4CAYT1Y97GY1Da2TG7I6LrCDaii4FlpET7/7apFaVCoA/z7W/av12cU35+QNmOK8oUwpjZGDd4afZRjDUsKLlCGQaq0S5DKkjnouzPBSJs9wJ8DysX3Ws66I5VrS7C+I1Dc92/uz60Y5HB5rlcSDjqv2QoOaBXGBhEOKb4Ydy1Jfp5sEdGdmRBUkH4YYC73bN67TRmcetcP6hltCvr7mu7Ps81aqoe8Uqfw3ggC3+mzPHHi19Y/2Ztg7pMsfFes+AibjwmiEIUcU7jn2pJ6YQp7nKl4LPeRHeHCPf+M4JtaIAnZIxC+kKzEdu795D82bk7NQK7Wnm/nFCMhRTut389QB4FSaQYh3m51II4tVC1BLHFjE1Me3OEJX48ZF6CrZOoQf5PQvnEQdTVCR31hrvB+PNzRVSdPWbq2HGCdi3uiox9IvsrIsethfI83PpcTNxKCQ5+ZiE37kH/1H00VeAiXcPdLOv7pHLBGffjI9bFcPi4Ep96UvmYjGbeWfEtdQx3q7sRd9z8Mw/HetNfOc9CKNsC9B5bmsF8gfxb4QrluRZWHNiIItgOJlvpok2+LTMsFgKzeHV33zsxrvEPsuPxwrMQKk9lVU40pysf6yosfGa4+9zkuMEyZYUD2C9CbnKTQAMqcNjvnB5OxRVzoym+EHfokFdI/xtpXxwrtDsda+AeRGm0+21Uwbxau6hPdSec8LPOUGa5rZ5jgzql/Z3ejqBG4jRzOXG6hTGSAPLgK/kM3IGznlEqxkfv8ETJdbfwy0T3SCL7oiSRRZ154xNj2eA2TG7aIIbqvStw7ZHLMXShUVpm0qg7fRJCJneNjmuRCpHIYzFQA/ibPXKfvVUlC++pzwScM1/A1ixpLN0UZ2/AZcu3j4ex4fZI09Qck4Qa9wwNMg98c9scNaXpqZlXiOsi9NMvhazNJXS5ftGii1OvSvpAu3y6zNqLuVErcO4/4zdZ/idnffbU79fog/WtiIxNk+H7y26xuHQoVslBCGX4Lzsl8T9p5EzotlybFt3MeeMxz09XK1j+vidjTVefP9QoX7GPf78djSIDx6gkexQbKiWXAMSTNutLlZTKmJYXdBbBQIdrgOi+1lr1uJwsdQgCEeQGS6QBGhh086JufW2Ln4s7atzYztlh+eJbqkq16kYkzfPNCmc/IbVDkjlR9auY8YfrUHavlykxfWlNCdwLrHp8kkRvabOLKXh+GHUlaBG9IWeoaBlSAquIKKf99SiMfKGO0uIF3hId4l5dZWy6GbnuA31j05awGoW+9RT6hQlhwLVoOxEyCrwgc31XjPmmaQ5ZcfYLREl48eWYOHA8k2Byz6asCy5tLW53A8cqG88GbH02qsSUpYbKTTsyW1mOSgmH3CSn6Ak4uBjeYuJ6c6jPujgjgHUFXQfQUOxTM67Uj8yon0by7ZL7orcLpV5ewyy14TtAx74l8O1J3ZCM1vJJ+2rsq6OcQpYtmfzxH1MQGNpxQGbnhofM0T/phfraWj6ZlNcurWYFPCvuYE9xPW3gDLa8IwPxaRVNrcD9y/7/zNtzM2T69GabT5iVhga27HhULlr1AJAe05WBApa0i/W92alXMvKnQiza9Cd6N8DIV6LsBAdqHWq/osaUvb1q03TJ14QzgRELew6y+Ww8SHoewOhJ8jF5NRdS1GdaeFioDARCPF0DB/oX9iDmeQYr463uiHcUIRytMSo3aO+ACKXjtZE3iHCRDrUKDCc1919a0t5UY8irA82FsfEMJ09u/PKbQmYJMMAFR8kVham9uTi3FXIlRKG+YwMWafYNqIdngxwqQMX1xUiyy5T3jxH19ADWqaHHAvPCVbHsT0C9kv/SD03UKeYn9hRFDWx6bJYjw3z05xqpncbQ5l0aneXPcfouixAGd7Jcs8RSt3/pcl8+s9iNa8KiBJ/PgchkuuBhsMCFs9XYi15pprLeQT1nCYfjoZJkkXAjBoViGq7qlBEe7PtgZiifiQ8ALqRMz9cSv7FwcTfUMI40m+u3nRV+G81JySwSsKnf/wo7JZYwVY2V0eFMtMLqmyrsdxZbhJlXEz3GiA7z55ZOEixZqgZWYp0ipYurvNjFQ9Palvt3By4+LpTj1USv590tNNI0Sc/jrNNhXOv6ra9uNxNS+hSu+se9Hi/k0l8lU+gXx+29+cgLyq+S7iW5P74/ng36SRRUTGFWuZcq5yrzzbNfQBZNhaPkXDJx8Lgv/8g7KzpuDiQcDI71Ft8aPTgnm1fb/o/m5+TLqgD3PgjqgD5ZkIc0RPpzno3+1vhkkFLMsKP234dCG/oIMc4obphxGrMMyu12J40t78BUpCgi3mD5nKx5ki0J4o6Xyh8vpKfUaoHZxagysDo951D285a6LTBomYH3wRgChn7p0zbdjplIk1FZZfXjWpl7xPqDC0wZi7CxLenhlDNPZBr3HkaY9CXfhs979Y9BgIDHoguiw+iSY35c6tz58/eOu9KewaWypWjgDRzX7OYDEsbUdL1ACuTv3NLua8QpEQ6mqNylywYcTzzNxyd0K3hn+ou+5107GTOBdFRJtP710UcJAQE0wg5CLxFvXwiUFsoJIXJbGs7QNGiJKsJchOxtc6cnH5X2lu3xUEiPqwBLLEMRe5fc9RKLu+526StffvgTSOq9YyR5rlAG6X0Rfj67H2XLG4r+amMbOqHmhuuecbECBvYm7A6hUdRCzN2IYoN+1Ov9qQxwVkRXeM+qsCl8x8CbDLKnijaxCqEzQLGiOOcI0xXMHuZyl9QIl8f2mPUiA7CV2C1BQJwYL5zKw7693r2FbyjW9PkWYVsv1/lBskixg/w63VaA0SIrhCnBMumopkTJwH9r/8uYcY7H508yjOosX2Elw4ZwjIh0uUICsnNXU9gaASL0pWag3m3AJI1pvcsdl/cJXbpVYjm/nXrckvgyY2/S+niYLSoTog7X/xEEuXD9ESti7yjgleuG0WInJmbSryfHGVXwFSIr8eb635Ay/6QqqSYcNf0bfG9KV2KqxUK0HQCntYG90Iz/8RXoO61pPdiCawvQLb/09rFuVvbWYSd9H6tC0OKPkVBE6LGWIHamB0MPpXWqkgkT3/7OTxQnqj185+vxKw8Wvj6odP+OYsTG7RgKA6/TslaV2QzJBY3iNI0h7zrHhc4smcAm6fHazNZ2e7GEqPdilFgCT/1Guqf75wncz7KYjFj7I0oRnmQKnNtYCwQ0BHPPvhVuO1lsC6bIfdxVPL7VPujEFk+zzQzv0xD8X7SbMpN+bUcicQrJbIklAOssFSDCAO0LtyB7FWTCF9jDFyQ7rwLY0j2+lSt4dU5gCniCDgTpk68tk1FNj/yxf6WYBNBXNE4hxACO3NMGdhENFdILcMp/m8XY0a7IYHNYIHFgQz//ttp90dFaJLakOp+q0wCELDCX15sPXcO2IM2BAnsh1JLu8hdQock+8MGdMK+5GNAYwLhK6ambyPTUBwIXnOZ1dRTOErWh2L82k+/RJyzI2oBTzAS2nJ8AzxQ5rjigWyUAu2r2pFY9sdIcnpnIQ4GjxtzJyATp3X0+MUkHxVcsRQQpXCJNm8o9ekigs+HIafUxc212PkignBvk48CY83bXBgFI3QweUtkeOThkI6+WcXSNu9/RjUY25prV4juwGIxh/yqQnaRTzY0dSkmMlaQ/d0QXHWByGtyi6BTqivPlNBzMpiSMUlet8xGnE5/igGVKrytWolvKZg+8rJOq5HEmoeFVvdu+B/bZFxO/aPpLLXvbXWaLeH/ljL6ofKLdEqKfvNuhQA0SDzVmqEHpjLMcIJIcUsbPp5mtDNhrEz9qbyVQsIm6POWQtWT5ZWAkaRwAEtMYENFu3COPUthAW5AOe5LwjY0vH0c27ywZMA5VMcvDCpEl5bm6gC5lQjy7uAZMtKUR/zORzXvO7TZuGhNxmGKO5iSIliOvtlcTIRwcdxW5ZUcIxbIHzrPNeblzku4TUq0ioGUztJsjsTuTl7eTtmlogLFlX5aSAYsPqjQH+U3WYWeppopSSH//RBPuFZjxPbH1AAmFnnpdJ1SS0ZlEfAxlBQI/zrd7LcsDUT7tzZT2jiVdWQEXhTg/ItDserflh3waFJkFzJHS9hKWVV8WT3c/G3fpDcQwMg4HPXdsClbkyJ5FQ69zGMtEf5ki5bFfQLiBqsA3EUI/uMhDxFosVSHAKvVAztEXd8u6lGGf7A1tCuFZhu9kNWPjDg7mcMoGF6z2nYcuOB0rAdPIDcFaWP/t1iXnX+0ucc8gZIbyvCLvkHGD4TXiwJVq5Y3q87Nsdoqbr49bi98+/3CxKYdLvrhtuq+yWr3UB8LYstJNDdwoMvcW0WjuHcoWbZlcIUFb+zKhrEHdg31Oil1/4whATiWElCPtSZ6bZSH8wudr/psBX/Bs3DpXOFLWEXAratP0sJzOGB2qxEaLfSwumWoOIiGyf3jWexZgE8hoFeB9FsgnCRaGy+tY1qvqgfChPKq+uNSZKmy81hIrjEZCAVWMsJWNj0LlJ6DuozR/uQDa6Tj/5AK7fM3ZM+YdPHGKghXG4sxlzihhVw3Xfio1mi6FSLAeKoBKj2Lx5RVqVl/FZwNPYiG8UqGtppgRMo/Lw2TrZsXMCq8PB07DJtGlYgHneog2xOYZCaDf0a1NuVn0I70Zuf2F4oLfNixUO05Myh6mpI7JveJRNn4xiCNnvmTlJS5yYP+OYK/dzRE0xuAdGXAdEV4CzaQCokoJplhrWW0nHylJRRtwRW7ymSUNcYEwNUdh0tphxBelmPaiQJ9n0TEqOVavOBh8W20RKZaa1jjub7KVM7DA2FT7y30gZEmoDpt4zXVSft/Ct5wnfaAdjKUdKEx2XFSJ9DLvgidsYjEYfVmcrN6ZwzRPwxx+GAatPNlUcL8/uk4yhMev4x7gdNKKVc0TsY5udSGI+EXyJxotevkrP7UQTAbYZiuSHXAY6NqlslvzdlvGB4mVenolcWNH0c1zI/1Gz3i00T1j3tyOFNFBJDOPHDxh9cQKbVL8bwAsF9H4b4I+uSTalZHCZSp0erPee6dKjfwJmIJuIrY0/uMHmEHsh/A0XB0MbFPv72qy0sXYI5jgTic8d87NgYYuhb4sF39QYLSJhw/heaRqmn0qrMEdegpf8ec317ve8y8WWBXqBya4NBM4Tr0yACxXu4f8QU3sQqwCsYLl8+Za/gH4IEalf8y8iDNDW7Mst+fVEF2Y8sa/B17Z5SUfIQ5gSVCvUhNtTP2+C8oYJrXr/ekhjJCGSLHXFddRmWRdHfYxMz02B7ijFLTSPQcsc69sWBuRhtJQoJEYas2NE1HDoB7MeQlYlShXNWVchKY4TvetIX+aW2mJwpHTCIBPPW/Qv+ShcalLxsAVjOFCZ5gtypZ5SZXkCBm/ANRS0DPYUeB9XsoFmsm1ArnsfcyGCcczUz0YwqoTTVHMWsEXhSDm4yqy+TkgRVZuq7k9tjUfXlRAYViHZ2/g2IqR+RikfXdmTYrsrMKz7izmleohSbZAK2DWpfpB6KrqYASawGkyLSHQpiLW+IJMxyHvW0ngSnK4bM0vs1ZgSzfyImLqWWRe5UsXk9/wSnXhCg4Qgphh+F6nBF9Z+WcVVKRWzueT/pGzNZz19RlBXprSLS98B1ZKPZ3f1/4tUIHWzot3K9Hb1PwZAsBrg7nUF3J8DxnSkCZ/i5SpJiiYWnWzyurxUgpTWWwYQLXqD7YQugZVmfIXrq1ahngJB+BgpkRYMRC8tHfLP4ggCUbL7TLm9ZH1UeV4Snp/URJSSvr7vLyvaBWufDUmW7qbx9cgoLSsPbEYxK1Bc2Ytub6p3XXOikC713z1U+sAhAy2QUzyp3CrrWVQw01OrRCrRtM6u0SubWcMUkh3veKSY5do+m6l7EC3pHooOUsWdnHJeFaCU3otCZvUkZ9TYmJAzmepEnW/fpqK/DZCsBS6YT5l2pTdN0p0Nfq+xDZfBzF3VXawG7F/yG/a5PUfFU45xQDat24JSEo3P3oee4mkRZVH/YPyK4q4i9TDqEl508KnyLP/uIIR29L5hMhFJnjJQ9nJzkfkA5K8c3dWClcqiJz5ALZtYliL7Dk/DVhM1kTjazkSCdHGJp3n8qAA7YPCacwrWpr33osgJFIW/MimDf9Bg9kCPs/G9kbfoeD+spdWsiONhoTlc/SMtq1YWkN3EhQUl757kPHR0gtyncldkl27p1yxm98S+l+uUF2i6h5KoJQrXY9SlvMux+NJYcNaA6cTSINOgD4TBpmdna0WTz2Mg2lYXy0a3a2C3bWTutUL91HOlXWG16aG0752Hp3435DmXh9piB90EWIKMaOfFjuUf2HbrSinLvSQbkiHuLgGNwMtnzICKvHRRGcGzl8gQdJVofzuuDoLlV6sLLUP91Pt6fAfHg/SFW0UmT557+QYGGN7gTXtAdTf6YeXYmrcgQYpHTWArvqGAMHZB0BubehgM/JFiUySv4k6fgbwxeUpV013ijU+hsuVnbFoeJ5Bqsc4B3q7sipIupwIXOcGYabWiDJZGzKedMXJu62VuCyxLY/LQ/x7XanZd1Y1tvBCPk8i7gsyNLNQdynXGNC/YdadRDdP+BizV+M3X8XLRujfZ65OoYJg4YOAsvCl7CbmrxiR37p2Ju7yC0CuEcu7fQGgSZ+I6FvRyxOoy7m+7xgu0jKsg4hyvBWiznPEX4CM5cLN49bn9M8zi/kFkPJHqHJyzmVfdcJbF++RrG6zV4NAXRuN00nDAAF2rIkMQlH1NF3qtga+gM5U2mmckWz2mfrgYGiaxPD9XWu3WtWyXXZHkyH/xduRmbVha6SCEqkBA7VjW37hIHd6N3HwkS9QluRrYbi89BlOGSXqcbmCwcp0HHWcroZKWr3OXG4w/jGo1NdImx8WYp3vh7rgD5hCoWCQEwGHWgGExCqxAjPD/HL3DFICGDl2ziOCuYqy/xzQD37bWknJlXzYfGstPcvKhCCVzo6ZsJJGMiogJ7pQRXiP2sHZYGDH8QJWXOiUEmtKUToC+/u8HUAObvOYg020pgjH/CrQ/0/Urj1mR/jSutEk50+3vSTBZnayi4quDMuyZY6tCDYQHWOCCglVB18kvGv+JAulhskHmVeXrILXNnCjWjTxNI/RdHFked/EjbPR1+N0bvaQ2PMKH30xZELI//37a4FUiFIrx2ghtC/fAyjXMXd28uwMG9p2oDhHXFxlsk1Zm2/4/3lOKksOxgTBsCA4IQ7AIHmecQJ2OzgYedf4w7acL1XLTVb6pegKCaa3+tYtZ8zGZj2y+/fEiMiNqNaePv8qEt+KEgRkKnGEy6QNO+fptSxrtqzNg37icELNDibdxcvbpeoRWLiZ1MPd9/JNa6V69tA80L6DF2/lhnGD33lImt5UWkhHE2uUAp0uVjNp5/owITBAhXIqB7DcjkCrWIE0Ka0NCjtsuWwF8W+RvnjQWIUhZtjgro/p6TClA1ISUavn6uy2BSQ+RK8w5blwXuZAE/5UlRIOGmZVvJTLX9gu0nv1WLMmoDH9gULZEIxrhAN/xqZYjuNH43POiErzcoQA/ojAfIQgZN1MX8TU+VR8IDCbaBcojEX+DZnjIdhsGY1gqaspT2RN1nO/w4DgyaUFbKO61CxGroWjFuvDjtwQJIwuNXeRYhg8w/NBcZUXeiUt8WRoBxAAGBgKbZxiEhqfMxdb+5+abz3fq+UjvKIweKRshKCl4Kyxx1jYYNCt93JbrGzkOu0jslccziJCVXZlI8HCig4qbj9IfcwYll61/++hdW3u4rRpv5IKCZeU4CzB95XXIKFpJiyZMIjePhmxfPlaT71pyTigYE23tkYs+8RDIhzD1atKQ3qhUEaj1MaNESEvpFQhJNqfU4imVdxAEVnc+raxto3FK4Au2yQiyDTMDD025l5DL3KfUx7+I+qLeEV4eACbT5cv1kuoJRDcbpTgbl8gbT0ckRltrpj8QTmGeZgs8l7FzNQxjC5Lh7G2Pf1Ug7wHrLTFKDWrxVfoi8T8ZV2a2EGQlw0Uw7+JTM5IbS6QL+lVPpyCmjpzjNqGopbTwdQ3uq0f3e+czQhdIuFVV6wyDriYaeI2qN2NtpbqY1k/aTvfpwN1ej1MY8KEzaZ8uGfA3khFkHrGcpDcGKW7z9bueJcXvs/ZcVKDUIOACjvxF2PkVh8l6uNT+NAfVfk6JLRGlTfIW6446mdky0GWzZzOQ102XOv52cuRKNOXZx4CzUDnrSGLyks1YJfOyh7s3JQ63Df5YFaqriGUsUbWhNbtNTjNjuYorV7m7thMOk4C/sQ7raKloE/icOIc4J1AEDygDRw4P5lqnJNTYyIgvgofeKLl6PsBelJawLm3M4zBOrerZ66qedszBBo97ey7fijKoK9NmOvL6MXx2HSw4whxu9Pmu+KTujnj46ncxq+/nZCxRDJep7Q/EGpLu94f6jwWKkbKQFWdD/bAatyReHdAXm6AdaXV6Ue9E7anNn7AjYchA06EpQAWTxdXV2IxdBJDK8ndhqaJ4T31BodMfeIvXlsGrSGdpO9WdwSPSkpyq3k7JBvdlCQojCydBCxmc3jpT8hTZnlHDbYtzMufpDMTrgZ8EUVOdkXDO9SIA0IcJcS7PpGjcMNVM07w/5mSoCC6twlvnshzGvOdH4/NK5AIBpa3yJMwsBV83f+QPabC6usXzYGAPjsYqCTVR4IxBzs4RhRizqMVgLvMxoMPm8/neKbdWLqslsM5Fb/z2DCiJVWpvWIpGu5Zd38pCCoiMoYDePmJQvizk/uxUF7nHwhpcz8W2yA2DMmVVapfBIePPpGVfvdb2bbIcxq65y+b9zJf2t55DDuC2RjrkAMZZSQeJ3YAsyfo2DGIsOFCef5H1xyTCZA/40Xrdg54KM67Fbaxqd3wNEtIbo1T7PDpAlgbNVNyHULhu5C+YwLYFZ3YOGAkz/Mg34UZHwdW8XxB1tGjQ4AJAbFM6LEXtb0frrQnYxk9zlXgiWqG+X7FFAfpcTOrHZJjtBLH23tDgw/u99zb0jNnJSZIlwIM0lL3NGdzJ5ce3/ZZvAjynqTmOJ89yF/rt4piKBLkS4rEdeJlfsLGw5nKepj8SGh9tXuwyAEQxmOENBluwX1PVqheK9opRHI5L3z17xRg1k/BtR1enTmGHGrK/EvoxDbHNDBOOsdEz/BN0aDUqApZVmWsis+cQP7kDjynVgBGRzqmYzG7b8mJUs5rUtnOC+ZhJLuf00EcL3eaic6WTuwXp5vzjF7r+3EI/hSuD29LAc7tXZ5YckT+BTZoXTd6LgkALhiWHTNM0DJmTAXvysJM574h1lxG81Db8Eo+s0JpykudKD2zd14ETfancL8j3INEFTq53sWvIoW8O+MZluWG2Dbk6U71bAKZO3fbDu3atm1salxeCClpEkMDgXXBc7tTZi6UMfe8+IaZif3fa5fkxFfnlCnxdKeE3BVbGxKPnAjUX1dt2Xk4kiwEqn+uUCJVVOBQfCCJWh4skvoODs/heWMjrzshH7yvR4jrBSJlCUYvADcYSvsFdjTMQgg7PTcNOlT0UKyTQwDypb+wcC27ZGKuSPP/64N7atoMaKy4TwiP8Tg0XalPRkGDA5ajFq31vgiC0y+7TvxHyn99SRXEsz2gLZ1GMWOJPzT/HxGR5wmKUGgvMHyjDElhpprfiMpvucaVssjpiP9XpFXYNM+69te9ZtzJHOYcm8eHueVIzGhYuq0ooFeLR0KSo0EpbwFyy6H+b2QF2YtSipPlX1oGEsPGZw9LHMXxFfOLb7K/m4FH3fdVqF9FNJqVvVVc0Zg7//t97/qMpKRh7yGsuAN5man1Eg8nmeDwhoXXnkkWmVC//eDrKLK2TiOz/HGGSNoWV+OEUDCzfUZCjoi0MvkxldUNhM4yA/fZwDIaJFa2AqnbRNnCC/uASr4ko8X/+4B2N7BJmfsk6a+ph9lthq5J3DtipNEMHVTc6cCkmX7QXDAYUiOS2DXiGfsw2rJfJC1GRjz5nm/VCrBxxX05shgQVmkwFjnAsWmPE4oqzFJZr53lhu8qkmRLxkLe27GZsPvo1vSurwuGQslXQaaEBduTBG/P+oeJlevgXvVcKtXq6T9gM+d6xFEZq8ZAWH0a5fXjCre2EbIk9e9v/gTwQvwwwaTqh0eSJjJ82Znbhng2svZQN8Qb8diASK+wQOXfQayNh6FZgPdaBp6k4G86b5FuzokTjMtwsEIwji1H88dniUFX5JDVIQlv1LWF/5VwVPWpL+dZyfYbUFvgPSkqo3u+GPGY0a+UxhxRbvEUCAON6iLHEvnMIkdg16oxlb6Bl5cIyV1AQZNbFeTzzOcIkr0vWlazGzDwOADs9NPl6cmLjmXsmU/huRKNYWcWqE0SyVqCjVxxabJ4eIBX9f4pw0tuXOtk9NpikwSdiwOvgSLIGNsgZrwDRTmPw9XuL/aXMytKs1Wcro02J1mrcvJsaUAaeAkcoW5aOwAgDIOgoZkuu9DosFl512+nkASzn0dZL1s25oHRNWkNB631wGe8GK/T/ulo4Y+8rFBq4KSl+0k0s7iUAMDL28640cyKfrR+CdBskwWGcmrYaQMB4n2yuTi7Po/kvkc7D9bVauGtaThYtORZb5CGEqP/njALeosVJ1iQB3Hx5k7fo9o1BPn4jLtV/I/5xbtCE9TVtIBa7Z4272plry2G6x8TYX1FtlbJiYDEK2hxsYC+SJ+9EBU4qCv2FMi18k6ZybHuqYK2kZ11ga0ChMBCONS214SH8Do82kspSBl2U2x95u8cDXRudMivtfZ+zRtWn/HEAiR047Q3NllY6L5Y47Vwr2UQ7qqP8zzRNM4DfX1KmaDCHsvpGk8HUaaiLxSZ2a6h8W2qLbqGo/hsuXdGHiFpp4ZTa0DFlC1zROXhWUKkpZPr0S5wBaHQRZb6d4pj0ZgtAjdDULWx+jx88Sz209faG2UlRnvAbYZo5Y5uYFra8v/eiJTbIJv+1ygs7rDsWonEaxgsvj3tjvop3Lpo048HePLrBdeA0pjX4/kSvIoDs59VxvolJNAerzo9luXueOa/bO7BiMVp+88X7iJYjGj9bNIqXQKfG1LcS7F2Q/c+B5Et7Q6sRnN7QilXXcxQFra9qAhywki/c3lN5pymw7KN+nMGKUdpZ9Ui9anWoh4Lw6lk9ySsvV3gRRdD6Wpo1BcN6piRuOGk0iD4Rjn0CdSX97cX93yy71OvecC0MSWb4ncP6Pjh7qK8ANkCVNQRSnoEGy3R6BqXpXmquFfVi+NTU169fujS5T7Htll2QE1s3IxV1KD1imI/VLAb+mDTl+9pwwmAADw5xwU0I12ZiH6YHKzN/T4jgiAqAIwIiwk9UK62qTQ5LAchZ9SprJyhRTqbhT4YVF5VpJM9sGl837xX+GSh4pDnSZlIEKwEaTrHuQm8Yzn5Xt/YaWE1ECVvRVuVKIQrRYwkHEseUZKtcvldq58c27CtTd6v3e5obCLZff+KgcmQVt78nKAtfB5sx5qTXAaWLx+z3UNZhH919fezyUDlcNxIlyLzo+LnAbb5ifdX0EGRqLDoxa4tErjqtHaNC36gdHF/RGaKHe7HHXPNS0iSfKIBx9+YfgHnBQ/SymkVcRIxfdfGByLDWSMM2ZTh5+0ut0sqRqHx+NaOnMal4VbuU6leSMlA7POpv2VwM7NFxW99uFQkFn5o4Ci49pxe1zHynOmTVTsbU4KIfvdcgPRIP6ygNzmiMZ4oOTZ1ACxmTd6myT6sDBND5G93kblWKAr51HnaJYX6ISnW1RVvsmF3vCBHnA37NTFBppMq5xthruqQbzjb4sfGDRm8Wt1akhAAFvfBnCXdmbgh5Gi9RLuAbF6p8BkGN7Y0fE4oD+ko0DxzUinrdtmIrPp0uqNQEApN8zIk9bExR5qVdEPR1Fxen+nlrOGVYo+LgpBfJ5l41WyIrbdYx8KXv0XqCyR6vHXhpFrwpK63BMXGnyH2/swB1vFF+yPfWW217VUcFZqQeS9LHalMlljkLC8UYSswtMDsbeiqPQl54UBKJF+AJNIb+Wks91BvpmZpuHdoiPSYQKB83i0dmBPr50HBJfEO3ALs0jKDPC+qLSQAdWwO8Qdme4K3NbrH/OZoPCOnDvsb0cbBVdJ128qX8s3Jw6tFpebVqK5JrKiaMmSTo0dXlo8nXzPw7WZJe/wIJ/SemAj9AsrIfIrU+8xUwKLVKswq3YJ0RX9EM6QGMbObBWchQU7zqQbV5/wDOhdYl6hKS7Eqs3dcpoEv21wSxQVHIE3JCprWlRFIKwqlaMh/9Nt1edxzcwh52EScGKyGV1wi10ZxurJk9eofM4nPp4iyXtCrS7rRsl8GYBWc4Oj0Nb7xLjYP0Gw1tOJK6pKXCSv5rtN+FUfXdmMD+HVSpwPyFQfP/ELXfBRrSTqCMKBIRVus0DH7nk6X+MTE+zj294wrk6darRm17yx/P/2AIoFbIkG81c3CnTtxc/zy0xo648cTM9xKG2Jf1F98iy/0MbQc4GOVdy8LkSNvDPt0WnayrZoLYmJevA9JZa6xSMB69NkjYpqh8p6QmfzR4g+jxCmxxKDoT7Asj6QfJ5Jc/oukMUo5P0C3BciNoGx9GvyVPr6EiZFJ8tp1Py0rPoox/f4cSF8IfDWyM2VROn+g8ZGMhcIkHVWDRky+zMAO5Et8Ouk5TD8BXL185cWL6paOMCkXStU3EuomMYZ+Zdf/RunbZw5HCX1KJNxpH2hjjGdw7QjzNCHUop3iFA+4bpISUK/Mfnqj07Y+J4e/CH5Yt7WpbClythv3fqmhfiEif34D4IURv0iI8KFGKgUCEO/AssI5IHM1Y3WCAq2vcrY1+ck84E1wQbdAlfYnJCOoiHiraGrG2Y8/DbC14+Jq5ue9/R9fkuVbJoGgbAqG8jWdYEfAmDiOQVxFHuPtXKjCjWJSw2+gkTDB19a0NWoLDU7WPPZAGuahnQdMUBbpR6Z9beKfV+WFvZQE2wZiWzMiiqzIHtcWBaAr/Fz/NezX63ybBAMb5dtgBWDZtVQpATRjc9LpbSahF3QsZTuS9lRDgyKPBbVQxlsiJvSr6s3R6sT+7AqemTQxT5z69faN1dZ6vyfIrA8frna3iTHjV8WXApluFHYCC7hinnfdVGY1wsfDPXnnpZiYgbOP5P033e7qaNOVTwvt9Sv7HLT5xVliF6J9QAn9Hwq9Bg2n/pVX3akRZYWCI9KFijh+sKCJautsGqGQm/mircU3eesmkGPtbIRQW7ZuSmbUw/eX/2QjwtkYCaHANcsVuigxRsBjed1+/Ia+BZHfeUHgJewEM9s0Gy/4i5Hw2QBFgMtoy2wffa1cnJNM4UZQpZ5e6xho5Wqap4a409k5dRukkOZCAGu4D4a07IZfK7niagw50SQSAubIBpCTvCx3CTgXbs+BX70noBtiAOaWCo8jEgjz7tAN77vEDqbnURnXrZ7v83TyBOgzesvDjCensF/Mr3BBJW5IdktLhLovDKkfY/kr6ygrYtJaZ6vYn0Z+ie7QzWjVJdkcW6koPNBab40P2gNiSuNmVKwuusDhCk5TP3Xi53WF8o1NJjcjqSQtZvU21X+IMxyQczEqzqr44cJdXliVh5Z1QxVeRn96oLLb7SbbM9RLx7OZGxaflQW6IHke9Gwe6JuEbQqDTKZ+YlzF4rlldnOWBKZ1d90M5x9ZPSVemHrpsUEOSXWjHo+C9EjHbFDd0XEIltzMlb6ulOfuvsbl7U0VOIOp3TmOYvp7/au+s+uUOP9lNjkUw3cw7NGj730/H7pVEoWUVPK+XuF+UHsUpPtQ1TvzIzZ5IrNJ1yW3KYo3OQzjNKOcZ0aq3CLT1kmgo1K7OgJ1Stopjr4adNLXxclIK5XRABqg6eIm37JtMj+2gqkq/Oh0k8ntXk6DXVv/dSkGTryophpz4lU56wdXu30qHdfncsPFkKdtddcZbpc7gWKCm0FxUAOrZKdgPTsU9aFSfx+R4s5T+C3mg+tRzEbaxNmwOTn7cqBeNVWoGqOEACo8xTgehySBiMXPQiXLmCOwfoMf2F8cqI5bRs4t1N27xPriOXjsbfrunN/hf80yBY2xXZtFODi3BhTwsts1/JhIFQcctSULRCl3wx3R4lE6fqShoGtceX9tGdavMMbh/Q4wT96Uox3zMPM7myzw+ix88Sy1tRyfq0+cX+Q8yct0IJaQN4nZFTuazAVxPaJt07n9MxucGVtA8PLml04TV6AvFr6kJrCTebq9qKzotJlkjiQiOEWOIpKtnmk0JHXhVv268O7vb3Dxybc+CVklUztY0KidHajA6QjiI99dTNFt52bCOmYONN5AK50nz31fEzDqwPbuns8hdA/9TCJuBur9JjXLP+OAtbdkbOtA4Fbr7PgdW0l6lI3St45kbVdDTU1Ydn2DYP4ut5sNfII+xw5vi6b9dzwAtqW/3ktn1mZTsQjfWZvoMYOtrCFHClJwFmcai8ANDOMr9c0v9XyD/FvpQ6bRIoEvguK1CN7nfgeNFGy9S3UGjY/PFnSe/SrWRtpMo5CV7Vz3I+2HAX93A647HzFntixdrMqmjnumugGQnKcv60SukKWfieq1FXpJIlPNQhLrYkLS9DofOOpxhKXMtKg8XQKGcuIPD76ntBY9MfrxfMJegjDsL6F2s5SopDaz+MsULfplK+9KzrHZaQDJBvRD/N1xGrSs5DFs7iTtyjhp5osPDc4FrwTma67T3QxkYvTL3WJVjcgSV8QBVDqKzkiLq/eI6wI5E932v1+8H4eM083j/HqIybvX009glu7vMTKoZII1OZ4rkeuvhjPB6gf7LJZbzMZLzR4DpOLnkkT0IbPU58r5RPGhAI+mccTTFqgjb6mjndZQfAvitHmYy59EHjzUE+qxPz0nucd3p8IrDuNILd9xkqO7iKOqjIFIi4O7qNdQ6YFonLLWizTEIEhMbWaJ5AxjN62vOXIGx1jW8vQruGPYejhlvJnOXpkYmBc223SLq5HpLEPh2ytWQokUkqKx9AjaNad9D2iLyoJp5W98vayhFl/LkIDFpDdzMFf/GocfMBOkl6Ofvk74Ks4upM5wRthHbFNC5LTmIY3vVNOmc3XtliQbyF7JmgUERnv6AzNCUwI5v9xEaKJKW+512pm5aQ7ASkr1orW7qGYMK6lC3wGw6s2PMX6nPfYbckwgomEt/QdjgDuijHs9ZUxm254q8EybI+wKcP5xeXMfQtLil16e1PFnsSyJPg5rx/jzw74zehyoLxDrmC1FHr8Yx3IXGZFy0xvV67PMkLdmZmKJucHv7hGVKD5hCWF7755+iFBJUNB1fJ0z9+3XiZCVBr9qOiLnB4QP6PwfgTeF2m2mojfj8sER+0eEQk0R4xNk0d44T9MUY3pSHxdewnt5a6VYiENzOcgfDT0/xKYGjOfshptuc8KvsyhTgPgmLDDG8CsdF2DsRboQ4WzXR/fmmay+8CgU2sxxHGI9z/nhLkvFlXdj63c8CmsRqNJ981pDGMcMHU2qZ4F3mxtd7y10l8TwAcB8MPRki7vxrD3kZrXc4AczZ3e1/JlkeZ/+iXdQtg5CBUeOdhbAcncFWkUdv3g8v1qL3IraNaSaZlaFDOXR+DIWq6sb+E14+gHMo8f02sw5mO8Ao1AOdNcBgWJ7DO1JpAJ3wxHsoaOiCGuEaamFcn30BiGG+R8QNiAfLgXF5/x+AKGnoo9Hq/3qf2FAYrM0SZkub8O/bIsMZ/SkT5WwkcOM4LT6nyf8jRdjTy7gdX5dAAIGL9AUfYu6QwU/MgwG+g+9h2NBfhgZ8uvuv2Cx3NjmJ9645haHpWrr/mHfa5tJdmDzevxNo/hnyvLmQYGisuOhfdt6RlWph7B0am4W8tJ4MKpZalOUdtbCbdqxgwcEShMleThqBH2KIrQ32b6zHs4H38Ks+yR6hz+YwQ4D0Rvx3YSB0nUNlxV5ZmbPwHBP51f0fubVClJi5QBRsP3bdT9FsJ9SZ0N/eLWYifEHQ2QYx1ZDk9bEmsoNTbthv7EkDs+8u7ltYJjWCtPd4jUAOaT4H019M2eZB7yr6dqKiWMg3jLjWgk6wT5jM463ZQ7dSUulIpRWyxv9sRPejweHckQr8VgLFCRsjIVRcXvWhAo9JLpWZrmEOubcGvQcZ6Q61S6atPCTBC+X5jnGeR9Cba7OqQ5aZ3td5DnQrPe0vLCC9x8WajZdvJVJjYczjquQM2H/qE0FS0jKIbfTWZFB3sOdICXssWGeYWcvQfE/xnPT+nRJo8BKpDQ7vVLSzOCDq2s5yPJkYG8wHGongnaVEVxdHgSja6udZQ3Iz8fcHcbOtEp3g7pbtAIdS9oSnqHBjG3PbeEtALS/4PJT42+rLaJskqZI8jZDZRu6+/o22RGREO+7s+ZoW1Y2sRNGrmJkz2Wt6b2x1UvmhJ8XzZIGPLwt0dq2ec1MHztmbLz6Jt8469BzhcsUsG6Z6KoN148DZsFgR2fqG4TRoEFltXw3zCrmuMP7wiXDiUcP/v0eGUu5CnKiW/GE25qfdBuOYi5cbLhO8SbxihYxa2nzbSNv4YoF9O7VLb2CmaFOrClEERoRIWXWZj8iOAmFXvEBIqbZ1ToJnp9M3dAcpbYxIfNHvd9FnFJS/6Fvc+zbuA1i+tOXxkHVsTFesOYmTnsn8cxiA5U/pjhsp+SPu12lxO/AwKZhbneb8O6Oju9y+oumb2VXbK57XwGK5xQ6EW+KoJKJvDSzIU1N70dzwpR3Wb2W+TWiEf9/EVX9BpJE2uqx7vDe87HQHBSwIRGI47BUVjFVg0EewRjkIGRKB6XsgJYrk6TQZFLA5MGTNrBTZAwPDUUIiclYo4dBDivG0YQ7Uqv9M/AybvBSS5ySnLoD1NWYMAebSGccYirDWFzpl5q/Osf0xWoV6BDb1AoJeVBwdXx3MGewHhBUOeuJuxE/E9Bwsh7nrtYvH8rd5T9uTtFeIdVZG7ac0plAbVqgL9He/aMz79CCFcNb3wwxWjN3+BjqLTJXtmQmcZmEiwxefXM05USiUgimnu3EbCff9bFXVCp6FGm50w0TLQ8ZC8GbNv/XcgV/bAz/w+7qoY0byealbOnmjvtd9tSP5HMt4Z6TtBmoPkXwB0fLHHJMclMKnxbLuDbWcCYHmDatA9uQCsflthLJlEZQ8OtThnFwJ3bMPJMtuE5S8XnWwf+4OpRGUMrgZq3FElnEPsEpA6ixx3UKQKLVlKYhOtYj6hLVckOKkxEFkzKNK1eMOa2R0JCl8p8pRT3HbMWFtni61m2kAWbgPygHLCdNpgmlkKJtXUKxlEXtUsklz9Wf1rSMK13eN8H1J3PbuORbPApjS3ZvLVFwyS64+rcwPjMrDlNkbO1QDL7DpzHZD6R6KZv0cU+Go3Ah91M8k0KG40/Jhy7i8Y++jDNXLqdbK13/fjZxKqAGktfjsyFjQCXIUOoCeAi54f59DIRsYGqrelqAxpT0C3fC31JfXo9nXhmf05Tx7AvhcJjiERJfVfwh3v7lWMipa2OEifJEjkUSr9tlQAFnkSSTMie9hY5f7r5PEW9i4c7SRXIc+ZY5CaUnILvqK4DkWTTxRFitdBO+KOhfOKmwzqF31DzO/8Dg8fUJTFZIZnboS7J117HQ9yR40xfl6QpwxH+WvdFMKKwAswUz/kpA517cRRbM3CrmXF+DXbDGsbhKrbR7unITd/hgJWcU/RboA2cvPXfiGe1vGNjXeu8BqZD1NCv5gLuU0/4eOWm7npGt77112tcsrC4Gp8IwDG5KPhCJoPbpyKpXpVi8WShqhN9yCpJHCI/CIJNPhXBYHRO4F3hCRc1SeRcP6RIMksUys1TcD53kw8I6+dkLjUWH0++AV5hKYpJpg1EC0YD+aOqEKhHheCZR51QOqHko5LHbYAThb4ppc1K1FN4c2IpMF32cyp7gbsqDkhLlSejQOI6hcAuUyEsTX/v8mM5fmNFfJsZIRCXVi4AlPcWAqvq+IW8gNROSqXlYxP9yH+Sot8cMVEIImkfNGjkKm9T5jB4zdgW6xhP9d/wT6J72n/+jzUShcEKd+9HZdEqFelXbg+j+UF3OcEubksZo8LRoYSXdMe3qpL67q+tceZgefC0vQIsRFCh8YKD6PKV7alQXclcjOUyc0o4GFKzzStVfMRSplTbs288Bq20GqYrJtEJhFh/6dji1Y5MiyV0ZdMtBYMfJ0AA747Q7dFyKbsOENIq/r7xceZfXDb5LKZvrlwkZEtQGZCY13bCwIETdVcth7i4zSLR8J5Q05gEn5d/qvZY/Iho6WG5EtJeT0/r8nNNf/u7A3Efw1h73tLE+mvoVhgYE/7UAMcsIJ6aDDWfaBUy3NiCsmu0pO7umPYreVW5hoQemPFjeXgAg5bggO0l+mirxFSwrMadbwxKpw1z1kRO9xguByBDUq87SlL8PXEptbEXbmBSvt4dOhXgBtOIiaUpzDP5JKLoOP61uBHjm67gKXER2njBqA2snEkTSUFfZpzjDsUYMe5LLLBqCBEwPrF+mNlwCduTYzYvmsCsfl/KBP8eCyk6TCrN3dAFyeAUwQgaKgmDcfPq6o0w98u042mmAkWWV5AY60K0j1jGSqpxIptXnKiW++VpTYuxTAkDj8HSq6+JU0Io7owqDx5YpNas3hYhSLOPVBansc+128tjbjp9kbRPFUsPqA6vUQ0HHcO+hzuFu2zfBzXi1jVG2CFBAo3CpPY/a83k613FP8O054nUPnE67N2EvOnA156B7x/Pj2ZXzed3RfK+n6I/KjRHgy14sWF9YytpUbBzkjExU+UrpKJPI9z/W6L904wfAn+i5Mj6uOcGVG6nX1hpLToapoTFQ88dr8J7XmX+NzpbGUqHAum8C0/H71hSo0I1WA69MSqu/YVxKvL8UP31JyuLxrW1IRdcjAG3WWSHNIfYwr5vjNeq7NYJTX65XbaCV2hUsJiIt6aS1Ei+68LUFqQQW8Bn0F7L1a68X0pyj2yBiD6A7iei46TwRLI1B4psI0ml/BBEEnFYHiS5wiAOUxgDSvVMQMKwZYF/UxrTbTJCSLLBqReb5TC/2QFmN04cxhqCe0s/shp8NEf2VeG+7t4ZZgPZVAFpRAlqW8ncyKxUeaMgTWaAMseEDQk159bZgYL8GYU6aS1OBBHJ6anSrbpTByvO0XXHMzlApduB3D/iWjUHgoI8R1EKqJsQrTxc8BYPEvU8vjFYMvRy18b5jrPcnDz/YZFVMAXt22cgqI0rtcmhALPzQTITYXjJyouOyVBmbrih8Yx6FgUOmt2hLYKnTIdex7qe1qd+xshhoYVs1gtN/IZJ+FduezUd472U+9n19sKcn3qgLb0y3+uQfM1G2/jzWS0x1TNQm9+ElDl7rP6ggjAbLxPnwMfMbE/W8LC0xBtsZDDAepT/Men4xa70IFE7VZHZe19Gl8zu23eFcdXbntdN2Zu7MGMXM12WejvmKv1LH8iCFzyHOjQSHc3jkwKjpuQaTiqMn+FWO5szj4VTLfyj3J7eHVS+VU0fLWWRDzUB/nsEgCtk3+Ye0QIwp+jX3EKTfdiNsf9j4bBOlNlFbsISZC9F2sip8V+9nM2cV3nZMOtHy0bpWr7CgSfXwQNAvCYy1CYkrC+/Bhy55rOwnqlKntwtVzC3lfWTVe5LGLvsqxLCvW9eKZc/4u9581snlGvBnsGEdkX3wcJx4nUZ9DaZCzMhGOG7rpWJIGS6Aj/iq7LoNIfy+b0ujhWqqo6ZigDPGBQbukoBYVly0pcUFKtUqDaqo2CeCvTzeVkzwNXWztMQNHyWC1TNFuGvRidNOK/LQajONpqv4YGC+8KQHaxsemUGGGaxtPQqA76m8reHcDHxXRyfyVdIRv19T8ksXGc4y3svPc3eqdW/x2En9k4qfdbdR+1ADWHNbHItn+mQYz5v3aa0svVUrxnM29LKAMbKdJA+gRNBCEbjbTjkeYsotct1e1dgjsc1a+X+NBj6hcT293xtf2unb98eLrBbVm5UeF1rO6YtZ4HyYnOB6xzof0VSOD5/F7Mvl6iiU6Ksx2nMP+cZ2VBOPfHXnw+Mbj+iNRbw4wCB2GRCKWy3rshZZwOkUf5AFhLioee1dmsJJHzA3BAdtyAWH5fielw2AyhJ7w1TJ4aIO0NM7RQOEffaRgvNJyYIBDaV6CRh0BFu284J/pi4LDoJFoV7FMYMchfKpaC0yEqrfDds7a3q4h4UVQNaCCZyZUl9uRKihSJEXUPixgrXMxGm5DB/wQFFMJPB7Rnv4/ThgpK/QkkLKFarAa1HqIfBGmgR7Ih6aCJZD1vB8IhJcnC3aE4nsmiQfoRi6/FL0dgPBetUQ2kRWwbbaz5RLPJaJrt3PvZJdYeY/T5dZjnrukca/U3EkVmEGLyiw3/e84G4iRmVU4u3WeAsDNWlKWkFj6iNwW+sSISZttM4n12n8F6cY1sKao+G9nFXZRZJs1MpLQQTC+rUvv6d/APGZRqb4DJXFDMdzTl9kvZvLY565xQd2ohYL1AKrEx2RycpltgV/6BSMezBszgKCS+j3Ggl/XaJfaLOKRcEOjTnrTnDN3qmhnbFnofNKsrudWFe4Qwfe+67ClFC0bsd9i+uCQJO0fBndzeKMwvG7dJckBGLcGUw0N6MBeoYEWmQIeCACFR07H1VRLkEVNHHWuqOpP4+nMkLN4yymmTf7fZx0+oy+SmWgAqEJgWzulakQNSosabTc9eoIvMoDpPwh8UahXWlUN+AcTl4Oo5rLdi2uUe15OeSXL6+2bDQFuti+XxdFXv3KVHA5syK28yrRvzIiZaCA+nlujFa5h1fuMiUHn4cw5pwTXLIsCkQknDENrZo4SrGQ40BQqpEYe8oYIjBwL3T49T6tsxObW4Oj1vpLiE0Xfb9EUs4h6histmaAobvwage3/gs47AhhJuATrOwOK2unA5vrB6FmMbfH6atGtix7t99l4dTmwPgW5y2JiRzgCScvgGqJey8fgfSSoNSNDrmXTD8QcMR5CrzuIAa7r2B2RmvIgYkwBS3R0fF1voaLmYOkUkhwIKbB3eZrv35B3y/zgHdSBxqc1NcPM1ypPBERS+bfU5rq/v2iUok7vfxfGOTw3trauNU7dvA8stt4EyEToUbBc8xmMu+wo4DNmZRw4gVNR15EHZ/AVeWa0u529J7gQr1XZh2CMQdSBskvv3ge32gpw2MRAyzGv8VXp02RmhSUt9nrjAWQT1mCv3tCsHMcBeJXH6IUO+XjmRI0a4GzDR3+sKWt8D6VbLQAcvJZzJRs8ZVcKnN5JlCiDp4yfQ40DPO4CwodjVAoHYhczN9ZMIB3+Wr+5mm356QZ2nk3Cx/lo9l0WIG5ojqbPJ+60rIjkGpMgQE5jP+h987GWlo928wHDEXCuSyLs6iRxBycgznkHZOT/ZDJtybJItSaW6wZvEitUFWJfkMKzhXIfYut7ppLS8g2oVguoHD10rhbyDTHw9MWF8rjO2knU+AWIg3jOdoUs0HFk6JW8kRjyRe/o6r7qWtoaSPEU5174sqMe72r9uaUDI7AH0tP7CRH5yXGoagdrG4C0xtw23QmNc0cDaUUS/8yVU1LVV1gZP74TofVZrDe8Pn8+d9mnzRJgQ7HqkdNIm2doxkKFylGf6TA+qMIywJHBll8ooWEWrsMCBeOWv4O2AOUVPy5uXmA16IuP3JE5FXVTVEAQ3c2kbXRCWLd14qBQfQxc+OUgfnC6Kz0L3qSwiyKrU8+VFeP2Hlzge4LY/OJNRm3Ezfz1lc3i2iOxIqN+2fx3FxT/OVTtXURtOGOgqsLmx6tUJc7bgbEsafMKlQDSL7B3DWlie/FKFT+fc8+xL0jogldC90lOvJKOihF+D10iGgEVWDAjwIy/erf/kWFCJSYupMd2dG3iWfxLZis2xlIhjetAvzApHYojYeuQ2HKZvd3hZ5kQinAC0oEOuud1g0H7TAgBdvu6TxFEv4RIDJu89Df3RnKYk95+IpK0UD4P7Jd+lNEMk/n/PL4Q8Jv+ujJz7qw9MZlOA2Q8Fv/O/RC3eSuqhxvxdYUx0AgwF/vm6uK+VW5mA8MAudAaeEIAO5nY84GUic6q8qun18/uD69/+kJvjuOoUjpUI52kmGLYIivc2xt5lmotv4/fVA2ZU6IzqAX9MJppKhmkjACsPhmRo1Ym/mgejO0iEGOeiOBZ1aUkx9yZ7Vd46Y5c32E6vwUkHJAga+xVuXHUaxyQisencLiyRiCeTp6vk/5JpiSKFS5sOV02EW7LnTwJRwHUb2XVTdIY9hP1vIeUigdhZDLr1r3IBU5cTEj5lOIwIkf3zxrk9TiqvklqO18zkPibnHmq9qN8SBjNlVK9ewNoeBMbSsK63H0AdQ4UmJHPAwT65lOY9c7yuPGDYdHQWtHyc2cs8iGkQrPqzvKTnTeoBLY95Ai+4xCrhr/kAlQj4nmqR+8xEhBxbzhwN0C2x9FAmKxlBLUzzEYm9lncCSktjlJxjFfILMh9/8F4mYGvvNB27kp9iuRdmKxkoesa8fKlbllLbcQsI4+xMdYMnW3Ac5kkwFTk84JlnxKk5OnTuv0otPd8LgM90TC+wXT63uebBzsbD1y5vyGNPj5wjWL/SxUy3fxIn+nsDJ/oofs8jYpBKRBE4g5UiIC868+iKCnHLTMTtVlpVrW7OdaINxYx0wTqrFo82LEnuD3i3VPwaBUipWOk1xbpl8YhfBgrLt17kD9xPyxu2CxhpSsG4wVFinuCWGqhxGBm9VUrzxDp/5KX0y8NJOY5oQab8Fit5QaCSOzj7KTNiMhOTfvNzNusJlNe21X1tik6kx7vl1YHDyidjLAmFH0Qjv7WlhixkAnhAq5PhgyE9/j+SRorkIMnYvwhDMc0Xfzs51fifEiqCJ1WluAfLAXHXXemRN0BtFVRJNzZ2bXLjds9GLvPBGMcR3ukD3prgYl7PNTDmeeSod824XqEmj89HZ0RlyuXN0zD7QvEF3qq429almD6vPZhzMwgIrrFK52k0n343eyZeklM2TejMaqTiNe4pPrT/0bve77KEkhh3oAPiJLN3mS/e8gGuOUWaLgJ5HGxlvxUdaQTWAWgiOO4TzDUIBWYcJFoX9hH5tvbNQHxtWB5UTurqYpTwzZyvWe2o0ppuStn5c9YgSh4nx9ZulARjcLbLqEuK9jkDth3BA86krlJvvUIyQXJby+wcaMwXdGVXUSMjR2Qs6gtbmvoJbgitwfPqsuYaQg/P3mSDKlxW+qU19dl74gIETDnRlLQpqjceMcrdf9pNx3ReSC62uu85YNM0BT44Xxp7LVO4PHkhziQFFME5woujisaswDlGGyEin8wnMpxZWzbVA99T69ccovMmZ5wWnBD9OZ6L8b0vo6xVJ9o42b9KDMgsospO400Um8YGU17LbVRCpdf79qkdKVJbBeGgQ3sqdfV5Bt6bLQGA7t5ON6drX5+txxt+GpMNh37jptbWkdJkVBmK3Xzk8slejhdL5pOLs2V9V5PXSXMm8jGqfAWKBVZ51LgpWxMCLibGGlATgZsPHYA75rt+puWertEXn8NyZCg7lNftYvUSTr+esN+Uw8QEaa0ZPxO6uUxH8vQn/KrgaVK9qEKwpODwRe25DnIymveOgwF+NU9ghUfRhXHCQjfS90SCy4tXCAsZpukwQMgfCVTvCt853KWUim3TuagoHcB3YWmZ1oKPIJFX/zWD2aEwtB2nis3PGl/z9FX4RzV8TLqaAJbBAxpOPLbC+rLCLPzDjattW4GlpaJ4lA2HTM/hgAQTZ/n4ol83lW8hd0ZXOA/iRZrQal7f5iPKaOJOeNaZoqDxBoM23ua1ALKbKiFlG4meF6J1ClM+fnRRPm4a6O5fsGO++Q8+5QI4H1K8h7NoGUl5omf/r2OlkZCndzQofTkHEHcKVTuVkfyjsN4NTPdiT2J67wsIISy7OOPRtx6QhGLYjXA52u+yuR1ZFDqQng2/FB/3m+dg3fQRHh3WOBMEPlDZOyVLbC4bZB/tmQsrfMIXD8h1nOGt+lwtGqDXD72W8ZK+JCF4ep6cbn3hHl8TDBFKW5arXMbtarq+3I1vtn88U78RmA6DxpxmY3ZC1BEZ4VJoJ1BbsxrUfN70hlyTY5jCSH7UHiyFP1Ke/tsvNxlciMbq62Pmx9ffNI0xTnviSKZj4Vy2SNRu/ShMViHTJOAiLHGbHT0Tnn7CczUuLdLSiN5+cpzW7CR0tyY4cb3WNfsgpFe3eBhiK2BIi4kAa6CLRpJYfTzq6wHZxBFqJ3O/YjxnVtSC5Z/i4LIJsjzT+j24S+Y2Z3FTckwd4SlVoNttVrSHcIBHImPPtIZ5avTkSjQWSvpjvnhWYE0kETsHoWw5mAtvr6tU9UzlI39pftZwPoY/iHw0XhlRn9pz4MPXcZM5x3KNKJT5XPY+yhG/R72Zi1oIYhsdWdUTqWvTFNknc3hne7/pjaL8FhkKCMxF9GZtWMHhPZohw8eP1i3EWDbb2qaEYC2QmaFsMbq5F0RX7ui1DyW5nKBQROyAFhqXwQS56lpmE5UAEAE8GZARQwRfugqja6hrmwIUY4daj67jGJhWLZFmLe4tgeS7m5r05gj2Cfw1JnuxH82H95qrIM0JZKvvxImWONqYGD2GE/GO6wpkp56oZQhpqLj2RQTi3QdzRBy/NAJ9358vnLiyB9yX6kqZ1J3e8xY2/Q1XYkoYjIz+391oR4bdyMY8eV5DDe9g8Shfd3ZhpzRnqNe8pvw+A0qDA0TFbGjK5NunSSPbSRJf8xT3fK0lh+Ctnuc9FfY7H++K3XOeLwDosPC7QmL32pR5YI/2ChFAFZ4mNk9z2tUvxsAXCiplJ3MHg1t42twgIbF28tHh+QRaBFCPNLj07ayHwLjtS9QvQex4fl4gQPerupM5gh/FT6QaZkPR02j7XMsxsMyQytV0JNC21DAAwV8ECocz7slWdEtRlBCUs0vpTHhUKkvFEW7BaU/7UhHF++JosfUGxFbgTd2P0jgxTTFNs6mCW3xV8aHrceMWzaxHshbu3I04m8ysqAcq4i2LoxBMPpPTCZbDKrXTXOM8W1M+8TnBcazh+/gMzGAHgqYJgN56eNDQEW3+2SOjJNGhFrEQZc4pvq+d5oIYgj5QuioIbcZlXoRSHuzqz79GmU7mIsSxrD98pK/+X9lTRvu/giW7Sbyzi/lugRwHeC8GsePo5Hax3Iv81V1TV1UswdEvdcD83IIJoNPsierUKxpdC7AX4/8a4z18Jc+zjIpKgGZ+Js2I7KMZGlnkkWJH26dpExliphLn8BfZ1TaJZDded3d9WWKvEkzxuCu0E4s+1ypCvlqk/HZrixa/tayHZ9uO2RCiq6IN2VqMIlgHZOvGRSzvQFH7kTOqaZ9UahvkanzfEKKrMwUepQHYuDKjaPAKPvlE/DMT8rQAQpp7q39FOXZhK/WL84ZLe20J/11eUmRM5iargEeR9cuAaqG119u4DTBGk+zaWlCiTzZHNNj1LMjus573MJZELGH0xijdDh5GdKd+qDgAO3hfuErP+rXeh1/HOg8blEU/sCS/bZrK+Ogi1cGAAGYTWL/q6t8/9s0JxSkFTlK4R55XJGRhDOwUpP8VuCvhVQVERNbA8kV/alG9hLhutjZO6zQXCNIyaNTQQRmerXxMRjUiYzPQbmHstMgmwT1OSpcFkBpa/IvXKB0mpDt3V1QzwL/qHI4aNf7oZYwTtk2TO0S/NLNkjf4UCK/LxPAtXKHDTEiDNyFFKahX1EIbHzjvZcjpPeCNATp277EMNQvIey4xGoPTMFr2bObmUkgKwKyLqpYZNVeAAuGbQmcad4gRMsbrJEPVGYzh668v4dXoSYC/uJEDb6Yb29gbdwzB7RqkOFclMLrQfgFMeTA8F5j8ZAfT8wzR+6ILRNiFHAWkFON9/eWCBruAfFzHzfXZ4vpadh32B+SfICyJ1RxB+8NaVEn/wWYFGTLYp+cBV6MX6GUssxIvsWAU4K9S8hxhWTXg1A91ywavoja5IfIv7JLoL/mAMMiwzY9gM/sA8csGWtkn+UCu8hufsTmyOEO7tRKUY5gNpX857DcM5Lr/7KjN8F+A/BiSVNT2qTMS5VnalkyuJrQaIG3QM5BNoDxD39a7y6d+Cuhoih3YynJIgE2UEG3r4x9NZF6boUmq9XoMKkzC3c/z1Xko4/DH1q+GdNrNWTk8drcLpB21OWISADbuwrS5k5TWbFtawI3cSXiCpcOuGG05b7BLYFcbVrP8UmGyJ/ZmrxA5PHOoPrb8BycOXpB2pPg8IHtB0BtqaNVIo5/O1UD1QP+J2yEzaOrZKm4SgadGBWKHhtWdpQp8lqWA3n/HCmDm5UOgqYUhHJ58OklMFzS8xZZOS5Y7d2piUBYFmVdJuf8oYzmFRGXQNf2nHZxCmx8b93Amtrx1/c6r4XtWJcDtrJzFDSb/9k6jWN81LuXndDjY20MTchzc8JqZCGar3IQ/ogJi37ZA+nELhoYUOFSX29jZjsFE2z/MV8rInDExMG3H+Vg1/R9LufZvBww9eyfveqxvgSIaAesr8MNFf5woAqGldCs92NH8tmJAmA77es5kzNXysvFqZ1wo/QchBRrH3jx1LH4YMw0TV4r+lGS7r2sXlTwk7wS1T3cgQHRbk6Zo4PUk+5mARe2hW0LcP9RxtbgFElKGomT7gxBJ26UpqjfsftbODSLRomADwMreFh6GWqO/WrGIEq1DNd1OZNwvQLuP3V4bvO4MEoSo3NKoOE1hgiNd8dq8cnZIGGmbQvSzq1sB5X0NTYdJvAJf4xq0puT28BB2080ReDhY5Oo3O3tVFqL8i/ca6TVaoZdJA0i/ejgasjPkLBhJ7JPygCdwiueW+yd3XmuMURVYWbuhonioMkYJBG3QaHgkTAAXE92YIIKoO21jeYJjx9pYqtdFfDoDgk+ln3s6o+01+OrfRmzkcqrQqmsHI03qes7rxJmqROE3ZLWAFwsOm5HKz/F5lAV3Dqp/4Q7uh6CLlcpU+LeFr2Ei3NOuJyX4va10chMcI6CG0JxIh3ndHT6vc5tld+TQNZbgJ7NW6vF9rArCJJkv5ziiMemCd2vxsBgqDvT7y/EzHv6vAHcfgGzkmSRCWScmhi1f5CNu0KY2u25jomWlkzoB4e5/iCGY3QxX1Jme8bmm51v0zhbxB+rK2excxsLTMOtem6injB6tyyCHCFQH29S6dta2cVlwsTtefB3IF795/2TADOMvrjLRM0o+hi06Yz230ETWimRWCkF11gDuJH25DAz8OS5sR3YnitYuuPE/8kVoBaKkZHDGYYfoGtxzSkk0w1UjiQBJrutpo9MqVPP0D5wKGETy/HINiDjPOhJjuimdxZ1pL3gOcxZ9NdzeKfriLajxHJO8cMUL5ZgCGcVETQaWItINljvYmQM9sK3QLKkeG4yc2WpANUtqL59a5gevnddkRaZCbkR9KENkRDS5ZJpLrMAaKLj5A09BQxPuulUazbCqrrzkzOKUQG0mZuUTLO/Perj5wS2yJz/XvNkTX+FW4QLvVrGhbJqCcthk2i+54TlC7jIZriMAXAdxPlzs+61KAmy00ydo60QNQRTt4PvY4ICAr6hr8NjQLhZTLYqmRn+PwYhEmTcz1YshBMZ4ybbTq8kNg++tBlxeg00ChUlGhci6K0olMadrCdfRHg9YYQLFm04yddcpbMBvIBMRPNTZj8rvT7+iTjM78qtONB1gO6uq7mf9GW0h75GgIApopb7YjzkVbB3X5ckiT13hnOB9GKW0riRMa5uufC/46mPhZ4IPeNirSLMvNlnnXWfKyogVQ6naV17g1aaGVv4ucdMUSdN8Z+uV+9LZhODJgEw7WVg9vvGsK1tvFH6EDRUN3sH/DZxbQwkTB/soLsADw4UUj3S1KskvAhpgtDSzi8W98e/Ul1BCRVZE5/bwNEyCiYjZv5OeAX8/ObcKIGaBSLGQXjMlEObBxk6aWxdP569+N+M7CnqfxBJlXz0R1D1N2QWuScwvaLnWQn56EL99Ql+9hdQxQeB0znPfkqIteSaogT/6D2xDV5ZmSkNdJm8af3G5BaTCRN073Q1wlqZtXjDFqOaU99LtI1FE/K6oO64sWKC1z+q/KyOcsz056IZjrMGq5nDw8SvJWTpbt7Ok7m0+2XAddJEFwtLAxPtpkwy1AmRXYxUhmgg9hnBi/YEJZN3bY8UL6RB8Odsk9aIIDnZq/GZeSZchrabeju4aWjj4RWhLc7DPVNG6AO6jIXFfza5zp3S/RVTjjwvbLPA+WCALCTzktIgRuY+2E1Hy8gdAkxmlGVtU4+kG3NrpPMTYYwv/YH7Zn8tgvG+acbCI68TR2SXz6jynJKt1vluaPoiBiJ4CsN5guao9mmMUD5GwOWdCbk5TIS64ngTjdl/azs35LJpJGgR3rYt30PDZ/2irbgN6AH5Mh1YfGF18Fnk/IcD4XzqEijF4JIyC9Avqqf55+A0bMYer6E+7nn9AXzn5ovyWonzNUz09A98bJG02IyCsl0WGptQRn+RbT+UVL8bNjg5GD5iP0TEmIYd6v4QRD1h4Zq86uVTO0LbXc+Ax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TAGS" val="1"/>
  <p:tag name="MEKKOXML1" val="4HooU0THZk28POP9trq+pbTvvzd/gcV8t56cq85kb3NDTsUhojRA0EsgEHHMH7oYP1SYpn09ysXVivguJdhTvfyVMsBLTGvcX7WPTor/CmWiWcfk2RmY+GE6Q6T90sFUr0lg9IPP9y8umrse/9AoLT5R0GKq+XM9pr/aTyOTf0wptcuHbHxeyqBm9svU01qeeEM1v0hpSHUgirOnAK/wuvl5jf/09ap99kD5plAaxXVCNjEk7eSh8qzNCHVzDwg4tv+lTGG6Db5+KUUavBPoiliMC3X9War5X/WM20nA0a3ZyBuReIaqDHFemqWco9yxEFZc5RhIYFDxCCtaF63Gjz0TeNrdhkGnSSf+qIi1ltlKka5lPyi/+tQs1vBvS/Xu6/hNUjNR00hkI4NsjaUa+TFQ0+14gmi2A5DxQCRK74MauCsLncRDGt7qg2hk2F2935u5nvQTb/WciSuEZ4KRgYU3eIlvrvaz+A4qoRs/99jRiMYbUxnJGyfILRdmRvPz2R0QUDC1uv5Lq5MocpUjoagyomiNX+RekIf4C6R0yKnxhYT+FVDG9gVbJS/rti4t+yEmCW7wWKM8k3GOLKUBPPq3dAJe2iyqCWWzHnduTYf8RyeTRUehDIo9dBGuuaKbL1t8kaFg+KyFATnXA3Z4vHOJACGR2K0inzy16Ii6yYn5HLT9qyaeTkzR3TPdYVPmVSGWW0XBUnKIK8xtLyDdg3WUK9cE2WGICScQlAbdeZ8mjcT+qKMct0VtT0k5GW0nyPOkDCKZYNaTQ/Bfq84hwQb0nkYmNhGyNriR02VLKLfomaJrT44ARe0Xs9bfBFcQ5R/oCC6MMiRxZm5QlRzJWZj6isn4RrONmIa0kHrwuCriwgW158AXMVULWmvTCrq6PloJaV/yfBqzUzufm9mJQbrklOH8iuTMAq4XnJuMoJEcQR29MAjl4TM/aoavAC/iAgogrQDfxLzBCS9jH7gZqy0/egJP3rsY/1vLOCTeKf6Po0auqAiolaP78XfUfs4tNkS5OhBTaEQDXyCGeAbeCs+lvBkB34erVC2JSzhv8rvOglw16CdrZfZvgk6khGlUQbTpob739RdtCk20OArk11MqW0pCV3sxK3eAqHgd9v+F2xtO/6SHoxverNHEyeBYBqtzL+rMjmqvnKIRxMgVoBVH14E513Ru4oXMeOadBC+zf+RzinySrb12a+OxhkvITstWtNuEAweSdJbHRKTRw4XqrzvogTDu4VqsdCoy+5Rx3z8IkYlnRSPZ3CT69ySb9TrD2o6Bh62WrwT6Hm10erVgn82DKN4bJpt4PpiUmSp3w1JBdqhTwKnMJnre1y9TEtPYHnADQlA64jP12Wy8h0PhWk6dcsTO7slfCUUcuVL3j+/DVazANaF5gtld5JAW/E5LbsTrDx0dcFGg0oK+BkrboVO7C9nF0wn+giO62GED1X1kgoGmBgJBL1SAYFyK1DKVw1uiKluqWkzL7WA4J8aJCwloBx+Mrclw5/SwwaamyUiqPTBiEFgEy/qOse/0avGN6pW49WATQYiGkTp5wsVnM45dOhmPrIPseSnfNiT6qxxexsjR1Ne2LLsLLTZfvGH+a2Px0dd6mBrN0xU01WqzIRdshCoqOTAyBYE+FpVZlvmp9wxzL5zliGxE+YfK+0qV4B2fXL1oM9+NdnFwd7bK6Bya5cu9Hs7svbc00AJULG+hmLydhEVREKL/4TkivuT6EcqgQFBJBdQhTrQEmfuXLpCK3kR692mMDoVI2e7VfhdVSRxKEZprDWm+hIOf7Hh9Y8+Vc2bZGbNS1UnloBkR+6DqC0e5ITGt9+3G9bUetTR3uhIwcJKhVTMkApN7b8LTC+m4Rt4jB0/cPS3f3vtl+OchD8WepQ3WEmtPSbewh7aYbmcaCdItekumxxzMDzkYufiqw+FL9LD9jDS5NI8nzRbwiA/BnNLrUVhfhlvc6Lp6chvT7aHqlMjgnoakDqndr2cyzmQF/FWhGqN0ArXtZBibj9EyvfwtD6P7PGL3Nn4n3vu2ATRcNHQiZQ74K/t9Bn6VduPwlAmWOCfbVghl6SHSOarNHezfbhvxB2Q6Q4KnZ2nSmydfaWlzoppEsdqS3ogXovJ94HzAD2m1JChYZbql0Y9HXrjZhnbGo+HW8pXbYz4IaZqkFaZNEhD76eWqwhsaxvzMsD+4FEzdzwKwD+CVU2oHH14rvPFYnbimH59Li3zT81PcJtZThlYP+AzXxXxZQD4Dyqul4wti9ziQRdzfDoEe62xtoMx3uOi0pbhq7gv/z8/+uX+GHHy2vVY1pWhRnJEMSqVRu2lNX7yiZTlAe6I0BFY6fYgRKcw60En4m1j87jHfIY9F3e41ivayYu5JX3VUAR9BO4MYtRIdLtdyCrwMCgvWofwCZnnmYhZi5wL4vFhwxAy9lEFF8cunszTDgQ6PrHBhsNFZYa4BztzfEH5G3ey46UD1qMFsJ5xa9zAbqImLjQvhoRM8SgWbpGTz4fRX70YkPkrROmIf4Lb79z7yCYGQGqLbApAjW/3JqUjkpeBmy535cep/e2ix+Z6IB3XAKxx+xkhQN3dvRPsWrXgR99tm6nLhO9lSpEvp0+pm6mITqPzlmGUHFM7UqYNhe9HUwSXxkXt9rhqULwCGPuUpHkGeKnil9hORtxw16kUhrbqJSFuDpwNpfYlyi6wf+UqcF7p5w7p+/cfVeThIOU3tOPB9ORnaCPzzorPxZtfZCW8A9EHBuPJhjtG1jj4F/8caU3GeF6LUjcmQGbHiUXVmJihyqd8NyJAkYm6WLHsBD41CC2+1v4RaP2uuSKaiADqPGxtLBP+haDCfx0/1BfUhBUxM0aO72YCBJ8kttkbz9aayP9CRO6unI4t2ubgkK83MR0Oe22WUXeiV/0WXE288yt8L86MVRK6Ycwwd10382Mjf5cccw8H19TXrdmKb3F1hT++2ZFz/vmtOLBj4R5aaG1Q9SrrdbU6kVHAejKtdSk/RaWORTpXoU9+LYnLpAfNxOsBlL7sm+QgXRUcLICHjnNXdi/7JbkagLSUNeBR+ejWOJKfA9Opfmm3NuJZ5Mh9UWTSHRlA+DSasdtoknxU/xhojeazg5R6lJSEIioZI4rM/2sB12rIoleaiHYqE4HVziFHyVSlsvUs3zxu530PA7T/5idBEymtHB/KYWF7t124ILt+6v/o/8ukreWIenEkxhJTrxecpqJAgolQnV5DwMxdbsvFozjth5pO6bzKibk1Vg3DevrzvCkiKLK7o5MhGP8KVL+67JyGbPyc8bvdj6m/ONHtFfgxFrhxv0KYprDi3DUnnDW1GSg1W1F1ViMCwJ2tjLWJC24LZxzgGbnewMAv21eNb1iEVafDq+ESOtfVozBkU1GrVb2FWHFofTLXm1ddJtYqUFiubwcAGNvwJGPOBVqGbnYZfiykNKwJ45OzQYMxWFA2Zo92gGpOOHJTN3s6VVCRTnuuClCh1elwFkZ99eAi38EM4FORbIuc/GbbjjDXaWduEaK45lb9UFqgbYqIWw/Zqyy7ZQIY34+r/6XRhc7j5xo/z/ZVKrUyOmAEsiEkZTkIHfgniG5wkRa8iX1Fv4GXC6BwHGKlot+rqT2AzNGE1RH4f40G9w5wx+KX9jtZzajI/LQ6r745SclAfU9ecQzeajqGS7QoCFFmwO6VPC+GhYH6t4nK/O+29q+WOAy2nlG2O4M6aIMQ1WoHVJn0JpIo0Dwquf+kNF0nyl9z69YKKMFWuKcHvxTCTVEw3AYXTJE5SYNRO5GGx47ni8UupxMlaxKBNgtyRQIA3TANxrB2z3JGQ/cLw6jcL5ONILUfTGSeNoC3Izs5Dx9z8UWLV5OJVACjRNUfj8efeaFUDqY7WQj6aj4vzrd+Cr1EyEFrx1d70+Sxac7riBemz9Lu3DyDuUll0xdUr+HSnkvPMfvd3pruq98nIkhGqPN/oKK417ZocqmwGxN9yIRRTc9ye+kjCCPEWb/GmlBHIrLuxCMtFZXl/LTysdNyJu/CVxVPehW5qFMjuPAAuekFBMLlSkrtcqRt8MT+l7gKJeRkUNxQQVSVr1c/8Q9w97CAxisFSG7M9F06ZmlI0e9PvCODYPg5vMqq2+Zis9e80w+cmxGqHOrhwYk+49oOoNg82qZ3rGvW5Mxqf7Vzp7REd4Hd/sIXN6O4CP308eS/2aYApmtXypbLuroVWmQP+9yHzqRZGnUJ6Vnt9aBeVHhifJVqsH4xHMm5vgjaEIa6MkClLJiEpkawNuV2gu6NuRudkCR/BrNOeEP3obSX+Bl4BDiNa8Axt3Sgmb8SRBC+IAhLaXjPfk04TvFJmSnt/Ak89RTLMQsVHtRMXvuuGOGnG8bC6MxFkrHqPgcg4EKc9bbJGVc+O6SQCr325y1obOXYDgYsykj5BpViVckeIStH9oX8DJhC7aVFJ9Nkg5LM7KVidOdRaXt+KLmJfuUVbMiihzTzZUIeIA/TwnuYgtDBnf39w6PkV6g+TeM0mNnxP4VQQiecdN7tPGOkHgP1+2J73dVMlNpr0/JcOP1mJ334YNWl2ReVXDaoAiDPFFpyVfCKZXVEgiyOymrOdLUTV6QXCTPZPE9aRtOHcRQDORTdMpK46xxdVxjHFvdG2EPJ8HRtCFT9WT5xlfpmuSGymruhyIVNEDb5XNS2O9msU5LZdA0VMubcTEbXH+Q5T/HzhFFEn6zU6vqE/Ahha/IRbRtabWynGSzPr65m+S9MFCp7i6dkyN4vo+hpjouvp1AyYtwHNERNxdEgnnhWbVdRltkArkf0GrG75XkXUt5/48+9CCGfffuSMAKQdnKmoil58fwnocBnN5h8PopI00Jhim57ySzj+DMzqFdj3k43Y4APjUQ3QQbMO/Nh8LJY1HOHf7r4iCeCHbvJaUwWObHyzkzX8YtHs7w/hl0Y+s4KLaeNHijSMDtGDJw9SbCPh0gXtDN24vCpwYhow/m+9M8f0tWbzEpC0vbeL7Baljugf4SPx0KlG7xoOh5WUeCXX+MpGy/yo7xLyMZ8WBHqc9/qH0S9Aql/YqHEfLdC+X+Osx/CMfmpf5Sz1VJiYUWGPsQomvrPvFaylong4lf8DQVMVbNmvYWLcSGMsZ2hUCN42hGwxfJEHUPKZXkJ8BE4eRI0fjnWjjG2ZrhhuUzfJU1ovZWfkWtIgcjH2piGZLEnv/b4NmR+8hPKCP5zp+yHcFqYI35UTkCVLw9mA/+swPJVvpB6FysvzcHw7VYOUisTwHqdGLy5xX6210WkObD6s32Uw6ah4OxseH6qhWNiSfPKBrmXYyseeGXwkqI6yVgvPHUg6nO01R7uWKhqGQ+pz0j/PVh5TaK0I2vLOPY3FyPOh2I+4AcEpf7AdOUpG6Kc2jlfuTpmzX05TIzmdDvlPjc/dKygCzMywDnXDVVZCiJnDEoQujkGAl4yhxyP/vMTeYdljaFFVGvX3BpG0buXiplg7FQkwTf8h2n4QyewhRch1Jxx6MpwpHvg7O8PYu2EsH21SWge+AX9wwrWU/EAOpqzJBm9eogDcd0ITL7zwVZQjGSLWJCkra5//IMFHlmOXBZSEl+3PNwfyhID3CBCWwlVz0WCkmV2ne69aka0MwfTDGyLBJFRsvxWX0naLxLdlAEvgFVgQnI6f62Jit/Qimp5i6KzYr6EPVjdz3Ws4awvBlAR8nTZdqc4q/Ut+Q55QHsWZ1wZ5glk1CRSba2EaHnMYpgXZ9Jxs9av0z93EuHgoa1skwFFEsGjThuSyTl9h5LLvH5EcT1jBI3+1Iv8WZbpapEQ4SHaahUq19241YlKzD1rTt41xcg/PazJpZDEOzP146GKxGYZmgSN8KPYVpKGTpdqLyA7kGIVfNl7PaCzq7jeYu6ckdXayvQkBDZjXsEehaxjXiEDfWbkdFPfqdVpGHD9nmTXwGJqYovkoBbT6eVJHRyJ/M5/lfSHAUgkloSiR3tY98cxdKj0KxrH2Jp3AiDqgy69JZWylJdaBmBv49AcfPrfNnfMbweayg1CsDqeYV9JRtsAdkbzVKR1YR+jMWgE+pAGmCaTcItC9jUagguTiTnfZ3oYeCN7KGaXCaDoWmy8Ai0XPSb5qMRHdgnlh8oXHfZvb5L8iQdvO0ZeAoEa9A6U5RoORgcAnfusB9FBLoLS9Od4FRkUe6FcSCRVGdAoTSchUyiu9w6REonWhGTi2PRWw2/mEbdWSFDlMQ84D+bsV+qcwVmnaWUWvam7v8oC1lM6zuf7kgrimFzpq0UiYX0TatwCi7RtG345GvKBlMA4z2RJgN8ewHHJu3GnRCmna0mYo/3K0PWa6PMUOe1VJc7C5Lv9GCzg1pFqzZ1fH9dpFZvGUxKw5FrTNWON1gBf5wWCtN+QOMpIC7FEj7lmYAE8nylE/tNmOMLCY/rI2s17m3yjFnhbv4KpIO0jPgeXzJl8nCDGrT6pJa99AG4mwR1BBT2vD7J5RRFkmCqy/w6dz6fyZYJDcpFs7or2gYRjcAeJY+bU2RfIbSguU6VpmytCexiO0M3qfSnQfxA4r/zjEmoxiINT8U59KeQkKY8LwGExulQDiEgJUjkP6JT74IY40NQCg3ZSyrNQChx2FCHKalOvNsRLJUU4g+mrOmIaBb2vFfw3XYmZ10YWTDOCwRXiUa+dPHMWTPJMm2Rna9PIwVKqbuydyxKJ626PE8mkO6DoHu8jBkTgPU/95XpgVeT293YpukRS1vJI8vJ5mjYlQb5W330GEZs4EHjQccNmTHAHWl5g3h/n8TCIos2JDktbaYy42Lp+hEHxGkEiwusH8FVoiDJKW+kS98FYwpD8tBOF3KsiG5sRyTWHrylxCDkPSAtxIXAzTbq5GMCWWV5rr8wY4C5GJi0yTE62P27RFqoyz0kRDjlmvIZIYNeQqZ/fVxOUQLhZZK8DoZRCbhhFoAz0oqXpUaMfBwP24QvqPitTmvIBii/fg6aCbHMxKDZCGriPn7l2jltocTY9if8N783sCg7Hx2BUINRMIwb5/DR/28SI+3DgNujGumcjBGHTeVCsOgUTgaJhZs8etixR1RDwDrXD7XjbewSkV0AEg7s+p/0+TailmWa4oBMtV0wd++ItlZH0MubZuOGk160fRoZitbzevbXdYJquLho5ifkBEaWGJYeT+0/Ow680t5kRjiPPS7uM09ISDbfZOMLZnsmFopOGJPgyiHhRM0E9Iq8iV5Czf5uBuKWdCI62quuhFzRehvNoLUhf8nbE3VjzHpKfaWEY9uCUZ4jDia2t6MGCDLL8yx3hhRiNtYN1w/BX5lc18bG92o7Nrk0lua023CBz94jhNzv1zjHgODMhrMTBH+zHsv2r6MBlrwPOtG10CrOIB/WposB7tXehg4CxmIdS0epRBD0a/zE2h6BD2yiMx6QQGTuEGnmMX/ra72Kt4N38JKvB/bmpgPG0nhu3Kfo524dOAVpHGm9lDBeD6QL6PIjPYmDWzPKma7b43Y+no3MuOdNj0Z2Mqxk9ndhiPQX9k4LkWQyvGk5neYK2QBGHNOxcS7V9EERUQPQGOhA+n/bmPoh9Iq0NKESOQD5aHdpSq1XpBVjuXiaxxdvvA4CIaeKe68l+7tenql0sD+xq5iTATApMvqxHJ6cvsbEFA3dx4NvGAli1RtIeG/8Y/wqL+8+99hbJYE2zj51OXfNSQchYlOEgEtPGyspGkZ5Z7mv3RR4FNoUekN20FGmdI7JFxQCcPe1xMX+O12vxKHyP1mPvhq/sVdVpRDXR1tgozewKLLaHqOAMbhoUet9WHmo35QJy5Mb8J8FhLpUOON3BHREFRCbGHfWS3CqN7LGZZeWL5bxWoa8cEphhK9jANHby4MxD6EroDzijjhgjJqcphcevdbDRfG6Fyp8SmNBVu+2uzCSeOh6scObhuxfF89QsPKTpISeMMiNghM5WQuvjpZOy8WZnEw3bXDbeBEtaT+IKq8deO5lw6dvCNwG6isx06N86EAyBbeSr0Bzn630cyq5tnqFPsWZ6+kamKJjQo8IdGfjfPSKG9XrFHik7Adx9Bo4gPgq9WtMgw76Qmea4JIkyehdx/k9zmbtank3sebvm4plQyZK5KI4YDwZEeQKM3EcCGYCK5qtKKLqC9gQ0qpyg6BDxFcRcn+/4WOp8mMw6xUHuUtT22d7u9ES3AqayxtMPYpl3z+133qor/2IBUcqYTOWadqX3ChQXDL12I/KIHF87ii/n2XbBEwvaw9urRahU3boxX5xK0bsRM6KaaI8E9886Wi2PlVireFsWmmZGEfkbcCvYH7uS7HLfWRqAfS7qj4KcpsLzYHMdHhkDdHke329NOCCnomqnpERad9+YZx0QA9GCmnZ6wPUjc+3Twc1fBiD0rRHLsKOIRurHy4GT0sixYKledGaDVqE8IMgZ8cZjZk7t481xPEaMFgwz8zWCaJq/EjR5GO8qMU6/V17tAsnHDDkw5JGCj4lvKB8Cvg76SRXI4gA2oPB7mJ2CBOc5RXM+l2h89RH4x57W5wkUuCkUCRh6nWMO09TFxKRQrfaCgaxdYVx3Xnv8ltn3KWEGtQ1xHYuHiENu3pVkX7zowFo/4Or5ufIdM0+2MmWsO6YBy5BJHQ9pVXmpkvcbJ+fb0AsRvFYGfVxcy8Az0lsL2a3HIMBfuiekJt/kEAXlZzbITtzgyzEY6NoVXc+/o5tyfPNnvCONyhtETFmvAnQY+U16pnOGIzpMpXwHW6eSbT7VaGZdsRbOiC0XimZKj4ZWr4XgRBOFXg5LIWcmMTLVPTrTqGRESHHGcEhKE358ZRiF4kpAfZG8ms70xZ/cPvxEMEUkgSgk2EhBfOUGNxaYmxP2Yqt3SocfeJntuSHDjAJrsMXrkW51o+EWl3KoGC5F+IDEOaypV6GtcyjbOn+S9Hj/yGA/2MNcMoDmi1wqY2E4qXOpnvm88vQ4w9yHFuMaUEY3b0V7svQ5LC1n1J+ZmT75elcPXLqCuhiSsHxVlhWOf0/0cjZsCaqBrIqNgG1WfHbUCT6RtGYGAL0k2aQj1kpaAYbRqtV5ekIeBi+5LM5OY8IL5fuXF7AY4B5hfYTM+C46McccyqMoPg5670sJ3aW0dFsX2dTAbXerWU9DY8KI9u4+BWChO/nfw5e/ZLamkFD+nf2NZ9pn5o6BYoaFxTuRab2rMYTQKNS8sANTqCnTGMijZ5OFueKIUKROtVIixHonVUfcAcVfO8T0ZSkykJsxNDR73cKETySNH8ZBytcpGXFCcGvyzNlsfxdjYBAxjlgY2zdMi9bVWaxFyTNJWcmbaeMfvqnr/TqkA6q/IXP2AJ662Va3A6MZW+dsXHznTLgjqomOenJpMTwah16k1qrRk5xGrXeL3BxXCKFJnfAqTImQ93mxQsiIsLTSrNdufKNwxqJ+A8IJazLld3bPdSroxfs2Aue6r29Ar1FrVa9KyHAckJTwhhwRtfkm8ZXReES6K8oBpH5NwyKWtrZut3smdlZMIgQZ6Fn22+SWpEbhnxPXst0Xqmt/fiWCk4LaX0yOTam2rtjMnPL/8WqpZWBBJykYrVng1KziovcUZ5y4mTHCEQM3IYUBBRcf3a/tawbxbezaKOOtqjym9rnTeeSYe+NiNzqFF1/hStCpJ8jbk7JzrSrCPEDalzVAMnGxhFPHMOc9HND076nOwSIJshroeO2pT2q6u2l3DeC7ZhY3FfF6o1Wop8Bd+N4NL02Sqgrpl7WngpFc+Wqwc2DdBoBiQbIlAxPhpS0Q68eQ3QC8QD1jT6qv6zSsC5hjY2WlrgB0Ab3tJbANhSyabrydSPEC3xchRfUU5nBY9M3lkey1E8Ug1T/Vafsdy9BfpbRPtto2RIUFlA7LHOB+P9FGQv0gppOdiTjYDRUbtewFuFeuPyou736tOSXS3u3SBXr+PfCtL4poIDJn1UhyY2VdsY6hdxFe8Ta5xNZ85+EqAjvY10dcpjP8h5MlZc/VcEW6tQ/NUOH4Jns6qX+tE/cUYSZMKjkXP2MBEIfLI2W83L93UT1MKZ3mzGZIhrnRzspnIONGhEu2h13Qb6o0zRgKMsjkqdQDUgO9mOXgP5wkTHMSS5gy+119pKEunROH9PBBr2l8xOZqQLUAszA9zf2OSvPBbb0Sd/0choDI8XHRBZ7tGSUlHak5ZfoK16rJqS/p9TN3w0AsP4R6aCAv4A6Gj2kATxmyzw7CctExWiC4j8IN3IDSJTulW54HQqlJV76RFdXkLY3ccHsEo8QofWZFAp0QgV7RdOxELB+Jnu7UCqcwxyOUUfe4LYzMaqd8R6vrG9AUAyq1ZSz6qkvC71iEw5Cx36aKrqnTqarZri6X6fmTa/QiyM5cAqXsBzuj2GD4hoiSJnunaCRo9kM9I6sLKp65uy4d+8quo7+OZsSPM9hlkjVyNnv/fpTJsWFIfoVWXhlNCZwctP5wJiKU8AOMfGmZpQhWIbB6wVDCblmDnBBqtzJjeiKz5Q19wHKMMuJEzIxAkcVD5fliRiz6yvKvVFs2gT4+VGit4bL8zNg/RISXulJQpZ9YLmqOCd7Xd6GT0KAaKrtKWHHwigzFrf7R2u4Yj2ACDaSYtG/RiOlCYFygbNaU5MvYX5PC2sYFgxkD+F0h1tCdTF85/SXsc6sadvtMUL+tJgU6j7VQRUda1FxujRzw4vlx0I5k/icZOcIAbL22s9mkE8YiiZCoLwuCSUMs5dboow2gYE9iGtWMdlmBU/QD/ypZSpo0b1JbM4sspQyWgF0cQjT8xvxypzVwaHI3UIgb7+jRUfkVJf2PssEVs3jdFuSqBzPXDuIBNWxnPc8yeHsj8LgLDNo3KLy4/QWrjkNMtQRKRfmJ2BCx5w9TyNSwXE8W6QfyliGtyjVoISw2luCWx+mepzq8hHEe/GNFdHI60PyEPNUZHAu7J1yp2XBLQ4OdNK1S6v3rCdVLb7dN1SaGmA4OiBjYKvea0HMFDZvUVmY5fqX/QSywFkqlBGjwPPiyHTonEMjFLY185w9wCyfxuesbHbpZFVExS2qIYwqfk5fr8ua0tRGSoHT3EIgsH3eeuJs6sk6A5OHnw1sYlXigDKpxB6cLbr6s47BVFKK5UFbMRkNpMySfuLgXloZxSo6t8HXBokHft1NrjZuisV+vYyZglPvEqRWw2WEzbbV/KLyv+I218JbXIptxFHt6TXG4VvH1fGsBDG/k2T0NNMgbKMLOx8bZ4BYEe86jHGcQXr5OcCvLYKWXpafdSV1rzLoOaLzMYTOMcyeMYARwnn1Z2nrmGMOCRMH7aPKQO8JbVxcGc8jTb9DjBz5a046I4QVj8SG+9AEiPRpbdfa/5j8drqbolgNQUzfdHKXf618tHOnF2Mjrf/vWZA3S0O5eBzHPUsB6Uq6ldic6Y3qznUOE3Quh/u9BVc3R1GLZMYkVIy9DRLcWbqAPtEwVJbiVvofF5un35QaK7Sc6yLRkKSA7Dxoc4opdY6lj/w7Jv3HIWlgxH0/sdbnuzTOIZeWCORiPLO0kWwDn+wizZL/Hk4gJTaSJDsz7Jc/rCbK0t8/O1pcQIRluMKzMKjG9tZAOfVWP5SJni0j1Wk8Q5f6Bpv1dJszS/be+E8cd0plwUtYC+BkZaIVuV474oLsHQA6pfc5tbLwAezlmKP9oXL4sEXaQPAzmQSwU5lTAHSG3YSuy2ogDQdxFUBQCqiE+xT+Oo/vF9kJdRyNLI4MqNTPn8lUa5+kFFaqOcpoBdnwyId0Bn6Jt/WfltbnbKssALpHaSG3kVuZ8laqcpK49m14pB1G084Cw+0wAVweDhksvc8kRJX3Aku0IXA34gfshbeBwGx3S/7Q4oYlTXbUp5FHdaSqvAJ6j5Pn2PBVx5xVAaUPkZlDOiLls4+dVoCXjq6lPnbxFgWWwNaZ+Ds7663RMMopWmOx9eH5OFQUif17UT811/YwbQa7WWss8wJuzQSjZz/98TbqgNL+e2P9xvl1EC44JOziBJUOayT7HNjD0JX6+nhIcrqlV3M4lvWuxH0nYgVTc2HCOzN2Gvy5bS3fsRE60vUFpSeen/ds3IRP0QOlpOMA72WIjhRrLWT/I0OXqa2lkKDBkmW8QInNwGJ4jC3VXnfivIdsgu30bu/uLkdsf1Bof4XzBy8tqoiQH4otSU7yzK3P8o3DLbgM0sbfH0nB8gI327fnCMIAAMyqP8sHQrRyF8TXmI5x9iikGK5K5L/L6keBTJTPMtlBKKIzbBB8lb6CUuMgRSAzWJc5rmH40ag/OWW3TDLljjdOTkXmoUzFdfqVKZH0FfH3ZCIqz/Kj8/aUKTQ23EdxmvJBTPSajgHjthLirqXzrfiXYnLQA2fKbNWW4Ollo0+Rl3iYOnJYTaZVDoYpsMRJgzaSqkomGGu7ppSXUy8IeN+OVtfu+aW+KcXRmfSY1kFu7xx7zBeh8rKM3hDmBgZuN0AoCebmvVQKxl9waj0H9rzUwjKcQofs4jxp45a9GH6YR18/kWq6RStRAPB56XIwGCnv984EMLibagA+J3d9bUSuwHDYpIH9ClsqMoueb/jYHeHhHKyEm8T8zesAB5S0ZNlChrvPKKB4fQC/OV8MXhZn6OQiQR2FlzbmvXSpAS8C12u2l4z8qvqeMqJX3URBp8HbtWd2T76X+UoXiVL1pSLxDxtUEnaQ3zszSpJ0fS8P/a9rJCNoGr9DffKjlht9ZIigjnUnyw5M5ztY0SLb6492wcyBQsCDy38BSE2xsK8Tdf5jWK2XSAeBOYgEvNUv5nJSlHUizlV6PqubL0Ha7HbeSHC/NmOjbor2BbUuFJELrqkgvAwAGJ54AuINTr9jrLk0bGwxI/dkWYHXat0te5tv1TTGhJLCAQRoG0+jy8hNEDzN779c9gLKcj/580ruclwBbcXacuuvSTqi39I0OuKgt5M3qVUPiMF0zjZqCZ0rhKIe/oGbAp9+XWZm9vIX1isRfrm/9tOEYeIpImj+hQh571sKMH1SRQMqzn0E3rwLoC7ANYUM/FfVmtTJ0sUiGC9eAywFL9Buv5NOf3eQ+KdGvuq5vFeXF9LpeoaQJUkUyE6BiWLD9s65itPi0Oc0QUsMnQ3ttGnjPcEttUEs8czB3x9/JsYMso6788Bq7zZhTGBqB2yc4Kpo5ED6jerOSjBCi/Mn8bIexaNSrRaM/q+ogmMxm5zEWjU4IptqblHwWPv80yheFXrDFh9GWKXtAEfpdWP73KlmJN8Amn03Yf27LkJgS03I7ecfakSl9T3Ve9vyoHIO7Mxn5BXNZ+rxYN7H0E6LITxRkS0GiFVfNJ2NoTHK4Y+FLSgmy3pLPT5zcSLx3xexuLQRqapOUXvdL2rX6VMjT9jE+J/rqYD7/PJMXID353qnX4Q3eEphERxR1OqtqEqZNUAfUupfPC2vmiCqnkkU6Nl2A5oOiVzqWbzwNFLSB8Z3AoBHceF5fNOaifDJqfesbP4yE9F/5SykRWIfGil4Xqr0qWs8y0wRmBhGU8m4zFTBUJsUYu9s1ZUQ16K1rF2A3DUjyLRqu8sFZwjVK8DEhAuj9KSuwighyr+hP3x/MzMNJXpEZ1zP6k0e+pAjq/RZaxCqi+wZW0RW1D0FnuPWYquNgLrYRHWAaGoar/Te299foI7gz36+bszNtyl9vPoUsopKhuIRz43D+usrwqTAfAvquk/uX8tnMBKAfs2nkafxrc9ir1ahBnc0k3fQRp9FKRuGJBpIVSKBDUQ786TAZuGaIm7ptMMzAO8OH7p/FceNvIO2rCMOGdjQiEhry0yNnlAcZFJ4sREf2dPChND5BPO1wXij7mnnMZkTmDEwOosUwDKqnBHvJH1i6VtivPfgcuBk9wPrfDKofu1R6iiwasF3UMfBj+27ys1N+kUo0d96cnSaKH4ycZGKdyF7C0F/RReifp5+WYvkdiPK9BKcGdzFe2FajmxNHM4oQeOlGgeVJYty+X8XMTlc2vDTVwlE8r+p+qio36Ee+LWo8+8tB6cg5GAnAndFKI4Ik5uMV6veu86uEK2nDTfLJZMX2D+IcmwhDGZ9cNA9ZUC7STtL+hf8b+8Jtm4QUvWjDRkh0MJJGVUhqYDPSyIIpQ66wIi9IAVWHbt2zqiaBOfxrEp3lFZF7NhrYoPl4hWKcdpU1EZCb+xYlDmV5Zu42x70NKGvH5IulqxjixUjExmLcZPPLkZB5oOm1IH91u21nmLF9LptJfmrWRdvJfiBJ+Xa7f5StAu9OAQikQAWzQOQBLO2M1iXa6kbzS4HR+x1Wd7lGPZIjQCCYtQljYq/xTlH/6dIv7/l3k0q24PGdoUoMEflVx1CDJ4C1SKUQq0odciTYhWoKOeHjR9M0LkUIHGGt5ZFn+9DuLLHxVB3cLxx1TRZD6oJfHVFerGvnJV6Si8MPjMBhMR1IDkU6Ui3fUjahDHsG5OQ8p7WKKSYpFv0K0n19EoxADoi/YfxZFhL1wmJKnE1YsnKv21I6zZ8G9gM/9Om2/WWz+Hq4hla4CXnT8KNqmFzBCKYXNNg6MH4qtKlg9QGQ+Z9UyFXyXlBWNkIajsVi/fPnFth4io+HfCWoBir5uGhEMfRvofsYb8Nf2sUxJMQ3egVk1hcSjhMuzXFKdBENPJm+uPlrfMnBFPGP39D0zLcnOM32VoBaBgkWvF+3a5uWRgEkGf95nkrtvfBpliyhGtYyuXf8WOXk5lcpr6BG75I6m1U9iKIxiDlD4kwDj6K1sHRJlRaK/BA/S7qQhqA25D7FVzumfsxoL9K6t1HLfPiHqLoeggGHFGi05uOn5HavUK0xKYBNGCqVEm7vhr9t00Pur6X6uqVE4sWU/BKRMQdCHpIlyxCPF59SjVXZIQGkfym4PJF5iVyL3ztsrnRkAnilXSFjkvt+nudmB5Y3A66QkC1tsdbqo2/g4HLjIAIiUMLRMbphTpxCE/TOma/mKcgKDrgUXn68OYX1QqaN2dD61zZ0QXU5Q2q+o6cu2RQ93XLftb9jINhca3a/XmYjuiUjzn58UZ6tBIKNOBwrUjpaz5vca1qH9U7mvs1A63OhU8guNvHLMa32nGY/fAQmTLdgxNp5JmWQs0kBPQb3y6zInafZ+Dt45m6zAYRWDYmi5uMmqYvuUyjaIvzWBeihh2iJJJzzFYxeD11xxOXb8/+Heps502b4tAxH6TX5KygBazgJNayy8hMma7U+hY6ITYoZf76jBW24slmtEjZpVY3bVcswpPRMrlwJUjhV122RWMBK4Z8p/g1QjLC2VOI4GJN7CIRbjdBventGUxKySnr6WkDg2nwdl8EJ+SYSbngyJHglUGsQloT99hS5joMCQeKr/K1FU35LwIppWqAnOhubiBJMVZf3xbfhA6tsT9nNJ/iCViknKZjftqSYgr5YIf8c2tk2z4YQDauAp+I9rU87IeaFyN4L9y2xXgEv5z4L4hiFVYAJozo3+0EHu2/EpkjnW5BIANmf8bEuJGXm00N4/qOJbK3NGV3mtLFTOAaev2ax9Go9tp7wqAIi9udY1JkmMpiWUFkV/dHoRGIFPzxwfRVWuarTm7HRXwbIhVWJ5fA9sunm7Sl0s+YrRd1/vXpKFths5K5Sk87r1UXDkebg/u4BaxvuLovM5DmnmejHDD1NiBAbkfbktZRu30n2Er7KekABr1HUYNr5BiQhnUq+RhO7HUCNQE72WOZmkuq0vhqmDeyw2il7LkyY4o4ANIWJ5I3DX5rkprl7yjcDCjCuN0zcGcxA6rJO3uhgQfaQ2WfMOHueFGgOs/bYtbn8en5EcAe/lwbvEXMkf0Qn0HHUqHdaJKcMmLtlcEuV1MNexbamDh2YZp5Nd65LwE4Y3x2mE+dP8exUIrybiUJua6CP9eDzZoPO20I1Ls3tp3wGFzl0Xqt8AdhgNX8f1mEoniUt22S0AsQqnoCEq3btk3WlFQJBFZlgLRSuEasWiwEt8e1IEt87M1ax3etE7sao05ifdtKmC7FzecHZO7R816s1cKwe15a+G5fcoUlmHJFIeb4poK4Px9HSyK6xzHe8Vpq4Wxg9djVjpte+EYQvzXesWeMSzCd+b8oTCzheFHgqwlqtbNC1vsqHIEp8JeZNRydTzOWRf2cb/QWtfJFg0Ks3b71hp74gB0QNwEPGhL/z3jIz94XJ9ylo0uqDGTxvgvMwvHzZvlMmmXd/gPB4fktyNvx67MVZoYCBsBznkxEzALad/ZlAxBc5EE/8rhoH/ZZCpku4HxPm7PEVYf+5r36pmE8kiHTLi4Y3BA5762lHBpy9SrATSklRMuTdt6dO+mFMqmyvJ0p3W6DsTuwn5h3Jut6oVgPXL1TFIAUFKMS0DuP3hEYcjT/2wHIQNNNRE2fupIxNsALt7uanMLM5u2MTf1rxdYMV0oYngR9hqXmEMi2qjhTMeVKqnAEOT/NwovsPJJb1oLKSYOohS8ZOo1htxOMjYsG6p0UaaxipwZR6XQivInMDRmHxsQgsQ6aBsiXfU4zExIausLiDIB0IjBgd8JU/lQRHZCu3T3R/BHnEUeJW6sFoyWkP5CTFTzQDkPoZNw7PPdnXgzvSCPD+t62XxFr7xqyuLivZCtMQlHn/VWVsg4uZcQ3uBSqm8xhlfeiPRuqlIyB1sV2Eb3/g8+HaaJS1LWMRWSBff+hOStN7aFnb//o+E6xJsIHqwsIxiJEFgFjUO2575CYBCI7s5eKbt7A9R3M2S7NbuoZ1dyFUAIJC2u/8NXgyR0JyiF0s5Q4npscadr40QT9SAMvQuto9K/e7OjbGTXFWpo3mv544g61SZda8Qv86aYRd5kx5zwC3Cq5K9HhSZvpEW/FWwc7bU/JPiMopyqMwsPpU/WXVdEGZmtpBFv1wa8cFRrfcJdUUpyvKBMMpUACAu/jSTnp4sqBqx/y7ooIGg11UAn3w8z+8/IqpUM6Yrh4rX5RlbkwPVZQvCktJ+kjt/RF17IhuhwLg5VsMdBPBKTTYYL4xG9ACuoBIcPktkHuJNBfJpyRNyj0Z1Zz7eTlRaB8JjyPfEinfLG6i/dCszHWg38qE4R5l4ge4y2mq0a0S0wGPbmpf9eAroBvLOKZ40p3OPJTlo+tKf2atat3T/zMpye4cvpJHQraynt7YIqvxXXS6VNzgdeG2aErf6H4TzKd2sKXMpK+3nxteglf6cHmLDvv0eV1dcm2dJebQucz4ZAQLfLITjqxzOeVy9zH/w/DGJ6J5aXDvJfYNW1ZfCVN8rM1XnymdXY4I0/+re6rKRI/8iXejcWgMQhkaWLymNzIgfukKeIALz1y53KTxHY9t1SPFlAMWS6X97yqUpYJoSdkujd7I4cNXIQc/saVtf326g9cypXCjR9R8UatmUTTx5A2O6QEROwnP1MDBRxDU5Dp0iQWnnp+RA8hEhzcLCMeVOv2DazYZUZEVlUtoIBSGweKHwo++bFhNZsGGPpzlfeO1zk1IP5i35Ad2sVUbRe0i6URqWVfxZ9ZqXt5lfPnq6jwPoa/lsbtczh8OJmwK/Cm4+28YeuTdy7JdH2g6IR+HnQbBgybTfuT1ZQ5VTRj0iO3nrEOeKPel9XJBWQ28tKXLS8c9kp6qw3xG+Y0PPGuS71FFatWQjXijAIKCvbTvkEVSZtkJF4JF47DMW+BxY7N5INyPf8uI7dENMzsc6JBXuMsqE2u7BW6u1hiZjfgIGMGGv8Ai5hkPs1fsXIKljpC2HtMX2MBF3dRNYbhwEVykvPTO1S2u4bWpgnJP4sz9/VpjcXVcJWlSU0cPZ7/Ot3YvuQ9AotEXmpt0uch4kgMkg+X2Vgy+8OR5KKRHJ69lYoE+13wzVfHitLV0+yeCkYa5fVFIy7sU0ZetdtDCNyVjkgZBZPEOAG8bOu1P5esHjJ42KJIp7z7AC1e2ztKsP03ikMgRFqubkOSL/44tjJMUdBa+F8vVeIGwyoLnoxT/wZt9zQjFc3GwQ15xRehBOTwFMqqjGhYL0pZm72nJHl/ILMNRt+m3KEHovD9DvGTtnJHK27HVU8ZTPaTzKfDSy0U34j4ANJf1haiimyRD2smUfHlBUxP6FtRDurjKoYkWMcxSCB4r2/8kRaRSs5ELjPjIMKDC7T1AnBX4WPgtZMSfEwwQp21axV27pF025qNwJXflZU2jHV4lcjUPWfh9DXhlxw2+cvxBEtksU8GtgvNClCnRKM6enyZW8/VDy15Y3WppUIviQIc/tEVL91/j1geiMYPg/3a4lhM63YPq9NygXEq9D5iIV7e0BDEEmk5NEsfSWfAFxFtGuL56BdHHOIVKBwUwxStfFxIX0Axew7Q/kWnB+Ci9OQKL2HND2wHV2MtVUPS3a4g+C5dQDRZ7Vor172kTohpHJ6H2Pv1FfIWO5jZ7LvvAZ8isOtiigy7vVfyr59lm6VQlsAsyVX7L1R2ImVL/5ItsQweE+xwFBFtvG+ZJtFwWm/Dr0HL9E4urrnrTIR1WTGDGzFCOnXYKoEg1qdNtMk6BrZV/w5fwtWKvDQ+rJlsCqyuu9h4rv3Q8iXOcYPrgf9atWMLPBz0N3XKUbjDfaAa4/h3PqT9+zZDA7BjrL25++cimfauottHzjLq7gfuIQNOCN+TIwuHWRln34RHUFrPYS8I3lfLCxzLMLpOefoHYDnWPS2BtSgwnal/h8eap/28GyEnoj+qM/gnZKrqPa0xisP3ddO0nY7+/3/pYO/k/Mz6/GQn2UPvWAJHdNnKjW5Xyj8NvUlnXdkLvxdjwl7DKFDFCd1JO314BL8+thTsu8wFW14vGh+SNJfLqNLj81qBMyHM/OvJ5aN6ydA9GnJZcGVnLWQE7S/0MiGZR6lk8+h6gctH4cwibemOAdNChZlMY1leZ81wcqJIcacZb5QFYyTGNQBX4eoQIRf7p7Vizki35se9WUoLvHnhzUh2YE2iY6jaaNEKazBuogz8JtNB/kEYw7y1Jk0K1nTftk4CFRc2IYoLTM9Iseb2SI8ADCwAm1Wpnkw6Dd5g/mh5pEmq1bEfg0LpjV24TXflj1DVvbUMoksSviWoxNdTJIx+GiCijw2bCqc6Y9O80FYW/KXiwz2frJguJuzuIOZa87JRGkDzciNPc7WNaG4TzJ1eUoYdFDYJAC8zwvi7Ne08lZ5zV7wF9bEEAFucaJ5we2tzLh9hgWxi9BlwCElOxdjb5VIC+3uvydEfeHV1mOo0TE7L7PCjAEM/h/Ukjq9uIJXP1xO3t1d437YclyKth/P9sEsClvUuCVnNZvdoedtK3Ta7yLl941OvLjjULSrTp65ZoK3mA+tAljeFOReokBYmYa/3J1lFXZRLYs7Utf58feRNb6INkLzSRnl1r5nyypIdwtTYPHpS3qTRIX0sNwZc27E/0iww375o7E/yu6ObOSdrx/oj0UcspOkfvhqLFtnMxIZ+EaICsGAuEQ3PLn4dWhYMOxooHHCmBarCKyfhBDzB0Qyq0eX8lwSxMMDi24/e2UrvZ26YJTe9YD/tyDhmWOf5C0VwFep8rBFbJUKGlxGwMxNC9ZufzeTkpruar9ykigvmgGgbLr32Uj4e4hFfHt1izT1K4dpcFNfr8Gpd9uWI4XjolmyCJqPAIkesiduBl9j1eJk5tHWD/CCtPq3K3PuE5X0a0Cj9eN38fHyYy2p8438ULzBrTTfSSrqAUWEPTFTirfPSPeX0C3l5bLeqVaNerHQSiEwPh50HsIIDlKf34lbnyO6Je8JHgmdHVy3aTN9BL8fM8638XDr27VGpxhQBskzT5/uxXeo28YOchQEWdRMVTb30HrvqMCGoPEGqJqbfll/Wq3BCld/3v1r1BgaprlPvj8lbqGOosDFT0Rt2lakvhTd8V1txNpSJkBfj8E6TX+f8S2nJGetH1605Rn7wKWcnQ582lea77dpkbp7NEFIsAtPXGqaBHDM6+/k59iuSiyhxUXmv8Y0wqPj3kobMoYTOfgQwSDkj+wDU+kECDmv47WESz9PCgJLqouNzD0zpsyyncxYbXghzOHd/XsbVHQxZIGH8Hx1H29koMmkdpe9iVyOt+MGwskwXvIoQvnJCu+F9f8zbagMsIKwp+oNf9FnbKD9FB6Zweq/YP3GW8TpDYJk41Ly/E6Nv6weTCeUmdaFABDvcbIYSIZ4E8hIzZL8Ib+S3KVCaNvr+ovAKu+7Ut+5drJDthGsP3K95+ZJzeMrXsGEmDoooFB5st+S+ziAO7hbkWBzLFX7ICoAtrOq4sF5QhQCfKV799zpSA0+UqNKa18MceSUIyQyR49o8oIQ++R1jGw9czApaVivtVW6V5mDK7k59e+TXAYrOqj2/Cnxw/V9pMdTjEeuAQXhQjinAQGBZbkhccfH1YvsaN9EmDDQH1RWy8js8b7MBfzqQplPZ7gfTCTcH8Bh/wqEKsd1u8cJXSuSOSBRZWMnclKXwUt7FdGpgs7K6TKYI2qBUoqvab20J5FKcqjXnEYy66Qa4Wvd2lt8ax2zJFkxVS0S0/2/YOIscP4B58166UquoDaG97WxtWZtJJsZ6+23h1x6hhwktUiVWiYxxQczbWZyoFAUj/KYnpsNA42fl8Sg/sHYDjPP+5dvZez4LGtYMT0hrPSqFq+rISFegtOpS4hbRLS3zRN4coLO5PRgmpyiIRe1ygFhRW4XxceComN2b3ScCX2jAUXPKcrcqYPbTBfz/akSu72gXJCNdcgZYBZL4jPpBa8MAvathPoCz1Cv44CxAxTjwrVBp46tHV2w60zM1YVsi8KQpcv35clAPrUz4s8FFTLfQUWW4shdQifS3S4Qk9+U+HO8mncVW7Ha3nK4f7jBHVKwaUE69evnlGEtTE1uOiCBY5Rvg4NOpX9ezk9dVtoM6rj8o6MysvzGZcj+PFSOYjf6v7+5QJHArCdW50O+2m9xIiqT36IRUw9UDETqX8x7F9wN75iSDBhDJQJJh4/NPS5kgst0q0IV4TodCYq4A1WJRMU7qB8/NEMwMjY32bSX9EPAjRdkhFBKtx4KvsJnjQyV9rM18aMuKlB6IskY82Ug7cVFojzose9UxIWE/i6nieaRx1LaS124DmviH3UtTQZoI5iQFbqUMOZ5g7gYkilwmyg8cWN/1a6dss5rsMUuuc0lPS1os7RZDxgn+rBDfk+WSARluhG58qMbXuuZhuUzX+PRh8almcwQcA2byB5gZxiSWbY1GbXX2892ULnBxqdXCdlI0dtbUwSMGqO0r1c1XP7RfQBUImxXJxCZDCQ9ousO58BMLsKy8I+6bPVJm6OwSm90Tsh5ecTaOx2p1qg7eLirFYmaeG5fzXExaUlqtbXwiKu5uWMJbZTK8UdOAOabhuTC/ViSVZRFemr+3p5wIEe5Ou1QsaSGxSsGOsBXYoxuOL2wNSJUh1+9uZB/8t1Mg70rQpgm+vw/QYukAl+8CzjkdrogwLQfVvxPlqLoUyfEVTEnkHtvIN4NaQ2FObgYySWeuuf0IPPwEaJyZ2KWl2TrMSGuwR07IxGZwsjfqYSRdVOcF3/HMsLtJAaOXz6Epu7YlbHg7OazHMiPoHW8LWRRmHfyFAkcJbfgpdHlH8gEJtuXrMWBcEVyWdHBDW0PJ6HsJRBm22Cwc5UC11OAYp+BQKeXLd9/uu7sTFGSbKB5+3aKe0VKJAfpWLfKK6+PZQlsBKzOQc7lb2j8D6sfRzWxW0NKbiIWNrIArmTJ1MWRY1qL77cWgiAfLg6kGZvPSTcjZPz9u8v59sYRjHs4Nt17JqYbEjj/9vYyRkTGOWO1ENal+2SAKzdh9tJhyI2DoatQZ93kD7Mxqk9vgQzlsXAz3dd2BFuFHeSt8TcQ+JFV/PR85NymT77ALmlMFXgq7Qr5uDQph9jGv8u9mQq2Zc3E7DF/plOioc86MIc7ETAhGBQ5sfELAbA2X9TMtbhrpE7/nl421bVk/KxqR9OGmlKyCU4cc+B4C6i1ufoWlPh7mDycP+ue9slP3IGDQSseuZ0zs/YxSx2eJmOz2lhPJAEVEdcnilSqWsR8L85X7bqUz2PCOwjUgsbH1YEwXAdbLlgT6fpeAnqkvrDvSNLLtWcTpPLene+uA1WPafY6R98dkqsmB0EWSbyWgHxrSN24tg/v/CLIl2zoQIQpdSgHmeeke8jTNaYlA2GClikB4S3Y1aRLzx8hEanOQxDUWjsHSmJajrQRCZR2Tzn4xT3IH1b2olKxc+qjbHbzEIOGc8DJaDAqfDp9kYj5miQAKKnY9tb7wPMWLPpXFR2Chbj40fS1Blz7uQ2hCwpbuVrzHtrOI4L2q05/8XslvXcge/oMtCfZ65mPD7YZc38Ri0MzdEmbjbyDkFq9/FsgC7x0By4icyDqIu6p8PKnJu4/jOPtHoiSsicCaxlB78JXpb6LXPUC4chdDqnOA0MSjRw99ysFUNNuICKWgHiiX4RtQmHa2vYGjapUTFXzgOUrwWagiHsV3A2gQpAkTnscpPKphxvjV/C38D0sxzuEGSIN6aa233nX9eAGFDCMMFH7H5pshA6AP3gkll/U6l8a4sNHfhObaS2oujV4AxJIpfjYUyZae/fWMA1AlsfyhxpXyAuOYow9XOkVjKKsBIkNNg9giQMVUrR3AKWDy8LNjUum7+uy1NeAklSBvUkHAIlEETJy4MmwxdS1TT+fWLbt3GnvZm7GtX7lr5dLsQKmBaQh7onbA9d0mmszY2eNHz2hyw4aGEiPBFCgTMjurDqhbfYnLwzuHs+IozqwL8Dr8Z9DdVG/KBqAUilBMdC8AtGxMresNl1vJqv3/k8Sp7BmAle4bXhK1rlxCv/DPotKNXOEW5CZmd0fXCOM3SgIkr5Hiazjc8rNgoL5WafYP0AdJx2IgDc/W9SsK6PVDfPNB40xj1iIcEYbnL+Gej2DnKm/TpbNR0a4hLYGg5RQ7qkKUS4Y8PNLde9r0oKrQCN+7K7sgsIYYciO+9sh6lqlG8yL2YY4wpCsrL+OoWOSkhLb3gUFPqSAnvIfaJw9bUOEIsfx/xhZof8dLeyclNJ0s3EisG7kFYn8+DUlXHF35wwNLHyIQrtAgYoymTP2kb/zfeKHqZzGuumwQhm53SCbXZ66Xfj+I2tf5jZwAjK1qAGXcbKIb4jGwThmHuMueFzXwL9E1fVhGhAWh2MgDSYeSjEE4kQfHqv5gMuUO1k3s628sxpkywdGb20TH9UNI63K3la4/PS6HiHSpDnqNwInc8HCXMwHydKXsgKX3oMPmA9JI+9vcb/jU39pY1aYJfLVsL2cz7WBzkHTDASPAtpieCLyKBirsJj56PGMtADU4YU3a47HmL+P0OQPThQ16SKk6sV0aoTzfOO3aSdXVWyhLYyXEuYSzbXS3ArZPfb1jrFDfSb2qCQn52+pFZa2EHVxxGxurcgtVuGlhLc0RxfiSmEcRHgQYDmOyHPIuYc2CMD5pDkUxH9S8F9m5LFc0MDctbCnhBpPu18FJwTmMOzBuMDvss16d3Zw6b752jW3R1DEp8HlT7HCe3Oig25nVRR8eFkxgsCXPe2pOQcQnOnndr7/nwoe/ZNXaEEWdKLDYBR6VVoYnhMmsRKr/c3NZC7yuXSBNpQ67FD2ZQvvOQWckAtu/S+tOMZ/qOqu+WdYwi/u5h252R9yBnCInsy4kfdBxBzPu2TpEW0sazAdsNwBBCfU4rNLzDfZrtGucTpAKpzZ2PxROvclzSvzDetjn4SK9GEi0vvowXE9yC4kzf/q+VSozLTPftYIox9Go2q6cviUUWWp1inkuVcovKETHI253i+ZTViTWpTWpRVlnRWB0+pmg8KB6whd2WSbKLRjQMdLx3tk8L2W+oO2p0qVmjVnWbBRwj52wHMHckmS8IkL5YcEczoSE0I2uztqiSM6mPVp49vDaPRhJSdSJJqL6NeDD5kgfTjZKK1D2Qz75ZK7kf2r8+1HmOElf8EJkYZu57jVUydfnF1GkaUaNTPomBLDJ6h4bZu6tO3BKYGpFiJUfTCtf3uRKRW6BU8Ebs3Dwh6r+BtGqrWzMwwxgqJ+mmVuCb32eUalL69EXIicM57EhLA889kjGj0+423u1OVJ6v63LP+ZgKeAloup4xkknARdfvc5VBu2OivO5h9YpjYrqgRf/xNaPQt7QA/CIQ4JSOdJIvA1lr4yLM3i0Ke9AqjTQIvPoIbx1Q7DQClAnlV35iD4Sw9u5C6FI0bqhpNa8+F3iBGpz97dBn8T33XXmrwVBKi1nNHbyrzgFmXIsEU3VxsuAAhUIqMckUr0a13bRG8thka0x1oo7v2RC7STRUS95jyQKq8fbEiEWEyptwA0Wo5WDviFAY2K2lPx7s+ex9Pz6ZtPksSHZX4p0r8vvz8wh1eYTiCzu00vWSmt3SczkZiCy9ALIsKLOpaTxSeRD1HMBUzSmUE+OVbbC5XJ30gph56b3ODbOGTkWFdwZU3HEaIm+n8f58xrLLjmR7vuP4ho7VjTY6cBg/O3oJcYsAE5nX9mjhFvlpGtS6q7VZWKUTjOGqwy2a+tM7guSzdwvM9gClgOmaUFYSyknxQ5nwbwBBMr8uuUmyUNp3eZ6/ALmy5WHGqebQq1blsewTvNZgR47bAVCk017Nxw8OrtQsY0PdNKgDxkHOHzk7vUTAK0Q1T9XJiPJe8omVzIyqHYpatQzSBnXVO6BLmOxO/IN0Ms5Szs45tMffMHRmmyLsjYfNShLND8c9hLFGry2FOUg0HYhybJpR1IbO/zshlopbQoBVdB5S92yL1LNX0COomCkJkjJ1dBgwA4NDuHHJe8EqEn3qfu92uvCU9E+iSDYaqgr6Vj2awdJtFoXD+fnDDP1aNZwbJob4G20hF8ibmvJCQS/07n+XxNL1ScYxfq6o58JRT1YHYyic0zM2Vfg/xkcyQsHSaWloV7s1wnVpHjQC70FdIocJv7Ck22hUTYcWFy+t6OASRd+YmLwR6t6xQuR0uAqSQHwuJUFaDRNx5PYDLmy9/hThdx40aumZ03+gcVH9MQIL2Lwsn2lvZJInlhTitGfnh2ABBHxgRj8lg0PRE2i7HgnVSB1RnjjyPzX2VIaHz2nbnpgXl68MZa7MlFNSirBsLUvQEqAnuGZub54k+BtBjz6fpCxn1AjTtpxyGZ7Fk9dTH3FqnzkHez5gLwDBwpXt3boeIQIse/31yNlVUMFhBpdZqLrf8edcsIdp6zCobk6VrZq8JizKDgi8UV5BWQnTEgBcFeX3wgMngPnM0OhnpPuPoYhLgrRUVgHP+qZRSG5EbNVdXOPkuNWFwNj2sWmbsqxForB8038AnDWGULFckUHvYS0bTEhHkxtLR/2Rl4XuWgOZRspjRyxtDybNgj4eQ34t3itngWTsgRfvRGTga+tg0+CK7JP/Rw1ZRIfbO50D1A6I5AqW/p8ZVHGpf3LlnzxRR/A5VV7nfXhpJw7Tg2nIG/+zbM5CiPmuZvHtrsJXjgG3o2GzQqGM56Sfx+EhUaKsSggo/yRHbJX8mRbh+lF3hFfJHHlJk9zrCZiilXHqF9P8ZnpWzu6JaA405ILgetbpN/RKtMvmF0p4EnmRvdLgSlEDWD+pHGFvyOzvrRrJK2jzehPTpsx32cwnNvK1phgiLL59cRjmlXMg01JufbacDYnzMLN3AOSVtZqzdW9R21BC1YpDMHdMFi45tDbdBKdNp1EglEIkAZkPIHWnI9SITj9vLuCd+/9nid2CJvsul9iHBVD5ipb39HRUjxvLRiz7Izd5E+qG0BleHYWwU5LatEQ/iH75QaSO5s1fT5Fl+R6KsRwQXRNn/TKwdmfVp12zZHCJNu9Qu8dsK//3S5kRkelFFtkEJ++QBnqDMn984yz4xdfSUXHOg8uUsBBrew+6FNahqgMzDUIfXzhJx1eLdDQtNioRZ2Ti8BvbpYAPLwgF9/FWSAWi6Q9dSeQmxTHHCQKNdFfEHcqCflsl8VPU1GCeHUphO1IhVI5v/dHD6VqFFHZ7SCA1cwDIES6cLvU5eRDdvXB+3KMYWb7yIlWwnzGG+6WPEl2GncRZwwf6TEAttoyNcWI9X5QzGuAVzAhzqazK4JsLyUcXwwWBddq1RhFv7dBBURBRkJeR0JWYUxDGWrc57XFyFFs+kGzpnB02wK5G2yD5HxrYAASR9P5IId1GlWMdV0bTk5+eYAzsEUlvqv5pqM4OiYVZGQPM9CL8Z99eiazMPA80u6sYY8xreUwF6WJ5o2PF7hN208ExXKR6wWY0Zp//glHaCwMpDOHnoURfOOFrre4V+TgdPcyYec16Uwjw5J/SoqJvXRZDTm4fu4W3ZdJv5n0x/9mLlQfOCOMVZbqcrDeNi2q9Dguu+2IVablUMScBUJf7w5uE7vj8huO1zOXIBWqnVnHwyocGelzCqV9cW7VS8McFzsp/PH0PA6O48ZKp3SU8ea21/mnk/iZU/FOCdyEL8h3Lff4BRIDDLFe1NwILQ4JbIJLSXgF5SWWsa9xiRd3jNslxQLa/rS4ywblvIIWDyGjGwqGrpB0E2Ko0yNI5yPgs+XchjqqDBW+arotCvztKFryJ4yS8LvQ3CaS8RZUH1Zr+Rrt67uFdyDcG8u9P5D9NxQr1IqKA0p9PoiNaBSM1fV6PiI3kiRTekLIT4arSjVEANThYPeOnxWpn/viFdWtBAYX3WmC9suTwc7ERGjo1bs8QcA4yQNFkqfdF+WpN7CZcxpEIJYpfOOif2kVr7BVe1KYc6EIZ+MqBvZt616Vhl9Y+zVN6cl2VSmSbGbN+R6hkdrfkNkW0J2TknZXcRP4FZSf9azP7XperYPWF6S8mEG87HOKQe70ccfshcw9hP+74OQlgOSWIXpeG+3ji4uV3fNAoODFpx1KDsz37OTKu8wB2QRM2oSiO6NgL1v8SmUCli68Jo9O14POYl+GVF7eL6XmO5ei+5VtA+MdkY+29+L3e72ZYPR7AmHoxk8V3LV8Tdwzb3CNgoH5jU8jUWtIC5kIaYkMBoyaGKXPNplgQQJpKVY3GIbqPg90U8bVuhp701z8SvLr9zN1bQuWUcUwrDH+T1rxWwgOVOU77rN4G9/qmnFihVO8Vc9plOx7FykT4aNwYsa/RZGDr+pFlZWEqmllABt0FjC9Qcru70hECBjCOfUXayZowctSbwwO+/hzMm4WBxTNwPyocKMWQc4cVREMCchmxVsklHlSzpC7lLJ3q0VLeBl2iqXlx4DrliqXD7h3yZv5X63l5ocaRXqZRyo2dg4fevi6XpiUD6Mt0rtpZq4sj2dseHnui/CicdITFk5NzQUkcVTBI9aJeTurUbhgcwO82cMr1huxlA8kmkNFja90K3MAbAspDCMLbYiAQvQAqYxt8n95eOpBlGx8v3HFFQlaMVmsHu0ta5qeK7VI79McTiQ0d5shqwDSJ3D7TGx2X7V5KtOKj3+AvVabhSNQEza5Ea2haY/YBPmQMhZasajwTkHsMWEmTb3Udlg24wievRmCo14bbjXGnbraUbB7NDVVZOGc+NZcZChgc4Z8dOxJj9DoWGhZUxKGvKiW8otzYUyKYTgXrL9f89e3Ywo5Hz+4KoORpb18XfFVFGFuhrrmroTzm5dO7jEr2NchJCVnDFMQgWX14usH+/pGSJZlpL8LTYiusRTRSfRIIPHgi6cvEquL34YAl5NXBEnahSJqJTu1QhBPvf6Op/Gd5StqVr/6o9SOn93UOjIQTU4PZaDqXO45Tgj7b3Z9eEk07TdMuun15eHV7Vml/nUn1Sss1mxR9/LLLBBtsmvwRhHr7/ChfM3disZhc1MKR7Y/PEbkpQmCtb2/GNY0tuJW+Z+OsOpuPE8V4WjYb4TnXwzeYhiO/RdDku1v1laiTf5Lyk84oNEHA7owF6ltNyUcgSgYHPMLP4zLGchUIIdBB6h9RGVuZLUfU9uDA7c19v35wi7ILi6G5jnkSNvCo7b1ooyt3SixzRfTmoWtgeZZrOpYFa13mEnKhVzw/2MTZnfFw1mmbNXsFSvASZC8zihGUx6VFztPjosD0BsUzBgr8/Z1nRTbbi/WH/yocJoP+d737+51BQ1nmFiARKNjZnyWvZhU4zTefAaAqUATd5aZU6SexWL36MdPaR7KI8MIB7r3dCVuNhRJjTNAUqD/6cPBkJhL9TiS/VIWTcU9UB7+wNjIBVQiBG2TYiqYUdRUCs3X25dcClYQ7zNsZqumqGV11Hz4jRubzvGuoZ0eEc7Izp9NMVgGKarsA4Ww6FMVqKhXPd4j7EDMnL0yMxhmWMFYVObbw2GS/nKzpTbmsWDIZISEFD0iuLm8ORwm0staFbK2RuNlK8iyIYlXjcZbme+kMAmLirwadiKBz2Aqyvba5JtMFFKnjYFEzRoeypWWa/dQm0IGe52+A7d/pF+7fVivcujEZWgwOATQaEn4tAQppxE69Fu0bldskOXYkr75LH8kGnP6to0ioAuKl9OmikqYmepDr5lks/w2zJ8cT+amLVQGr9HwJ5UjAc086L00nwu2Al43/C7HqRWI4DofiY01589GUDGUR2NGVA/dfvEtmkQbjPaeCjcJV1zfxXX6O5XssIkH+4sU5KxuLqW8kT22+nlAzcS/dG9D0JMhw8ESm+QRyE7LKIqbHIN6QnfdVwAqJxueNOxhGYn2ZlQ/oGFPymqeTHCJs2HWa0eda9XOC0JT2q4vyLXQhT4DiroGRdMAr8pTImIJIcUL5yidng6qmjVfiyw/n1XnmpuXI79mGdnA7If5S9eIRhSDbKPBKeXmGis1OMTBG9733eUrCK2AS+KKTDGOQYUtuHrNX40LQRSjAFvbve8Y3rsTYgcq7fh9aHXx1LP6U/Rol8aDuySxFmOlXpACsfiIfton2qaVwTq9ij5p4Qr9mqGvNmu5iWp/hqs7KbUpk1jzWw0zxKtr4pSN0BhUGTgU5wwOmrQLnTtK/ubsC1GTt9hP7gV85Wi31Ua+T6NDvxJkt8GnPARUsOawij9aj+Bu8JNghUfnFMjTqYFm0H7aLe5UEJdYEkEIsFt+aTQqg5oDmtqMI4U+37R5X88GLOTMpfNs5ZdZ5tRx0xAmJzQ+B/7zZBxEj0NlGT5u62mYVNa/1eKKecPxAQ1Vcvoog8thVMCr34cQMfQt4XS45ZG5ZZv5CHsleNccnHFZihGSCZh3anlVu+vQ7wBv95whL5FHusGKyu87dcOZswHqm0HNM6K5sfU4KpgexzB/0mVCdWAvKgpk01hsIPvCs2BAiiN1mlFl7gNzu3l20AvoLrGt7wbHcBlEGyxW3MfXPIPHVwhhKjJ9CoSg20brL/c8KtmHeiJ9ZdOotH4TFgxD799aE3V8DB8F2EwIbQzLWb9YomgXB48QOQrVCZZskL7ZLPmW1aGKa7lWQ0axS/XjtZAcNRY0j4iJ/nTc8GCR+izpAFgdeCq2IqOBNBQd1AqpTVrlDS1mSep5qsh+eGavDuuGmoHL/o51Itmmud4I6d4cV9F2CI0ktlPvwODoB48wPRllXvhsNVOi/A5ye0u86OrPZJsPI9EXXwlmB5z716I0sL9MbIKmewvAqqCxgumr+Qlz0xa7n2pqF4sEwQg8QnP6CtzpvRtNbBohD5bnpD+whfWfbxOPQ07dEgbhvKhqxGB6NlOKXWHZyDl7b/pFe9jiTqWE4UY/pd+Kvg43pTYQe5OAUibliLIk6eFoJVjJ5orlhCCRh5S/Vxq4rkuIgGhflphS3PKMaflF13ICxv/4O6NJerSpWcC0ngFvMxU3r5yKI+q3PwRKbDgm9uMoitXtxBHbltXjTjG5AynDxsxKfOnUiLMdDpVheBeu3lvwfu/O2JOFBXJNCX428sZPBDrpxH/RIWtIIPTaiaUqO6+8zBdPwkSipbSsKFZ8e6bK34Y5IUYfD6IvU6K2KiPKeMx45RHVu1xN6Zu9hF7GAHFr+Bjh0vJmmKZr2H3C7WajJZQi1+9iJL4l5FknVbzYxkKiCZqwSJztNGdMK9jh0mWTTYhQ9zRtowYnAxQ3g0p+eAv2N5IBhqzlioJXSI9oQJMP0ZuJG4cvI0FD2C/yDV2hOwBQKzg3bQGODy0sHT6ViBeFPJTZtaLBSbxtWhyxwemTj4vj6zF1U3USkDKLxsCGCDF4s8VpHw8AFMnJmr/mviWhYG9p/a3SfsU5QOnwJU53+opOPHhdB9P3KmxLXSYsRdr9xL0HFv5zdAmUKEyQll4yjvF3F+aSEojgjW1Kzj0NJ7PWoH8kNreVzid4KqVyoJIFwquI1rlNZGzBmr7FyCZXzxIiQsYpjmNobjVHCsWKHlOkXCyXIpTQpfOVn+URfK6D61ZQW+lDGprtLIJzZQFSZiw47kVQFy87f6mWVWaxtwqZDVMQVeIFBrSQcQGaT1qWkddfQ+KS5mNKMNKdNqWmXSzjgVp7JFjeBr1kXosCTIWAWNSDScZroWW45g6jRzZD3yZ8WDUnlJ/H3B02WdOZZowC/aE2sDVijJyj8henrYSUAPLUZcN0JpTyz+a/CU4zVDNxg2iXKvVVH+1g9Ha3gEURKfuiIwoVmVbX0LuVwwTliNB9x8fbCCmGM966DETPHr9IwBOoqhUwO/65MM62g9iQrHmbTO++y9Qazu7Z6l8Lxvkc5WfbT9vj6q9hZpJrCClx22MRvnOm0ZRuZl2cIWKrwXpirQM/Ac7NbAUWzd81Pq++1/LrA9qrBprwn2iz85FEd2TjK6GBIHAQdzmQg4jvybzzhee8oE5kqk6xsfQggInf2ksBtlrjVjBhnctUSGWBZIYlmC3t8q488/wrPRPKnsIqeKF5JSUkoJBtkScw0NxjCzydSW9XNmXjaf6h+njdFfCyBks96g3zI6rqitygTviImEmInK+L1/lYUFq+Gz1rGzOrc1odk6arGstlCfXXe6CfEqQYJW98IfoDS57zarpRNsoXmHx2VWWx8InXssHEslcGYbGvsR5CllhGVtJrGj1K19NKz8AvuNpmOtmmCY1+oTcKZORgkvcolzV7DvkJ69x9/zHkDWchGXlbRKqG/fSM6R/mRKZAw0Q0AmT0BA1uCBB6/BWiJ1hh6Wxa4qApjBbTMOi+qkcQSCKGpBT6TFv0KS/eouDHVw0haHgO3F5af9G2WZvpMPcap8KjO9175eDTn7A+aQKhhEJ6l7Wn/CeytqPqY0m7VxQ52Fex5D9++HcDtx+xyABNc/JGWvjZu8HfkxxRVjtl/xdwpmEkfFuE0PEDC7TLGpDLVPNRgpgt6leWaQFhjTgpJOxwMtHosEO6QrxBjcCykIseiOAOJ6UXhTekJjHjjL6nKSsT0Uk8kVm9eNEHunfJJgGtqixKgpR1Oh8x/XqzCFG2cHP+Di4lDrTHqaFoX7t67MfHkhmGq2Q0vU/2K73HDdCNGwsQBjy4hbGDIMBxqVkvFqUFvj3W937BsZb3vlSphljXIesmEFgMbamzjW6hCjkdF/pX9md8VGzMteJ1kj/A5DjBC2fCZrKm9hK1dsOLLA1VM+bRY9LQYr6j8FGJBffQ80jfqwDr2rRjeylBbmae2ssv9lfJiQojRojOsSeyo/iszCjXS8N1VUf0TwRDQviPOkRoNBTUWiro8HdoYBmbzUFWyEzI+ZwymdGOcLD0cJT1aKNUmUAtP7k+MLq8t4HKyfnqlm5ZzQUbqV98KF1iIquVICdayySQZmedlgHoTNsZP870ybsJjSCieet8W4lK+azd8sW6gO7MRCsbl9LLz8c5ojYeFVY7XHOsSJCZOn7yiaupbpr+qbe30XxqQxroZ/V2JHv+kW/o3C7Ashw7dtQzVH1ZTGxCz1QxMb/MnUCBMhXTsQUwgqsv0yYoz9+6gZlcQntdao4gu09e6xFhWJIZ++8PTb9q919ns9JfeSgjQqvcd4s85Pp9qhn/nvbl+q/h5B/yTy/fhLJ9JiBeOILpE4uX3px55TOpF+IQt9lWkD2tjMnEETak9iQF3JmXWG1ukpeIRrNWQAt/vp9NxQS5VxNijBEQQstmTOKdvIExtBzxzzBCCoTU/kbk41Q9q127lyh65ia8lE4uXpwzfomWnAvc8r65W2IeqEMgGFxtqVgPeq/FsSUDiQoWeVOP40XJIj8mUbyTkGONl9Ww/xgLA8JIPQsEw5acV7uHrYX+eZxqTGjul4L/fzV9O4itV8E2z7aWh7B5p6/ygFMVI0MUTtLTXXB+BMgHUs2H7CXUPNB1KKTlUy9Pb2T7JIo1k2PGxcrY1obVmvuzIB7VLmi7WzU09rLWaBlAEYqHmXexaNhzh9VtXWoHuU4O1qfUy2lq81HSygGggkzdk7BCtHzCwpEB6RxcO6eSI1AcPhM4gRTv1V1tR7+YtZwPV+3Zzea2eV/7XP8ZPybwAMg74ZqN809McjXTn7jK+b3DQcdw+BT1ELcLQzqKUBo32Ksbo+kyDIQ+szaAaTO7pVwYuJfuYs1vJZEexms6SqEKqkB/VtgOgwmkUxx4BzfzK/G3ni5NqL/UiuEe/mdb+BCidOYn3+7mMmdbOoN2ro1A3XER/KnIo8v5Vq/QpAhXpmtSLY0fKIbfx99g4ti4D4w3fp+UPyLWyP7XKVKOOMke0Jy9vV+ACyO2UI57ZL6YE31rBquqBI7MrMEjfHsX2z6ra/+BpR6VkdekaHs4XlxJy49+TFHVqOYqSYjIr/BwDk7L1gQIFFcVDHAToeoPL2FKe5Fzh9VSSIyI+1sIu03UGMZ1p5EYKXoJ9FE4gT+ytDXTn3fHkJ7VeUfS/wuVkLLph3+fRXcgc5TKpg4qT8u+m+L2pABXPSBDrJsweKWlhbs0Z3zf9cWlcX1qHU5ufpJ/PaOFpfitE9ISuRmZec6fvHAMj6QDZqEtMG4wvlsAyXA3H22/1WYbrNsOPoUU9d/SZW0STxo3xVEAddh7OMohqZyEuIlHo9KHMdTax9sFzePHqyX5g7bMYe4UDklRAJ+sv/45JEK4MHNKCbOQFxaz/TXMM6LQeKhWXMFHunVJBMheEBqfZw5gPHBYXq4rCb5CGb8OKNZGMRTfRNBFhv98Cg3dz2LgMwV9yCobEwgNpX51nGdO91IZXIgEcV3GblAdGMsAzNBmZUrw1ANgzlgO0FWUfS4nlmSU7HX86uYUXKsh90kzG3PQsxMnlbLJtAgXkEjhX1+nEhyYOETaixi+zWn3inrRZx8e8m8lmuuLrq5gU3AKxD9lphRH8BVbIZUQFjOujUBTU6y599xPRuqMZeyfthboNBEvNC3b2ykUK+yNS4MluKJXmlzl04T21VuV4NryKE6Vf5gGK7DPLyNpun7I2PMFdhytHkbqFFqyaSfhXQwZU0rEH5SIxo2DL/LxUMSDN8O5yZj1I6IFwLMDH71B9fgtMNk4nTXUHP1VHe+MIBTPcA0bs5T1c5pHeD8+DlfWYzcdcujxl+xzvXfxggnlaxzXbsrz/pVapqnIzyDlTNKvkoMHPqO/4UqFYy5u7lLbxB9YmbHR34+HB1Z2xXSOK5kkTQVbnyDcNeHZVmw6Rjkyok5Z2/QWrHmtRHOAEtA2vgr9jWh/o/oyDD7+Y0HOVeDL73DsMZg207kuGwe0R/zvq0LGhW53q5jYruIvEp+kZafumLUbbLaBMKbvqkdTacDCPHYVHX6bV4D3zz0zqmVo6MOf3X6gjJP1qKwZ5zqcsj2JcPZk3FIj5IAN7W/TBkSuyIRTePtof60dzk2EvbvEHcVAvvLW38OSKdEV5wlSqUCvvXRdLFSEdw+zpPKORcCGlMblxfj1HmBgaiPmw10HuWdEROSwvdum/cvzxf69ZqLibXrOi6b1bv99FIDi1R5aGiZ8r9emMHkeK9dBZwNCTYTUg+KErvE7O27qY3FHfYSPJoWhi63/ebtMIYZ52ncWG1Oq5CJHnbh1xhsS9vwVsiZG+SuU0LDG4Z2Ce0r1oMidGE2R0u/X9692cLH9CoT02lC4ZA4Bk6LAV7OOugm1Ehqe0N4GKnVeANSEZBR3uAw4HVkbiWK3n4H3tG+/e84UE29ARWH6hUYQqy8HQclFEGtB0g+/XVouQCrplcp9FQ69mGP9qD/YwuLyVwqgPoLxHupa6c7tdIyxo+hd4j/MPMJvHjn2953o6RKNjsA3tt0Nsd4clknuP53pYRFtpAXEM9Jny1nCER60geCSFkWPxTa23jsdskRGZ6/pl2+9FyY8J91QHGqLNfOF+R6dMLji3NJrqNB+zQ1FlW33m38CSoGbyu1ySe1HEWaWgnTV5C8xHxIeoog86O59Y4Jf5n6qfxli4NyTRc25IWQj0oiX/KAFgQgJsQ8kIJ6wo5sS0uNmTaXAWEGyVIiatczh29539TGU0TnySKuvnYRo+L1BYJGmW/lvVWWsrpjbz81suEjJ76OFdY+jIh/pmNFH/p2g8MMLZyfID+2AHszzLdNoXD7Kb9GWWIHYVgRYmFp9kCxiVkN03bcLE0dZPAIFPj2djETJOEETohRizzxzoAll3OHwZ9N9nPoJEBG5nPCkAv8ROJYgMHSjklfTY3yQbrGObzTj2XUnSfCAoefmqvUqrNfnhydRObWLbFCV1WWoBCgAWRD95ZG5g8hVq6c0NUanx110+S3/n3sxEm8TjfZp7fyWrD753qQ90l8UQc4z66Sp9O5wYclXcalQD+1uXs72tI0a3Gt5UHQgKzmBaZl4AoiViIHmXT26f1fZcITJOGXi6x4sli2WCK5otHxobt64uP/lb2Y1EJce7zuA+ykwDpTFK8sujLqjDZAxZFbvuIMxKQ4QxLCauex7umjAGKZVZh936eidZwwQ5ggT9kbBsm0FWpbMf52nMdnsce/Ozjnvr9E2nZFDeciQGubbV9AHVPMBfDD8OmT0AQw/lGQ8CQAUdMMEEYRJE7OjzFS+ven950hrVH+dBIeTcksGKlhFJSyhAw99/sRX556NxsbriOy7KNPLQjKwxnOFfsj5ptq92XUCMsfxzU9Ixna//vPqafc9tVWOBFT4b66V0N2U5HmW8A4XQ+wIwPddo9ix6Ybw21lfOCLuyNEgclY8xiVUGxISnr0dF614sT+u42WusPLMKXU10KL80mp9MU/0FAV0OcMr3ytqGTCyynqz2KrhMLJoFK6IKujeYTjT1/AtIJJRcb8UrypRhJ33vGZZTwiWHmHRIZVCy94uRHrbcds9yokejLkWODidIio6D8pViuZzlv+XWbQtHlwSj6SbjPqkQDW8kHeFuF7+3BHMSMrRT4+o4bK11BND69ptvx9TDUgnNCDeh4vg3Y8W5SZoDsAmx/F3Gdv7kvwBKJQTh5wIQiNFgdoWKjPd4kEKTXk7Xoxr5AUGEbXCVZLLOpJP+oL8ky7jB/oDc9IFshWChHrOhYSlHQYip/wVXkVDyeP8WXoP3VLzwAldeJ+LLeQXUzI2zYlxPBSyD1JSAECVd0REv+BDkPWllaILyJtpAB6rs0ukELvz8LwzuEKhqVbJFv8ldfAPwWOVtPjK2S5VlnUOADxPPR4GtG25JCq5brP8qvUaf4rjvrYBzZICKEW11smqtAlFCZQZA4sipaDmoJzZZ3GgQxL8fXDBcdZ9mnVLYx2EqDhTrWRN0vOqCXE8MFgQtzTwwV2OuYPtI2kIkQqwL+eJMkjXI8eTo8trjkdp7+50CtSpw/kZbdvX8zQaqsfp3rOVk8Vf/Uuqa9SCeYri4AYo3wmzLAXXPVyPzIMig5ZmZXJKN02904f9KTSJaVPgRVO9h+FpWtZ/dXdrWLi/GOEAfpdQFN70HywurxGiNvNr7WFbw2O5R/HmmPcJbcBZ79iUTAYgP8b2QmGcrQLOEbBAYoWlzk9eWCxEigd6ywJDQAJhgZqncYqUB4884UY8B0bfUO5uKIR2oe0qAiTfTg1ezecC/VRDcPis/wfmzJW5cCqaAvW/9P651RqeKDabmAHgMfw0QQs8HHSpaTctPi9QTqKONWiT4QV1rljb8T2ANIFNeO09wd3Q6Pmqf53cS5vQPh3lkLF5PiXayUIJueM+0qlPWrp47LZ3xgvImxu2ov1DPPMzV6/x1SmRBJiB849Zy9+OuZ3zN0UBmlYhiry9TukR0rG+VitFJYCWdf2idtSjFx37sDKA2p7863dKAVKDXbda6LD7caySYxd7k3UZNcNBt8SFraFvWHeWS3v8h2V2qIW+GlPG0plX5SZp5FsdTC+wFnJ41ODjhrEWcUr1U+WXJ7gXI3cN+EPIj947jNvHAq1zLRHBW2nw9fD5dnWBsqyegkuPUG2ydTGMcEPzAGYN674jZ99hoXsK+22NYlf8TTt5CitOgsdmmFwYMByFwNNg/N0A/KENA7BUPKdGi3cvC9qckxwByF0HrEQZVDtS6yrSM+1mBLrUvXsQ/1ok51ctfIYk6RUAGNnPjFy7PNTwCYeh5wySiYfMl2P5eZJZhCHcI7N3iUOcX7+m/hsTUJpsftxvZS71MVvUtZv/6FhPV6NRnXxWZL9j6X9B50BenS9WS16VOd+uoFLuEX9bXoFwl9uoeUzJyxj9Xc/UwvtK0jK6ICVHpjS+687MCR0LyU+vZSw/CERC3VtcaKnysl51JpdwHG96u9cWnlQwrXUBCseYC8O5p43JBCaEJt1zJqCo0ZU02xRwprKL8o/0Ngll0dEUS5qXeDMYklVoSboLjBkkERF91qo6RjsQUx2lts7MyzLvOVEB/TCAXP5TjQCXY7pKukIzVn1czkrg8vXVukpRwHRKwi0QgLl5+PQ9oc2HDOJ/UNvcar/5x41Lv9jlpVUbEoTlzYcM0c30pNwHojT1vSj7LI0nTYIOyW3C4+XPrY0P13O7M1kSWDVI19ge+VqPHP18VYkJ2BW02AAm1Vf4si4m3hWNXiv8q37xozcu8YSyfmZ9k8i8p7uqFs06efNdpqd695irWY8HMPGqIalbcgjyETNUPeonbrEpb2D/nx2tngg/Y0nACy9Vfm+sRB9qBsbFows6eXRBsp0uqAOuBI6r1sctfw+EXRk1l+kTrbKf+a3REWyutQTCksxA9xLlVxvLStgakiTC2SIMXznwxEJw3c+EaVJl2L65nl9NHdc6Xq65OURXTohTZHkKVvmKpjsRnHI62p/WMSmGE9kENsypb5SUVD+0PBaIvV5ZpWkHW8v41loO0Rbk44wxaxzMzVf4DNcyPvefhK1YYOdZvYOzWzp8OOnDpgCrSM+JnJM8JNnRNpXSAKqyzAKFcVR6X/hquZqw4GF7T9+RoKa83MhnhbINiOy+SfApx5aPTpAznoHjG9CK/yqNPTIjRcCGnBmiJND5LqajLhEVW1uTqx5PQ9eP21Yq4RwdEIIjzowPcXRZ0tuVN1W2nr07eKYkXM2F3x2g9a+25hY945f+CjGFfD6OSDzMwYQiGh0ie2Ln1x1myBIChNSr1IJZVoTfU0O1s2dLC2TJT4Lma/wr632UeLZq8v6pv3W4TPq98iXq9rCvPut4P2SWHFoWJS84q282zDwI4CbWtsaQMqldoKYNOd4KLvxCydwJ3j6RVTv8FoR14cC0NZ8eCi+hveLHtI0FTvetg0KHgbHfjkAcMoo8SyVRUs8q1Z2KEVXseHHqoS5UDgy9bVEkI49+AoNobvym7bpezvB9Cpsgpfr1Th6NHhmWbbZ9D/UQIUs6ImojlB5q4eWDO2GADr4dthA6CrFTuwD4Molbnjv8iy4JuwrxCgpd+rVzDlyzwY51wWDhn5JtaiqnbtvoIFUNHtN7u6xq2t0vu1tXgF3Pjb3DXI4NrTuPwzPT7mR72GhsqPC515Pje1Kp9DLcMgRddRrUiRI2pc5IOrMJFVAjryINXRwD8h2ZL+MYauSjIubQSg9D28MYzIRC7tNk7QBy0jRSDaruVpnYq+lPQATo1r9FVGfhaomDrymxDXr8UgyZnSFUlRrKw+X5cTOnAMJ/ZYleNuUCAmPolTm4WS7W2goFpmPFD6nJG2n09oQra5kPBIjk2vzVXi/R1DszwIBp7gVD4U2CLo10l9Jk8hegAIAIh5n5k+SjJUiysNxazH7vcgRYmoXcil0hRagn+3b2LImzIf5FtEJUV6Y3xOAzYCsOttk6adYimSI90E9hI+Q5As6y3mo5RjO9wNIbJRkXvX0TRDenhfce2tDD+i7S47oQG11FNggjKp6vInlP9MVFDDTGYxOLugIo9w2hldlopOHsirWlBj6onhe+aHyrjyMrsVecW4CMYFbewmgf0oGMe/BUxKOgfaF0akll/3fB6nKx2MAEweDb3hJW3oX+hcOFp4m1Gt5cX/kAVKL5NhqyG/++0mQugGxzt1Be6dbgUJB4NDvgJFU9GtyTWkvOYDwlYV4HP++jUD8QT9uoQTWkRwPOaHn8mFF35lIQkT5z8953xiq8OJZJtxAjUkDVG6op7+c0vwQpE7xj6eKeI+FcuN+3KtboPd1/6Jx4FWWKoBexNzeVHUj41EyEWyetGX/nwAXsoXdX2SVQ4UrRb+q/8cYgcl8gmL3YFn2+rLox6ZRfeMG7B82hOz7sYC+8w17VJsH+g9N5mkrrSrk0R8Jrrdrj2csafUZmEotrilfWDGRigiLi7dCXX/RxehLypXClrh/gKUSLp1LgfaVL7D2senV6nKPuM1huh+EwNruyDr/tQmuVXmaPbyhRCsYfqg1AsxDmGfT7y39HkAM5DEXmeXPkabcD0q9+LRYSMxv6M1+gUAzPP/zhlxv0NUf4KkYg1sXn6f8IseumFHrSamO3RP8HRrJlzHB4NSNHPNOo1sBN5e/6Ey3k6PmbTWjRf50TqTsHzGH8MFtk4e5n/+BS9xVS60BIdUl711Ce7UkUotoDZLjCgKojqzhvXUy0C34O4Yf1RQYQ0cFsLgTnQvYZ6HSyqZap6Qe9lzJgwvPyWZU5dli3lNlFsDZEWNs1gG4UV0yKSDhiYb4eJLgeg6MbbKDsRnW7+pFiAOf3EhOF/tPBc04E0Oed7tUqWcJwEzBRFfDp33E87QooYQ51ickyV/mWY/nW/3RpkxFANBxL7nQdQGkmiuRc/wLNOy7Nz8BRunXfaI34JQmWsQHubTuQkmB26RguhWMshVMcum2hQJv8Ynz9c++mmSL9Mfp8LE5vKxZDQ+JlFSNVQKDNc1B/a3smbmIJ71rcJrBEog807Ej2HraTQMkOTwvARlg0wT8hQwlhW4t0VhsKBFiyNa3rnPRURGiU/8GbHIXV67tRM8hh6zGadIhYG4ABp6RrTFN7Wz1HCg/JfeyBROj53ZoNDAMSKWiQmp/puDHv/8YQMkpnVzWCLfUOOhj2jaTy2Ew6DwG/Np4Iko6MQRw1vqQTBQ7npiAdyZ5tFZ7duvbY9YClxJWEYaVzPP26qTzkwQPxmEeP+1JMdurosoj9MI8AAReoa7SF0zOSSgWHrx1Nv6t1RD4kHCEj8ssiLUvJb9m808oM6wYLM5WGYQeFRo5x1nAxpj7v+SXOJTOQiwCbJb2h1Qq634JD4evo7q3Tc/QB/3PU7VqEmhCnFNlPcX4X44F571o77iupVvW2D9RzHSg/E/goHpNS2zE72N6iQfZAhRGjss0QsLQyOh8WopHJCHCrS1xL1uu/xjvszNvoeYYFmpWkOMl8IHkVNynxenKg/dXyOfq1se1RJHT3O9OZPO2eHuYdkaXbNRXe3gmP7l1N5BIrJ5fppK6Z4JJ0B2fwR0PKoqu5ZRL4m6ff8gE44ifAeW2rn/q7yA5ytXgj+73/VZt27aoCPBBgjBtyfF55dHM+QMBpa9PSAOdbNDeXD0Sh5iV+u/0NQJMBx+xV4R+DbBZxiH00ghOLPRy+zcyeeP5NQCuxBKnA4ueqcypqwSwYwiOeVAPMBdu8Vmz2bb5/xwvbGwrEeG6CremXAPTSXNXT+hnWzP532TjnqJhCUm0z90iPn1MnmSAz43EKU4QknaP7G3iXi5xxDAHpIu4msLRV4dIg3QpkFtshE82oiYC5LHMiqIU//JxObzUIYlPwceVT9Kv6ENBeJQspm5c3/0VT54QixQ7Au4H5Wc6wVqxBmDy/f9nnWN/oEoKA19DH/hs6rTdprIj2tJhHFFGXkv2QBmFrjSv7dM3NpN8bU1yMghLQfLjPM36nJ2D0Vg9ULR4cuzd88+wCI0fl4Gdzjjp2hTVxrcDuQK6c+plzLV3GueHCk/4oX7oi7q4aJtKEASr4gD1BT/4Cn36p+d2kXJlKqiyLkKYYD6yhLTMCWXrYb7yYsEZYhNZYdM5Rl/46TjGwR37d26SONimpHfANZLLpdtaZYm/k0AobGWILtJMslJ+Tqmew4rgzKeosS+zzt60igG/BZGtsw8FY0/mBZ0fS3kQrYmvKJRmARf0+50JLnAw6YotNCfzVDRxs9W17r0NhD5FDnsHurkZ4B/OOo+w+FPYd7Bqyfn4x9EyiryaRGotX7leSWGzo/eyvFxQqlnLpDA6F1FgKdcSoN2Ki1LyG25tB73cxKEvki/6o8Xk/cWTE24/EWT/2Igo1IhBxB7RTNt2BaVU0iA0HdpwEy8gYbu4aL+xAfjWxPMClFnubfoP79AgbwiMSH0TGn94s3bnZM5lMoaDgRLFCSFBIPlEL+1P3qfDbH8EcXm/kWewVcjExxRQ+tY5LCL6GzDpMI2aQtscF1FLA/DNSVblOY1RalzEZclHBKGXoIEu42uySazdYXlLi0GZ9MdOR5BnpaeO+B6semiv5tDTMTnEt2+Vo8Fv7EOSuTMbHymaklfExs6d9Mu92v4gCxKaJZb0dKvRTUIDdhMLZR67o8Kd9OYS8rTrDbC2hGof/4mh3UWEPTAu6ski0zrDdAppnmRv0MmeUnCvcGIPAFLGpAfEUW/otHPWXcbACJmkAtbBkxa6FfcOhnuZxW+IsGtc7VEWoCnifTjwq5l7w/i3Mu2Doi/mETkChGjquS6GXxtwJ/dSfnAtEmHHYdXrqHQzxqyeJ1FsN7zGlYmHQMhZi/CAL9SFnH9ntfciDc+YbByDlp06brjWPM/pjY/zhMOa7IjXmxX9y5Mj78qzyRxe5jMBmlffg9np/NQrlSnbbPXUvS/r3vV/Vf7uClhIaZAnaz2BfbppbWZqmoVLbKIgLCtsKJmTRXwf1SoQ70fDCo+Jr5xpYhPkqZMnQ01vldbi2ocgjjREHhzoLDVtR/SMGOTi94Qb8MqLLgVnkjaBbYhA+iqjG6vAj4XmCWA6U2RK1eCVnZaPSGzVuTQFCW1d2bjunemDLzofFhasLaRoep+tKjnrvXgkQRLpfkdx0TWWF84bTiwtIWUFGzG2aZyLlDCq0Ll6E/+72jw1WUOJMvHY5ghMKOYcq9qy3+ukKqjV2uYJLZC7saJpjY46VWPXjPl74rPRaTVvSFZz6vXmXJVS6HPXoLEEs7ae2D07bqo/LChQ7mI6Jn6O084fX7TYK1eNvJeV0/VwKKohUxu7JJgIXIumdsqBiy3PLBeBS4JRSt2GE133KUTyphYjhNAKWYdw+9sIKF8gBts2vFu6mAOeq4SlU56+F5aF2EFJxhOuAZYd22V5OKd6WZV/8wkCLCH2kOf5VCvhbiQMudy3FK/kkWDHBTUz6I8Yj6a1OeG6NwjUpfoPAGHoBdbOgpp0B6MMEMUaceOKAamLiMPjvbhi7I1/HVsHWb8P+8RioQlMgDIYSkewFdn6val78UseTUj6KAyLniBbIhWamHemlL8WOPspHulU/vnMj998FvTn6lSewUqt8CJO6A2FJnbLJ4jpOqko9Q2mZnmrKI+77yLwb6IeuKBkQO7QJTikDQEB9+iq45QEfK0h3V6I2cVQ4Fi/bNVk73T0DHzSPd9wol8ppGB0qcb7Cc94CANpouYiI4S7/SiV2Tyrsk4ZCmC9S8IK8RGMmsVQJG9RbxbuXLNk3zsjzcTWO5dWAjw5MfTNJGu79+gIT3zWGfBDXws2tngN2DS21WqwXhQWMb3MJ6gzTQDTSrMsuegPEVaIkU/IAdtX2buGvM2H4JN273ldNm6oJoRsGmXd5QsXsr4nh7pBPpik6ee9vesG5s=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MEKKOXMLTAGS" val="1"/>
  <p:tag name="MEKKOEXCEL8" val="False"/>
  <p:tag name="MEKKOEXCEL7" val="False"/>
  <p:tag name="MEKKOEXCEL6" val="False"/>
  <p:tag name="MEKKOSAVED" val="1"/>
  <p:tag name="MEKKO" val="MekkoChart"/>
  <p:tag name="MEKKOCHARTIMAGE" val="FILL"/>
  <p:tag name="MEKKOXML1" val="4HooU0THZk28POP9trq+pbTvvzd/gcV8t56cq85kb3NDTsUhojRA0EsgEHHMH7oYP1SYpn09ysXVivguJdhTvfyVMsBLTGvcX7WPTor/CmWiWcfk2RmY+GE6Q6T90sFUr0lg9IPP9y8umrse/9AoLT5R0GKq+XM9pr/aTyOTf0wptcuHbHxeyqBm9svU01qeeEM1v0hpSHUgirOnAK/wusIis/Dw562/ylZarflkzpXsotLVJSCrZYtF7RsGG1e5iqe9MG7z60qZK3vpZqzyZtFVBi094pZscNmYtOyJ+gEByA1xH7Bj2c36EiWyuokqXstVhKAMzqEl3qnbW21iw6HU3tn9ZxBpH4S8SEaZhu0QvZFzEZXIgJrA6kzdz3gNSncoJE/L52VYKaKFV4mp/9oA6bISWP+1mS85QsPrOJND+rsTsHH3+7slVdxGvf3GMwTXlTPSPRcG7+87yoOrmULjv+CVsAXyV6wo6m+2vx48IUjehHx7OA5QoHuQL5/vVqM3q6Dpb4zza/psEt6IT0IwhVcutwNxjZz1SF3GyNQgLZKsAnG454XwKZxbRZwB5Zv89mzaiQJ1/gizFp9Tcw9u1FgWuIEhCu+w2BzQ2jJYYsYr8+ffI0V/VbwnfPxQkYmjW+dvj5DNcZOtJ+RllUgP/oVekJAb6MiEYy+g+k1G/kHsmSdGfqMQk6kXrWA5kehBryVSSL6UdZRoGq7p2Ji8QbXAEL+rkcxfT4Xh/5j1f0O4zEoVK4wJTwxBSKHETxOizDwEp6I7LUxZky/yBlFrXBvQ5RpMIK31uUVyi8xqNUbMuXA05XN7oEgs509B6J7Pst/wKDPuGKu+zhkFsmlDf350T6mTM3uPMyciFwO4vavQHCON3WybYIHZ+v1YQu6mCwdtNWhhSFkHOyKbO2vQcEvRWWPZbkUhHWzJ2U/KYl9Njlbnyb6C6vP6SRJWxEQypWHKNZboeu2/8M+coFMelxbPYXm1m8C+qO0hHPYAB289Pcpjm0ej9McS0HprQrOSNFhUgL41ch5RsuKWiocLzeC+WXHt0ZLGFecDeCMYWsimn3AH6GdLhxNQRLX9ERd517+K+nvtDCaxGxfOARIZ0jgBQqh4tYGbBE4xOPUk5CQJ9nakwPUMX3/Vu/+i2MskF3FGbucWzk3VnB/XMjnX3NHCMziGgCQA9Z48aGItDc4EChFMcXGGph+isIqzSGCgNtCQ3D+M/54qL4B5PbvkvsN3WcJ74RRsB8PIzcQbG9OoBZ45XKjJ4keJz8M5pUGxMJnaTy5S17ydpWckjmis9Zy510SlJHDK/ABhx4MHKAzWj5EKMvAE++ZZeXpxEdx+INMnx9fhRuVZiCpKFi0Ab211WBR5nv/eWWxrYBuJbMHTVRMABqFk/Ipr55Kuhsyb5ni0o5Tt7hZgC0ySvqypKh/aqe0KX/Yvv0JfMYD7O62mwSwwK7EPfKDt2jb+ZSaM5UwV1dBWM6cNZQilF3eLRjbcBpto9oUoZ5AjNWM0tKYyr7N1zIi3OiYVnYGERtsU3jLj13q0kLmiSk2W/3EBDQ/hfg9OVNeB1LkXbA1l6VG+JqYthgQFFndyc3/ujXwvnb8LbSv2UjYRHvpul1FbWILVcCcJAjR156knRxzwuN4nlFTheGCGgexuCMcc5yIKFmDh8fTlvLvQwr5EqZYDUho/ktDkuvV4v/13QQqaR5eFzhC8W07dLeKpbz7kdMNV+6DJ4MvdjY/TYXFfnzD9u8Yx22IYvpZC6aRWoBQW2VQLXA6oQ4n9mGKfQZX3Uo5MLAF1FBXQRqUxyIq08qNINqGMDKxPXr2DNBLD5iVPymDf1TY0a91721ixAZr6uPl4Pa54eWFe7TVh2UF9yLagUUHqVoG3UDn6giAOkI6P0Rqzt1BTbJzJ4we5Yv0bxptMV78nCbNceJzhh2wYesZ/RhhGcRwBt3xjX4f7lU23vRFLDDtV97wOLdznYEs28OoKMi5zcSRkzHU1w3p/IRQANoq2kYGSmrAuTvUahB9Xir4TMBf+tHctbGeI1p66uMZPIyOK+1xn7E5k7zJxlkdEHivIzQ3BvlFmCfP0y3WsXx4bd40l608YjQ2SdAz+rVME23K/4j3QPSH0C6spq/lUWfZBTdrRvxG5JytT/04ShOrUJYFgCFQOWqWqaYzKWt9f9JBg0ah5wpP3T0B4vaaFvA16MHj0dG1XDPlzUX+QdOmPBxIQfmBt6ACP0Nz/qFIusqaMGQFD8IrTG9oWGZBT9eiGRrZXDt5HPh9eruQ3heT1Qykcq9ymfsRKqVRBPIC3PvTJgTAwFFJ/kKD/Sl8ZP8L6tylgfT/fNglG7lk65NLcy4LKnbpMQNwfXeeAZHJ8xXD2iwiwmUF2QWnyry2h+IjwJlMMgClml7bRzezVmqDEX2Bt1K5dbnx06xA0xiWA+1PGGPwSFyRaetjjh6N0aQ2uGzflXLufTLnExjl8KvGZ1ru5kw0SgRhmTBMcAJ6HzIWAkRWzZYpfNuFAq1MKrnBO/a1rFbrHDK2aebEbdowNQUpgP1648vkMBXKAIHA0kB6YyWV75oxwbge0mPAdii58+1lNo82YRnTQLzgn0I4xvj2KvuEhPwiI2AqYVL7Ms1yTmp0JzKs72ew7SV+OOPISAQiFYKjpTXXHpbN6XBPlR3gTmTr99bUMA06j/kD6FFMrIye7eF3cm64GLNKV1wOgdJlwmc0LlWiPxnC9mOdOoOAzn5ahUM+48f0+bMjmLEY+mqZvcnL1nGAN4fqJLeeMtQc4+KdaBHg3sTLY7zti3GHdTU7L0JHsam2mnIuE65UnYU7i80/mkJ3+uNEobn/woiTEZv8MDzQAQB9sRX6ufNIq6tyUOUuWLx3NQZyr1tc9bsJvgn+TmMwtfKkWuLuclaGwvQNbcZxWzGXJDObsQrHT2o8PLjPZ08lMtua/lIbUfs1alMUQnOhhEtiT+B/7FQWnXXVOKzEpN/Lf0pzQM884EOqtJNbJdjAB1fpGKEDBeMhy7GZbWVwyusZVNvFXojaToiMUM8ZYmby4xlXDCEnt6QLO1QRAz3DS1rh6JYhDJB+XsPmfIsJkQguD/bwYVgktqD8BVeuvBiYPnvNJrOP9Qm1jmkKvxtpKoMCzDQ9kiBbD2SDrgRPOa9EB+qOw0szQv5LebgKqkCwZ+1iMBM7sbKUo3A1LFfGEHfSivfeXdacJTY0cAi03GxoYVEzbPoNLSHUWxi7iLrPuexJU1boPHceWIwDEKS8vY7liBvizi2BTO54kGcyx/D9Q2CeZPJHshd98Mr5BmoX423vFxKuDXf29j8V13a8Ul9V4deI7+ZkZmwG+M/YUP4xn4S8R0GrB5ur2X4Lek4W1ibHBYcaf7C5bCRBUCvUUjnxtRkcsFj4AFc2Dr4bgytZBLlWF6I2K37iIp8abKA0zNwz2t5erV5KKpwBjYfslgHtR8EEaBAmoITEzx0nLqsrGBS667ixZ+FRwA+O8WnPi8Ezhm+QAGWR/msrbY19PlpPW8m1OuJVN1YbwRdhkmlkQV36OBLrNys3NIixMOFj0ZDWT0B5HQP4cv29Pt6lnPYClLSuSgxh/5ba0b9fY85WpwYgmD+Rl0vu/FkJQGAnb8G+leZQvY91iBt4+Et4ZXDd85WEQjOkGPdrJHydq1jkqRvRLDhalRTkJJ1MG13fjPbRJkA9hnL76vu+C5X7uDQVeoVdOYEDmkzO/p5O1WCDydtJxiuvM/98eUHPH+A3XYJkxFMqLWlWBpvuOFIdd8yVH2+c+GrVKNqpNH2orXpUzJkQ0/gmQUSAnyURaNHGm8leMw3KJTTbwKkY/H7Ni8FX6tiDaPSGOxRw1kaW0VBG5PcY4Ja5cvF3nY3yRQf2EIDKHuopN6CD1bJ2LOHbxkGUL4byQCvGQsqhhT0J3kAInT8ySlS4/L3LDqPjOMnaOtVnGQzhZUEp3jSWluYqxSxkKbjWlHOHhRvCiUdwBnVJQ+R1NbNDPZxkG0cikS73Dj8IQ5jC19plAqXlL6CyMVgnPLpQ2AYYO7VdA6H671w7tf6chEi2/63NpawphaMeejGJRSef1dMjX+wxruHs06VHsrV6iQ+Syxh26u2yRGLuJh6qbjuKjSit8bQzT5E6SHPyjZDpSSB0SzClLWKRyzMuYwtIg03FU7Ec3yUyEiY54R35/jtYmXWlloYJNQ/jJ8SUey9qIoRiGnzNzpe4PAkETnm75CQltlEI0ud2lrfO+pB19TaMsuM+n9Y7FxjkYvGrzXKaC1eg86hSmjSqJIqLmWKVr87sk5NermAiTDTP7Kf+X6D8pZSocPrBkoStXmH21ODJaBXo+/EZb5ilImJI+5CWHzq9szOiDEQkrepWLvOSAyEPIvKgTysQf2OJPArY9dFrQRb+gP32UmItcAuMcXzaUaqiptgH27H+PdLcYr0ye8U8aFad6hzsdKehpic4g1rEzXOwsD36gKfsxqjm960RwbKEG9kUMwLUlAj9yEv0NPHTZ906S8/VrSBhiQMPunwSC/80A5krmeWs9LwNhjTp81EMQXRZonZPax1S/2wLTfNdUs3UP8EruxNIbeKwQsJbYrtL2RAuJrzTXzP6gpb1W8LxxkLe5aIrDcx0LyPjlncsed0r00ghAb0ediBTmkMXp1tcb/6SbFf8rV9Q2iaeSLTFgIp2cdwEvkq2MSip6OH5NpHgWrS/8YYuYtSu/1UO9CbuxdVYGRPKTPv0rXew1iOPnqltjYDvRhV0F62fzTr7mDW55CsjPvHzBXw0LovwQDhc1+dzUWnZj6c3YveUO4d1m1QpkvOaFSkUu/pUzE1oWJvtrxVk3LqSyPvtkXgfePNIsITs0Ay6xHoL+xacDb7f5Zng7yiTagcHxx/Es59sydrnvVn6nRgFI2FHwdAwcZkABFgOBeh2AhkwQDnU4Du2IUzTY5rolepglG0xkOl90mDI9cjZGLUt1su6BqTbvWA8n39ylFrRS70W9Ft19w7+u3Ae4fbtQVjB1XdLzHcDiJLHx4mcGouEUcSVMz6efBjnSNezqVfzwBhJkqgOjVrbTbcZDwPbxdkPBnd7SHpQ3/9XUG2MLtiAYGcxXESCxsAgwvPEW3Bzfi27eCwIGEjogCkRwp6jyTcfq/Ka9Iwn8TkOmXpyQswcXrbeZrcL1qUygTp9wO5PwmLYhWKBKRtYQPRcwtm2bUOlsaC8MfDD8p148l93QPt8gU0UFk/irVADMC/Pc8D+iDWvp+NVUthIHBM1QqHGYIb55SeyCabBviqeEwQzLA9364JQMSalYFEhhJ92WHF4iSiD8Go5cwfINzsCl2cdmxWqror7eKLqhE066tLOrn4cy2OOeyiZ9HiAJUW4w+V7PCmzy8UbnhnwTwXJs4selq4YOiZpLLb37eoGYUD13Wg7S0D/Fyv//yj79ndoMCj3hMCHHe+fTiYpig4jnVp9jmQWBoImgc5uylTZFkqba1Km3DL1I+QgURVbtMTp/H8yyuCkdCmOfBC/BrkU7h3tBbBwJ8zGwI8evOHK0qtsYOfDuxJVsUGbDoIDs/5wwb1O5s+RgLBeJhBWVvB08UhZwDUUWxqqh2QMFO5DMVmg9FsXh9KpW0Ntog1143FL8bMr+nBFq619oTcsOAwYUUeBOkdhyqgMdvfG4kr3bg3EZGpcwAogjox8F+nnOuh42jtNEVfhXUypj+JlmHa/mSEQQQ+okcV5Bi4cdcM8hgqyZVWK0Nr8hMJCp1EtHvVwRTYK9Q3LmdYu4sIHiJMUiy7YSJ3WjnKxDoe8wk6j+rRE55nz/UyqAnK7r+b7F7LS3m9zqr4mSLxAVuGBwaE8gWK/MbjIfiuA5Hb9/Yf4Y/fq7wCEqvGAJume/zwvHn4AtuDi+KqHgPRq4qFHiHEnNf7SbA1Dux7iGu7UAUxXM1FJe3mA+fX11NiFMjit783L8TsAag8QwvdggoIQExuoqqaHNRlYv2A4BF2psvY1xvGNGtEZfVInAaA1eOiJUxHjzLFHBf989wt+BVAXdwuyJXyG8htrRSNxMw+GAOsgOm+lfKxVxuqcGruIwAjKc2K1lWbazjvvxz7qZ0u/12XEynzdjBlvP/b6Nc765T4lmVhsYQlg0K62BpTBlcD9XA6nTTyw2fw66gNjbuHEWDCcx9T22TWx5Ye/hRbrgRKrBnjReMTH5NcJxYj9Bny1HsITJl7m/XvRLm8B1+CDfFGCg8Yk7BzgwYFweXf/wJZxPNCKqQ86lqDjAofXjsOVnwoAPiucB/mK/FDCyTeJdHQgm5Ti9HaRxkRgtM3cBXVrirBXcyRisj7UDGy10+Ui/LZCOBiCQvVco8McOGV86lyHnH4Jkx71FG3EDedcmZD8ZHkzq1c7ruvdzA2ZbkJVK/y9oPXk+c3+0S86SSNn4tM5lvGjWRmkm3+yU07ygQqOdRvyS2Udo1r05aLPjOoNbRSbCOwEpYp/Jyjf0vmrzb3gcCCLJz8PZ423DDWknKbV1r9RNLa5LVw8ju3DjbdYp7HqutrPIqR9JkfXf6gtKVakOkZZQ2sNg9AF+X//XKXWtejjl0UOkKIw2w4lTMRCR15bjiot8V3gKH+k/JFGR5Yp2Ri7BxAiRmZJV8lEL+BxUaLdibBYTYXzSY0cA7K4cfnjLN7j8bDRd1+O0g2g0bdjEsddw2MFMC/jQaIczPUCok9KRqOudwUfxZa49iB3+rqemNjibTNjF7wRq4qmfBUNoojSk8IKwdT95wB8ql2QRxLhbmMEUtjHDuf9sSSoxBhtJyVVxxwFSz5bpce7w+XUITAxS9BDSqVECGkKw0+iBjzSffDN5pUnU/2UV8ssZGVnEvp2uho0J183usbtZs/QQ0AOatquoUJ9YeX3Sr8owzbULL0qG1FwIv6JRxfcZB2wXvxJg2OFB0g05yMf5tup0nSxs2dykKks1e7VF0epdJtu14DrEp10iJzkNecbxCpyCqN6qoCCvMMdGJSi3w55OUdsXHa0YuMJWGLnHgpcboRf7Gd6CcXsmUul8zIQLo4bnnS5foVze9SbwjBW/Sp1uYFerJMn+tvs0AVJszXCeC+gjepp/tcXJebnM1hpLqYDg3NxyNyqDLTCw1gu2aj1vlygTAWupzW2xNX5s4TZRsVB5IQQF2kdRToJrJ0aci+yrcZ0FjvXhV5BFhwQcSskW+konXycjo3ylwnAsQLtQAf4da0GW02BXim8UIt47KcrALYueWa96cierKLUbDHDIvkjgVGpBKyKcp/VQSCxcBOgv+U0232irnWdKhPNm2ii3JXx8C8HrzviSQ0U1/g6dpQAbsehoa2kKBYx8gBrVlpF+hD4WkXjotoVRDsw8ID2XIOVTSChO3/Vvh+kg7lNlHiml8wbcxPzYON49V/JSAVP/Rz2O3NFQOOl4H5SnDvnwB/fhX0wgjcgWBORxjO8I2HVvhANghinvAlh4bmlvGwnWZw6ksXQBQbflTC9AzV/eUES3E6si87qtUv5ogIJNTUTrQSwkJoCa3b7UPoDNwq0Vxh4izyS+tVxpw0wKaLBs+YVcgP489FfvRn02yW4sZWGL2CTjKZr2YL/iNyVFImVpbL+5yU3R+kwfnHSu6zBlWtX+RaEhaNl10uDZBJgHu/Wi50TXQTe816TQVBFdm7twUHxe1HDw4oyri6oeslr7TYQlByj8s1V8KPI4EM20Y82Jjo3n2liwpAIXVI9ttyYyci5pXIyLqtLwK0YHERMn54Q8THcI+H++2DmN+qM62VvKGwaiS413R6gx/qLCVZN0BNUYryNYCk+5Z8zGgMFrEd3tD63ZAisQ6pwhjb/h+U5MCcz1YZBGr7oMC+JwzKc5HVHRZayvQE467Mqy1rREYm8Dt51alb64Lma9nGoyVTqO5s65qHYpAMZc3W+OgPZKvzojkZZyov2EF6WFA5SvoyEN9wtUZAKoRLedKustYCAhKo4SwR317b+ql3w2Cvprfe/d74+A51160vjSECEznILmeZeL0c0DqZHQLOp2yPMYZ6BnOGJtDmvsycmEDszwvoyx96mCOA+gjP5AxWkT7S/ecZWSeNwUHR9ug9hPWTQYSvDrjqKe01DJZDzvjsvBDBVVGHim0vd7gS1DjJvU/cH0fJOPnU7VTErTbQVM4SOHRcy7mMc0dpEB7ngBW7om61mHokP4hp+FyWIge0/5iATEbNrPtE9JFj36Vxv0esZZN49ndNDuqngHhiQeufOvh3cLX8b0gAID8gHgYYEPCyZbFBsRHtB9VA+ymT42xtzOr0N/dTAbvlz7ACJwd6V7+lel99c4tuWsE5g5a4LtEMjpWEY9yEApzbWKJ4GcFXIwFYY2/Z572STedfERWIXB6k7qtUuTQXmCS8P80P3M4afJDPjM8pgJycCvvme4bJ6QYKywHmTu7DJnMEnboRlLBchNqHey/qiXLroMjkUs1h+KHQs7hDQAC4VzdHOKYQmpdJh3nH+ojDJs0ZYBzs6pmq49xw974fTHEWFpIs86Hf1QJQAf0M3OCV3NmHvZW7Ibah8ARZJ4eqeAtKO7Qt2ieSu6aFK9+xHvBhKnsBuf408cNNF3TbUq6c2nFCkINJb8gSyiJ0ih8aykyjOyGVo4Ie3EImdB1OsZgo60dxwd6GN6X/xH8SROZTYZHAtaDU0wXKx3iiAedFRM4pfR0SLagvW2kFGissdceuVNFNQOijnv5a6DpYhJCskq+bBBrdjSghvDiupZ4IlgMI/b0o3JXG6XT2utj+j4N9Rro5Szq3QjKicAi6uRwOS2j14um7z0ZtIMx4IsdtkUB2XgjauLozYypqbkKrfPsyG2YDf7O2zhFJrb36HGz0YT/AcvtPxosixwnGBKRzJ4vi6DV9nBnpVOeM5ZfpFu1Smh9Dvn7eyfjIjORY7G4yislBFcKiG+oytgsUSeO9PkK0dQsEJjDn993nQYH0Vj0ykFNKNjcuoPgv8XsKEhVqrq7aMljYg6GbyrRa5XlUm3X9V7pU7yuJfLzuO9WMIxfTmaM7pDv081fFUhd6s1aGbVm9KQlzcrZAizMuoWOZtlzVhn0TLrcLPw6p+NgNB79oQ1UGLYTc5C14+rrOf5EYUaRSxxV9TkakT1wLi6eoUlU9IlbS1OSfdoA+m7y5/l5WEbGI7JYLORsw5W84jTlE9PeoupN3+hih2XX4xKIMhMw3jmczvwnt/4PmDpPfNiYx/MQS24cgVJH1eDxYcsPYukFDjQD1Ovfjf6mlsn98ArfD6BAfiLhKqpootnzkZbMU/bYXb1lgv7szFcWy/0CbOfo637uOfuc5x7BkhXxdIVpe0phVtzn2peac0c+HgLXVxqMZKM81e0RgrXHWeVT5xK19vWnHwvzlQV9HTevoY0wNJT/NZogdkkQ2BC3PhD2ZVoMypIsePI7fPlCiisV5i14GR86TX3qY1NwIO04LXMsEeBB4VEBACPt3RShu9Q7QiUOaT/a+e5XTkjmQs8cjjIkNebGZTxPDTajyW0cWNdYjDioTtIAIO8vYHAO4X5Zvv6b2Is4kuVQWiZINHN42VGo+wN97SvI5XEGfM5Rhtsa3nnbD9dvZ9A7Dd22zsnP8/Es1rvPuURz8/mQXi75ibRJuzAVNrRnwRrIDrJPfRbvRAu14wL21pLWNn/z3fBQI0W8bEHpOrsQF23MPs6TAyMCfDwvik27aMxAx6AC695lbUaAA5ye98VS7PNnRz3GHUR6FmYNTZbvJ8T2dMshuGU7g9oY4PNhhGiP0Hs8m/9AMw4gtAX4ZDal/XQ/1M+vJKEKwMN9rJF9CWCpDIsaMcj7YkYoGmXuR8DUjFGWSGUHRpzahsou19C8GOgl8+deHtod9F/Ga39MJWBR3tKMF3RXevm+KGmILoAfbUg76y8FJjNkqvCHW8/O1VDR3QSGEO9T7nNFdFXrOaJsPFGEVlhavTeE/u7pUuPRKtm85U6EU0aRtiEkgw64c8/R+NRKIs4iJi0jQugR41mzrG/ovk5NUl3RHUJjYRLDSGa3BIfmju4reReIdy/T/ieK/1a0/qJxccUqmM6x1+4Jz3rzaEjZyGu7eMq+tQKFVAPVEZFOO8mDuSilkJZgAVLN6jQXtXNQKhrSiFn1aD8QtC8Djn9uQoPQxU0VRvPHRY4oLbIxDT6f971KocZmva6p90QOVcUQ1NlCuSfa00XYAeGB/GD3dU+qec74lR7j5hK0030/+v5d5aH0qCiMf0hcR9SCxmC8wsPGAbJU5pc0H6wTiwyUKTZ3PWeJXvHI5wEBKexKhi8OsVRmHDEzrLrKqNzw+zYgRUkW3hHWZ+ni60Mr/zZUN2OZQk6VwFEQmYmUjkA6IaMrW2xN+8ac4Rlo3gYdY15UnZ7ySgk3UyUJnRAlcUvFYNglnMxfyYbqlJ0TKPtO6QBp5mOvEVfYuqqa6GxL4ikVHJEg6a1hHPi5racpywevtGterR02e6MD4MQ2AKXIcAOJEzdPPwFkzo5X75eStSYzNkiM/UspKt0OGcvp98DENG1SsoBJp1T58zZbS6nNIp3RGLkqUCbbTVqXOxju2/rkgzzgNQ5DZ1XIi5dNl+zLIUevyxToJx0uPEZbHWN5TtSBOHTR7/7TkNzQ7LSUbLBGdTBC0o5ZvND1Yuao6YZ5ONPzKxw1W7h8WTG9lw9hjULdu1vUc7FNCgclrr0W4vRjPC7VMbtLIEy+0lkr/MsCOF/Gh5Cr8xv4FliCl2P8eQVIa9MPOCBR6GmDSp1s4WdXiSPDi1QBWmw18L0brk5HMJB9VAOsm+YevdGwCwossIcOG3NPtDEEjXiJSK0tdhFK0qLJMVcT7LrZSUez/ILWP/aF1z99aDrixWHBP7HFuyCyFMK84jFAT2dr1FsVIah7ewBj1y+4wLNixeqDRGR2JGL7iJTaFatGI9E6E2K6TbrkOxZEkzjMQM009I9Tblai7ZtZ6K5kx2YEszx1jvRPhsbT4qYTKrpcsQkAaTKsbVun66oHndH4E7J8QRdPk4k46ahUAW0l+aCv1lUqgaqz6O+PbEFumP4kDstghCITZcsBJWMv2jfIjKgm/IzVEjSSCctpzaOQ3h3peBkRQLhTUF2u4KHRy9Tr20mlxB2u645tT+V8MMU54gPl2Umgf/UcOWMIvQXChvGX0Rh+UuO2vIzEcR7C4mWd1R/PcZ1ldYl8mdQFwc3AdnX8jhfO+wHz2MPLwdzuGEQFOm3kPHg/NQ2u/07WrbHBDbUas+31NcdrWkMxSM4ZFIgISYo9fGCyoAxPeuXwqp6gKQ0PESdPnKtX5AM72MLVu7mkd7y3sLkHD4B2ZSCDGU6U3wXWh4DX8UdPjWoC2g3ewYfBffBDoKUxV819+ptUQPoFWjPcMLoUFD1sS/XWS+pByKjUEkSQ4e9DrmwmkLMWnJW2io0LHXf4V8sA/3O0+fiC/yRPvsPta5NI+4v6a0DAEEm78Wm3HyYOobvv2gS2rMOBKLtE91X8bmhxsn9bzcooaiHZyieEumsnekOIuRROf+kDqOoAXprtsKr5xwgj73GxFzWWo77/4AinkNYCSh+sKAFbI+hCb3eRJX9Ry4xlQbhcxffndqapYJNxszSS5zWXpxY5IYY7iBqzs/ooBNmCQMmEgG9004g1y93xLJ6FDjC5CFWYMnui5dSbhdgiAy6iK3O/EyFApCZOTP2BWFlVtNiLdBtkbMRWfML1/HUCYz9pZ8CzXCeaEv4I2+ATCDr35yQ98O67510gPKp1VspNeOBqkncwToHCGNCqMzotg0gWpz/eJL80frr7GYG6ye9SwBY2qPzTKE73VirTMuzUhioITC78r0mJxbPg1NQYK/avgmpilx+auX05nA7SVNbKx6eiuEF9A9xNIu8lbUXYQ5dmglPJF+1wze7fm9yOyyJXGOxl2+pKV9crZPVv4rGjoAaFjjttbgocTgSc6GibJHc7mc4abkOILhCAbvDmf1R0Y3alsldAar92SPp/CV+6KwqjMfSE4QwUTXlBE1knDLJ8tIuTHFD4tP3MtNCLl7vbMYLaa4UeP2IuHFZ3AVVxT7ZXsKP5I60SP6gLmFqw1FZhoAwBqlDzxP3LyBE/IddXlDCInVxoAtMPN6fzC4Tb9yTqgNQKpRi/gtZ1n3CK9rFYZ26eF72FXEjYKP7JoaICm2DWR4IkcpBU+uqcdKygl/CJ57ZB6+4HZdgltfY6i/QCVmcp7cz5+ZAxRgWkq2ji8nz6aKc/FP2kwhtyjlWhq03wBJCQSWqgCmhWVFSMqUrt29MvDENsQxtg/77DqCqZlngjpYqYPmuINeead7Hh6S/SMdkFIcpsPH331Utv/2//IIaW80yCYfjQ6J+fYM+aFPlpHqWyHeyFcg5GDpzDEYeoabxB319L9ULqv3zkJeVK3heG7ynSOApIht8UtCR6Ek8YWgGq75MkAkxaXF43ojJNYNvQhd/FX9OvkoVybM2BT0A6eAO8ecgUOzthgWbQoW08siV2TX4+9BUzU27Fn7mNH2mnU+g0SZoL3HufqD2OboWe/dmg4W2z7/aI5ZoAPc917hB/cA1o5iL07lJBm2gafnLYRneFWYcLoblF1bJ6crwUvrC0Qlno2WxT/8TgjXbJeY+wcp6wUQ4MoT8kBII3gycrJrE4+W2JKHtdkqESNMB8WfMDeGYF9Q/ZA/QPv4nR83e51KOY3K2JlIbjXmrlEYkLajFOokahJudY3LRZIbduO4AQatujnmAm/31V1DoyE2pu4V/vfksH8mqanIk4+EwGSTzhjKs0w/aKY2L1mxtRsttDqVRG9BFoZcl9arMBHqVpKbBd1/rMoVxWQvVHyNrlTrA0xnqMTuCEOVal1wXu7+5c0pY175hi9cGpZjfZxdfpFpoDUr9PKWpPZRcPsYSSwJh5ebZobRGNesEd4K0KizJdOGebV5VKITG0yZvu0R+ekqQ9a3eKZIoxySPhslm08wW1TlZ6NgIkj/yDxK977XKLjIuJPyXi5HIjQ+p2gOrLe2NixIBO3vY0RJMbeKAu7/6UoiIyaoWEnvTzeZ1I63/HNunybDS9jd0LQT43L63w7gbiZi3ijozTbhHkMNU0lv7+YM18pCORhDCfURK6EEsSv4DcmLR9QP47+apKfK4tvlNvAToeSZvRBAZ4rAcIt4N0UGzNckzbETm/pFJ7HuMEH0EyYJBFGG/0izNv4UU58I6evxOHc3Xk540rQY46OxJ0FPZrYQ4rQRy5n3XjAIJjS5lKDgt32r2rQErDBo6hEf2VBfuMmyMCaAg/9LoQorQJ7YpeM6Bff0Qg3TAjf3FvRTlkrVsbS6DhC1pmBZ7MlSLJqo7cLbAtbF/OMXUkz43vWNBow2FIMLGxeOceP5Rh7EQdlml9uOnOv10ZaDqy7cTdvDds1fwLtVqIOPB9fu9A/89/ouYiBUpLJoYW8j2tXVhcMeJCrDejzoZg0vTKFVlHGuOaizv1VbAYG0A/EElvihNOrs50sP9KcugZF2fxYCvibui/7gyt2nk2DIW5UD5W9HtVt47CgV5Ultp+stVRAtkX40YsTqPpVYO4BycHtKu21q9yw5yCGSqYnXdUev/1tnj8zVaRmamdxHW29tr8YjhnO+YEur53qmHg7NL/D8O5ENMgY6Tiaa0y2VAn1/HUlI3QMYFVb3m3BfIJJKyc+Kv8ZJpupHv+C0k+ey4K5B1NDRSrYRmhPOpg67EDVmRssGrjGdoYupvIheA8CdG90k30pLvWjiRh8aKBETsn6SNWwmk75sUzPvEFy/6kejbMJabXon0uY4QPb16kiOJzs6POrrSIfghbkEv41EqJfIN61QECEcEqmDBs0OCDnWxOMtOw3GOx7UV+9freY283elu/zgAPPYKbSQttYzgUNkTMrSJxvwTqwCLXl68rJxphy3QsN+xDsPFRwvT7uT9fT8ODoSZZHbD6gBAKnQneRSf4eKhe0vwyJrMP9i0wv7QOdfuShYCda2uTDKRsIs+7VIJSAPgTDT1ljchcxe6ESRrKjMO5bawIeh3PgvdFwiMOrJmdy3se2r5jKS1O50KvpDRLsWz7Pi89gQy4qglRpjBW+U7Aj1vHIbYB5co1mccA28qB9NSnu0sOb8i5AAMbo95PRnMfiJCxb2j16hkBp4qkKqO2KH06ktrOYvums3yx4+yEbaKzLubioAwZZJnTzYV6Uck3TZD+THzeL/NWrb8dRRkn3lWVHF6h9yOrW3rDbXi+c/+dO4TcYetSlTsSLJ6MBnRXcPdUJqtbsVYfqWCMTIblMsVRGeVF5nqZn1odSbwa5Z4g6h+6rAnLfOHzj+66ZmKyLpykvJJ7hnZGu4p5wun1kl9WXvkyRcJg+1FMXG51+p2PgscrqNu5bIPk8mQeQXqfjVG1vt3SNVQISGAa28XjDhnbodk8ny7RGJWNBdRm0ANezy4eVXONhnn35+k0WM4mcvL1VhedxH2EF8MZj40F94xRM7L0yjju9MkxTzzlKpGbWFS6L0zTrNN/Gn6F2sSkT2IDWSQOCC+lp7U1+njXBFV5LvpMTYo59kxZEjmIdborFllucnuCW/PXJauCz7jeEuIy7FSqsWSnmLapy8Rnb2lt8AI2EEhJUzzbngFsLskVPaT+Wps2hfpkR4eol5fBtdMg6pBMEYAIY2kW8cyVQKnXP1yH7eg6bopNKcxjsiOdKVdMv+ggUfJCHRf7dSmi57F+uQpQX+t2W9QPKQgxHBKYUa5pkex1OFSgyHZ7YbIfl7Z/nK7cx3XnVH2hjY2J6REEFn8zorbofG+XDT7Fi3hPcYLcy2QwaSaaBB2/vVxzBuMc+awwPYabb3ZZCKJYq2B+UEpJDT26ZxIoBB/rpasrWvi+qZmjX50d9ISsq+6s4SIcZeSe/FshSxgaCDqRNLUhzbOhv0J7n5GW/VpSyzNKDmjw6zRfWvJ3dthvcpL9/JBOtx03gr7xhgkmJd7QoXKEnRyxwgg+Q+De9aKDMr0P9U0nqL19IdauvCbqc9rH0mfGWGvHd0yeY2Gzg+KK/e4VNG8zmuK7cQU3pmU27a+C2L76pHBzp6Vj7vwZykdT7sdjh+SL+kxVZffJYIM10akQtKztvRfXLliKLj1kbw39H2h0nyQsTGtAffdc/lsUY8Zy8EvRx2R/v8wmxlfbQfTVvM6CPccYwIYtNIiQG4sAR0DA8puZtps/7fKGHB+aXIq81UHTVEFAu2wPAWyl98CpildKZXxHwD3fYZJBbKybsHLzh4wy0+lfeYHXFHDoIGNEoeGWjQNdYEP6EaL88Ysjm23BiK/JgA3oqywDfR0QkYLhbz02HSfrc2jQGjH4sKQCA7/wE998oOFPlpaDGZ0Wwxt8zLl9Q6at5B0wdzwlvYVFG9V0ahKW6WjXTEmGgiLZG/II10m7wYa3mt7f2AGjabf0FgWxCE4Kf5CAesWElt6P/Nsdsjvec+bdOdAri6y/HvpF+uAvVszkRFg/KbwCJzDzaZ/QHflW6waQC6Mg0i7F4T1FB9pkZluzgKb5hKX1M7yFVdoYnafZW0lT1ufskEmzgqopxOWD6dqibjOIGXsYmUeVnuvuhJmWrvRJqNt9DqsoJMPuAc8vmZ36ztUybycnLIh/QzNxcbK7naj2Y5vYkxPHSaJF+21nnDtZXO1WPpcHZjg3kdYG7za0Gs06o7Rc1T+nNQTDJt6keKbp3gLc28Bz4YJC+k6uxA8LdQrVjU9gLulDcGtuY/9SBjyVL3V1F6eHje8a6Sz8vOQdn+fxvKZ0rLpjVTJA8PQZX7uZ9D4G5ls7zlzH4q8xtSQz+10Umt5+R18ftOxSXI6f84wsu/oAE182PMr0ir1PsEk+4zcNqwAM3PF6vtsITXJtGK+hkzXVHP9+2MvN0G7ZIXkukRoHgIB4z6c0vyURyrZi/GE6H/5eRsnabMXrTyZ+jMZcuPhiMe/gZn/ONBLjMGEwFTVgpSWxGe2HwmUwca8iR3n6T84CpWB6tEk6Mz7qJffTo6NEU2YUptDEPH75UMdeNLq3XKBZ0HIfh9xrv7KRpz0c5l1wrkYJpdei76/XvXi6uh61EZO423bHnfALbkecylP91qQR2y+SOmGm9uDgzHNrlpLsnMxsNKq5ouHoLAwUowf46YAQCAjqiLhG3d3y+8EdNxCqV+mMINuwYuhNGyTRnGHWXp6Y+QzhiEj5C/w6UWEb7dCj21Q+fktghLY2SrsLH4WEpqg8ON10CrW44I1Bnvck/msSaQ9uqt/uOmMuuW7JIUF6B+iJOx/7CwVV3DsLNhub+IICPkJriitkDKIYP3nRYXwXmUVG4ts2u9O1hdOcl5VTOW11OtgAFYfVJhgK7nz03ErDXH3/jjKZG/+quN3U1Kv6JVHNgjwTv1ImkjU4OKn0l/MOsj3283A8tW4KVZtRaAbxX1B3KIxY462Ec3N05ur2fN2XEYFqM4dy7AbT4twaC8yEZ2ZkmiW4PJeQSIsSJCrztPdQqLdSZWO4BL6uQNM3mUd9lHWNUitylEOfqg8CX/Cp0nwe1WERZFnxvoF2ag4wHM0OFtEUUSKhrnzGOa6XQz8O2V4sBhubW+2HQRDqRnoYQuJhjj/9aBNexLJsv99GsUC2BwydDdRFo9t1eLGhIhN/MPXxWp63EYoxNk/p4f7iKLitSqJV0Wx4zkCqWcsU2jzM+GkvixSCFTPNbJEJJmXRJWhsVDD4twvAXc9HBw047jB1/yip0qpXff7B42IPXnsDiHZu5ikETHi7J9mSGH+EVTxhqTQ23RiGpl7gQvvJxgaWnZ+IoDgVqpDmBmLDoUpjW102+TAoyw6xTSx+4wN/1BU7KXtN7brSdm5kdfJDnBS8hRmtI3zRpVYfmcPegxOXe4k4bYg91sPfYG6l/inKQVhHkb2+TISceOaRa2x7GHQkYVfxybwHdIM6B4UwAVxmR/oBnlzChdRnh8a3RLQnu7bnWxXbMmT6TBpnrCoCuFeCX9ni5Ik7NNAYp+s6wnCPKFvUUigdaJUk+YY3VhGGSGNsxHWGt0Q9zWm7MTHRhqPc+4vx/njNF9eR6YZnT0Uoq+XlgzSywKIuTYNWPPcUf40h15UHtMwHCboGxYaSHzxqm93lOaYJbLSmGao/N49yBwMHMlymzvuDkMKElTn/V8RmBPZyuZkBKqv6LitT3IVGUenPtkHMt5xEXbxhswDMGjRNuTmU71wPPKPUUKAHy0MuAy0RlU7qDX31kzerGVn93epscCOWbFoXM4bcx1gyCfTd6NYKOQBOnRY+3FPWVg7ArbPx5J7duhg7nQtZE2VmoeA3pNgw0/QIeSAwJlCpiMwNtP02KTZGXkzqdmE83rldrrFIlohG+ozg+cljowZRpXFwT8ZiA3NUhdNsAc6hokTRSfeWkMm5mZaNzpZZHvdAo/13eKncbMI8B5HFFXA7kVPWo/2oVPCpcT5/rqiy5zIGQV/SZEm3MsQrxrciaaVCCXtOpl6JwHOjhJnuC55rIFTCGso7cwHUXVwqKGR8oSNL9M/HFGnlne6UH9bKwrxARsJl4wODj958m6O/z6S+7cCMTS2vm2Y/qUX9c7ogNPzncvr7/Uif82MhazsSfzpVw/lBTn+Hbvp3jKD0u6usE8Y1t0MGhYkDoZJL+B3o1B8keIvBQj3dPKv5mpUgyunWlZLKX+sdL0ZF71gNGp0MPXEqBYJPqr1zcRTuLNUgpyA02kt3tHUoh1eYieqV6HAXKAodG77243LP2F9i11h6xkTf2XuAJJ4qR7DBoXmb7mups89x1J5O5759B4UNkL1IrFASAOrgbfD0sde7zAG/npaJlPeAC+4+q38s/GvNRSHRxab3QNdYoyUase489qzN0JnKMf6FNGj9Ku5v+XdZX5je5NjxTmvL+hT94gaSizjyDCJKtOwk34P/jPeVMAur21ERZPLvUkgKiLM8jb0La1+RhF9ANDmBfOzUp62JIlBJbmzeBQGVjbWiKrkLkDzAP3hBZwu6Et+wAhf/LeKRWPDF0SuxzNQ5iJbZCZqSIQPRQCcEoIWHBleS8C6MGb0EVVpQs090M+pLp88dp3/Y61xjW4sFED079lEAxDKUc7aw2P21f/Q9CoPkdsfY0OD5mRXgzCF82PF6aDcAtm98SOWZYFvOjlE0Cwp4g+ejLxREiP0QuprUqh+qeedt8/0KHlqw+C8FkzS5A/kHZ6kMeeBTO/KVhedGcsDp8KUel28zY+HUGQOCJDpPIVWlc0UhGxy6pbeTgC5raJ98SW758IiAxUf9yqnmYPu+2/Ys8jV1/mkFC0Egi3gFgu/MlRxtbEfoiqV+LSqYxBRVE0SyuJE9sz5IwRuXynyQ3/IRJrghTnfOQcL3aNaOXvrmWbIs00hf1QQieQe7RCAHx5MfN0Ctl7G0BWcOuU9m7vWkTDF+BsgYjKwQXvT5PPiJ5VA/ANngV7LEV9OU7ZJoFh30lwhfxnOLygS7IPUTlPE2wNwl22y2sZah1q46X5xcWxc2hrlxnSTVvsDeO6HWlOr9LGZ+FTSCCiuxHWQkIJcM5y6xBP7gM4BvmEtN1+ahvJC/hHIvIfgRqaqC4GNafyc/bSnqR9YJVWeZgjTpkdYsnPI29fJKeQOEDT5r3ZclYwW7JcK37N1Z+qEZ1Jgu1NhcG6GS0G4+LQgkw78/nim/DqH0AOafvwAxpZ7GxlWhyyMmVZwIF460lnI8UReJXYDr9t5tUIr1pMANjg34MoT9ge6EKGGNSL1CZng75b8qKaWxH71CEFL4+S0QNvPcZbXKLmrql+uwItsxf0YPkj+tg78dlQ7Zv/dMImmLpP0VnsOmdopE4xMOHZYfCIn9gg1LUeZ235aUcN3nLYZMYwTzkAYjfoePJxYILMyhWU7eFze4w5yfakJlQZ754Y8T9DileUgo+WSopFlkHVJxq2gJ1e1Mg8qF0evMinU0FwozxvpGgt/WbOY+D7OPBbSIrjU4AvMdwo/w4TQXAs4JfgKVgN+vqoE08aQgZdaoUldUuosH9fBuagboUW6af8iaW5+QjVvmNtyiDqX7+brHQ8VleYLoe573LNw1NOHOgHofVd02DEZtgtMTRUaqpT0XIa6jdb2LcxtfrLnpWovi4atOkiKHonf+AL/9mKsk5aEPLxg8qGuv0Utc6FPdYgxUifeaRXnNvoCIhEV/OgB3C9WTh4D9GjYwgO0yfMb9upc7Wd7EJIj2/QxHMzI0TznGWhrqJF2AtSPq4hcjxZBld+ylBTByxrEY84ogLc1S/z30RTdlhGBBRAzVYr15dBYvaIv8JV1hdf5SEloa7jCHbQv19yfR52xyvxzwyo0vLWgxGEbb2nAUKioKpEuGqTv9atF8n7Nyj+dBXk6MecwhqnCQ4IHRo3W/0ujhB8VisXVNuiOSqjuw8x9crJtJqMYL3SBopstvJ0ysvCaLrVAGqqnEgerJ9XI4PNJ/uePhv5aJAIYPOuZaLmJbgxth1NvT931/JXVYwB1AM0Lk09FPIjqgHEjwFlrPEb5+QfLwl0t97wemRwCL+cU8LTdiYiBrip3jFB/HRzfLA10ldAyc2k7PskmdUNU0QruyH5UCNfySQpQDf0dzndWOTU9Xi+oMlU/CeacSujDNx4NGk+0axwTxn4O1ZbPRFja0Y0qZihHqwisyDfs3NVDcPdTTfv5Ly7PL09uIu8pHzsOmsmMOwsByzHvS9/zhjYhEEKG8RQtZ6NB5eRjUba5+9m3VpNJQUrejfOzr3JWXVuefkXI9i5GuTgkgNf9nTCtUivMzWUn/anR4oCRK13qiRcgOMcTQs955Os+ETQRs/EtgViXLj/l8UDIKZejWesZhlB41V06NcsK+35Y4TI4dFucayuyeiRAdXbgeQdDcqQzAnUt0irPSrJ+PELXdj5gly3ppmVl/adEayHOuAVQtgPIpzoklz6cMpjexlqtelqsg0OljJeyLPxRRTSmPgLyH6etdqydnCjlgpnx9homixNu5vqJhIwfaBJS80pdV1CeL94KWxWUWOPVikGs5z2U5Uchlkx7OFTJjhLHuES7T3/hOahIN8IokQ/lrXXYsHXEXFcBpxzGuUdZZvdavQXtmPR8CT7FTiFJ9/eQxps9bxNFiEtNlncn1XFGuQ7s6mrbIb9/If2WtVVpGy4VcdUkaEVGOd/ngWm9XHwy9uVLzhzAxaB4jgjLO1PfK+qWRSUJNuQbwxhBVOmFbzR1SZLXy9ov/nli6i3I6+otEvrhrq/EYOId8QzInKBosetflsIS4BeMuYaHRoSV4M6jXqsUZ3xie+Z1exReLLLBcjpTHo4aSrCl4pUoM2srHsHxrPJPKqmn8WsOIpIc1tGIs8rcBGeYVmfp0IjABV61OafTM/iP2aaOsA6XE6fW2eqTO/HnYO9jaaYe5zksMdpq9C0V1sNv0j9CClXyd5NHqU+sa0Z7RY7dr9UgW+mGzBqdJsUM3OC71A5KjeaB5sJYSYGu2+pEC95YF522WQCoZ3umyCbTzaxNxu1KmP3HZY+AZB9ywD3D3RxrfxGi/8EWxaBVTzv1KYRrdR+V6Rq//qyXFeLBHV71UmaNR8rpAnlitrB08xZ+R4EATppnbcvwf+Hq94TBbe1PUwbb7Bian3h+MrJMVrPB1iF4fs0bo5+ADSfaJZoSUp3PPFbCCFlB6CCxBV7eRzNdpHpAfwHBssguaNgyAEAGyD0ZztyVNAILMZtF5npOQWGi+aDFVaAsCwJOPM38ugKrTuthTuekKqKQwJ/5kxZUhjxMiC/PoKrHJH4GA3FulMeyPWbImiG2mn/agusu5Mwyd8YFGV8Ibd1EGue758C8M51qC6QSstatNHxmQaBjDMEy/+9p/SScH/edis06vPGpBIfmIo5lpSXnrEhcrR5XkIFOVm07YVqrbcZPS5yf7LPaEAYIxE847tX7G1oTgINQSJdrLZR8zrxwwTOKRFleGbWxUBt9c8PC9TT1cVG4xEvmkbAPo6hdwczENC21szkM4gaMNRk69ViF0f9/8gksObTGpFKwTGuezR10P4sOI6yb7pxWfS8vOPNnpQdcH9dpClcU1YoD0YZPzLxuqimnmtOVIVkfeqGqdMknyn6FFqlLZLOQvcxrnvnL9/YBEPzkFHEAOQlvj8QHI+m2T+7nDzxXljtz5E/aICPGGTqbRAWHHFLJu84WnSfYa72I9/xw2pqHYYzMHk+6tccHD1rPDfl1n/U6iFc+ortOzZR07tz7tZ42u8MkUz7P83ezFOh1GifVJCuiQx4PpfTj0+QEtXqDqZDqLgEy41m6RaUuSRq3IGDLbHW16Trtb2QYa5eOlVEKvHk2ipDOjNHXyCdc2ifMxYNgS8SEsmx3lfe3z3WMgzk4TVaxBvigVjbzMlXNaGGHJeaAjjBO7+JfnTpU8MI5csdHqWN4NjA8sA+dRh8IohQwviAKmNphYfxCA+i1AOZFMArvI93EO7yDLGFthg6tpMWJyguSAyboOTwu8RaUVWZbdN7vyDxNyxkn+3qZjSbIXUNtjdL5/+nULVseU/Ugh4gO3gy4x94T+MUKtyRXK7GN71hL2UoCf/OMAuyVVxfdYOyNtJapLsE16qQzJqXAQlNlwkJy32KbX2Af8rucaftJBn02bo0vtdxZlcAun0q+oe0hIC2lIzFUfsMzy1PQSHKXYEJL7D3swg4boq8x20Mv7fjpGZZjik+b/XGbZ1GuDZ0NreG+746Z7CXcQmUOaKgvS8mAV4uIxwEGtsZ1eXfptE9xznzE5jgVtSLJGqljCr9A4H7wBRt9rrMbKpkacHkma1NbFX/ELi52fWksBDy7iQMqL+LnistgX5hJE6WoDl01WrhZZGCNIuDV7aNAf9amUHChUjUMVSxq/tLqD6fBGIIib5cH0xojpZQMDK3HH9yx+hq0bmaLhDfo/ZdQfIJvaD27wdsXzk+SMoTXuOrz0/sVVLo9JFn5AEiB/mhcgxbEAwNcz/Ye25Rc+IrGHEf+5B0zGFI9Qz9+VV5hSlvet4LLpsofQhzSYN3Hk7X2r5fCAXTJ4bsT+AG/JvPOWNLr72huNKRpoZYGQBjYQYuH7ShDjGvcBZ3SkC0d173PgN/OliZI2/0e2Dz94w2h8UIlHpMF/eUwuyWP4r17sYY8w7Cc8P26of+40YOXWzLsEQC/f2Pi5hj9BfSFnC1vjKz3qcC5P1FC9ga+JNWllJ4CKQagAt1rDcJBaplPo5eEOgTiFyYGOKxqh/+I69gXStrMTdoA1PecBOUOvsNZhYcvsXM3n7nK6/armM6416XZHN96O37k2cp6+glnPeOkRC5DFlPlvO4wPxlLVy22oHF1NZe1CuOS/JA7lgt/0eZxWbkirMa9VcRcEEKES0ILWMvxoj4P6WIoiqXME0r/LMmd3ljXQATKUWNWSMTpl1zPL6NSXy4HkNAlqtF+OxY9BHfaoHMzls2hqud0CvqS5TL8XFwfnvvRzcTAOX79TA7+EQovbo0F+KuikqnimhgvEirmDeqFLewe7dnzNDma56WQyRGxKwP/OfD1RD1MZDsmZkiMXgR2uiFNvzKLgS27AkZcFox+f6pCaf3BK79hl4b37Hi4ZFCmBqBfsYJf2L3EXenBJZqo9VTlMK1lOcSsRrImTOYrJB07dami7zyr/xYQuMawUtboJPEzm9T87zl9eMc+KRQFOXbwwqs20euwAqiHNQDatOfIaSa/HbEZxNu87YkLMIWqT1Ppbe8XEhfLA76ZfyJMjhOv2es0WAthpQ4Kp376APLL89ND+ZcD2tkISVDRW7dAcTgHO9RYvWSP351JRgLM1UjKjnDkhC4G11CLEnjwNxdpRZeZM3jmL81dxIgYDJ4gE2d80X/oudmWKVPzxXK0zJTY0Ucac8G3FD5lTQhBVT8Mmm0hPjSt6kf1MmDIRb4T/pheMHCNfL1kPsdo832SHyRkJ7SPkGlQ+x93AunTyyf57ssdnhNMZ44+B+e/m8vVuZZHWObYMIjq0rpXWXiEUKcKJKdmTOHa7Rq3oE//kLTVBk8WvaCUOi9hxFCGOxhIrseUD34PonMPIMIbSvgc5iRBJOOF3zyLcSOIcHaxBfmOelf5nDNIWMqr4vPPmQQs8Zq9iTxCTu95FzXKNGQQEfLx/JPaQdD6X9vh05zHwBGcykkRkcVPNx8xCDiDhZcxX3McyjZ+44SQ8EehwMkH7wOkaS/AbmQ3+RjD51Hbjjtg/lZcdAi+Gz+iS7411vmZmYFoa08CwAbBRUfjZuJ23wPN5Ax1D/ZKKZ2YxhOYGoLz/TKrHbu9vqrTWlBv4JwZRKMxDg+nnuBByoj9EDNMmKeaoTvchIiPiByV1UNPc9u/QaJnccsyTsTGbgJbefKg56sxKXc1YlgDiwY33ip4yj1UF53c12ZUWRdOEOhrymYMAAGe7k0o87gz7kqCuoCtVi6/p7kRjPcT+zaL/G3bhgEqTeFiwL/DjbQ/CM59Id3j+/KvtRJy+bTEzRX3fhu4AKj8dQAPmhBES12zb776up5006IJ09yE5mvBYEpeXqWWCg2tJne2dY2YESLwc38Ckm05lFLNzutdbcB9iemkakKkCTr5y+zMvDgWrgY8uwrGZD41z7rG+9bLTOg3cMQJi/U9xUcr0S9lSWdKpa1eh56oDo+CHjgrnZ+VkUWnNpxOGt0wM+ArojHtKWjASTV00HVkTuBM7VRLI68pxlY3XbtOjS+3v4luPLR8ZWjF4nezA8/jtHFLZMhX7qroHkRGbPtu1vYvcqiGngty9I0DmGisHjei8Bby4Veku3iYvlXCgybwReO63ZhImkJrztR7AY1jAhDNBK+sqAx5Vn3FQ04m+IJgFSLWDX0zmSBH3WlBGDwyh/BJZhJY4jiOv6SA3m1qXQuo6s4+i6339NVKx6bt7LLRWAN4+KLGxkgX3XJ0SwNyq2e3FI4Rjmhro6t95Y49jocaUXBG1d6ONfoRX1Qm/h61T79ct9dfKjWJ6gVOofVhPHnLoR/QrSwY8dKc75zFLdu36zLLsmvM6kHR7y3hayRywQ1WQ6pWmFSh0Sj0nr1xqD77u+X8A88Ofqv+4e50T4fUYUebFvetCNk8ODcOe+NccsgrwqTEyn+VpLXN/hinO1zvpjjPaW3h9OfbZr7ROuk6mACfqNlnHU9FEIaApt7PnvJM7cl8yygqePuV0totbPvVZnmXzXIqxJ3KUd4Kxrbi9ILc1+388DlfbB9UTM3heIHuMaR9BDc3CLmiqd8SOB2o4DoQGvXpUzLKDz0RoqIQQSy1pyb5WKjFNz2dw5jBaN+/P3skAOvI21H/heY0iPopLdQc6ZEKXm9CFJ3iyR1fkl7qTx33p7T78jygzgs0y0IvXp/B6Umabb2xgrpNCgBf5b3QAxg2L9K+jsjbly4KYF8bQn5eigxGLrIg+JvfVnuzIkJrtHbtVmyjmY/VSam6khakK72uFv42T5/4M1m8O7HPv2zusixMKNB+b2g9DvF5QPeazJsl0+oEB0iUE18UwQq/8GTUiTfoa9QcXJ+kJR8uAExgNQUMs7PMg+t/I0huvcaZnrwnS8FwcnLQeIZtGapHd/hNdFKcoWzAWdfOuuqoEIYeo1BhollqIhJochUZ/XH55mBXYrj6Nzc++QF5wTkQkqmB89pCLuDQFS3QCnLpZ7OLMcYR/0wAuAd1+M9qEj1zTyIwQC/YHXsuqkvF87ZzIAD8E2T85ViXacG06Dp+vwqODAM38PEo6LLkvZ2LJiBLAH9O3g4VNxOgGgnZodcDe+LG/b5cSLzHAGJ7YJJS2a+aE0u2RIWWgxRfWpEluqvyw6ZGIyCGEmZ33rUU0T0lK0+ng3vjmPdyb1qPvaT3GiEKISA7y8Rl5yuq2OeIlZgTTfJ6Bn2241vxKayQWVhUCDryrgkkg7tYJs5ZNmYJiJd0msJjBDV4IKbGBkiYVR6pHZfQKEQzexQD9plruF2efOJctoXpWHE41JjaWgbMNsrEaSmUnUgY+XMEKYIhvOq1p/6ojknbsSOAdMOhzHu4I5NUB/fzCDYartTqSBMOM0TIcIDdakwwG4D+HYFyg/cvmXlZHL9Ew2dQhz7Xb8VO5uOB69jRsD3hYUP7se2tKjBVA08iKSXg89cHTmFCoL72Gb1rSRwj6cBn+T7+SFGs9QW7XM1d4Gf4eICWLdJw/mgfUFNraWZ4YqGuK/WHd3kOP60fMewKLT/TAx/gAXm6sscb5ycMGZyNT5wgjYnazXghKLiiqEBgytYdtNwQh67xk6tBVAjotiTxRsIcLDJLhcN0ys47n11vcHGGPPv37wOaJkrscBPV8cKwh98Q1pVH6Q2hlArsVTpuliLwOgl/Ss8+p/J0mM1CzmFeipoYpMZgA1VvcdQxUw0DdRlHSZSvyMt3ot4GvzIP9RmWTnxJh1/oe4ZKmLEY+yIrodHmiMAqvK0TlukD4N1wGFpcHlYVfaCjWijQMrsyBpLg++AVYcsI4WQGMzq1gcTlR+gvp/YYQk7MzsYeFMhGjssrmg2TQhhrjRK8r3D1Qo1bHeoUyMtXSpGIac06yzq9hcqJHo6p6pLP4I/dLU+C1ZawZhy/hK2aTbSPctToQrHzYVRpGfg8h7KFy7yZt4KbYIf6g820+yxD8p0B9rXU9z9hha6/G9o8wg0OUgSCw8SdalYuk1+H3xmAlywDVlRTc0I8krDt29cMX9mEoekrwmVSXsQ7NQwdUMpOVZg4K7WQeNRtzYf/4c1mJd6DJ713ztwYq+j3LjoTj3eRwYl7cBbsd2yhRT0G/GX3+yqWfE3VaZ0wfcQN6gGfjepFMo8GSMnaDamYyX84tGDpL+oJTQ7AVWBczSlBJTm3sXHV8gAkV0xbhonHKIk4bs2QYPTNwnufG5X1wwnWM+5uzJHyDHV9mJdti5BCHJgCNtcvhKGusNjiK6dT6FWAoHhcL5x+XunHsiQXZ5F8lSIG9mxTuutgQ33d7BCPzPWjq7DTf1jzFVyj42jUK5dZq31MMPhN6GORuh6ck2imjEKLcZyPdQ5VlAa04IyI8c3UmhYQv0bSCkMdPLrgBmyU1uji16740mKCOZ/pu371vkGHyqBt9jp9ItgSRwcjZfnrjr0Huu759NRC36J/yf02qO0z7WBPxS3zT2R2VBLxVvcxXwP8G1m0ATlV3ow+DFh+wJN2rj4bsUs30ed0gQdtkxkvNAYD7nlUXaiHGnY9Qo+MeZCT4Qws3+CzG4EXoeKtuLe5NcnfboNFU4sl/hsJDxRFJwc3UOR5Mjt2t0oOUHvgLXrezpaAy0I86AxakjkSGmgGGYFjWq+H/HLaa0cg3n5bK5yDYiPdcfYhDtXvKGvpdhyAGTknCWNYHETY6tu3cqBOHc9sOEmnBpH5L3OrbjPOhBQP06HWsRdIxgebVh75zAhsSfnoErXA7q5zz3skT1I8GavmR4O1/dUU9Wtj0WBUK9Qf5AiNx8FPgz7bDmPXtPYKjgzjx4HdD8MOxdDTfXHqvIiYFX2kxUcMXgmuxGUseFnuoQkvEI/FmBMrBELXpfl8m5ZPNeykl5P7Q8eRl+K/RRu/fH+Q07xWSry6Lb5odgylJbv6/YRWU414j7nzdFcTBR7xTGVfi3/m+z/syC2yTxbw/J2nz2XZltmpq+SA5HGrqxy5/mwLSf7gTxJEAeZPOawr7sORlXdkJKKItWJ5OSuzpIzCeIdA50QkguWZKALKLKFxGtlqPHAUB89M8wVPbNC9YHkcLu/NZrqQIOpM9IM2r9rmeFzikiWxRosDlFat5QxGIZoSFQHR8qTzkbDDvFevSITrfCEFEAppy5aVubf3+zAyMFWndRC8iBADASTyhnfHkXnuTB4/b1HYoogxsWKRiauKTkgOt6iEjChKAaRFRIKZ7JzqFYg3s5elIrdXNnzxsJxFAwIryQCpcYy80RJencBHOTXIOEHJqjCR/lRl/Z/Kv8L6NP0c1+mdHnr+BQj/mI/2If4A7e66p9ER373rW+cQnD9USz2oSQFDrQwfHjpdVAQnVxTOjT7Afb43TLMsZTTj5urOy/6TS68pOhhk2h+Ng06JJ+m4BwDg0PifedhLOAx8Qsl5AIq04p+JDuFM8X3RFv/841u7xzcBjNECQFLqSKHmD8GR7gE/TxLYJ3ANpo3h/GD1I+ucAx7qhSB7Q6BSA9l11QCm7uOOu23PGljLBl6mbK6C8S/FHp8zC6Wtc9kAvcY2znqiFqO47X+akLj35ELM5E6DeNP73M+Z3q7QBQQ3LzGEa+JglVBro1oEGA3xMSt0ZrSZ2Y3PoCTAW5HGq37+L/iBIpCXV8gShI6wHZrBvHCv84x4vUEi3w0EIFJkbK6hRic+TWPCB+SG7To2UwTCObi+LAAI5rFz238bkG1FoHHhQsJ7jiC31cFXJb4rwSN9QCB/kBnkTy5krlVxcYWeScVfvl5hDIjEvq4DmmhX7wdnyAecDSA2rzPsfp0VLROIj3geaFrW2qSN65R4BEAPfDh62hy9/zUDPbVuufy6H4mIspmkiluA3tXg20m0nmowig7uzZK6h9C6KckaqKOjXxoDIixCNFZ7i83Hl8HwKs6Pyz6v7bv74CsWapWGtlOkjivt3acnQCsLlU7Ji2Z+vGIqYF2pZDnYUHhLqJjUE2Tubkpktesc4henph3SZqTNSi+dBQHxzWdbjvfco9PCNI7LWaGAhojwCSM6xd1eXWwoHxae3wJrRQX8o+QO3JrTfRGuTLvU8M55/otOuMNmuHwKno2IgVxa7jJ2qPCApMjyyv0uIjJYcSf6oWUJBG4Nu1oRoHUdwU3hK0CURtihITfDmYcu7zZmTcCm007c0mYdb/9luSgc9nCp4CCymSaKaEVXVQjHdJJbCKv5QOi6Ut+p8rDz2iplM0jEESwWgu2n29M+Puwjtt3E0J+xTOx31VransXZhgNyWh+1+O+uP4q7n5P8jtnopmFjauwy/809r4sCUhErnH0S1zM+ChbknAGkjPIO8M5ik0kfL29FtNeP2CRmSFMS59FuZ1l8BBKBS57Rc21734hwmQ3M0MWHTPq4ZQBCUtC4MLNqm+v0j5lSz51hi1JcJVvKJug4KTDRUu+JVYA5pcle0sbfu799cUdV+7m8nSoVlkjYpwfqfDkkflAiVhmxlSNES4e4rWs//PxnOZL+yMlgI0EBRGezyNtGZ1JUUWxzJk24PGthciKLhdmK9zp+ujQG+BXzh5ov4xiUQ7j3O60hXD3CvJhRMZ4mhbpihyv+u8KwkWlbGgu+a00khaxI7L4ntlXlvxtjsx08APpAPs236VjnJdcPrsLdX2O20y77Fo5hsQvovqR4YPW5GnKS+yOPQvD6HmOV8kRfL950z2TrBs8J/u6Muq15ir/a7CDWli3OlzETeK9gCOk2YAr2nUxjygn72O3RQ9yNu9CGB7zeZWeBQNhTiwkzsNfdZv9ZTn5pw73LYTvUW0LOjEOxI0WTsd368t+D6bX3GZZad/WS1Ocypw5g9URgRnSORKclzOUvQozrRvyj11QP50UaqMqeBtiE9Oc5rqY6cGYFSzY8216/oOWxNxwK1zgFFxQQM4UHu0MlccnTq1UfHp9o6+wj1EFZW4yXEmS4AL5GH7+2+aw8bnloglqSM3/4hkpYBQM+OIp9qA13nHZaXNjWJM64umqAy7vR21Eb9I2SCOqhqqNIxOmTRX/TzQaMXunluUqb8iTL3M4LIn6N1I7fzOsTHPQ4/6hYJOzxiQm8T6YBGv8CStdJAcg35L/I+B4RNhWpcbJ86L4YOuIpKrW31eSkKfr6hQplTwiU6KbCEkx8MGnHLFNeBhWPfsFR7MS7HzBt+zMe1V9x8Xe/yToBYYFPW2LvyD2qvDY1QO/tWUEqk1FNWEl75oTvzkNOUwoX2yo3qScYMWOt+B9g7u9DjIFUgwDUIjaGlgZ2xmNGlXfN9M15pYcU+vi7vycxj6TM8B/pWzzArcMNJ++Gta4cpR2m4NOb/iYvRQz5GibAxOusQP8E6v19bEOqOC3wGZ2poibsYmtFmcMGe4T/qVNzWcuoPa30mgkodJgkhWgrdZDyMLCiyetO/rTT6vVkn8HxF6FbBuenl/PBpKEad3H8QM2KlkV0GOLfjDjKTh7ORmXdnEF2Ct9U0YvP+y5gN2QLAWjqkUMDvvjN7xyJoxnaaf8WWAkhXxL5hFtqrE3CAYntHpslCX3XkjRcp9fPWYhxlsFzcR+29QNz7l/s3aX4u2vPUDccdbft7NG5gn047yVNskIT7bSv4FbG1fKWvHntM/ApZY541pDTnHYFSOqnwgGGgZC5pgI+dqCBUgXkoUP2B8Pc1kZVl02gfBqodqtbMLYOtfAUpSqqY0AMnE3Ruxzs6QhPz8i8Em5cwsDCWqIyDlBvJXNw89nbNNvPAOuFyxvVp6qI4NGZnTKg/4cil2HKQX9Qhpp/3SveLCiBQR80m7hEEV61ZjsOTFTwn/B0uJj+scV8zSgWi9wo3Em9Xo0w9Szl9UjlNsjW1PeFj1sNBImgI48Mt1/gaMksq54vD7REXCmg9DBFTgCvvfP3uP/X7MJnDrMd33eODRBQpMQM8Ai0NGjaXtZ+9yU2qll5ozKWrp7LgVPKf0oo61oz7u35okSXtsCwhjOg8C65T3afPISHzu0iMm4kGKyedobOY7QWmCXHjFZHpSnahhb/t4lf47SksIIjCfFK/4CexPHhaqevIMteS6vt+vcnlEkJuYu/zESJ8T98YyCp+XCtm0PnCNn7SKT9+8NAy2g/2lrwfXTarJ7zlxlYtS56Xb6EckGL/Y4z5Qp3Wdx0/3Vq9ubRSn3DEOJOO+9ZSic4nuvLy0BfWbMeWMcjagHhR3JJ9e3fP3Uy6pXSZZa229m0SpLJq84MjmTVZP2JEPVpgnhNi8s9S6J/vwv1W7fJzuWiaZYibUuvNoO4kiYBci8UqgSIXyjM2YEXOObREaZxuFQVCg37m4X4H+YDzUTbdWU2gNUufI/hD9yvhEdmM7Gy/G4z0L292hKzSzyrH1Wa1yjvOovIQEdFckLVGMr9dnB/XQx9sPZCTz3ZAe8UC5YsglsFnonrHsrhKmY12deD52pgTuBOH4nLn3KBfHr3EWNA60CHFuRhlfyNYFfUp1WWmC7ZBfqPQGrSPVaJuL9SiUhgwqCnakCnDsBXNS8PXda++iCeIPXNjpK/+TCBrXifn/kWS+xnHsllBPxCo4BWjUibrcs8kghEBCG1zRlT8aDgbK56wiON5egt/hxS65XI3v8ac+FPKUgNfAqYhOadL9e+bmr1143QE6B/AZlBL7C2k6HeUNDj5ufPFAnJX2eyoHJ75L2wcJJ/o0zT4qmkOHqKJSPN9r5Cgbtb4M2vWGp1ISquvyizVoS3SfQKzZSlFjzhFs+YjwVE1V8L9MVJhMFwXK1Ry89s+ENWdjwiipJvS1+pkc3sgVclkDKy/wrlDRtyq5gRaeuR33bSzIk30LsR4IVyTweZ2gCtdHj51DeJ2yCy/nfn7nyEwY3HeFvT2PDQCbk2it4SK6Qv5zlSCmlVC1hCSDrFk08IqzmA/JsHCuuM6Vm+zH3ynLLR2qZJ8NoA9dsHymHOx+O71Ahj/qxrsX8EQjBOO8s25J4Y/oMWnDnFp9okm7k3VS4yCGywjF8ahk40McYrpalKah1A43S7OVFMNxjENydb7+9aev5lqZgyMKtgTYLNevwpl1zeVfbZIblQCGGWXuL2nWWPH7JZ8hHb0DG7O5a4MC7QIZr2K6lQ2ff3gMtQv/i5thREm0WdVQo7lLzyYPtl48+7NCa/JsQtUSDFFpwlZ1P+gJb4OxScQNGi8iZhKtnIljVXjPf05n1KQwxfU30Z4BltsC9XUgPmoziIOXhda5+kU9zfNTVsVGVbZKsh4DbhWeCgJf9wT80F9N1xxr783oo1zwaUwS7THtTFFoeZf2oQweXA63ubTen76uaie4feX7N7x/FJnggvxgxBjH8OTvLeGGgumAhWLNJNkZE4eqhaliO5uTsQcwHAOT/LMAE01nndqqGK3BDjDav+mIwEAkU0m/y9GO4TnNusutpEZF7mgMJZzuv2X9QLmWJBFbRczVUS89ptqv7LIw8r3lg3pQTYKzAapP0AS9UwqwThCtczIwNj61aC5lA7OXFiGZegTmnbE1J4HxIezROgMxNy9sFOTBBh7kb32T8yo5zCwHz73nviqkvfg+0o2qT3JEf/dmVMxkDzF8wn+kDUJOqtcZjmlMlAFCTBG7D/bX6KWVPDxKwM/Iv0p5Xf6YyPwEqwHYQNhZGD/swM9BvSA8KuJM27iBBJ0g+9N7J4duddW1dR5yYk9IIld0cZ4KOi5gVDr5bj7ownWVA6A2hb2/dmahYi4PraRYmF+bGq2IAB5OaFAe3hhLSn4/jc3kOjG2rzEkOq0wTjixtmfyMuqGEO3H+QROByVauiFFaxeDhlzNlt7qmY/nJHsEJCo+EIN8etlwjOXdXTxcIDjiZDXjDOK69g9WwEEPrE+Ispk/YceGGhXP5bTsJ7Bdtfm98C6ijKGOSa3f3OQppxNztsobR9+GdcxH54oD+qJbRJ2Ne6Qx5WhPIWekEZE+bw3W0uuJm0ESqK0UR5UTh6IE+/Ub9a2TggiaMFtUSZB5uEzV1EDpMPDJt6B5WS6AZnCZtNnqNBQPvtQLW0g2Cvxf3n8JyuBViwm/PINyDEfCuddYOMfPvhCBY7murcUAHd+6IYBPOxVLZW1f1gh+IUqeyYBWWPoAeZx5QQ2VhtSqSM9hFL+AAmBSVc+ZbkyvRItKcmQyfPpcf3i7f7L6SUwvPZTZp3CjCWXT0S5dK+6nqyNlgEieBL/VTYwfXL95d34cb8+1LiT15cocatWTpL0qYb6jxkT8JaK3MlXwv54uf6HGgs7bEVk9Q90f2RzIKe9CAkrP1SUHo1KIPfc423irRaOyXs0+hxjf2rms35XCUPcn1T4OxENqjTnd26HA08sbWV5+y1Vouqdgp9/ZGhswmkpfrRT7HM2LuiOUHjCcoMPy+apxKo+rgwluk7thRxCWFfEnkkSqlTToQmz4TXmC8pUK+5kHe4vVyLhcdwyvTfYejfCUmhVd4aTBPRvbX5F6uQYXfdKCUlvT6VKaE/aoZhhY/XgMRtgUuOj64koe9X2bwGvPJJIA6qTMy1PsbnBVomMkLjVL9rL4hFQA/VJD/ddujXCeVZgCnqdpiZM8hjIa9pdj6Q3GSd96oqTCtb1lDEaAnBUkCo8S8puLzrdnPRWdR9zPHZ9ETrKMlO52GbHTqXlBq9a1NuHckEWNAk+QWNus+KtAGoTTFS60fAF7usiiDzh1C6AOYQKBXDmcIzeBeEI+hqK7q0q6JrSARfIlw+ByCOCIo8D0FFuCTWpwdiXKENj8KOpeGEduxlwg04/+9ZDFsdyH07N6jMJudOoxzSPNPuyc9dxhY7U9XAQ1c2GwcI2q2fan7RpBO/UAHX5crMbwTeBk01uUktNTnZIqdvoH8qDHLNuxplPdoU9yyy63yv++LKMCJHKJ4QbxG8NSB8BGd46AklPZWII+so54Rnwk8lXf+ukopfQaiYJksSWmXPvez6xXMc9GBQ4n8AKuFUEsrGVEwxb7o6jrUm+Dh8NgInaq5B7hhcUyGFMOUUj1BHp25ymAT96c4jtcqaaIbSZEqJb/QOXISS5dUVTPmoSSRwTNXoawSHRYQJpiyRDiIwtfYmHRYduCOSdG3P2ebgodiF+fwqbJ4c/0E1BKH/SfjiBaOdY15aRRrfW2cZN4XOMJDnrTDxzi4XA76DDc/466mm2jrYd5yPk4T8ko//cdFUh2jKrKW9OmhvrWLSbFZbG9tPqmisTI7fc2mq2CXdoBWiwIYR6Hx/QjlImZIJdz6l3NiNSojMgkdUzGXd5sXvjhfiNJB4RaEoy/XxmEEVMlbgVyVbP3baq26IoYd0TtmX5QiDfz6WLuIUgrNbwaXiu5zpbBt4pKX0lf3xJ86RGxo8yhxAKyB56yhGGr09cEyEEjyclaOKKwg4fek0k8PILDk01axBtdppnSZirIOS2O2LC0kOL1hioPaTCYeKixlta6TeFxmBvrvsbjXO0ncEPyeYtRun9GHlBbONVuX+S3jxLvMGgttMPGbfRMNMydONUzw5H+9Xhe9Gih3/LlD10OyxdXuU38TyTXJTyDgvCW+A1sEeAinQjCJL8JVH9jQl1Mywr+bGVwTIZ5yAk04feLbqV0LyKL7HcTuUTu0iIuuZsJ7SqfXkdcgVM6IrEzAeAbfO0G0FyndyaUBXAcIiaC/+9CpzK2pZZZ4FhVXUTauJ0erT3LS/QVnMFab0ZoQ2tLxKSU8oAeGxAZPObgFpNmhRq2cQ+BkjehRpI/s0VS1Ciy6iABU/grGMZCQLdrIirIMk8etGx0qtkPy0R3IlVtOBvvdvM7k8xI8DsMc5TwFyfW72/TU5RhfvVCrBZYUh6ys0Uf5EqkwDEB+qRQMQx5udeUUxLbm1VLv+OcVIkZZb13U2NakjKRDoRt4bTioIbl7dirObk9NKZLVPSGg4bxTC8Qhr9gH+4n9Bl/PqwOL6BDvsctdvu9KCirFdlh3Ekc3QeSBMHObwtxo51Id+WQenikDzv48cSQQc7+UN5psg/I6eStryaTjU0Yd4qfpEjK0Cz/ysNt3iSuWZKt3h6e2JeqgVy3MVrLBXIfOakob9eCkqkvO68per+ikR6W4UvDt03JduY9az7NB5v9w7/KSQ41706Pw0t8hOmh2RLBVzi8CdrsYp+i8uBYUXQFmC2k7n8rQU0psSv8aOVlQ/eDAAP5zbTGm/pdkNVbLzn53/SSIxFuKrbjJ4YEA5AO4MH0EVSKrTcg4IR8gk3s7/UtYTR46S3zAVvfCLWBcznYft4IFH7ntT/s9r0doDGTaqzPyFV7AebBb/FDdO9kpL6lozSFZaOz9VydHzJsjczBVFLoVlA7sL0hwD8x0YGKTOf9JdzWTYrlmyaTVxMaIs4sK6vKgv6SzO9wLcegRr5+QddbRZYVKU2YIy3UXNXfi9+bS/wX/oW7aaY4DUn/quwMRbzhePIIb9qaua5FWxbRLw5PfHfe78mQ49EaYbwxbJnng3V3ONH9VX2QOh+v90sDRtjuC+BB4bgOxxUEIMVUsRa6CHj+1zC+Dn1kQHjRuvAioBDS36e8UvGmAFN/bJNajbsunFNKN7NoqwaSFXgGCojKTa339mSfnbx0s4IRKD3kaPhwTRyoHIPaL5tkZPrw57hnmwYi/uP4jqV+IP4cTn8DVWO9esC2NargZARjdYEFJzjY9V7ONewd1Im92B5w+LXUQ8ewvMGKCGdZird88GSVGAZGRy9Zz/iC1UyoRLbqQEE7j+ChlaOq5Ii9iI99+Csb256QJAt/T0QeAHrad6ctMXRbYdTEnBb4f7M0PjdF3qJlVsnPLi+6pMW8Rg8wIIClRQO8q/M/7xzL9PJhjfTXGxgLYzzh6fgncrPGZg3j4pEBoW6hCC2nQ0chvMBfW7QvXmwFUQ2PVZGBXHE1+P6dXVc2lWRDfmejtvhc89DaNbsm9GdibEquwarXpJXoeE59uVhVYK/6ktDW4kCcSabgZOM1vWidD84dymAx6QPCIvMNJ/57azmxq8IPKr2dXnYFaDsn/3ucZBe9t0hG/dkVwMyGD6KKLHhSLGQ5SexUfH3xCKCXmPU/i1i/+o0NX+X+marjB7exj83/Tqj8whRD/Ccbzb1dmBP9hQrAIO7Qq9+Cm5GEUiWVo0WW+pncCeM+Zic552l3YB0TW849a6EGxZE5/jfhTzbR4WYb3SlGp23YS4dVVedSmO2BXZjijXxz7Zi66uJf7JgtFkxg9aM0iHJl9JwZx0QO+Fvd5h3L1ibkF+z42psPDe0hSH/zeXc+dL/8SJgzKR0A9yWoShViaxrNcRSJaOfyV21iNL6Qm85zHsZRSqpa3hitKQbPhdTN+gkf4hPjQX9N0XwTzDhPVCm0GgVgl61iashIWvqPX6JtuPH9LruI/48auy4XAqeuOhfA5pzHFNnP7TDG8ymmMIRY8Ru/zLLmaSOlcw4KHbGQQ3BIQL3o91ewGuoxBOsWwiXBdptXeX4Yscc5BldOWD5x4hVP6ZuJ1dp6egk8U1Yny5QZULs7LY9FBOsjPmTUof28B9/50byDsfADQBVDPPZrBxdBvT99ep4o9+OcbGf97cIIkcXj46j999+Ih+Z35FHm4TbwYrgQsDDfvpLrJltrccj4Au2/3oLxoxBgAfx5vbtY/9U137A5evPW+jfqo896MiWr/8mUQM/HgIBdAhJZdBBwb4YbZaEl+7RBVbXKxotRFdRnkt4oHZbzerxHQaQRiCiEWW1nyU27VuX/FkpImCOcvtFg0Pb5LMfAa3YOXCDmHE7NSZ76Hi8alPnTrzY6sXXOAwjkzB8Hpf0F8yOQDg0MXLo6BGJaTYwe4xGV+Nzm+G8EI89A4XVSVXU8LIfvuLIQNF14fugVJDTicLd6Jdv1d7O/3GaiqYM3c1UysXHMXqyNtI5zJI3tQyZTuA8MHt0jKUaM3CnBMJkwWi3cjmOJEzLDsWCX+QhG6Oa0yD7PJwkjvDlsCVFXj5hlV15/MS74l/OQ==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MEKKOCHARTIMAGE" val="FILL"/>
  <p:tag name="MEKKO" val="MekkoChart"/>
  <p:tag name="MEKKOSAVED" val="1"/>
  <p:tag name="MEKKOEXCEL6" val="False"/>
  <p:tag name="MEKKOEXCEL7" val="False"/>
  <p:tag name="MEKKOEXCEL8" val="False"/>
  <p:tag name="MEKKOXMLTAGS" val="1"/>
  <p:tag name="MEKKOXML1" val="4HooU0THZk28POP9trq+pbTvvzd/gcV8t56cq85kb3NDTsUhojRA0EsgEHHMH7oYP1SYpn09ysXVivguJdhTvfyVMsBLTGvcX7WPTor/CmWiWcfk2RmY+GE6Q6T90sFUr0lg9IPP9y8umrse/9AoLT5R0GKq+XM9pr/aTyOTf0wptcuHbHxeyqBm9svU01qeeEM1v0hpSHUgirOnAK/wuovC2SzSB9c8Os+ebp2X3ul3gVMNwoM6g/cuNn4RSRd8806Ufmbl1nJrIP4PiD9jfPGggT7TTWVQAEKv7ov0Trh2B9cdJdWT37uxAPai19pok/aXGDdPgU4kXXu2tJ9d66J8jT91wJ94LIqf4iQVaHhapMuSeDI0/wvuSjgu36uCQ6Ci1DbziZp4YBjktaGRkWK1IIDBtDNUsc4nw7EdjvOZ1MOku5l9TzF8IZv3YePdIYi4qHMcDJHAS7mHtdQlZ8gfnMSlqqaJBoATLEVz7/yacxSOgnhBAGIemqTPw3a5q+P1+7ScD9BYmK/mepUZvn9ubAbIlOvsrKA1fEGQJOYnWVoliQUASwzB1BN4nE4TKtJSwQqlW7GrufFZqdnr5DKOcZjfa/rkcQJxwgba+kR7CxfGVERijZ9wMY1Lo0BQ3nxgzYgIqJVNzFiCl7HfmwyLeXnI2BQfHbWvERgg6SSAqr5su2Ggo18TtIeyrdVLN6mkcnCM6+9xmqzp6Lal2ka/ptyNz5e7+yFBxJWEBI0ChI58sfxcBh0+dXp4lsKqZ3/8swKb0AB8xbbe4+cCJjs2oRUy5Hzu/m+K6sa/QkcY3eJFf222p+paGggQZwai88ykTvQ7Rfptit9YER+jbQg7A7FOLCVR7NO3Bmi8/VfznSgqN6bFpgY/rcxWZBnG5yNSyM4Atiy/3RtBu7z5Wki3o2dW3+1RUpyDto8Hqgl6ob3b4V9H2fWi7lrepN3xOcUqKHvl/O8rEkCq97d49siFyi2gFbd76NobC7f8cbZRvOWQqkXjtiBYLcrep5m1d4xKAEvhPRpyx6m8mcKL/WCpbu1qwxh+0wA7sH73RkefbVwbmHDAC2KPUioJGuxidGckp9coEuFdhOLfrGMSRwtJynFPiq4XkUdlSFum9cjxjEV/s71SsdShBUFUELx7lEgMfSfZDJgBZWkvgEe/OMa0FS106dbizV6JfuzUzCgMAKMrLdLFkI4xiuJunbKfTLDx6PITFUosUWssrzNxEth7l+bL3BDm2vnJVCY+/e6ZzV3gJ8dzmAbTeGdHLf7KzyCLcg2eWgHDEouduYKglm4WfZ+HA+32bXiHYh0kQt6u+smaKIAOyWV4cBYxVLk0INOCA5q7nKf3Z4dqJ+2ZthQhguFraWJ/vgeJaYcdemmENwpQMPmN81ykYpH6aNAzz+g1paZcuzArawgl1+fXzWi1bItLeiRTmT65WpFyBbTYXk/mnNbAUE4yRmhpXsijkNVaRTHBXr+t3qa/OEDhK467eoHviwVM1bW/4bNQzjg9ZdM4f5NXaYg3/ykqJHAciHjofo1OzXhp5Q0mwpHRk4kjm7lPN5wSHQzC7d7yFkVOBTLBnOU0+AJ+T/cAJ+kvbegJU3nJNW9aH6/F0rnMHFB9m03vKn1mHD/xfMTkgbj8I3EguvUaSvdVIYy5qGY6HVMgu1zCwGAPpU9f55Niba8CmjLk0aMbha6MFHj9OIYvwbYyrMzT5Bi5NmAWPkwPnY66V0VTfEjQqSMfZdmiyHl0QNLoSQYhiRyVpQEcAxOONYaeOcnlxBZ0wyUtXJBDVD6awfFZ2zT3slH/4Bpb2RVTvR1kJ5UkTxUif+Mijq0Jw51IckxiVq5Vb2/v9v5NFSg5NL6qe3+MyUIV/oeN0B0SMaE/Taa1fDgvLXe7H22Th1cagxna7tPveMRbJGjOws0yPlKy6ISud0u1mNFomqI5mGX+kUoTwq8Bv71sDF+EYVbAMbScqEAJwhO8zRdfW387cmRLvhBrtMOLJSXxm/CnkFqPOeaaXCeX1Wnuz7b/+7YwxrPkUtd+o0H1d9csIirS92qsbyrDoYyFvuQhTxfb94bV5VsX8Opq2YoP29ubUTwPfKgey1RbUU/hgEWso/WTQXUTbRYYNy1GZLl0I2XbVlkHMv2bPlTb+5lVyRo5iohD935IG+B7StOrdW1ysugPg6SAx03xbbW3TOxTWf3kHti+a+CkpGYRlVvEGfFJbRn4uohEqFTb8oj2zlHGMsNVAsMRGMRS+Qw/ip9+qanRvL4qe8TwLqbSNeQQCS4L9mBPtPxmYaengDjM55zCVoS8ML3wxpXixil41Fsvu7Mpz1etdwaHKREmIv4wzszO2mjG3krGo5ZpmVTXaaPJJVWCJ9LdL5PmmaRp4CxBHXJKPDjy2RTccLEfePNOhVkGSZX7VzL1dHiQxLugmEfuZfdUtLOEFFg9u7azvBP9YtzA1muOIWN7C0mFz2HqsyQSj51se6Ccvu45yUdQ/oyZffBmbpKVz8L6PFUIB97OVnGmHySLMFHcJPEtMMBVaAI96rmQQ5QoevA9K+mYX+sh/aIFg8Yk86TpfSOSDo8eSVDAzo6H7jZFED4dxH5eQtKoUojEktxrvhgPCtV3ewQWTx2JkRmwCBl72W/iWQgz3Skp1gh+8VKEmAA3ovWoTJPjf2jhQi0e8i8Y42VPF7HP7e+HGq7olNB6og/JN6Gmd16QKgksOOXC2oxqKC2x1JmTmtiCrkYfCo7Z/xywLABGMcotMbP7zhvR6kptg+X6504C3bPGuXWrI5Siq6G/+eRVv6XHR3WxJnuPKfPBNGwAB21wxKOPTrYhuM0wEG7Va9T89kG6joQVyuIaY3V+4pbDRSgi0l8hcZALUpSfElPOoKvSEuPkqsxAfX0XVZZtKwHauA6VeyLc9O8js8kMneC7an3AglVJOs8v0cEyrvUzfNNcYor6U35rtjoFJneNAtdYi4eRc4xuHnF9Vl6BM4A7rFEBsaIN7Jj1VnenKg00nrTm3gJWPgGD1uF+bkMS58eGmZxLKYKNoFL3GHulKZOwAgXYaGXm9FqvIqUiysjsjp8Dyzg9PC1qIo41DnQyAjq3TMe8IKozxJG0LC4g7jlCYvjRRPhsYy2sKiYlzj+DdonrOOkpGN0AiDP0G2o+qTOoXlX0J0NBxe2ujz0gXlwXEcMVkFV4qZeow/OhF0OEsWeiDYyZBUI8KY7PV8Fa/Yq4Ne2WJfe0QjZS0UEmlebw8D0WjCCuRj1EH9BN6eYKS65f/sebQCBkS48eFpsbiJ3FcHCCACaXmJLrDycigADCmGxBCqfxtF8S02XymNffNVPpZZlNyMrnK4wQ4H8XtPIsjJPMM75WsjKmUkKUyI0p5iiHRbdAp74wT3gPcx/uemQVnecFm0KVfGHtdBvlpZiFLyqWvpuSBly2OKmA3v/FnEl2bUwSnpE3QMtKoKJrIdD/ILQdJBh3K5H44uObYIp7obaa8LDVGt2ZbGTMYvauAJj10lO/fnV+5TO/tsnoBQ3DUA7zQJGRAhzPN8LL7Tm01HBvrrf9ctDup8BvdZIkRqXN1lFADAmuHMNahbXMt9bQWVtXdK+0Flkwt/wGrHZKQ6eJg/pl+JvYmk8hOXeYmmI7K6mHTf6JNylbLyRv/iaoZ5hLM1oXpZuPlLxTpqccRYYhIs5XRliybqkovV0i3//YZyCYrod+D9gwMfkdDQaZBCuZ1PeUnYr0xE5XMe+wsPIrGwkkT++8oAc5RMmPMq1Ju3Vth8Y6engNODHfwpi8919Q2uxpdLziwhkvzjcUMDvvmOkwK7rL+fbsjkl71pxyNUB6rp/xqgbA8THmwDGgKA6plv5g9NQU/qFmrfibH2CqMDja04A24QTo56Kfo4Cfe8EIKJF9wuQGHRbfNAzPmyK7bgniqoc+H2CHAduMBGvYuh1x1Ye7AD2xL0vb9I1Lk/4Q5W6dHBu22hQJNNkza5hnrLh+XvJ1gLc8a/VBTC4z//PhfCpToBZ9vdJdlaqJ47T0F60RqdGShqnoOKQ3LoVXQIogxEaRmsepVLvAbTqHKbpjL6w9/q1cXbXvPEWvsrVAXX0c7qzLubiYmDlvvdMypRjbeDhuecrEZw3hDkhQ5X2jb6sQf3s01mbKpIM+mTn0tJqxDZN4iWwOeVBvaAy0jqBhEe8yt13LTwnRKGp480LM9chJbCPSNt8NMI20+20nUypqAnCNqU63klxwMCjhgs0e4HSP87sPkGCY191j/LW7c5pJIlFQkUFWueO0j2K96xI1yX9/35toaNqocsg/6RkUvuQfTFqbTna9q+VYZaVawfKK0dlcqDgwuaNf2WUsmR0CxBj6op42bIFIhZEhV79wk090cpVd08IUNujYC22g5a+6qmliCBuKBQ+KIku7swswpYEwScl5+WcJnXnxHOUOaFDIAciWQTH92/u6u0Tuevlf50mw4PmQzIDzSzskM6PynEkOXvgjXSrUU1a/+hH9oM2EtEo4ZU7dVBKyjoThkWS4jWIPRqcoGJdx/t0uAJtL+uMUsDGwgOXOo6/M26G5ThOVQtSeYYuAU15qz3tvdwYEYs9kDqegZhHf6QbU5HPK37uwa9OWKPU4p871on95hzIL7BvbZ2Sj8/U+uL2T7VRut28Z+A8GsqzmRVpGNxld9XWpDB2iAFJCOx67NVsEP5NAr+NIFhMzaIOiK7vQquPJaIf61HdZD8swdGSccLLZB3NOnRejJKbkyaw/TWF4ffTh5u+nbdwiDhAIyIK7tjvXGbJwhmo7UWCJM8l7SZJ0Hp6YlrFmaH8VES91LDc/DOAnm5TqQGrr12C8uXOQXG7oalfRn/UNHxbfqFwY0NRG3cnUsX5Np0HmbYaAHdsaUpH1X7XRwD7T3Sk5uvO8GElY4zwQZemcACWdywUX1FQ0jR+p8l1haliUtKkXrJtInf9jsuiqt+7CBQBWyASGlp+LwSYLGL+sgAkAZYouGWRAeMvUInSCkwBFO2FVMgabRDb9PdLE+8n8zFaCAiZluwEHMrIB+E6RFWaEccrN+2wp35PDHs8Yb1PQe3UKlOpkcsGCJKotSK+GuwWa+Ws92jdMp5i40HoD07yyQQRPD//ufGkRHLqd2LR72Pr0JmmeK/Du2x47535q273OsTQHSeeYW2zyR4X/aYfNmgS5pnHpdOFRfJGNvDerEy0YupQmmU07yQtDGefDW43QDLeRPtbFro25ne44Hk3jb3hw9v0rxl4rIAvghKdK6EIkZ8ZXc/W8F77yoD5YY0iewp5hIy9uap4MFcEMv76+hd9SILcG29LoJClpQgXWvPQhHIZi9NNKzKQsJ1gaGa3QGB9loiWDO6+6q7yqi2EgumDV1kwJVKy3wgzN/532WywQTlLeqnLPIRW1yzyCoG6HwEYwS5NCFZ9sqZT10x0+Dm2DBnme0p5Lr+SbDJIUDWusQ2Pc+9JMtV2ax64jvmqdo/Rb+n8CmmKStroXE90Txouelvh03KUFQnIX8xYwFC98/qouCo8o88rsITugulVzqCtxdVBj71sNMQekYGS9gcPNcuof2rJ1MAuBYm9rlyncVrA5W0RZ2RddLxhHP+RkQ+5Ffe0lyarZ+O99V58lh5pxl983Mw6iPohszyaulMQOCgS2LXdjDGFl3efSSq8LJX+MiSKuuyuHnpA05SyAnBl6DljxIMhfi4y3F9HuaOzea7WIQuyZXYP3AaMXJfoUS8tLPP8ZB5OsBHoFnZKax2XD+zypX4pBY1Oa3Qv2pgDvPcDb8Dmk2G2ynw0ZR9nZFdmFn7iFj0Wm8gwtI4eQ41pGssRMjriCyPqwY9BZ77X+NOhbBH7lvbZR4maIvbLovdIzxICJl8THDR0W/SpGrWsKfzOINNP8JzjMpm061QjbxQ7ut2MDk2uUaQYl/PEKzg097WTkZ1umMFOkhlxIN14kCMS2Z4BSLwZ1s44ivoUxZNhWGOL9hRi5bd7XvAdI2hYbaQA7SlXZUtsVsoXCh31wYHkLmXczvOeIUJ+gYEdrEOzfvKhZk0PenL/CNcpFqbAZF1APOi5ef/Z4T+Om5LC6lxQM89kMdfmcr4b0UstgDlUEsXsFN+vZ+FPQwMvc2I13Sf5AMfUwInMnyGtKOn5ah6TZSvPBQl0HZscY6jvYeUJdR55lYv4rxpf3QOJ7DZRAOMpzh5WD2/AC/n18oC2nPC1mw76Qic+PmdvlMKTmH+ljjDbbIWOUu/xG60afAdbdWn93lmlD+q5z3XhiRu1WICJD+Z0/LG2rDtCSTZuaHwo5iNUHeivFuK7K8hEYFiGH5mhu5KR0vWDuPnG7XN/G9HjRPtjKzRuZtmeCu+NG6lpKXsJZc3iB87B+b4V3vXl9W2LbydqryyVkR5bg8ctlyUhrFP3KG40PC2YRud2aZ/djJL+C+8F9brytyKferPdk6OrD6zNPiDRMo5SE7ZRI5xGzyGpaMAIXcHQJCqLRQmb3LJldXmO5p5WEe1X9+Yb3CN3QUPleGCtM3ibaoio9zt3uFjg2QoQr+qNzQKHW1EfnN1K4Tt7blYQcbbda47CBK4cSLKRv012OkpyzClEm4MhzjukNgfnr/J+3kFroU7iKJZ42kECK37jDQkfa1dJ5vSlLA7lgupJ7TYEmAMl8NcCdzpAAIb55c1PZ2uOn9GpkaPbyQ+awCZWNB/fz/8j/J+aKZ7TjLhx+pikymD5UpX0jPhDuB/goso/IG4g29nuj/svSkLwWcD0x/gQIjfif0uVi587xpQawDtR4CnA4rZb8U2VmRCihLAAYTKbjMooZKnbB6tJGGxdfOg/31tqEC1DOprH/DiKM3I+Iuf7pKngkjiBBU2Sf7oIY/AKXvM2bbyaEZj0189Oggjb2D7Lw4oJRS7SpPdmh0A2ZPA2JF3iyn/Mt94lpBKnyWQN9LzJtnNuyu4ePsad+lUXuYxmbDoxfPufZWANIJ1Sqe+cKt7lnj7TL8mb3KDWZjetB+nufo2wGm2SKd6iScu9Dt4N0h+FYTekK6FJLYox24j4i1rxfyTWfMZ9URyLc9kroDeK9h+OVdk3rxyt7a0HRSzUdoeeHH0pKHSBo0BLUkUE1qIwtk7SVH1ZTSttUEe0hyRz7t8Ke5VvRjpKUMjkjbJodMcHAdgE3PCwYb/pUahEV/ku0XgyJTuj5EYH3sIR+el2eZryFE123H2wa8YrVWaZy9vKuJaDfPgJxDHX6TMp3xMftyd4YDeiPY2awQpa8EnOAFB1fX+Y580tL0S+Rnti40OeDOQcHq4CqbcoV71maNZ2fV74hwldKBD1BESzAMcRlRphBI7RbO3D2ZAnXLLAZ/wh7oOMS5MBvTzNhX4/3ry7xAU3FuOjqSYip7V4TdlpIeks2TOz51snrEELXMV+wIOJUT9m9YZWtkY9u+RCpVtIen8jboMPo1hbMP+PkFXbF2t3+I/2ddXozVtnVJBkI71WjVGlcds9hnZoS6c8MvssTyxen+qgpggnJnak1R6tN8PT4rb/piwdE+6Tn7hyk6++mgJSBQN0MN7VP2aHEKcJzijIqNuCgi6uuz0WcTCM+IYVkt1P/eRUMM12NIjfK7vhUPQfhokYXNAiAIIx71ZXzPGIfD42QNCiDCqpS7WCA0vfCYyzQTD/leBu6qTOAHlAlhJMd0N/PfJlbfiDkvRJzRm8rHBU+qHDqnB3A62mBRVPqvviNu1qH115fcU1ilsoCA9EohWwhd1O0PJFmAQsUaxFOL1F0CQ6WE/v1EApjAFeDtaiFmy8kU3STK8haqFNC7mBfnFI7z4xbcGauYrYTGwBJSwImEgYLMRMoRbXS7X2sOcvdg+ScxzlQs+d83/E40DbmFT4gJzkJPRIFGY034TyxwHLx30TYHDjB83L9S+PUhAgf+8/4PZtr2K+HA56OL5RFj0fzGuEpWP1r/BTZZHZrG6VHPrs14GP7EdSiqy2yZBYEwn1fjwQcMDGDBHO1JCdChz6whEWQbBSVxbe+Onlc/bGfi5TtTC5Vue2eHP8Q/xBg7SI4s3RU/aDFcq1Cgaw5LLhPnwyaSphFxgDTyQGZOev7DNzQsQVvkydj2pnAjBjKgOpSq0PcaV0rKwEwoL8mfrRfqvpHRK6hUcHo9g2FqsmHD/ekqD3E9zsRoj0RzVq0sogaJzr5DKKpOmYL+89tdU56J5vtoHCLxcR65CewE8KnFNWVIhlAoeMTM83oK4slt6JRD2QCk/idcEidagKtlfg9HmN/TSOdqx7c9fViJIIKmbLfuIn9ekXNfnfBmhYBeN/+A58CrJcLMYljLfPWeCOHiFoJZBMm9PgZ5NZxteg1qSvbWjRTFLci+2qkCxdBR8JyQb87RU91g7kvHRZAFWRLF0bspTPkaaVCEYKDJDXGiL7K8ubBQpjlBMOSQtjFBguW1LBdx5YbXPVtj5Tw/q2amAqyeHxO6nJ03JzamdnWe5CoMvAntqaJpwQnWcVQAj2PlRqkjCktSLTtHN21i0bwkX8FYxto+qy5Gxnuzaaxw2PxkMh5TmEKiSp8d+BTmOySZR11J27kPyQoI8jlve+8Mb7mu15R7TCGZR6Q562SP56F8e52Z2k8Ywr6CMI6efmWPMkt/S5iC+tGFUrkxfCuoTqDOOVXxzyUYnnugG3dYHTlDGoOSopAnA18mXXAgZ3bc6YnfRl4z2WrcHEc7jdjNpeR47GK6aW+Ej6cauBSe2otH1jt3a1Z2EkY3XNKVeu/3eFYxuSKbboxpOLkt3foCC8Q0UR3ifboOsqOio7hK8iZF4bYjWyizjinBU8EJCe3Guteq5Fls0LHwPf/Uh5yOwa3+9PCBQtniB7erq18kpxwU6azm3D8Fz2tL4K+8IF5muRvsKov7kqfnyzq5OyDKREJrmJVDxXNSg7eFkTrb1SKTt9CrsHUTyOyPeGbJOqXJdhUHCN/tHxPhJxmZVMB9pVoNsy0vg9Qklye6KI24c0rGJ/1zmdlTKfiLWVV6WPwfBlUIImUxop3q+JTBebhbyGudkqpGYxuzX2PWdZEpnQi/ZUqe6L7madxQkDI5xag14KXeUcg7qiI1EDc8EBe0LPbcvw/8zm9zhWbbefc0HST+/HkYPzyyZ/OlHv6yE3fztFCuEzE0AQb7d4kiC+MR2ZAgJKsy39ZqO/qyX6K4HsrwOOy4HouG3fkl6VYSf6I7Z7ryDfAMHhhGmcTKt6TF4H5qq8IyAjbar8+ZNhDgGdoB4r61EwH/xMmbwpqjz1Xa8w+tfY6RHEuryQTP9LEazg1v9i1jd+6tu27xTqvdPtLmXyAJy7Q97ViWXbdFuTRxPdl0XEbspJ7AkNYtTz0+3mGRlZxuqhrV26m3ns4sVK1phl/RhcfOOVpy37STUDOK1/sq2T8sYo/NEuIc0yR4uV6My6Kpj2AJiMYJ+eFAZ+wbk3k+bd8jzZ74oUbUGqcOWP6iMwIDYF11nke2b4qlSHqtcXqgN2lFrYcItO92+4c+8fAoR2cE2VGahta7kECAa5mBfnBwcOd4SHZROEBmRb0DrXOR6mNG4etO8tqR80+um9BOq2hkTqyHfMGU5uRiBhCoLmzJmfIF8gD0+Vc7GpKSgsqip7hZHASkwjGZdfZzxGu6Y1Z+jbEucFNgukAzB9Bf6szYqUnojEpt7a+5D0rH782sQVdm16HJTHcSOO6usDYELycrKX5CrnJwWTzqucx0BRG09ciLtfmaZ01nyoZg914BxO/hQeJ0EqnCLY20X52/bLGy1uJLq/37ZAATwh+54PHN5e1SBR1ZPH7xxNVQ3BHyquR0w6hE9Y4DocRzUMtj0Cy1i/yt8n13hROGWEOHIS6yDPw+ztjPFlUtnfj2SK6+NvEax/JCHPN0Erc4cnsEr+Q7b1NU1E9Ps9e9IyxW0Ug2+gdnlxBJ/EqUpPMVtvHHoFgjq44sDErMktgac+bec9KK1AapVpa0mSR+LGviKXVkE0gSYgg5QwfqMs2iZm4pbPQelhFXqOxvqknuqlw7EGtX63b8BtC6MayEPObnCkA+DJz3qorUW3pZx0zmLfmfh9KTDMbZfvs+KVKp8My4eIkPMetL6ZAW/x6fM5iiDGLqKIZiHyMKvCkVLh7NkuZFAbi2aEvRsHUDghp0+nN/KrjTlkDcObI+x8Nmx6Um5p964wvwY2B3VVtAaU0yl95F3CP/J7yh2QKuvSZ+VDU81kGCjqOxlfKD0Yx5SSYEtU48JZByppbTKCvLigRmVS4lrBGJwlr5m2luyDV5twZ0gUKEbtDfjiOmtgx24R9+PrOZt168x0juXc1Hjq/L2i/zym1XvHLrbTmg3HqR91EoMnIcEBRtMNA4BYIxMktVkcUR6T8RWVosgcPjDq/XVOthTFL7ahYXEPflRLY8V4O3mFfEPKaE0BoLa6Hrft3EuXjVEArjounTqu3pQy+SOAPYB4LA1+ueTmaBsqby6/R9kZGW5pgIOVRNwWwSOB7oPV4D+A9K/uvT+DOS4bG0PEkZc1d3PbiNdc7/Fl1zdfkC/sz4pZqqkbdrZwi9TbPJ42T6fdyC1IvVR5YcUgpLc4SeoDYxns8OJMjNcuVfbT4Hx0D9u5N37yowKnxVx5XvYuvtSc6pjV6vU5jjVbkcOQAVE/oWyP3AXc2+DttitJjExkVFNZx6pv1rluLUPFzq/Ofm+jZwqfmFr2DDiZAz9VdgxoecNOHwXRhY21yhAcFRVRMdl/dMZ+sC0zEVI+/Ll3W68UGY8gFcYZGP1WN/ZJWKT20s1tPJYHQRIhmXiMam5q3z1omzZHMDRqGr3n6qn2RFmnqHSMrY8FHGFaqJoFfkvIiCikYkBfSVJNXFWU6yaxW4buhZRqWSoAzFQpAy5Demuf1+gDL/Ts5xyJq7VFWeHKHtN7VgMidtrMvIlcpWbHKnvhmP4OZHgP4SNVVRAdX7uZeANaz0ewmvEte33CZeU5mrUfdB/5Q221q3U2OOINifRZ7Xw3ffMD81LjBHfstj5sWdxwA3JuMW5bxCV4E1LQN/AuSufZjPTV5YW5NLmZskPjBR8lpkw84d+vMhgLmId/Az+oZe6sG6RgabYOq59UiQSDjGBiQI8VaN2smsmtEH14g0qCscN/YbjwOIl7LhIpBJLoINML6tMPj/W03xtT2th4enTT5dMq1qDooImE5UykJZHmFBe4uUTow0xR4KZJ797DLuOrOaBcbFx2hdiHKA7BcJHWK2gMAz8DHASPk/A9nIxlPWLa/GsTpXJ6DcHsmXMPbvGfqpYu57/RWc6sPCUi/ET27Z8XVWe0/D6a0J3chqdaJmBr05/YaMagiSoU6Lik8XufN5WgbpmK2zd+UAk7MDIAytcDA9gPZPI90pl9DLJZnAlNNvAsSxD3b2MkRC3Oun9gk5qs2cR0cMaMzA02/8OcxCDfxF4E9tl9rV2wF+reoSMGwDz8fe8G6dEOd/e7vfHUZD247NvXA+BMjeICg06l8gMX1F1dt6KWFCrf0MbAzrlmViaenVTw4/GfHlBQGI28xh2ohdXJ70FM/g7SJN94j6Y2R6EvuEeQ4aVT7sG001M0xDbjIb50px2eXgw08ZvN023v8mKUIEgF7YuVfjZjPsPpMPHS0B1C9Kebs/W+s7MfI4/J8wMquL0T/hX/RQWC4tNS1ATvQn+UbJeHxg5qZIzjfAqHZWF/UwqDQS1AOpq1XeUuj+9XVxHCSPXVnzAqa52dfXm3W1KQbzmN1AD/bpFhJEruAY/7R4r0CrmhgQNAhfMPRtpRRzTwG3A/12BY04HED7TrUKaOjUz/d8GoAiCnCG3CkvwC3Lw230Tk9hpWFl8/Ps6xTmVWB3l6DihiBLyhLJuAS3/J2mDt6LQAeOrAGytnT1yrHFC2O/laesupmMyzYEnxCGDH72UtF1zp4JXk8d7OmXSIFlRjl4H9CDnKc844Bxw7akVfzmkiGIY7gZAT8jnZYU5uEFdmCXNPRVmOz25ZpisQw3KskmqnSlbW5YXJNAKqBafPyqq//0WDxnq3mdiJQ3LMGh27Teh2FOnNKjcI4voDneXSNkdMBKQkNz2G9u0JRDBH2EImiuJev4CVyMWqoqtl/EMd8Ffyvuh0q8Ev352eSdPqdMdY+AskTfLOTHn+pFfiSM3aPbHw0wT4FdeN/C1ehgPASSe8FGdtAemnrxVCJ6UZE9Ue5JM9JNfZEAgjzYWBqx+Jhjw8wDUpywLzkvL3um+R44G2575Wial6xOkDGBtRwg21hlq7+t7lM4b+GWgGvhEM3ybNBS1f33xMNHrKvVXKr3Qp+aIOZWnBnEln7z1iUrZStiZ8aljFodcGTXPFK4BrtIgZpnumLKEtSW+AH1xdDdr51yjGNCdQjGcPF9vUnlrY8eJ5Z0lC5jZDJuJSbZJn3WopgplUXT/fbYTCnQY3lgQR1nKp5oxirYYEBXM7GGLuoyAYDcctUqmyFkGXhi3vdsfI4cD/3W5zOsqTjsWrgKiEB1mkUmIbOXwOi065XeGlo3nro4g6xAqv560hHZvY0GebdFIVlW7YJ26i1z4+Hr36QGtXVQqb7qMcWl+18EOacyCCmi8ZkAnMlGLHTa3+czcCeGIVeoEBsRc9oRxKPj2G+d/myXDRgY+80EyCuI+Wl8L9Vp5eAyJuh4iLp/IfBopqVn4hJp9Zxvt5y25Lb/gqvB+zAAsUfHYS7q7vRsg3MV6wbKw/eNGU6OT+PfwPbV/rSYU/wcKkpTUw6kX4mSBFxyEkIntlxrv0BqNsE7XjSaJXWqD7yi4U/uWTkpyny4FzCR76GoK4K1iKahIIm/QTCesVM/5DnBYGTAa1Fokh0DDSySgADjWk4x5pjd0kfASQowe0KZNNKr7XI31BeHvgaM7SHckEHXlY0fWqvgILg87cSPuG99IrA7zkdCVhBMxE+H1Vo7y/2Iv2a5WmhrbGhjg9h2ki0k2eyiug4qLFApAntCCXro+1YsQn917V60ZLjogepYzMIFIzn8GGD5QWyHtW1qwgomLD60UrNxjl9MV9tiv6DuuTAMHsAhR4H0Hy37bdGjewYcn5aZinzszt7xaqWp8JsTM0WNJylO6ZIfPBP7P7UUsMWDkREj0rWfM8uDRdhdWjq+MzhdfiXX4+mCCy8j/LokZ08WXEq4eZxc3H0EWEjpF9ffro1YTVU7pt9J+n4Sg0gRpZupFVFAdun5UP9gvza5AHU23MoHTKaV5q/B41kQvFx+MrzaI2Z9tzgXj8pE+ueBw7PcRMw7W4Y4wlf6FrqrPRbw8WZoXueXx+CJU0PBPVeiMch45Uk5AaQrJiOpVQx02guleaGwPDCg4TkRYb0i6S+eB/Ee8O10NmNMG+6BASSQL4snyg487Xi//mHGAX623dm0W37dMhOSGo8gR+XWDIn5xNz2RYZWQ2GdwO+YF9y1Xstm5b2oJdtWOAzQ3hsibr9BODNDDe7mI/lnJFsogWqeBv7UFl+BmwsILICMiLj9CqGPqBP+0FtOwDf4CSV2pfZXt92Ls9rV+lpzbCp+w18gdrT9h0ywbTFck1UhBoycHnO0hAoe8virrpDVUEIj0me11PNsbfJAagb8LW6ZsZQHACeP1F+mBcQQ3wz/5TiRfjBbzfFCh65VVdKXuZYjoYoNPEkCjYk61SSvZqxwHLINApcgOyi7ckju2tmRPLkxHT0jNIAgDd2l4ugGip58XRdvugnD5Pr0xbV8rcP5yHLOyFiEDaCcFFn1BLFHQMqRiTAfaecZblhEwJQa6H8qW98tDY3yIt9ngN3VsfV13m0+WJw8K1SiDFP0dkPsA8iktGrmNShC5iK7UILrCgwor02E9Hl2uWUo57QT5IWMB+cgAKgS6FTDwGT3pwwpSBfLVmWSx06utHCycbWLXmv0dSD72/weVQYveknTN7Fi8F7OaG7twcicC24JfjQJ4FRfCsULDKO+RNKjVYMMPLzSh9PAXpC1rPhKUl9vbB66XU4C6lTLatYVOLbk0y41NastYyVVv3z2u6ycypK8SY7+UOVFEy35NA2vYUDIEWTaUcaNB89+l5jz9zxVdffrrsjN2BzPhV2MTEo7gIpYgbS79h1amU2daTqN9DUeYZUACJFrQzFV9/M71SWFceFyvZychkxY3+rZ1UJxEb4ePtnQjWpwMSsfOzI8dcZhOXdwjRVDcg7xA7ZO3b+OXBR6HHd0WiFiWychzKa3B4/DG0Ojg6YO0PKz2O5+1n9Tfj428gmcQ+5LbNCDu+jh1x22+H6A4MqfHb+tsqLy6YvOSVThLlm8fMaGI6xzqmvRnUHB3TlUNjMUSyXVbtuA4Doin/NjdcxeJepSXPj/QSrioIV4FRkvGtBiRsYkni3s1gHQJ69l4SaVqpSEoccQ7qiCxzOq3K1lo4xlgOz+aRBeqSwGJW3S1tJ06NzswpPaASmvoE7fFCsVImv8+H9U+clEhFoJVsh6mUALnoY8oVOpTS+ssRh7DZH6H1sGu4ONMxZ4tY/7Tapuc0FWLCTPJ7zkHDbaxNL/CdMj9CgwxgZEYc7HAb84aMdnXkD9l72uvbdPSm7mlY+6LIgj89cKatCsViVwHaE7a/z+iRIRRSvWFGzW724Wr0yjlsHHqRr7VLBNdEFU/3FfdaCmV6aPKrPrlY+nEYm0IIBeBfIwnE3OjlqbcU2VMeqS6r+yh/bpHlzZj+Q6cG1/lF2VL3dtkRJd9JP0THdBxJ69irkAtc5vEPyBlXgZ0GPsBCPzC9toa+SmMsHGgVd9MzQ3/wexXt6AK+JciphuLJ4KyG4wPs+YOT/cSkSRmOsBrAFJvmPzkzL3GYRo4yWYqExakkRxtvuA9NiOahWUDoh45a7g8Y7BOEdeHxSyF5o/0xX5fVO2ymKnq2ShLYM+pBNpqHFJWqvBWYETLv11ULdqGObKBEI6uhdhC5N37RS7Dk0ayYTXsvLOL8qwNMHhCs+9AeYdy3IkeAnqU6P9Z/540NKrNx4Af6RlrhKsT5iH78eCdaekrvaOeAqi5s79naVS8nGgXqk4oRk5Hn1p9YDtIMdopdlBal5TUqLWQZ4G0Jv6nQsU+WGV4kB/EzgW8ElVJa0SmJv0+s5hBJnyvJRq5+kawcEDf23LSpxQMKmiP6HTbHVWbOVVvydV02ZpxH97GhnGCtrbJDK/XSXQsOV3AtQl0Xq3KpKjbQtaKRBDuH/L9CkW8GxhjusZO3a5dVSujjKDvOuFSZTFuSag9IiUZe5GkS7QXI94Wi+R4aOSHtySQG5S9PbhhnmXR814lY4kEMaebU8IbpUA4C87ip6kk8KxLqsCPlI5DX8HIBXHIgQ0Jia4/9K++c0myieIZauYe9gaUSiKaigWaP0H4lfsZECYlFrYhDj3sf5yFavGmkAfwTurGZnwIDQ8Vcq31HLmPRpknmqtFsnaPae3uo3BKntNQlMIrxJ1mN0v04oK4Pt1hdNYDnKU1Lpzsamta0xkSftiQlXBq3W5U4sMLASmB/q0oG3DP8jzw6Ahe96ckMqH/yfecLFprh1yy4XvWWsZpuZTmLSQ1to8Vx9eAF/bGzRd8wkvkboDM4hUeH2Ws1OdsCFq8sAo8HuHKjbdRUgh5BArKDFrbXxtiHVrDnSfQWpijOb1qdIv8y2JJOL7cBbarvWIQZlDPO+W8BCAPuC+QwFPK92aU5gs8Ud4BHR2xRfHh84LNb/Rncrl3nc6/2X3Wjb2ekHfQMKvvHoMzaRupMOxwCJom2nYgUJOUf9cfzwDM4//xtRmV2gc0pGXXHR3iXHlR0jvd4uwYADE+esjI/cfDewzCBWmCEF4j6+fQ+CcR6EOnjYNDtC1SyRKZMRWVKLHWM+Bkj5L3MOSA8XIOnaEXzSyjD7Us7GzSFOWG33Uz6hUqvSNFw2aeVfMepeYnxpVI2PcmyyX/ppjMlk9IIxZ4viOn7FlVvPqKHKpEhXGFy7LXHNOF560eD8C5OBGVCB2HAFG5geflv+J2fDbP+q5CF6XuMFZyKG8JuCWMIPLVVCxz3XaNd7wL+3D8UGPpYe/piyF9qMjEQwzX35rNz6JC50ePgLL98nroQudXD/QgsHr8N/hl9Xd2kO+GThlKo4jMeslHowIoMw8EXP1ccJpCSPDr7qHFGxDpjB0mEnOSVXOSRRnH3ONH2KWIj8KTMuhVa150yM6C4Yn/Tx8MW1y17nAVN9ToGQl+v2zmkHVOE6NSHJUuTkqOQNTaVlrV3DC9sNRkeP0Vbh7jYPM6QEdAPQDAn8r1xKnUzDcCg0BegNl6RsGfopOlLptCDbByZCSqfQOydu5IB2MyWCzoVAgS1bmmFAzNXRwSqRDcO5wkS8+Z5dcl9RTtg5lCX0h6iZ/2Adpzv8bT4UeubMTHk4YRHfVu521kSTjGAE5uj2uALx60+13+ph2uvozmuXk0K0lYzaGJHtiCUyrU7aY7CRS7BPiDjGIE/B3cBhr7FvLlqcPoan4LqiThSRxPUN8JO01HjvfMfUkWKfBf248x+H2vNEG1Z8/mhcgTnyHRON4D9dRNWk+uVlAMw5p+KSQPNN7o4f4/MKqIXKkhwb/dRuQNBxJGXQNXzvwLouLSz5W0/JxOKyoQfdzQbwvE6eton191iKZy1riLbJPxADXGF+mYMzJcHgTe7tFXWmKqdKizQ1RwceZWuGUaJhGJwVtZwktpfjRtHjwzT9VEsOfhDxYqOSYaJ6U8W1P0wQvysehIse6gHcwVIq3YsUWga0xKsnRpdgjd6lEFZkBa9ib3lH7X0Td57wak+3BlcRox64h/KYROUIonyCw7/NkI7i6zYERBBjYfDDiuEGUxNofz3tyTN78SezjNspM/cM+FYoHQTW6r1OePEf+sdR6P0NaC0uFgILCnY2ghZuXGve+vyhgIGD6+LHyIGoshJOi8csU4dxnV3MHKzQK6jvKJiquDGeeax7JYr+yhFPVOzKjApZR4+NAe0a1bWS6G6Gv/yux/2uG3AShCmqoJp9PXLHTE/Nriq6icHHviSsccfAfKqnl4aelVUbu4buZmqR2qEojz9pbONt44gVXM8gJPskylAMwtdjdyVVU70rnwbGKQUDWkxijDnrz8aGjo79KpVEu7v8TXIDvv94OL6t8TtKIVgmwzxD6ke2wiXDWbIY91quLFmeJY9JTIVS1k85V7gItMektHMffrhUnsRoQtXIwDFWDw0ajswKb0utYdzBOTd3eUB2MT4rO91uZvPdR6G2AVHpHOuoEZ1LCn7HgGsXUhvz628sjtpjOJChdzEhNUt0FaUewe88VQm7N9Eer5O9SwPicq64us7GR4pkPDstTF0AFUPOdQLJ/83qaGPKKgK0ljfjQoVt01cN1X2ibM/iegAfSwO/nECVhSDoqrf8cmejGbm5SWF3h/4moBSxT6r/eFsGPhOHZ4y+bi6tyiDmZzy29++zTvszg8A7SpaYaiYJJnjprI4FoKXeEVSfcxzSsm8k3vaZ2d2BLHpUAGAlwb4OdlyFudTG7FugLKL9gZJinU+FIw2Kna9K3jXkjF5adVxaK+Z6Oyl+swdC1ofZT4WlsZfRxxf2iYHi/ElpB6GVwbBjZrEmNM5M+aEpp1iQdVW5uUSmk5mBy9/ELDiYF/fGgpKWxPxOXAPWQ8+PHicGM8RJVqReaSnKNwDfdwRSYOeWl8ZZlBXer1Qa7/qF01bBAIVuhqVA4Q+D45/7Y8EsB2KqvUAjqsaJqo4gDBfw/J/rMQ6x+v2TSzKyz0pHYyaT7vDmT/aqbN0KbYul+c+89gOv2/Fu9V/LAWCDWNzVcn2Zo0Nc3zgQ4pr/g1pK1TApCFN3jXkToSWV+c/nOvTcmzGRyIYQeBWJME1BzfP5CnBlHegK97Mn0PZtQrAvTS+04gF0TNvttvRXxD2wrPYGGqmamvrBkgqoAylmU+lNH65H7RZPEopvpsy1q80D0j9pevGbjwHyp+/yBtWEsRTCbrpb+pICmApk7tnIR2WH29Q7jjwI1C7W3/nxrYJWikK/oG2dUfAfdk2svTwYdJ2Ux3Fxe89eLi4bwKoI3SsfOASWL9lBpt9/lk/lJdQNeupSACY2rU78s1/lP5B3xDw0ZJLoY3ERBcPdOjw0ElKs7HLUPizpRq2UIkrCT9QBqgpstpVhaU+v+inKJIorTNIpI1bRSpuRneE9RnZUMIVLTN/QL9y2Wj2VwpwFrr8NeRo3TyWC+nyx+40rblf0H4BKECHRD+TExYZMe7Pk6uh4RORtJ++mwQ4SiHFR2jXr7aJQjCKDZ/RntfKO/dnT8pGqNNwuJIcjkH2J5gbAHglQ2y1Tsj+uw9y/WScvymxgc2fs9IN/es5qFuJY+8esGVY5gmIvYLAyvRzoBPNPAwcH28oGlvsjeKV4lm5dB43O/Ax88iC7svJizeYCQ0le+78ZKsrrkDHc0EgcI6pOEzmz28PB0xHw3/a/7ioZ+ZcQi7iPfqWslfGPIWZLqMwf75zLXJQehFUsFdfW23TsPJ/LwKkfS8vLnQhCBphFo0yCYCMr/v0xkbgPE7i7rYZ0TICq9R2myeqW+P62F4tVBMxB7DbnkxpRfyJi0Ve/R5t2YzoXpG4M4lzQKBEYWIeD02GZNbc+IV8PZlFxtZI1ey20tfTLZH3vjahYoomGvwHRqVckdVa/OhUiBX9/ihSVVhxBCIf+1danBy7VW1gsZMv0tjDkQt60DFjGuA67qa+sxxpfvTjWHM6AMLrQVCizLVZioZXAe+ApgccbGfXxaBCC3R7olrKdnxr9/bfSxNqPDWGlDxMmWYDNoncnehXT6IpUvdRd9xoXAotWfuqptEICv0M7p6G7jHLvQSpyA8Ezs6JKsN4/sTzLLPBUVmz4NMHxZYdSRYwOmJIHT0BlE6c/CRLo90N6sXYb/2ERUui5kDOSkKuOV98oV8m3XmwfeUuDeX6hL5+x9nkd2yNGLdbRO8TcTpTTrNd/Q+Jwa8ZtvGF/b0bhUC830hHixV/BYMmLMEMk0w/Ih/7nYlz5aCq341bG6hhl1UxfX7e/25kObaFf7ZSxkOJD6S0iwuqKtYYGVKmfUeoVR2LgsDR4ViNOlu2sfZ4hWxyaFtmJln5t+aWRaeR+uP85v2PQ4aNd0q6pFmkPqFLYzsPtlGziM+g111qbEcWFESyU/4NKHEaMRuieIXyTOy9bP9P781mG3hTNfoVORTox8gHAWbq6C5xr7+v7RrOmoaBTGsnqKoiXR46esaLQZu2uGcWaSE0MX+aRg3deENCfWc1NExp1eTafb0VkO/knshmVaxvGTgz5WvSfHb33ftCxhq5dejvgvvw3+jP9jI6gIyo532fOX+g8FRcc9eAnk7CIh0IAiarVBh6IM1srxe88tqknghKN4aW5cvsh1HpEvTFj3R6Q4S+uQPbf+E2Bl+tdi3GwaceAwD5Npu1aSNXwxgPY438hOa9d3codzI9O67Bz+SbVDRSSbQLVw0geASFpApEY6930mfPPiOLlF1HogZUrAJpZm08uiULm2vquCrnHyv9UcjRnoHwrXFWYMBGstfhUEvZHgNDwizL3AmRtMSox0iJF/s6x90fFmc9hLodnfIS4Jw88Fb/zh/7qZth1TyXhRlcvsqenNjG9+qoN+YlJv8BRXpraKA7vjIzLUaI0ajED/NlHgWbR2SSBf5Qc16BBLlYrNKX4mAkRadYpXeJEGdCuP2a7AsSqvOL9DYwu4hsiDf3DYJdF6p9omLPseQi0YFKLh6sw3WCnQ+BeEClQqfBaQsP1EqnxzcsPoGnc9ArQq6S90jjg6PPfpNd8v3PvKqTn1ElwWl99hr1seOYPFdusTzFXLIDtHNJmvHNPWKd8bQ8UTmDc5y+Q+SHK3+lTivvmaeXW1A/nonnGOjYU32ztRtBjE17eHQzygFDwKdqBVS/Ru0TcyLX7BpDNBiBTH/ytqy4Vc2JtbFqzWrdCnTO2IRQqB3/ZxP5s6OEe1WBnjVLAbePK1hrTo67fn/wIlLg9rpjbNmAe1CpjzXsSS357RBxyQy9d/keygzWZmCZrR9zeNF5IDruJ/SkG4Rzv4Scu3FYfaV7aiklJm2sDjCCSxVVdgnKDxYllXdfrpeQ4bT2/94amTjvUCbRYrAkjRSrGkjPprSFeNqjV6GPOA+4HpQaKGc1aYJYZEqR8RDlxVzsZ5IGwWrSg8gXmPAIz409suNjtgSarfq9OC0ohoqEqENtEIHp8Ln/ggQTKtLeVTvZF0cBJAbA9VWKmJol02oJNElcaYRmRuLnaiK20yr1SMF5j/kcknxxHMSauFvfIIUox9feQ47MDp4RcjteseELKcaBD0YTXPmbRtLcuHH7dgK8i33BphVPmp8lVjQg32a24FHV8yCXmrP+ZwREAXEEfEMtrx1++jDQ1XB5enfP0J7Po1cwIGs6ykb0fqFig3obtUSFWSn5Ng3LRU4VeiJaXUqSXE2l1lotx0GGqxq6y4syJBzO7EY7em+vzBBsyrc2mmX5p/2vCu9f7H7vysGceX/lPpO6ndLtcTOud6AQSh9f2kfUgmrohhbrpRxZetS7h8Y0EWoEGpsE7Rf3VIDiTNrRAH35TL7TeG3IHTfMH9LivRiQBILa6cFXT4IYVdmCNHx2CYMwqYeqjmU3Tnt0qipmynery2ltMxPg7jwq3kgigp32in7zZz7GaX7TuRirc4vTDc+daZ4eGDe1wfQkEBf0p0LfpTwK5Wo7LUVaa0tOs82ExuyZIodj+HwFj6lprng0HuwlQSWLSiZtK92bk6C5sNFVxNsNaDXCyzHQiAUq7UB8yufSs+EvC3JjQuVpLcP51DwsorcUa0WPg8zwYV7oOPADMY0bOAfGWhfFkdEZ8LhkvQv6fv1pDr9PWAg5xhFXUgY8m7aM12KRNaG3DTyygVdcFAO2ATtqoZpq79uKO53XldIMZpsre76Hr2ZUNmLPRTR6Ldws667QoE8jfS7s8ie57MBrhBwxZV8pbBWxBYSXYvi5p9s41H9L866WqLGhLzf5kX+Rq/eK2kx3yyncb0TtJc7ojzc5mxdy2hrdu4NMZCrOTOONzCT3XMOfQE3n1T7NdMp2PJOhAHn05mDA2RuxgtZU5nOEuCzyb0FrMUiqTukarkyapMJPPVI/cuvkE2Tspra7VDfCWgD0Aq+S2nCpKbIdvpJzsXMi8ZD0fsusI2mlQ0/71nd2krg8wG2ISiaPJKD2wrY7hh1GSbgnFnGiIYy9oTACqrHugBESHRhxjGeqYjv11UU3T9i1XxBaRQb8Kzms1xGTz4oBNIs4gq6r6CXyppG45/ugGHe6RcGddYlgQ1HRwAyiWQyAJNVFZcVHOd1yw2eJZa0qoiI+ES7NLrrBMeUq6lrr6mtKI+WH/11ZkZYZUzZmmZfZI2PYXz3mXLdMQDchrpKW41qffsy8KEwD2gWo1AVnbKKRUqH3WootX1lMVsVZ15kA521EamzsdffjiekGMcGWb7TZQd8eJkPQMW3YV9q9bPTeY1n4I4wHXccOu3Zb7kkmNMDh4a5gNrJ0BC3J4/aHU0kdpJ64ER8qxX//sNMpybvd2p9R9C8jfxArTPPB8WVNOpy4MsaRksvG5iZjK3YZFAE9LRoSWA0eGOWmvoIejBP+5pU3hYtP1C34QIkA4ZrUkwzsqi6ScKMzv7iwmE4Tb2I7hMhLhJFLSClNAiLpBw44KWtThKlZCSAInpSXKpkcwu9IuUqetFlElrtqmXGJNmx1tkNHysxKHCJygLb1SNllVAb2qgkXjIQpaWRhH9JB1ZLViopPVjq1VmzzTMgSR+i1tuxdZJ9VnbhxVMiUIdBi8pZiIee9rKmBnbmlI8lc962s2iGsyZ7mhCwVi1JZ2dZ5vM5T+fBEnsQVJ2B/yMkqxBB2irOQ8OM/ZnwoOhztPSK4iCb2b7g8a7TkhN3wwltHX6YYrEv60JyT57HDh8NTyWdikxguNfdgFFSNAVaLcqq8uojVDzR03kaLgevzpdtqDNmOLcPT1zg2Cu+MBY419Cg78szLrLM+sncr4LNiciPsom/OGrUn0iDCWHi+86dPgj0v1wCCuku81K8S5td49EPZV5PCEXdF0HVsP+bO/IF9r2m0iGCm9j8sdm7mF0m4/QjR6kvMJ4K6Ab4OVO7VdYUllQp4MevVPGLBtRNuwGPHLzrWddS5OBOu9Xi6M4K3rpAxKPxbF25q0HY7oqECg8bMFF8Zdwxas4gMeWqQfcguCbTteSs/Lbw1C56pcASg60uW4fqHxULaABWKX47F9hlZydbGfsHckfGCqKVRpzCiuvfdyI9fhUS4Ds4ee4vS4Xzl+pJe1cypiPSqWT6aKAv1g5wyCuV1WtrRH2cD2GzFNKZcInJ+oEHs/6hXr9HlqwLf9IFX5MgE/drgfhdTJQMEq5hXFW+dIzdzB4kNpWRMV07zL4UnYS41Yb06w4bXYvP68ItSiLCM31O+u8jRy2+y7lNLRgFvUDfItndJgaRqJpPVETDpVubnzQTspxkEsR+U10VCKRnis2WQUYQRi5JJs2gTPB47HvNyZU9MvlYtEYK+NTNRpv/TSsT46Ea3mxojLqP78UdY+EOurh3TK0v97nStA/MCurliJkfxKF8uyImvBQOr3k2Gs6w4QnSjMxubDFbWBITRuSqNzWYsVU5z8e4U4Q9vPgzEtW+c5ZonzrC8nNRxfhUJVnNw+CDvZWE25IW4nbKA8KLV/8GFYe+gdZTigpjYIAN+5k18+ZkuvfyHcQyzLECW1zuM599zyZk0R3nXCnVBf65o2f4faBMwVpWEjbJ0yzG3Soyf5iIAaz/l0I4vf7Nvjye6Cqy54SxDfTdVMlGajB4lgrcGZCeC6v6tx9TT8MDc3KfvxEOIxLf/qdqg4Q15vHgEvHVtRsFVE4v45ASKsWhDL/K4ZYdHbatRF+QRXLIZFQIGfdpOihSgr9RFhSzEaFsc8Q4YXP0e9ozsIEPRT1ypFEAsErxSJPNAf/5UbHjCFdLgR1bNBCQYtV9zGvfD3CoEMo+3CVeZ4BqvX4PoLK7smGSeIPpnCVqz23ycMn+8de6aaB4afxOVYOYRDrkvbJPK5FiQwIoZRWatvibctUpGTVjyQnyZjqmyCoSZaxaOtLRhX6lI43XF61Je0UWsatHeqdXNqD5TPS7r3+vk0B8I07gyNF8afcbTsrZ3Nk34FWHBm+towuL5aCwWnTAbaoQim9YURcciQkzPMK5b8xZvP+gVLxeKtl/suG59XNOwNwKdevphKgfVAUNo6vds/BWwzwY4Cd+a2mSDCFAxeNjL2ngvQuKg2L5Zq7w5m4iya+GT7yy3JsWFvNoT/ei0GooH92ArAnxu4OluJSZgqsxRQWNGL+VIqMDeldxIHcUn9dgUqkW+U+G8C1im+in/szzZW1++EXugrq+3Ow52KjNbMWX+yDu2yx9oa6VgSzOqb3yyExlQALJan5TQy8h8ShGMNPopuZDQKF8lwIURGVh00aU/3saS0Ugn3gKVlzu3CUoOZvIfTK2/eX9lqMyzE1eQI6ZhOT7zAuI90YtaHOW3XWZkxm2j8sTT3iFIfBtD0oeR0S5/NEnjAlU+qSen1cMIWhUHkRPoh36F6IXpJJvAtYwBI876eq+C/kegkWZYrar64E2fqvAPEIKx3LvmBiLQrx1VL0BlDcXXbaGzRiV85JALb5qdfcMxjceZ+zNUD7q9WX7JL9Vf/2yn/1zG7IuF5plALebsvKq2SpP7l4axZyLu4oCQdqyNZXQ86jQKxgZp+jBA+SeeuYLWUY+X1NYS1RHHcH2zXE+89e+9poyXHX2LUBvz93oHclqNVuaEKGpGMvVkDpu/JiTrxjV10FNbEXcKzGux0/Jhpd5e8M226wO0S2/Ryhl0spc1RhVHqtfYqZLs1gwNKQamLXRHKUNBGVslV1iq6tSU1mkXWzx3WoUK5pZP02ip67JqiJrHrhF79HT1vdJSXABWCCFYBoH5tya40fNpNjkS53mB4w6drYBhXzSuzVgu8y1cQ/Xt/S+0WHcTLk9Zka0QC2pyhF8nZAW9am6/P/v62dsTUhiVPvD7cxBnPPXsL+5gN/uvBtfaqzmFz1nVU6I4bKeMzqpMfCrlULWbQryhEOPj+w2JTwztPyx2h0jw6Fw3/AUDUKhs9aTv4aHzPHP/UBm1lCuwyFSgvX9tt1c30qSlG+IxRwMP6simlXLbd2E3sWWPQLCnYEmiFm4oyFzQEOLWxLZ5IHJpySi9oCVm8ndKnTv9NpeZW8rtEwS1JtGmkjBJLZWpCQXTH9jDEYSbGJ6HikZ8QChjuGfh+/RSycTAyTtjueCt9pxJlMidcnDKkKrxBKtE/4yTSAngPpfWVbScTkuPvKx7cVS0glxejZb3h2ikS1CrsSdN7mdcz9tzsJWv/WwzVVVzOdhJ3mJvEOylZgBoDLEaEn+ZFGMd0rmBrGkTFniCYcDIaOn6KjqfyApBcxrEPTMjSuHUXcHejoe1Pz1Vzi2F/er8dAVvp/OYnMyCY+CNn8B5/oLADWgC+mOdIdV5ApTSx9VrcNDQ9jpTuqUdop3GdW3NLg42LF9B+83Ba3c0SnBjpBzp3GqikG4Ri5fiR90QrSb9wUaGAD25GUNbq4S76UIsfvxyWZ+86HA4NX0eH4OH7bFUGc1Pd4HV38jMELvsI72cywmpjn/IU71clYLNO1qS+p/bMZfsFEcCW4CxGHZRSjx+hhDs4qqSYai9CKaRp5wFlH5jcf0mk0E8Kl03pETEp+nwe9ygGeNo9mhc8rwwoEaVD3I7Bkc7oVqYdr9mkWogph8Iyr+1TQEsrOWfytSNY2FOz1Iy5cXdY+YmHDs0CGGNXr5fUcfM9FTsCbSdU7WGnJt5gB6fg076Mdr/ahw+hF9jBLpf/8wQtaQpBMlBHWb6Dy5P3NsXGWaFBIOF1IlQyqIqb/qVUYJtVp0qJzHkO211u+cjHgoV6ebLtrG8tQmRmHenz0VgIUj+qWhkXQP4mhF39lhtxwJYuUx0GYwq2id9KfFFtV9CXAkzJtrcTHIeIz0DP9q5b07XAtjzY37DFww0OhMpejnSu85J0YEMZCrdOEUSCP+YNsAiiQKTskgjcNj1I5YgY0DmO0ksFNYSzExwumywC3u5AmeyiYnGrtrr6OjJQtoxVRI+QnmA9WoYJpm5t0sM06cGILyAI4VUMIWQPb9oJE8KmIX6f7ksrK5pAQxuPhFN2I8xSRdHvYA3YL/Ow/70FM7vE1CCjJR2EsIoLvozOlOBphdj/m+qSFZWgubKLB4kNG0kbLhyQF7wnqANCJNDi758uhA/szEdmpszUJTbGEk/D43JMQrEaO3y2HfqFM0DkjYRpM1uWwVxYSk/DHsmS8XVFR4qXYGlZuCClcanrudoxgb/mU68wj7cAoZks+adiNav1CEv3BP9cpgNlXSgaR3y24lLN6EDBCrNg2TajHdMibXBdhJwimFgir5HV/5WVy9j8wPf6flVcleOppuisIYGBpmsJJ839z53rSkTfFp1pBt16QHGRtL78Tb3xJ6jFbNNz17zOn26nAR9uchee36JCg/ML5Twl/tnp/AXcqLQChnfZo6t5I4PfGhi3VC6jldZyXgD9mthfz7p37HI7Eu+TCUzG9J9ojQB2YsEIrf74RbOr35KKiyU0m0TEPPcxShR1R9TXILBTQHJJzhv/FArmNQsRnjbuqsx6w3KTny+YJ0G+WRWAVvyV4CynQZsCaWyc1ACjFG5e2qC2fhD5FtZCgbJANjtBtcFoNamJRjO9L3C9eVncKjbmJXvB+i6DNehWFEY/OeQTJWkBOt3x+IiR8Bh0MrCo4lIz9Zh3dPgiUFwwqZlDpviRlyay19Feu0REoevWlXh/Y7s+1hBvO5VCxEBE9zidjI2sG0eO+ajnLZCuc39YiYnOoFdhB0zyl5qPmKwNNX2Zxfz8SvafRjTTy2iCileb2Y9LBwaivGsQoEBwGFDMTpnR2MadqdTeIGWvhcCO1HUm+D/KZ9vJGftbdQpRSwKXoo/3hWNWJW8m8agdauLnq9YwvwYXNmDaF0KAJC8BEf2yj3A2SDYEHeYes1hYbnMvzxt7Tqz+sfpTy+3fZGodvqILTpor5EyJr9ihEegymcnzlHCG0k7ggek3ZV+ZTvSyd1ct0EnZbv20VQT4o7AIVzv3mkwI+IFBjRya9QB3bAv6XqQdAlBEHlZyC1gvsq+DmE6cgIg4lu91aTmtf4gKhNTJTcw1ZjvvvK9q2oN9J2i+smpxDCFNXut6InJNQps4Etb3E7Q5mp+RqjHAT8LjiEqGOBwhOSfTrT9u/npayrDYZIhspFLdm7o3xVuPhFhpdDSv9IMTlNmbdcfdY0rjLSSqT4OWc0Nh3cE93HCocYpy7q2uiWGwJNymr8VfBaZSGN2/oAL3t7BlYvLLlSGggzLVyNKgFBbCvlgMVusxxktEgSCtRbBTloD8R5ssGs8QwBmHexBH6E7/C29WUO7jbXj3nLoDqjCv4z6l/+2jKzsE4GLyDfh7DySDdF0hmZrSb9rvRERvnV09bxJ+QIN6+KX+F8koz8VfwxQKpdRbw8z/1jOUGjKQuI7H8A+I2F4FxLXrBfCvt04i1EVu9vrcPXf8Y6mA24PcKpJJzPSkbPVlHXYCWi9wFxH/3Jm5CMSMy/xndqJ3V7l3LaprgTl9s1Hspy/ZAP9FAHU158mmfBi96SUwQeJbFCqWam98V/eIEC3Mrk5s5YlKILrWush43NKTkES/YWXMqiNt8rKhlcx090PDlXtcQGtq4tozJDxM4Zyr1fu5KkoJ5QDWCj8P8Xfw1PGIPlJKdgV3EsoGj+fWmqlPufeir7TyKAwqOJkALAkCwVzUrNC+tWQi4NMiiTVqaFHf5zV/Btryo+NNbBjs2X+4nvwbkSwTWuzlavVLZ4vcqEDPHRqo7vsqwD6k+BNxwwhJ1DUPBP0Hv81kKVI2ijGvBSxn86/6giAuTf8i4g/UsGTzdJDYMHViw75KLydD/hIsddDwQ7KSx8M8bUnPzqstXA3ouaweDu9LuJ49OezrjJlzHH0tcp1szTb3V8N9Lhbihf2g/Ks/FbrEMMC0yIwukPMHVk05YryjkMCplxWhJIVm1PYJ955OOYmcfeJf/ajWTgn9BeBNJKKbEUbb1YoW/9GgCRCjjXXQTgJ/Zq9V0Xk2VlycelD8neO5nxYEEfIz21N75KL060ZOiBFYYYLm9H7luI4vmklFx3SjuKyf283f1a1sNWZMb472t8MLmszuD3w68NN35K+Fvqc0ajXhKI/fYiTl/KRqZHTLvvpBX3OydURw54aBTqnzpx71lAK7xJA8U1GshKjZYo41vt4NT1II3l8ANUDtQnnq3SRLFSRk7207Zoh1KoyzV64yJiSj1tqM2LpwrOhwHX/3HD5DQZ7OZzXAqxo37yGXk3P1AmhhFJmCxyIoB/+pS8fkiSJdatbRhK4XvvzMTITgZch86WFPDtsirI+G/o7BwT7hJ3E4/DSgIXfL/qXADlRXrU97BVUoeKB9WA4K4nwd+oMOiyzXsu53dJx2x1LWIkEOGRhz97Dol333SkLSc0AeF1uDD/ylfxpJVNAn9H0F+XgDGjLMxY+cLk2Wns/3bobpsjyLXusSbM6+G9A6PFcP7xrvhvR+MUlYNypwSDOzroTj9qMe/OuooNjK2wan85oA/Ve/cJJA/f+vfbEtoPozHyqL1PDHvv0tjpVJNwp9p5J1kWSdC5U0WMbCf8wr2UnLiPFpz4I/janmPvE4AaTizoV8DaQwsRKqGAjTh7o6ZphN/GJbkG9MQbeW09Ynuucuq48RL8aq9ilm/GoJOSY7c0Se5bLex7diMaxkLHotUNB89hHasjznlTvSsJQgHmOE/+HV4lkWMHiuXIJrscAwAsfTr65NjuYUSjjQmAw/Ll4J8gVKICAVsBsqgBbc9xL0KDWI7p5V4AVZzRhDADaEDgOMcehDie1qNSDeWutV4oH/AZe5UyArzhiuwRj11nZ2kthvD7ql3vT+GSb4brIgMm9xNeKJeCxGm2GfotaKvy9BrzOPjg/F9Qxvur7I3yvm0sNycj2b6U2LFtr7Mo0uP+BP4FqcHC2ewcQVY1zI3atKnb8ZbY99c9AbIWWQo8iwjfuWDTyuw4WUnMUJfrD6d5qatdJI004RlpAzKrTSb4ui2r5HeE3DlC10o75BEU3/XUEXUv8wT32OZ/nzk8oDOcQ+TuVRjWT/OyXxFY2PZzT6DkNKGj1CebWQqpvmf12PZ1zkIw/EgotUshMRnP476IjoquCAXluzBxiVE7OdcJBF1M+dhmm6vxJ6D5wLzq62rRvfhi5w1I6Jqurr+Lygv4rmFGdew2e78KZ6O73JzYxl4+lsYcmzkv1rXw7tbJ8bHciatCSEBEZUj4949ai8V80ZGmEMkW7k65ODmgexuxLlmHwiAqj+yJ374GdcEJGlVykR/rCK+hUiSPzpvkozr2XxmZ1RnAem3f2zatBpOJOOaJ0/B/6BFyaoGiAC+/yz0GXS5P1Kbmhnnyg0hTWyYzXjdo7OQelfrFrJY1yEZN9OpJUnlIwtzF8VrWd83PMQ3x+B2wutMXs6A2ru+6foY855q5VdNd28ucqp5sdvyFfm4F9yrYwpofShE8gCGYVZ/YU9AdkOeZ2aDllNjUpK8wSDzbz7PG3aZhzonRjfbouVi7WGdMR5xfyhMLlpaJIX65C4WONBB1VRKTSrKCCl90CXiCWWQ12/lEK8hXoHDfdeZftAl/g6OlIACEbNJbSWnKtuv93+wBdwcW+E0BtOnG1DWapEoglvrQJ9rUXuuH96j01A9kfdPm5TxvA6YcaG6s7VfbG5qjJHbTyslZXsKQPb6oU2bJVEG4/37DguKEaOl8V775Mg7zpelD7RfedXfFxiUojX0C6SKPCrLS2WnPBnscUVdmaVxOQTt5cW5tL+jlrJCtsUR4PVOZDCfgDRBHcq2ds2f6p9bPlvhWvFTRwE4zmgmGMYZjo8JlgLev/vSh2jEGE/+bp11RwFJQDMo2PcO3bqvFtxikNeHCGv1Qf/e8izIvi5Pn0/iBIKBZQ90gMc4hkFT0UjHuJ6dpEYc8+1YwdftyXXSKLBTLQ8sHn6+jTVht8lYtso07helnJfCzrs9OnejM6PgotDO+a1mQYhLKSYZsxyOgFckGCxh0GkFGo3CqF/lhZbc4BDhmh25krqfH/3NdJWbAikbKEKm+4RNddiIv4jSot4hVFs1fDKhA+o0+3AHvmcUHUfcLPmRA0+12YJPBfZW5pkQ0kpg0oebBq0s+OfemwqjwexvlZ84KdPKbUcpH4/GM56EZHXADee75X+VL71j0Bt3BmWMLhrl06gg67b1OZFBDRNsX8qI9zonp3+GsUvOKkLapEMqaUe3u4UWmADcABh04CW81YRX3pf098Jp3+3iBjOOcrgJOxwr27DewjKDHvDGIPlptuuMKAvD1BwZ5+Po0groFjeDr7GIWifOI6rpA3P9+VgqT9ARegb61xqUmbw3ZIDZFBuz6Gix/hxP9YdF+1UT1Oir8G2HPuvmoPCEI2X9tWU8KbyHFPlfpc4Rfj1IVGtb+1aQ/pHF3o3lumjk0/5AnSpxxoiip6c0RHZxmFCe9UmN7nMUYOubsJwgIw7LX0ki4U6FhIKiNISt88PigBLT7LINdshkzzBQ1Hmb3pTTegVDGVJOb257Bo8cWoY7/3N8pM0agKOheyAvj65B2lF192fnlDU0qs4jZ5jxTnpJxF1zbrdDlkOFgYdaUSBbINtCNASVuvNC/eyTueMKrR+KmGbhrzpuBrMzObFa3BUY7eTP9ER1ykdQpvClFmr7mb270zbeMKLgO/tV6nVWsKgnZdfH9z2na0Ew16V1objygtOxiK3O68qLiRfY9PTSwW+pDfddvuTTzNbK9OjtNjce4z4K8RDqhS7i97SUl5f3Me2GGHc1LFsqbXNHvIVVBgEFsxOV4Jl0blsFK47UUDqQKmoh7JeDME8mXcdh6MjGKANRJ4r9ziptOceOND1K94RZQ2wLWUSV8Q8ef/sJw9r16gBAxvUf2wd1lO4jkJL2Q0UrG2iuAD9f6E7CWGLtAENLMe2G0bomt0xHH55dYk/15dNqpUW2ctwbaKYcmHQX+g1Q0deq0/I8tkXmkm/VoWaU/nLbt6xnIRNHjqohvY8txzmmP/sG5EFYlr1yU9IoMH0gzJGTvv6CNenKxFpCFgCwTVGwDvtEBHSjkAG/hvPueHLqyLWhoqf0kkCllhpAabDalFm47GhDWAgmLTSQiNeUCRPdBL+Gmfwt02wD4dM1/nrz9uA86flfsMGVHsKshJjcvXIw9aKw4w+h/f6kLQyEDLl6srvmHkRlCjaNUTXsCmpnq+kf5Weqi5bgtNdgWKNgnT2B2KJkNvYjDgCtPKJSzsGeCkqhom7cT5FxevUlvehyryw1U7jzq457mIZxvrksQ1C0Ft6XGaPZQ2qKbUPBk9ZuooDkKAkp+oVVzo6h6yC+6WRF6qLDhSj3Vq2Qydeh0w6x2m5YN3gKd5fIcEKUfFG57aW3LyUfsl0UQq6/E89137TtjMg+PW6Mm9SCj57j1jxhcabSgFf1PsehpdnmpCoSLXb7+I8oHPczTp4V4tvVbv+G1wB/A4J9s0VQCO7xml/MdUHH7vUBi93LUJp/mt2CjGzJhmTFgBwGZimG757kBT376fUxU3xllB0hQXoO7eKzy0Y+6hIljISIX6FqmZ+UfwLuH0oDy9zsH0+EYjbWHk+r8VGX406CinWQ5Wqjrtgo2NQ9I3/IHDN2SvsONCaksjP7ziu5h4V9B81lB6QZq1PUWabd0785k4pAcuJ10aBiLqzFlJi3LVkExnZcvh6FFc4MINTJrXx/8DQ33NvYnUNwu5gAoj+2rbWtrvqFyULcfq3RUgOXM787SnPzCt1yEsljIa8vAyhKYvSzWo3FNs5hrvThPE9lXiIHRaj9E5SlBNoxvre413wqYsu7cMhwhF5la62SBdgh5lkL5A/NbYiAnOehWqxyj54A7hKvFKDhsDBKJvph3AcJdLfSthDc/L6fnZIxRPcfJ7yLkPJJ0B1drI5Wxe48iS5YVjtDhrtsejE1A49UR54WPTS1VziTD/ySYwjgvyMwIlQZ1zOvzw7goWiW80V4B7KIxYMfceEmmtcHZlCXop9I7p3jcEgka/yWhg4WiKVesgoe7Cil/PkLSwvQEqwSveAkcwZnEy37iAVv9f+6CI7zf+C6kNco4uPoYuT4/DD2DFXtqNxiVpp4bp5V++cx7NbshaXH/D/DBFopILuQB3B3kq2AtSd5ecXOyl3sGhMzI8fUtNbLdHHZjxW5mHvEcxvv1IBXNKkxLbh+YmPqKtx758p3yeOZdSdih8ZpyokgtiosrIVCSs8Ef1TAG9M02K6V3ryYYDfl8hz95JchRYzcF7yDYhjsQZZBDzrsmRp6FVDxrPUES+Dm3exgYCV+RZj/u4O6amEUzeielNxvv+CZtcDHbtQaYM59wcaAsSqSAkmjS8rwlB9sXOH6yponfIx1yjZMFQn38UzYdRmEOu4PoqHaV5n7paItD2mwHBt/E81TevspAgzTIJPshFYdNeRyfl8hGuspvpisa3PiHWDIwMyM7T0Kd8Hqkpsult73itJAnMdGmBtl2PQ7CAS5RxTg2RZso+sHoxt5wnuvNMYt7+27Ufz8hg7s5l3w0h4hG2ezqTwZwD6g+UpLLWlmBLQBhsmWDvg/f9e53r2OWPY6ugrlIspZCax4QiYpHRV+f35ufHSIYKyAicFEZRrICuh8wrnMZNmxa4RDfOg9JPHmTqtabp73zX305O7wBgGe+8Q/5WzYe0QofKNxcBeOoy+jhF4xz2w2/h/iert+qkH3B5j7zpI4350SLfZnJpkKFvNCSFsbvGBITB5Euh0sqUssK+odlfl317psJOCWT5HDhYhVak5OwZtTFuzDF6YJ4CJE6iFGm6sPiOAJzppUaC3vgADSedWdmnW4Z5M52kswMZsnOhyBz5WbOKAUTUv2P5ojGTwz7y1BDvthkde4uVEDH4eVozu1DNB52yjXDKeCREwe3pFYYWWG8nS0UrnfKhId1RoiJuT0P4WI7znRUwqheHfJA8g3IyxGoJcptitulrTDc4Ejc2ohH2uBYDVGH3ajK7X7x+o2GTQmWASIAnH5+MJxP4Pb0YlT4st7BjW1M22RhvhxmAZ45wI6CPmFPatD8icm5BxfReGp5jsC9ueRQzWOL/g2WLPE9ypzGtBj54+MfA/3UMlkk+urM5TKhX5/h21hOPcz81JJ+N+dXPyOvQMfDPpkyYFw0iNG08QQMXyeCoLI5kq8dq/IPHWsFI5DDDYZDN3Q7pFDeq1B06qyuScSpg0Ebw+Xufv9UPSwdrMnY9auDQNHVO7Duvwi2yAhwxheXI3A4HfEjFpSnZRfxHtXr4TNggjS2RBsRtPo+gjOxHx7zUemHOMtnJ2JfWIYgXc3nR4336IMDDwQ/eMAwzro3b5FInebKUWagqMxWDdCU+VVBfJ6dbMN+zyzbvdiareER1zJurgFoBtRLZfWChVXBekdW9Q2nEjXUGduHhVkkXJ8Rk/23Yy5NHFuBuWnR0FeFyxMr3hmzWVAn9Smj+nXA8RjD0R8BE8E2tOuZneKyAQ9dQgRrqkvczIbpJG44snv+tHtnLx3MgBmHaBSwYTO5YEx3LLoAUJdEddvHE3Ns4x9+QJ8M1/zxEKs3aZvU7c5XdmSpbLUAeruoEHwTytOgG3+G7feuANEW3n/Wo6Bu5aMYtEmgmCXp1UyVmPpa+Tagr8i92YCFsWVsIeK7TTh4yecQflnnFNasVjAX8r1b5kaSni72gCPHzYmmAkDYbExYeMbqUDUSSw6jNgSQ8qFTHqHes4S3KQb+KTZwZBpSh/rOy5rVq3jSzQvRDhQtlBRGrbrOvSBv+gz980V3EB+STEDj4xeAurtYbz5RhbS35+cpglLqXagUzfSROhMGdLickOIzuqqHHBb5v9N9YDqR3N3t5rXq3SyoKH4DbUQQ41khapZE+GIQ1BPBgwSLkJEc9OSK4JyHsNre6F3k47C20aZW1AcPDLKHa66Cc0GU0ssCMmFHVtFB0Xh+Ie32AGQRYhN/5xt2LSJISC31nT3pzKE62SpqjrQxdThAacutkWPDVkJotxpwV28reCShe2uOC8bdrbCXX1M7a5Zq6fEiQ3cmJFtIVI4S1/7P4I+vNCYYDHeB61ZPpdBhRHiMU3CWE3NhXkkx7Js2bWtBFhWpIMmN4+CKnuhoN3QlBPyqcBNIGXePHVtk0PEus9PCQ1u/aSZ5crMwY9bI1i8WpOPlu7jRvhPNM6psXAdkwuRbzJg6QXzu0RoZiePPIswoT3wlg14vehHhVfbMj1oI9GqlfkZ7GsoYAk8gCRO4V4x5SFq/h0lmVa7sCD373jAyYtcJS7+RLYf9HndtzTICcJfubPxruIjL65MsoaRlJBtpGiLohVgflRrWesybSxzlLfbxxjzkMZP8d+hCQQ+hdoUtpc0z+Cp+prX2+mCTMletgyrOqC3oIiH6o+JyQx9M/xDMt+rzhPtmyeYepY0k1TjuagT6QuBgsdifpk5LkefH2/Gsdp7xhFx1eX8Np5BrKct17kJx4w2dHuZHfWlPCvZ1mpFyFUYsi6wjwjJJ+YGex4pCWQzrJN9a9nuhH6oY2o/drla+c6VqKzQtkDhy0AaEwCEuReQeCXhhYpDuf0+EN05y6++IbjQEC6a9Iu9q+gpPPCCcUKilbe9VvaW6FbP5L0eM6hDW3ZuFPaNs6vTtl+OgPXIGFgkGUF1Vkhxkor+Ru6eAi7S6486B1VXJt3+W4Xy0ORLds8CU6H8V96PoIAwwv/QnDqLulWL5vVv7J0D0z6E+oflJnGLej7hsVjL73QAoNKHWjgWQoKHdgbA/RM4sOQKJzIPh56+fWOf9uc/eZImSsYlb+iVHEZ53muv/UozFhxFIXJtxb8WkJygvc9pjWW+jU72662cbsW5LQOcxYX8ZSUP9NWnabAdWQVlFzLpTgc/BpP8/8BSP4tKWJZTL8BqTDG0ihatYZGRSBevidGgv1bhu3pJt5vLCYlZxw/Pq/hLXISovILi9gQtrURohgWGRiNAQ3Mx3qm9phXNbQoROxskhfmubfKD1bBehhrJj3OvsX3P/0k+vQgmn9flfswgsWoyVZtuLNyrfVXz6hLaRS0IGe8dzPxdNMFG2jgAb9rdFCWI+252hL1XE8nxT0ud3suKZvIrVwfAmHFTY+YwpiRjsieFod2yCUVD8uV6KrFRt9jDdwJj+0wIPSFOZXrDtY8MMrssSilPZCplpcIEtNpfIRbvIb+4TqmJA8aN4m1x77OWMeR5el5zA+rmatAMntLJdPgKSl2m9eDdvczGG6QbZz/0jTxXxw36EXLTf6w6MheUGYi7qUEV2h7Kc6QUFCxcQWGELnjpX4qc11vz/ErxD5s/x64eGjXhBGAK/KUiUmb9pSqYZt7GtNiS4GNBAy+RE9dzNZ8TASdEurnn8AFOR7uqUcDglGAvvYcN7NxSMfTWW1WKrfYPW0UO6sqJoJh3sF4iCLY3fFPiLYXPMO8WkedqMovJ8+bdKuwRTBWiMlu3F/wkSZTqulCTLfaLfF5FooWnIxxPYS16WYBjnLLnbYsdwaStGZ6I4dRKXM1dnF0fegubYX96dPjiSNOV8TIdJxMkaQRCt4In2JhQiO5N/lan91cyfT5npEgwZBX1QDIbKAOOCd5Iq3LhpYLCAT/IgEU7LFKiOxBQwL6kZM9Fn/RgvDG2l/GLWgV5OOjvOyqoblqjuoxYy4snrbZ3YmOT7S2+fefkBV1sl3QYGwXJvML+sCC2b8jy32ACR6UsE1NrJst0CR4h9cIA1kXLk3FOtEd/shvuTMY63EGZUD72/YQ6eTH2ARl+FHBWeHvyypqhq60BOEv/zW99My5jlyOaXelQRHLpOEeDK9Ycj1GGUHV0t0PRBqcgpEu8GdCG4IWgVLx1M0gImuC9HkMCiPMBm1q0CX+GJso1lOWQclolTLYZ9WFiQ4v+K8nicx7KfExQoRRBA9ytdbcKO8xa+5dgzyTx2kGt9JG/dMDAvytVhN1uNZfM6geLI+uiI7khte/6zZMt177dGiWAH5H5v/81Ugt+oHs9CgF6zqmazluGq3tIEl8YB3ZtOb5S5hb+D4jqDtlBCuDWDs3Uy1SHuKI7tvYhSxmv88uFDoQgJ/WhYbF04EkzajjeS0tOoM85t3YgJ4n+mGdHUNdeOdjWd7hAemdhDcR13lm2exaIS4SXxtA0T4yIEdkgEc9I9vUxAOvIMD0jMyQbfQj1mFp8bVpVpdZtPjUx0PljIvkfhUpHYPCWuWEsDZuFOoC0Ji9JsRuRFvjD4hCtHmzE5fI63dy8bbEvAFBsOLwQpA0Cpp9zjbn5aqMD8BtwQtNMDGZSTNBa47WbyZZqdoJp3PvGYYGhTvd2pnPaC/bcDWEAq3jksEQHRz6y6hY0ryb9eByNOpmrHn1/C5gfe86oYkNxxCEF0ekGwFe88TVknvd352DhVofOA+Ue8SXHC45ULdS3uVwxaR7FpdJQIMYuvwfi1DfXmcNRWPSBFSfKwdTxc2aojmoso9eIA7XppiE77oRu/Tn/FLV0d23kKwA/VX08A0YzQNJjMeJxHp8z/Qs+MjoCBS80zvwPvUXZ37uHWAuSebvTtprKl1dmTAkaAEe9B/VVAEJTzuAhauNG2Qi06GFtMLGBSzaUHbfiMewP3Zm+At9RyQ/fzfsCaaedF1WU2vHEwMDSuLuomrTOwrrMo9NtY6cGr93PYYF9Fn4kV5r01/SyApxE2ZiKcksfIt13WZ80r91Aa5fQiLnqycfElRZBPBx5CpYo04d5+tZ3c2Vmnm8dFnmgR2A2XKfANo+ooS07oHfJmpGAT+auie69cv97SdypWX7S73WX6Xi/GwrSAW5rAkYOesWoTwlJrVFaaZGjlaCSm5GdegP9F/7fC2/nPrbXjJgzZkPnrcWVYV1oVY/JsBU06AkvQGqS3wMyWNkujpWUQZBLVTD8RAWmORUdQByUSz1+45KcupG8Z37L87dYwNw7IydYMnnVnzenSVQIsaJInJhzy5d1cAIRGFZjTXU4bqtcM2abOPpakLaREXm3960P2qiAuovyVl5gNmXvXzFIAvKWlnCCe8uRjnEPM5GATuJg4RYX9gmC2tk6tl1VNamGM/6apXdl3lVQX8H6pbXLregdWH1KQtTRqhZIrhKZge0FskZuJtv5lYQ8JIX9TjP8IdoHnBa2WAsfPrIb9Vq5u4SHde6U2Fx9a2vAyynaJBwnzShGwn3fTpG/jDkeiAppbvhOjerKrX/nyJXjpy8/qeX7QHgd8pIyXOlt0Z0FWpkK2FE3kNdXZIuLvgsLqYiLs2dHhWbDHTinSqExz4+LZvRj+oW8ZSmYZjR5Ao1NCSKOi2r0/O4kmQwQnUUSVHvxxcOQOOHh9N4zRJdTB3q/ddXAwpVuESy7EqAAh4d1jYwwyRDd/upOUzlAcwZXDVWBcTTC8ZxR0t3UY0eR/3FBK+RE7hV3Vx/n+Om4Wff2llMVvZrOq1tep0PEwWcNpfl3I28FU3NvOGlhkiPuHTJ4xG7RpfYCxgfQiKixPZ8acgE6fU90fNhN8Ca0fCzsgqssKyO7Mo4BettTq0ZbqkHYr57md5p/aIqIENxat4fXbpx/fl+xFYHSwH9N4jKMVmvgJIBsmI+Xd3wf6psvLrbJIylZMtas3tgyqoWYsDk6Q89MySBBPYmRT6p6bJvFtrIMGQwSLiz6ONLM2lQ5PP8eMkxhNOgtQ7I47Q70RK4logKc6bVvJBM8LXDsySmzyuewdUQzUv+GdzaW/Vt75rgvZ2k1a0ixjbl6nX+8pQ3W6t3mCAj2pafxXzqM0ThNJU6laXam/ILhzzG312eUZtJrK62OoOL4v3QAw6guHCIKWcwI4+HQ1/TpZsaHT8kkodyW6QUd0tNEtwUmT655gFHK+d4QnJhHFgpRjlYEyqAM/kl57TndoIgEKFMkvBbAy3a5xxZ5n3nexhRaVRFSCK86B6clHRGR9lnhXvKT2fmeRjzHurguASsWwmyt2ybM2F21UaEsRedAdWI/6FgUQj96dxKmGiO1vpB8Oln0asTyy1iFYRtQfszU2hy46TgmQWg0dPEm8Vd3W2Yv3yUDiDeaCNHxR/eeSxYh2w+zz3vlVIeBIhzENkYQCg+2/3hE/G+LGo4h/f1fLTs7OfS4PK7CAVkB5owVCjEgI+uJ3nX05kAornNhuwa8msjX1QyP6RtkNIYPCE3MZQ1KXBsoaRyVuAbp98dH/XGoFOND+nPXGAmCPX5smkqFbbYFWZkWG2uM5M2uLzFgWlDHS+/pPEOzjboLsyrT4g0Y4l2VPZNXVuw9rJIFhk+zRUDsRP5M8JiHCEC7dZBrgThvmg2RzsH6fwVrILmrXurqWo6Y6MAplTfRvPqZZoJggt+scqwh+7daE7Kp8uLvUm6XescUm/vaKLW5PVO7Xyz8T1pRrxAFGDTXc0wENzCZ30qVYMwyR84yxV5YqPvw78awPWw/Zu5ZbT0cVlyOJMtvMXJeBR5VoFj6RiF2Kquw3n/DbHnsrqsPr1lfXtAOsrdi3TkKQuRWV1QSgFy2g32UGHlOYn2XsDIlqcUc7gN5Inu61bRg7agOcwJY9hNJY6R40vPkNSs0bu/y5zERGz40Z0Jr2R7wyViAxTtth1aiEN64M1/nMDuwZSaAnI6zRmyFMffI/NAC+JEt5cIwo5HTrJ8qBhFYwbNz/ivGtvku+W0w6KOzUqHzbdxYP4GZQY/sk0j5Ral4IRo5UdPsVeio5IDCmk669AVXQWDSuxwlRTHO1WzLFAqTaIrsUC5Exb9FhwkvJubdKIanIWzGavGpvgg1+eWcBhiDvxopJf1Ap9ZrSYlWzIIEEB3KX3GpZ0sOVriVuB/9EIm5+qe2NtEpX2e714TdCR28c9V0rfv5pxU3sLvjTjanxwIrSze6ZF3x6tmSR1WYM+FQnsI3LHgroH+wrlA2L22cwKHFma35InDVdJp6mkrQltBpWvo9T7s2zf0UccDK9Y5fiMx3NKOwYvkayXjgYXGMiwdDOQP8CXNaDm7z9k0qgiHtHnkM9sIT/4CyATZvdmKsDcdXLPYbGODEbLyeoLujHYh8R8Hh/VG5FfSIcGbTcqqhfSZ6/1ZCgYhykJIAG38fjBDKtgEh9k5yeoM0wVHwfvfO2ADHa7hmPX7D/rkfhmDVzjnhB4WzH1j13adJeU+lk1+ucgE4bKGMKPW0s/yVhwd9gIBUPsDOEmkZjMEXmIerpBGJW2uNbaqbyIOrMMURjqOXXGzyZyCh20w2Pnkcu4A/PTYe1lsq+ano0DYcsUzjXru0FWr3K/UUMmwkRHjP9uyxWBBST9vg0gu4owYC3Y+l/q+KqfJYZxtcrFzbcSddf9xTEFGHW3E0IqFLW5KP4a8UxgqzdQxortcu5kFuE3Paj6IfupTApn6/bQUn0zIP2rgasjZMQcuFIZFP53TdZKZU4yzatJlgfcGTE+TE3ZWe9LE6Ux0a/9BM5+y5K1bfbM1zSbjiqKouRcUJYhMdThAv7CZDZZ4SjCorwyCAfItR86kN39HA4WDzTjiwCzQVME8l3FkakdSO1cIulaGO/55eOMrvAga/NK00F08GU1j7cP/BsdTBCEhQTQ7g3mCP/f38IHQflctMVU0ZjG1ZB+w5DG6oizawtBz/IDHxYoIcdZc6ou0y+WDCm9lgBLLGg1XVDOZnryTVMT7Cng5CkUpAulqgYvzD/XbPlg3Bpvovcs/TM9TUc0rlw987eE4Lnao7jMlsgTnQ6xuiM/yNFiswOpsXz0+5H80dUhAUEo2OQt0BDPHgWMl3+G9JlXerGd/+G6jUoCTwk8QkUpQLHb+6jIIIZBNcdjMWEgnh3LGaD//SIdUxf/hIdVTn6IMI2asxavdGcWHK4EqxdQooFldli0Z9rUb3CjQB58+GBQeep/r6MIXqKejj1d+YifCjOmR2SOfZue2zUVTJ8A83ODhWVN3IW72Sk9H25OMVyoKN30owdryKwaq1JA3q1cpV74YQEbjEk3kAwAx/XhE4LCpylOOWYzRL8ga77rmauOCkf6PtD7SErxbS/pAexAC0TV/mb0mCO//Ph0k2sBoNWpJRtRHtyB0YEcDPoLKqNGybBRsP0fXjRBhMW1GRqjjqvRkUC3TALm0kMIeRlciAcwTfc08NipqFOQCm8KCVQZ8eM3O3q4FGt8qe0vbIDIBrZxl4nqONZVPtbTSuZ62+AWaFmxebwGNBxLQ2sVDjxRnw/uaKOnlhHVKaW/zuhLuljHe2VKxRlcgt8F+6e0Vl6o90i5cFyNNsFdB6xN4h5JB+SrycD+2JyS9xqYUC1nOoSyQwTY1E+OqxQEeO8Ft0Ci8u4KvZkCBdlPMJTDTM+p3m38xhKck6GMqwcilY20Y99tX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MEKKOCHARTIMAGE" val="FILL"/>
  <p:tag name="MEKKO" val="MekkoChart"/>
  <p:tag name="MEKKOSAVED" val="1"/>
  <p:tag name="MEKKOEXCEL6" val="False"/>
  <p:tag name="MEKKOEXCEL7" val="False"/>
  <p:tag name="MEKKOEXCEL8" val="False"/>
  <p:tag name="MEKKOXMLTAGS" val="1"/>
  <p:tag name="MEKKOXML1" val="4HooU0THZk28POP9trq+pbTvvzd/gcV8t56cq85kb3NDTsUhojRA0EsgEHHMH7oYP1SYpn09ysXVivguJdhTvfyVMsBLTGvcX7WPTor/CmWiWcfk2RmY+GE6Q6T90sFUr0lg9IPP9y8umrse/9AoLT5R0GKq+XM9pr/aTyOTf0wptcuHbHxeyqBm9svU01qeeEM1v0hpSHUgirOnAK/wuovC2SzSB9c8Os+ebp2X3ul3gVMNwoM6g/cuNn4RSRd8806Ufmbl1nJrIP4PiD9jfPGggT7TTWVQAEKv7ov0Trh2B9cdJdWT37uxAPai19pok/aXGDdPgU4kXXu2tJ9d66J8jT91wJ94LIqf4iQVaHhapMuSeDI0/wvuSjgu36uCu8RT18Ix/KiRV+dREK3q7dMAlPAvLzgo9Tu5onRyOxKTwI4yAia3bUCJ4brESH2QOyXMPZGmcNXNmK0k8UBQTIhS08mHd6vMhD/s1+x/8d3O2/vIUxMEsdnhM43YP/I++nL5XJusoDaYBwfVgxpkE9NwtS6yqDmJvrVZXr3sIC04S5cF0dBrAYeNooaflsC0gV6O9960QhfvYj/V8DVE6a63xB75HgzKvWOEAnomMeb5+J7fyTGKPAhxjgQN9wmS1YKPzkA+MK/EUimjy38xEOmimVyIaFHNTUTA2gL6wChBrJ3nN6PPQzs5Ycnbc/rHXIlpWCbCApwx8u5jv8h17MI+4GY2mDRZgZTzZ7ISShSPQHKWLIFD8000jP/QwE6PJpsyolwzy4cH4xt+cXZykic5pQaYlcadA/MT8eGRnSZDVQDBc3u4/GDDUxmif7ZHL2eDIlnGGHTKE4HvCO29qTBCrA1GLHjLF1iq6Hirh1668qC1Sa5VyyJEb0xDmePGtVkweT7CAoSR77IwjDUry6DC44D8xkb+qx6KRa1Jhl9pE53t8s2F/WRvp1OC4iXVH5VaMbaqouJliIKffD2Q4pYhdxqSzgEusRma0NwamM6oJob5Z3BLawrqKXRSUUPgv/9pDkg5vAU+v5+dyFgVNQebJMERjaQbdjaalJ8Xf7PlpRl8VN+XWvYDDb/N3y/3Xo1LxR+U5hcLKxSBw+t7zxgnw07NncKv+U8ie2FgMJO8gHHQITozJevMmZf7SOhO/7BUa8JA//E7/eMU8Jy+07W3fEQ5GPNhGkatYSuP6iva0FZ2+kC8L8KD8GQmzyLxlwr/JtlmjhqI+IQfwzOkUVxbBlGozuTzSS0cWD3uykXkx4Szf8U/VlrhDsF5Puk04c3M/7Z7cwPj3wmjY9rRi+u/ZQMSCkUdSmswjy2oAAj6Mb3RIcncWP1pdNcA5zYMXqslDeAOkRgn+hM+unCrDNz85TePByxPF2ZoBUVAUQv1Aa4jYVDsOwNTO70oq/VkP6J+jmje/6TlW0UKgHst8MrVhG/UZij3XfXkOJ/5KmOOlHQ1pGM5rcQubKXKclcGqYL/qoVgR1g5bLB43eYjOrTfDAIXPfIGmYQaqRCe7P69QaEtlxXUYZcDC+XFVgh/OjwLkBnBHaKq67/7A9wMnBHpOPlGSLJ181sx3uXS1h8dbJVFPsTcZkWgTpo2HAC+mkWhuwvzkkHbQ7zVjfWYPF7AE30WdOkDHuJlylqY1h3dkO5vwcpBnZuUm7p+/xzvh+dpzAIiW3SZvSkv0IB3qwjQT4Zg2NfBuNvbBht04ycRmZTS5Zxo+aEBFFFdr5cYcZ4UJH1T8mSEIXvwDcKDsFSE/QZKihZlzoOMkwkTve8k8Dr8DWZ6DFVECE7+0oW2G84gL8+pJN1vO//9wgoibE5n20r5hi7PQArbBoxrEpYalLkqWrPutrjELe0Nn7jb3A7uHrHNn3AVH5nX6kToQsFWcZsOm/n6VglSTwU3qoCup41zSmlKLYHaM5PlxOFLeZbmIpffit2kjoJw5/viQeOuUVAP4Xg/5VpCBlGHq+rEYxX0vQm/fSJab447x6Z4207iM7Q/D3RKoR/4SqPnC8GBhpuGJbMVHC6cqLHG9TO4BAMxK+FS5mT7DzsDJzWeTUEcH9mlM/q7Wbf8oUv1ggQjHRAUIEJvKRlgo1wP2OI2LorVOphhfC4q4+4QVPv4uZTBdckOmsxHtgt0JZLmrKCPQRc19BmfBZgaHo5vRk2CS3TkRQ1nCQkUOa7vFTcWEfipC67fWMmPZXKDvAbYEdQx7CID+WEzV2oKMLnOKBeRH2uZ4VvmwnWWyWcnCsYi5SGZALrjeIbgZPDpGUrw0ePoNH1lCLOJyn3IE7/8ZHemHh+Hw9c91Opwawvf98VkRsm3rhqrXYzEcb/JjZtJt3yHyAsbPLKosCdSEpvxfxLT3w7NbxYKOcCR+ka6ByKvk2+oA65k8ThixWZJWkjGm4wKuCq2Gjo15TuxjXMM3U/BoHflY3E7fN+BfvfvCbOuap/PlPQAcUzxt9jLrUjRvNBi68os6bEN+JzkjO/uKwguvxtl5KuDdNMKcTKznRXqLrS1035bWrmuMu037TADxgblM3JiiyduFDaWH66WSiCb/TKjQ9Yy6Un7/PrRXm5sTWosKT0SOy2wy1uNYWCLVM4/rmOs0NDdonoqO/qPr3AM1c22Jf9EeU+5kMAMnpRFDvsI5FL/buWyaqoMqXbQoDkylX1xAjjK1HG29nLSyR97Hp2xqjfSdGGDdEJk7R/xkG7ToeLq8MpHaJXHmvHdn0Ob9U9TpqQ3P/opPYB9L0yxLdKEhQ6NKj/AqVAUdAhzQQshT3Y1caTUnbFcwSPu1bySnKYXCJBiAdhhJdfkoNDezODABWQwJ6iEI+3g8am+j5fY3A5tYTLgG2oXLuC5hTuZcnNU5m9UsJKJajpsTC3fuJphEoGYPs0gQbM6l/2/nJFztAEA73AAtVwnWuxzCR5B02MnQL27UxcwhOyGGiWSVxFKxySvr2tcTOKNHJznyCWHdGMl3ECmD30s5ueSfYiTYJrsZn1rfIUXUi4iL42s584ToVgeK21hnt7JCZeGPNBbMIo57WJcRZggnSLQ3A21DaeGX9l0ULRrMUgrCTxBC0nP8Vwk3zsmBcXHN5mvtNh4NiJmH8yYC3H1nJLE3+vq0JiiUTb2RCHsxBuOCGo3zSRpUQQwoiRpE4gnSQSToSGDV/KLW++PTdn+6ivwz1nu7poHM9I2sjjrQwVKdwtQczlzDirE6ZJkb3+S6ICvD93mpu8aqXRvfnMu0FqM6SO7ICAMaskn7SlK9mTWmfHnmXmHn8Uy5A53UaXzvfeo9SyLNYI6odi6khb4hdG3bEf83FJLc+h4+ECKx08QGcVpFINDAA93Ijs6tiolxVpDro/go6Z+74Qk6cHpnLYc1csqsNcAZBW6pRiRrcRPFl4cZ/g2weTWVEoBeXaHcZwz5K9uoPCjq6iDd6zVbSjAd8hqB/RUunRg5TP7pUbjMRo+4dSHo3xepg33gOilEs0zzrgc3NwuW8btRGD+bGr0+QHbmtAnSVHG8UZaLa6gUnxODAsmpinvaouFpFQbR24NXYGHV5+EHrkrHsIvZHTgOou+d09thd9SUZWpHJeQy2NXIYZwpjhQ9QjxSDq9Lm2/tYcVqjLCnvCytjfEDblaMT7WRcXHAQSPt23jYlFuXNfaWrUULLHk9Uq+bHCaQ+kI2KyK3ahQbWqEgO0DUrRCNfJVPKAxI48k18Mv1R5hxB51/YJtLzqTjkSla7lW7/PwQfN2rQBSss/SjYJxgM6fd7xl3d4A8SaDxI7mfcH49K719ci6zy81BXfur9fmm7jIPbBvDuckKRomAROOwvkR4/A4NCUE5kg01wDrPpSiMJZCch/g8JhW3RXQrExb1PDnzGprYstI0NLFGOFrS1y6OCTLJGAhjIfTO6d4jaSO+sbTEYupCQbX3OB7A9AzJ+aEJE9Ke+maR0nCWMS7ChevwgIUUrbZuCLXmyY4lG2AbT4NkSNc56EL6nOT3+0zcLbo/dsqasfpr6LEgos/bjgZ9Ram4jiPjISA8Ageb5tJJkAU3YQHAsgCybggVBoOXDakiFb1oc6KL4uv1VA/Ei5LfCJnXflFnHWsLn3cvEWVcKd7lELKNqEQ8fioM105Slyybw74lMgkyJMaQv5XEsnc9MkrH9SIJCTnInhwBAyHKbw0eEB8qsTPWatqLR+LPmOc8FB4Zn3hE4dz6AYmreU0AK0I1LenPidfiN8e0bcLQ2e2tEma340IAyHX1cB3XWcuj4wk9QSopTTerFViQzuapPP5c5RdYgPztlLdoYWuCfebKxJeodHrziZaQgmWseKrJ5u9lA7cFLuFXlOQyqoiEBtTyjWu+T54f4wE3ru3NV1cvalk0Kqpm6yKes49E1p3UMftot8OS0qg+Y1uKAnYJqh7574eZtvPiTMjlmWPOUTWg8AkXJkWEylM2WLe5tCbzvaLZFayqNyvtL2DiJTV6bEY3khepdUBKA1VI4QL+ARM1ZI/os/RREa0MmWRbmNn94BGBKXyA8Klhmh+rdb6VzNJz8Z/qTD26tNQhfPoUFfYrsd+TU9jIH6/uq9sZR9DWSB7rgECSH+yTSGNBbUeIk/fjLu3DkUX6EK1xYRXPYi3Je4XMKVrO+/gNnnMQoh2lfwrIcaGEek8o96e3b4bt5s/fM7l5zpivPiSo3tqI9sCxREZMefXKUbaujD4m5pSjvdCQuNHWyYNIoqyyQiBO0m/iBi9DYjLRq4XRvHYyCfcTWZqLniR+XjEdSK3mMpjv4l8bhBrXSvDtsgvFjKZ3o2IaJQpRDpobVL796szmuXgBWsyWyNLzyrrehRYApUQGLOhwJ7k+J0dnzdvFRsqUnvE4Ts/XTQkVzNCG5pfESyq6aViVRsb/1+OwBduKNmK+L3ozbpaaFveM3zytJWUzYiNrHcCBFQCA28/62Ix9bB0Bvc1KkOMQWEKmhQ18QJyhcDl5egxFYX+zGtV1RCGkV0IsuHRZ17qOg+b8HQ9CYMHG5f+A/yjX7dm7oiJb3wdSoHQnEwaE+0elk9BmLnDVh8UI0KuOPCivpo99Ih9OYk6EzTYEBpJOfNxx/YvusFy0U9PAHkVRft2s9kmfP3BFWvHYEpFw6WVap7GH74GiRq9rGYLbfasXwlIqxLDTt5TgorvPVMcQfHWW0s/3HSzsns4J4QRjx85kq3jfEn780+6Mn27mIrFxbKEAeOfyy55TH4PzTmrIgDaaYri3n5emuOpzFOMs2rdvdlWuO9gy5qOwS4G1RgFnrmb0XEmuN5UyoUOUQlqmNwMEvsaVpHV9+oFfr6fIR/zRDgCi6wAAbJxsMlM48drAEV331r4Lghsl9DG1a77TOYJZD23sxnn4ybcqTHgzA3bTD/+Zg6+xpukujq9cIjgtR0eyZyINDNeXRg4djBsajneIpzifzJ7wOVjlFw/pohNRt/t+W/WcIjTF42+HAvTqdkxVDyF3SQFskh9gOy/Qx1KmLX9xOjPCtrFmM1QYFsHUIxZvSXn3XdMTSMjh3OjaVhNFbp539Az34VGNiKUqP2Fpwzk4pY3cugiGyPUHboZOSemq1VthlaYc01hBKT5PQFwTYaHVcC4RaWO2ZYBWqEXPmpg1E60L6mCuY9HtwFPrXIwpU7YJJQMfdKfpmrN+CrqUloferNcxkAlur4LizZDr824euepKp4uVMlkteaVmnim7CFxw4KthdPtN8nonK6zkUC9uXeDzcpRn/XPQqNEkPqAkmUB28NOrSs3ps/5M7sEa+i43fLA4mytxyKI4+wGMMY0JYNjLiMYOVMS6wyz+nnEnutIGZ5AxNAvIZhP5qawhFBON6u5tG7LmiAd7BGZgACC5kULBVr2ttjyYH95GVoi86xj2E7LgEWGwhahA81nNM635cQfWJRIijXR2AS1yUED1WVkNMSNWXZHUFCX+v1a/hfsgLU9MKG6sBE5N/VdnwYnYhl1rwoWm1KXP3VeSluQACo9Yl9WPPKh6Ta9Svaa9TG3+7ysNf5lLeP7pEw0lVK8FOzKcam1kAvIO3FA2LyxwHBeEIdQ/jZSNk8Kf8b5blu596tf39qyV3u3RIQJkJmfvZFA/6pjU3Mt+aAM80Wbh+cC18W69CEnS81Vxn29A07aPiaQs6LvOn9nt85LCTkKZPXrcw8u690+fFUFvBXSSBWSfo3713y8TDZC8/TcPpRDYJt3wRFZgPOuZXFsHzxULNRYkKCAUz0u2ypQ7HMkOHxAhPsJ5tQEDcQRpKpuU1IU+HDCtNtCw37dtblGooAaWquSQDRzDlfIB74Dh0AKZ+jtGohM36vZeFCdruGoBxzCL1zjhQQWSpdLAhv+Un0zrTUN+/dYMAiqEkKQzZ3zzWaO+IPR5FN2oML+Rmc4AMpJr7TzWZDznLcb3UZeBBmJMVaGpEBRnYurdKpIY3EJ7q7cDh+occzy6L/s1MS0VeJPbFD8Mewi36+myUlVa/IQ3oGBhqiAiqgiiJ3aoS+Fh/1vEKhk7RAWerXx9K+dAWfIAY4UQMvuRSOA4fVrBgfLTfRGZGz+YbUOkXKlWCVajWc4JTEeql7RZLWOj6YugEYw/9VuAD/6cweGhuvDfGZTwqz1f8jmy+DvWSpir0nYMci+x0pIIaRrDjSd8ZohZ1vJ/EKL5KDfRzDicjeGmTFDLRewhURrE1gZlQQB6YIQHdKLccfXRnB2fX8tC6qYoj45Qr2vkE7w7FANEFuKftgeY5E4oxBzbva5dYQtKv3stdbGEBG+/KxQ/Oq05XPzUYGSt9AETQaW67JgvCAVn9aKDpV/vHMrq4xRxPGmD6nhlB1vw8vxTgl/AupoQ/B+hX2WCQpVftR44zqkFa/OQpvJcKoHxq8VDTE0+5eg/NFfyG/s4zZK6OK65JyAoDnDSB5m4uDpvT8707tbyAaXedw0KCHEGsfsFZc4L4R5hS/sqkCOU2DrVqmA6TSgC5EsNcDG8knP1z72SrYJR53J96hh+wio/EvPUicw11989jL+DTgmUGzi1hv4dPszk641YvrtkktvT6Elj/riTDD+g14zaljrVsO9jR7JP3zO4LX/F3kEu8XpmyyfkDdueRZ5wA6c7vk3M4t+hKk1bGco+UjvOiC//91WvHNKaJTPgYIlIbzwgCuEow45kQe73Idaok1EgYpuqi+r45cIBmhbN6p63B2EkrF7wmbcDcMiTcGpiAs5H4t8SHbhXY1lmi0yP4Am59EPvscdBaH5nw4dv9CeWC5+hze6ldpMm5/hss/KQqQafsanq1szTMEufGfyTS1GT72dbxT+f2Q80tHce3Zrx94kX4fy3NJZOvU+5dASr3ElpnVpBT+dS+yyi5ny/WLIs4TNvdcBNgMb08e/1HZSUeYiSE2zsVXh8bcgYcbvZ7ak4oIyM3CJWaTTc7mi/Ei9Z7kTaHXyXOp/CWKiq2VnmPrRcmKmMv7w6jixThAAHIh8HItg0+z6wilNe7n13H3uFuA2ZAsODwbi2mr9Z/3AEBnn7OLf6L/Dq5AxjejDkyBmgGsP0QzodvlkJBwxRccSng0aOJ7KmQNiq0FB+CjbzaFJDLv0jMuhwtdhUmmYQ5S0yQKrEo0skrcl38epXG5Np1BMAp3PvKqwqEUhpJ8/yBgQsotm92T7RJivw3A1EUeFNz9TQ2f2ZeKBnxJOtgmhgo8aTcYc2dlDqu1I1rBExszfs91C5uEOP2EHX1T2hN+RG8vWcjVBU8lu0LI8nHoaFirrK95P3y0XVeGZuizDLf3gDFZO3vgxTiMip9cmul328SzIcw+mZUpxKeJO2TSt0+LfNfjdXWB54V7hWLbfea/7HLTCLamYE+NEz2pr5wNNV6PkWKg/JFSu2Vn3V8DYDI5sPbzEcD3z7UdhL/CTI+M6C6hGLODpReGqEZn2bNy3z+V+DGc1MqORmEmVCXYLrHYyUU9ovsQE8VWTJbLVuhBsPVqvfYX9fWMc1aRaJZzTJYqU9prBKyM98S6nlUN66rCzbY9Vf4/CeMvaYZwhFJnzOXfM+tMnYB9zFzwWk/d+ykJeXCSOfJydGtaoZbhHRK4A0KdxVGAZtLwP1Ai0mK5z7X/O6S7l0vK9EMJf5b2XSq8DADSMn706K9ru37bHujW+LfYQQAxfLEvqqhCedM8Pnfk8AB8UTfqXhK6PwcN+Ai2yRKT4StKjFWwBvAqmjMjoHC8kH8e/or4lRM1rPDgEbaqFvWR95UeNM1A4Vj1u2CzkXsnq5+XLXNm6flwhr5O3p8g/Oe2R4XsQ+pfltY6WARiXRH78pbrk7Kv97Xh7hK5cmzI8CAxsNkZ0T3qApQ90dMBV+KbSMRx0H4wMl3u+C25S4Nzx+aXPG5V8xVWUfAyOvgyyLD31a484pwgVBi2kW8ERs60fo9O85TIffMUw822COSaWlcD89IAu4hpk7PrNksD5pZivOCOJiuHbONAU4ysTIP+PiPcl5UVBtBcgDofB/lu2Otk+S6OgF7gHoiop6uVxTA7qkiTaOjOnYiC5fre7sGIsOgiSW3fGyFLmV2fHj8SqHa79eXaP24/qcEqaCb4L73NBjcYuCW1AQSXV22y2ltluWD8JAGE0bp0Sz6AMW0pUTYn2jUva1xVO3IaALU1S/P3GO3QNO9IzSudI0/NjSnEL3OEMRSN8fLtWkFrLLphOFQjnCAps9336TdIENMPgr2WorW/+OgoMePdm1YjE0Swv/UixKPD4Z8lKrQ9VTUtv2GwJ1C13kzWtaBTSn2ZToG0a4oILd7L/oeSWhaj3nUjSNlXU0mbUKcpQbK6RdvciWot8vcBGq9oP1l2KcHN0YpLNOUVdZ1GnjPcJzDf9wDl8idIo1mC83Va3sAEV68zgd9IXy43QahX8gygGptUMDRdk2ryQ4qjFoLUVPJWVs1KdlUA/UXlYS/5witJplRn5hQ/qoIgmDSYFJsJ0oV3OfveLPFfioMWl/E09EeDKgt4huwnxUOcaKAHORhcZ8A+ABD5WDqo73JmxZtwR6tavqa/HMdrq23WATyFxbn3i5BFT2I1QZTqjF05SQjnItQwIiswbc2qvgAvghxjISP0LOm5ESK9tk0djIr3BChQhQuxhM+cpO51cuo1NO7Gq9Nao5ApQ173C5ztzyh9SUt2qVHoXGnmtSKJu+AOO4ttvoOUuitHZ10qwKsxOs9Zvm1qo77sKr++AKfCTNaSZjCNgxcZLkz8ucUsWFv8buWvBQzZC+vuIc3xH8CR4ETk3usBpZ/jEz1QHmqIuIHH3bmJSkJU8SJrdWKLYp1Ri7Lv2wPaLHlt8w1Kh4TElB/1FWmnpk/FLGQfJwCdUCBHhDUre9BXb6WkOwaRffZSOp0JiQ4mvfB2fDrGvShWn7Luyqpjw/a43Qac6M1/tN/w321otRQ7CjHS81qTlQua9AF+SRl4eJVE98mcm4jTgXDz8bxVbeeruZG7I4FvQxSZ+J7PlRqs3cg+CaorVcMaWoQvk5lo+TvSH7BpMAUXnaA8qObuh6jxE6H9UNWWYWUHuyXaVPoRbSAobNV7R80XNBoI9xz8+6MFaoFvTVdlrsQd6vKvdfJrgNkd2f2ETLfGpV4MQ9Wp3SS+AuzCTegLmeXHWy7ruG/sKZnxEdBA5Ymz3muRuMXU/eLeecmPAOihD+hIAe8Ddy5rR+5a0v4AHNQffPaKVtLbRunB/80bnNO/hs5cOqFFnAEtihTAaJuwdQwscX8mqcb6WbcobaWJkjgkp5+iuwdDq7Ug8QliD9tFkB9IE1Q9WKRQ5oa/Q47pFbKb3vwvikiXCrtslnuglRq2m7iFpmLrbBrFl+7a3McctOsONjtt0GEjXxa55CHl8lqGTB9qoXzKimvDJYa7X+e1Xa0VkrJ7GWFEB1NjtaHuw5H+Ob8BI23A+XEYU/8Xp9y72xMX/gwMfXfDrJhv2GWMojZLf6bOwDEsA5IXckpVSy1vlyvJGvczLK1Yf8Zqsu//qtEjWj9TyqIYq7GUAyVnQA0QBmWQIy69XFUqqURa5Cbpb1/5WCEU8/sgtEmWh0wzXavM546CWksWfMiplaSoo5kEcMwU8noHOEixw1OcrvYG2V+/gD4xx6AiH/Oi2LShKUlcmvLOjbNNC2GIrI/DV6mm2iQ8NpNa6SoEjhxIORt2bLshTtdnei9t6pTuZ6bscKiXcpugwLs/AZ3b7DtPZmahHwLVDieYTdDmBBdoXoxfiRiQTHql7yRw9VwxVe0hFnGjY64+geOz4FfMpWW7PXxTIG5LLYl6jv9Vux3Cfq0O5VUP5EjbKakH0anXFu1Ogzbh6tf1orM4lKZga3feWfSBQh9+em/riYIHkyll8MaRub2d9t8acbVcymuR+BE8OAhNI7Uh3TJFuVkKTdr93ePABsqD19HKho7ltesovuMnHvX08s3nFg02tuZkYoINS31dWDZ2lCWZc+dtQoVE8iQBlHpr1KZ94jGrg6s1lzepn/ZOvxQvAi97PSP+kUm1V57xjjNy3ocqkOBP1oFRuuRNwnSnH0sbhesFlj4ZrMDRXVlTZ23QgaR1ngAgW4vUy/04ErenFofI7BmWa3jPuqtIvYX5I7rEz+OgblOWw7tv1VIEGYFbN4gXi2/kbdeNMN9nw5VOawHNQn5VQ+n7vFLoU6upsxhX6dMePnf7DKIUsE8M+1dF2gskTquIodTCfaFDmDZvzQli3kGNf0S39s6gsuWt9DOzqj9wVQfM6H/y7zkmdHDe9IlC+L+FOxacP3JvnqFi5MmiZCMUbICrRSYGqabPhQMcLq0dLBadQzDuSYxLZGdufV9koRcUcJTLC43GuoZd3JOkOUGIuGJIXDUvSXm3W+Zv6L2nGnnLT8tnqfDGZwI08HAnJ42Qb0tOzvjqpX9fMz4mbskNJCfeLjZlrfKiOqJzPG11MBwAZ1GVARZQP9n7cv5GJmapVYZN5kVqUotNI1O+3kjaZXCkCR73M5WLypGbIH5dQQBZA/I5w3OYOhooAzOHjkerTpZo5tAmDFxK+TbrxXj7FR5uqxJa8SB4XxrMWTVSrFLRYzPNT+lDjOoyjwemfd8uow+sB8pdVCjozSaxFrvxalqxTlVxFXgRO/s2iTDgWFyP7bls2vJcskoO5Sgl9RY16KUYBnwRO9nuZiRkPwv58OYRPvtm9RRjxC5j6aFo5saa/Sz8y32EUrF58Bu286MyqMg6N0wSBUDQDLM5AsckXNdJXXunMNowRVKx2kWPo9dUzG6CObArV4rPm61ROX3i3EoxmpOzFK2eXsma/++9m1TTUCQMvoTUPNdP/YT/NDBR7s9LmvQyRBCpPOeXANGHB/cTLJ+2tgyQmZnqIqa8EHH+yrCZBjh2pikOq7qNwS7vxnFMAAA0Cp+uf+CMEqv2dP4J0ZNlQVfYLNwo0JO4D9Ke9JUt0akMkF+hTcqmuLliEVj61o/4yJqO9z12dnMuOXmbKl4AYTlXM8IwzE/i46M4EDQWtsiQi4a//1yrGnabcbqvIfKZoaWh1H7Hs7vqsHugDGExkOqsCebV64XwDO2kKr5vMkWxZ4Xh5tZbwb0IJMWk7Xa0HKBMrO/+qpmlT/oBo92FhYh3cerQKLF4V52FabCL9VztXdCk7rNJ6siN5BnrUDzIzOQDffq/QsVY6TMI6SUge/njlPF81lZYWKWD9ieOn9NqG4Fbg0rnrrdFga0NZqM+H6ystKO1zPmJXX7PkY2Vx7eSgv5gSzbfxr3nAPtl66nD3I7aeSggBmF61ssrKdWgyTzcH1dOdasGbRGwKPa+ZQhK1A9qhB597HrkQC7oOX1KgsuUfb0yGrjAgfDtsnLOTTF/TtgT6TfVdwZLOiBCDlyxsNusw02laZMZt0a38xR7Swlj6S9awthTuCO799y9boT8gOdF3w/JJSCw7XhqF/RUZd2dxM6+ikO/S9SfpCEpns6Ypgh1luVexanGZ2YNvncANuriGb0dI+uhikvfRPGb/JnU2wJfSDMywrp5FrpNcz4SVDnjMNagSNg1N5gyxeMOmeYwnR6pYihmTCDV1eFS8hCCUk0gVyDaPWiJYI4Std9HgQvOnKG8rtdjuEUorF7+h6rR0t+5lsRK7KnzAA84mqsp4VwdZvdLPuNAsV2GuTCA9ybuzZXHoYI9HO9gRuPao2ZGF/vfa2+mcHOO3JLmuSKRpNx889Fnz3PMxAr2H/w0kc/16pIV1146akK0X/cRU6JIFN8kE2Bez6EYC09aVzk1eVyryawOfrM8YGGU/GT3zKNWeGbNp4lTDD0lVQuLkDAygEJDC+U1JBmtO20Z/PvoWa5rdE4wWlDIKCKqEPsk0v+AzEbTVsFgPPtileldfQ2YdVZcl79i7Z6Cs/7jJy74bSW3sKH+XV2KUxrCWOnOzc47d01CGoEaWvxmVc+HXiMsOn0LodLSVFh+aPt9sEv9u76gabJ9xF3FV9lNRm/vBjrsRz5Ki1Fr16IbcVd7ICd4mVDtCVbHzcJtBoQgOCg3g7rNFl2uSv8HsbFMHieTh78kpPQMvjrwGrHe1nlWozOdtLungjzBgI88bbJUvLG/nVBOXIxmkRucYHZtea953YU20jEfGXGCyQfZbNFiEu0rA/Twd1XHcr/dz/A0H2owpZR85FEvRdgZYFEJdUjMclylrZp+HyQHD9IXqe/mJcne42U35golkKJO6qhmtKYreTPXOZMIcXEY//QbD7uzfzHRE32KYSLbjHK5npLwwIovsjqKlnEHdW8zYghuAiBmUhtw9W3HgMiOTVoTr2qHZ0JUCA/ng7hm4jC6cU3ijLWPdFl+6lsIOc6kvn9i2AnL6DblTc5KxnUun7yvZXVPESCFfpxjUF5Hhe3gMbzn14O+gSMEk+s7+39HtkaU+b78cRRJEeNZAUfGgS0P/8Z61xSG93sVKeKvkuNWvZMN/60SSc4WNWN/PlmLZOyLXhBdkGX7NpYLJsGBzeDS3kx8g4uyBKtFLItHhBJBByqu48FDN1EmlmmyIDI42z8ZsZ/lb9iNoSP08xMlB2khEjvQfEfYA80sScpA2RfkWM3VPkbymuRu9/Qrde6erlcqOWfKEOif+gEgsqZqa7KxZOppKY5KQhJoapgJm6Xc4iGmooFi9B+dq5uHipZSMRKDC3GxfZya0kdRUtyvghHR26gpn3Uf5QNTTuk40Yao7hbOVWYi8jlG6Y/nkuuDo3hd2xdw4rvWuARHegbuHZUIlQkJW0+CgGU8jUKTv+nIWDYtBpFxz1oe+PlkZXuRrkUsYOUm62FIn5lbs7yFBeXDnjbhfdmR5T0Z84oC6yCTRbrxZIFO9Scb7N5Wo5mRJsNMrxOUo3xtujr1hbh/ZqLdxuisG+yWHVmBHK9hivnD5F9rYxYvX95lvmoJdj7jGqV76T3Dga0CifdvPZ9RRy1JBkKAa+/cvSIHA7+aLEkfGzoV7A4svrAFG7Gd3/p/TcsqR+aCw/e05YBdMcm6QIZhqcfvhb62tDEzFrjYFKtFOX7UG98nGQlij1jyMOulE+exqt4JSXLwgBVXnd5w7laMDv4hE8qCjuRBJuLf8W3vFSLs8m2PIOeodrC0TxBs++qlOE8ktH1+CDyqJ1jrUII5LYo+QdrfaBJX9e58nfV9PNeKrULIrAC1pGgMj7fegIHnwc7vhvMdrkUIW69RSi89cMpZIqMXbv316+jK3yTzSPiuk6svApOGg+1XbNGa6VcJwMmwswVI7UoRD6nFXaJ6Qgn0tv+FXjy1b+HsrdaTGYJYYK19SFERgx5gn6UY66VJ5PAcTvMjSuPaBcGQl6qHENG8nwk0YUrCak3Qyr8xnbLMccX6Up56SRI0Ej17RTU9Es6J1c++l1Fu0N+2u3WBKHrYo+I5Le/m+TYTfCK8Hz4D1bmdSPJGqL5PnwnTsFnDcvef8gReVUswuFt7hlcOzXRpVBJTGw+CkAcGEFjfzF7CYPGfketyndO7Mkk+bjAdQsy2S567q3V1c1orpTNXrrzYlchXAFnjhWOgo6cDd1bkkTaV2b2zv0bHONdc4f/bLYWJ+oI8t7tvxDtjlZUmSlGemfJ1OqmgOv6PJlJaT7ss7YCoWV+q//PRnFQM+1aD0PHu9PXMcWnynNQif5s5bOXkoTp9MqNHvUJy9dx3UnF9ZRG+FmFPZLR5DiDsYUBzAzZFmGdUfXcKfWsd+ZCkgfZ4xnmEwDIt6pV8h9tT361z/op1QjOM6yd1+vrv+rEaFsc4IZDAg2heBFMvgZmSPdCm/n+iSwSBBpGc8Ukrv06LibMSaTv+1mRKbTdtOzqK3C0VtQ1yQy6/jpTieT/L03mD3/nbgOxzobcT+0GcWRnd2EN4XkLeuALVoolQp0sbGgwFK+NuQseTL9D/HY/KSM+eKoH2rLVOzv+dYF6p9IM8PPArJsp+pWax3Xfgat6SREWJHLC2LHJv+2TAx9gjYD85R4bBvPJxQw26xllGyIUAS0W+HA6nTrSsr7FdqcMqPDvm2aO6v20UwKMnp35Qir6tpNvLBClmGNK6yHKhD5HEl4k3Fxph1Fo317vGqqipMkAHfRaeCOgxudQC8r9hx5LM3yZKySfTHX/5IysNzFRam4TY+71kaowAK/tGxpTcmgfjDOH/sxkrMngMb4m0SrXWI6iLJz8LWktNXvSR0mDtL+efpPpBhOjwChNa6KOwqtJcx4fwQKPFOKWFCJOQDAtmxRHDxQH5BWJqjZy17Bq9zkaG81K6lvtmAFMNxLufHBu9GRxXMoOMbQK8+k850L8vXa0lIFcoJ/EZ9zODZuwPlfEVZHouaBeRio0s+8awlR30rRphMePGa2uJt3hI27AJByogKk9Ctk/sniySytooM8nLabscG0/7kBxsx9f3dEa8C4vGQiwd7WZNRs76IphzmfmDd82aWsIjeSNA0+Tk+Jklyb2pwNXH34L6j0Mmcs5mERbcdMKODMPqOteWN7nwZjL8NICu74OcViBAgV76S0o7dWB8NhV6Ax2Il1Nj19JP7/hAdKgBLRNC0h2Zpou2HyLuv1CumDmXmionArpJfmzovLnxmsb2/MlT+UbCqtPGcZPnTdjiLYEFZPkBzxqRUtCChCBUd5FaRpgiJ/GUlNV97zU62uFZibtnAPCAuNPhk/YlHNaA6K86gIENJFSpDoebY7YMV3yJc9P/yyJYUPJnGAiy3H9Chy559x23+OaN+F31+KwiySVwJdUeSxmHq+1OISzL8djpC1SyC32CulUJkWm+ZdRGy6saxcfnt+Cq8Q2fRMCXSCPFjac3UVCZcQlpFPejPEusD8HkuSh6bPGVKMSPuNZGbI2UJEwpOP8c2w5EuOvXfRRJjoWZJbS851m2d5RRubo5UAly66seG6iHTn4xmi4WruzD+Bh8FLBfniuSZ0ZwsKpV724ACksdmVOX4YqNXvCrf8XimMsSeLFl1h1uJw0xlbGpT48c4G8KDyNpPPydqlLdtMPOXIuNVK+LpGfrC5uXrs7DV4fVzXSjsCNEHq78ZahT3wCWrzqsyB0lsnmdCc+/WrW7YWXRqIosRFrkjgq6QzIWsxOHy9z2jAHKCBHSzB2Sh/KVIKEjFmPcIvb2sT+oh7l96BzDVZJEiLcbV+H9+AmOuBS/kY9GIaOor4KIA/9mIUgexkKfyZ6tdskMdts8C+hLoX+gX3SBxdBQt2ukcSdA2suuw5MbVXi2o2lSz8gNXlk2+agQ7GKDzNZaOzpCSuG+ZORz3mVpgDpeAYKoor5POAG1CrWMnQdTNEDn746IE0rBjDAZA833RxnFp8ssLaeqaief4zcw5XOrhW/vZgjKChsNAeeCXPQjdCumzol0YwIbIdtWIIoxqVEzM2z+w1XE2dCTrdbIISS2yJtYMtWmiOtUC8tsMwC4X5Oa8oiy1rpvMS9+t5trcItxmCUucNLbtxwQNTqmfR0Hcyl9yda/4QKBdl5461InghIeqZDnvvuW2lMWoBPC5oLvjRmjraool0qvGj3Yis2nS6DEtV0mbYQVILBGyT/BE/Po97Z2i5hEDmQ22yIXqG05tGSCp+oTbdqg6O1tlyukVOAeXLrkTUa3xLEJdKFD8T8l7tFdrbHzQQa2HwvQ8leCYbpnY1YbLWgzidKG4PzfSxO+DFY/XmWK64TBfdI4+j3O3WQ7Se0eNM4F7V+I1TCXjORvjGLyito0goGmjsFXhArovnxsjXhkDhJt7YgqUzLb3KmvdO/4him81Zlnr5NMeZ1sQ1NOAiHhmC8ghZcz+ZyB5j+FcoHwV3U03jejUjxh5xlguJfP2i31xtEsA+tGhVBMQOkwbu6cSapTAxb8DGlq6vJT9EvKOFLaobBFwp1a24zHN0obRxT0KqfmwgGHQHPZ5lffAcRAvArZmOgDfgdhf1ot/3kXSfUoui8NFTUP9DrprhrWaIB22hFuvvFFXdL06qrDx1VIA/oYUCqvjuuZJH92UiRR1iAl/WM+YZVzgW1BspMzPo9vIpFC76quLER46KWV0DiaEnbrE6W+kwGFbL+Toy4vSWxpqloFN9SEv4xENJGdPQ6tmXwTz+6tmii3XPCxB+XLoSkAxueSEHLzg7IL/L+QdZVUTxKUWjJW9eHknxqI1o1LuYO0n+QyFSoPVeHvsuqe9souPu2D7dEn4+Ymg6Q0oAemHemUXSSFmQ2ZrDpQep+9XCtzNjiq3t4Y5HrW6WKMYRiLnEwiwbKX3M/ZnF9Wg0N1ImgNaRG2qMKathgjHIC2Os1i5ondEUDc2Lmn4W/q7icB5VsSvnVRFQT4K0OheKPg5ta2qpOPJXv1rRKzfHc9C3YXAfOVt2LAnCX+sZ1VDB73blFrJAEBU4X5Hck83TYP39N8uoeHp9gXmwi24Q2b2cGjRvwghK0TNJhA8MHCJFk/CcJSViVnKpofVRqZ81Lgf9sfHtW1VCXAZx/GJ+Vzo2ywiEprnwMcDoXckAByhBKPyj6At0Ni/1ZbreZDcTaKm2vphAA6sNkLgybEF13vLH3DgvtA1SlyInLv/UFaEpxQXemEFtwQZEiMu1UD4NxxnjFXAnwgkwrX9uKgDl/S8Sa7SG1QMt03SamtFUQxzyRwAMrswJtOjrPDn/Tzdn3fgWuHKDgjvIAs+fhMzEImqERhZ2p/mT6xXQOuhxjWhwjA5+WXA6uWMCx5Wiq0fKOOpKuoF+rx96FGAu/8Ih1xBT+ujrvgYOTtofDX0w14k6U4P2xZmkXwXMzfGirwXkVlPOjsbGEp18Gj6WsMw5RDW8gYt+V/B+GlgpfJJb/gfeVOudNiVYQ7V14mnUpxOt2ohAQSFuMt0oP1Z6Vhk5G/VsNLO23rDYSH0I175fIHWSkn60EJ0mod+bIf7BlJcJnguuSVXem/H7N2d2r9sZ+AdNCH/o/ZCQ6a7/hws2TS7AnHWbAYR7R39eQARq3Y/Cv4bk8wyJ9r5Fvx7wC7UxC7wYpkF90FB6tSwHFwNVlqtqnDo46sO2ypMRXF51u6oqmovB/axV5b1sUZYppm6XUmg+IztZXF+cvTzhs1CGzJlEYSGwp4bLZQdAvAxbxGr6EAOJMPfA4ksX4ksyfM/LphV7N9ScszBVTKLhB4jXLB3f7dZfL8P+mPpnG0URvl6hKvYuMWDOFCS8F302dta4OLUVeczWY0tTTpcP9Qp2A1volsZ5AWGjf5mrq5Mu3TF6PkWkEICZF1LcMvwdScsGObJz33g5eMspJ5IHeRvtupzgVR89EnvP/hqATuSUb8gDKs/U5O/fs1hySJsmxdmrO5/KA81QxDUrewpGj7O8aCRC8uKps4jkN9wKfBJcihln2xvKhdbOpSXPAJM8LFJValvEbj/W1Tu6Byq4zJD4xXu+355PMfyg+ZVACoR7qh4tCQmzRneDbLS78Fu6IJIzeUBagDeFOWZ/xlO5+SnobpI7hzV9P84Bffos1GYDa+9EmCv3V9rbT4q5y4jMan/Lq7vyFXGxLjpTuJWTubJpjGeDHfoVbdVt9FzrwLgjk3XD2SOZhY2xupasPx9fOA3CFUXtSk9BrcxGZiJY2YtwZuM09IOq0/TV9XmBsdo2nBX8BYbFc2IxqcSyHH//15k8Vve+YeowvzlyudFvztBjzvuKIpKF3LQFh/Q4E3qStYc4QGtmcxLaFeeLYMcax+9Bzpe9m4XesnIDvwKBHL/aXdJzdEiZeTm58P+u0rb+igyFr3FeYOyYyxYKa/fJ7V3VDrmmUVTzkR5LFffFCSNtMfSDO4LUhQFVFbaa7EVPfecE845nByUC8qyeFW5+FiMTuy77+HqOg3txxkoyFK1d8FAiYnihp4tf/eBGLwcHAh3Jhz7yMGEj3XzspmAuUcFHPB/ba5Dw3mrXFRmZSbjtotwYhPRkQaKMU9SwUXENoBmgMI64BvN4j2sSzyMOZCe1qRcB7cvTwswJTBW/GI2yABnwNkZ5MuK51ONw407l4zlImeoaMJ+yRB3FRpbE7HxEHOjgxJu/OR3JSWOCgmC29Eq5wekNJB/xxXMGWsmCxq8hmJOt7mZUsHG7HTb+EyhkG0LsLFoW9ZFpGKXYcwFN7WK4EVU8Ycosq/DJSIsQz6earoqEUqO8CRsA0yTCP8PGp4BYFRU0WJLKCyyXvxPsM5S0vLBXRGNNN2TA3tVaQOdEUw89E8c/UAayuQkgwLS2xqvvIM23F69gXgoWSv3C3VXYAaTAtuMt8RrkGBIoQ0jCYBndyeqiklJAxubauhQ6cp3pGb2PnXITwgvbugLBAvzrL6LPeve/CuahXh+g8Nf1udqR8sRvioieGEsUHR9h0o2O43jl/vIuYHhJxOHnPDe9OFKZf3ybp84KNSva5bVwe4ItiWhHglo2XEy6MeIzCG4hPtobl8EmvYGYSMFLRYAq/B1EDYW+FewcJbV+Vbl0jmhmUsVsRwchS7/j4Uinx5Gqc+xwpMIIoeXlizHouwu4EwZmYklX3bEisWwcMbQ3uX7ppEsE6oXYmJHH2Jy8hMq7PqwiKtDPcF0WnscHdRnu3/ysF5+SymmCkRHhS8VU3W5x4VJNO4oSlADb20TBlwsVtRzjMqUqChPaRH0GoWK2D9ZSb6PKdoWqxkrTu7dkDRVt5xOtXfiwQx/iUJNOqC7305xHF1vU8B7gzQ5kSgQYEvgZfSf9mqoY0eisUiS9eBNXMPindeb3MRmcY2OH+SccCuawDmVUJHcJQduvfoCWbChERz61JNdUQJB7LQbgXKoSt7YxZk2sHuZMcooGsMSZXrfyoXOwzbCKBzIs2hp9OlmICrS8XagcXAjCzTqC3GNraKmUnSikPjXLevaOv2xB/ItxTecV84Ulb1edVYW8rO7gQMrg0cu655VXxEcDy25HlDU3PsIUvfFD9AkM7cPMru+K2hr4m1Bn9v2yibBDO/34GFNel9uDq9aWQWxrVSrnrS+bEDWBjRYARrjU6pv4b5h7geMKzeT3RW4IBxf4sJfJ1MXSLeXk0Ex758FQvcsJHCItnoD+YbGhf0dXNRJjWAYhXyVxpe2PFAl+PLE9WePFDCIReIly+l1jHR7YEcIAnjnu4kGCmTxOuqMuQMQF/zRCKI5y9ozmUh/sOgZfSRNMGpN7d3CsGZt3AU8kc1avzeKqkXUI59PFQHtcqZnl7dd/iGzGju4Ik25LQQRMA7Ze+DljWgjAQ4egXKJLFixJ6IVb4TULwCfqTVCPO55XA8Hy0a1bLMwepkJvlghKLzhdnzQn5kRFaZDIwPB3HeLzwC/W5KSm96U6TOsKOYVMbtg8gghJ9aAecY0m5gmbhNdthGLzbL9sYbnRfJ55Ptch8L6Y1r4QHn9M+c5Mr1XE8gp+X/+3Js63gEwVgJAbf40SlOg++TCR9T5xDTYqbR06/zz2QQJLEDe2fm8nifhXo7Vxjv9AJ0f5TbE1ggF814+zYIGzjgEvOpcFwUe3s1UQA2bwGP3VC+NcgL27x3OjC2QV4AWmQK2z3UsZCqWobrf3XoyeHDqJCR55DKzzx+UxsyIOna+iGJSZYMr6PxnSdjUNHi/yT7DsN5dALR/jhxWDBRyDJ6eee102joXNpTrS2ksiu2dIoYxVe+ezKWjOe3dP65zsQtBXSPez8Bkvf2a1e9X6+BIiASVyxKn8N0kD+E+K/mu7w226t7w+Aw1cIDTyq230Q90c7MXel1LIfusoSXxNQFUwrLSxfgsMf+iCwn5DC1/xvUh5c5Dhq+Ki+stCBSnKrPl23MbVrJpaqRT46UaAdFgmLUAJPwhe8Ws64AGmGGubs77uWzAFUcSuqpqQUIfBA56xCixHzcb9YKLs57HgbJWFTAQb6oPA2nYcikzCCYZQFd+r85uziaBi0xaS+Sdh0/nfIoZIQgOEVuaLyW0Bn/ODp7xLwQ3k88OoHBPNSNU7qlTfm/TB34myNOxkuGTIKR7SqJY6gtwUfl0gVLo7/zFwbSnahUUVpp21FqiPOFur7+8a+OR+TKElGZINkM+1nzk1AcIgSct0qAdqKrIzkCBHXzG9Z577qI8YRA3KigSTSVw5FXesyROFUha2qcyod0F5f0JFZiZK66uTrZi0DzYMW6rIOGAI/tWI5pHIxfM2ExN+yz1u5JQ5eqLhc5ev07mQtaOKdQej4eqOOlUqjDVwes0Ow0zbf90xuLz7ztmDYUvr4gR7HGcykFZoP6hMkZy637CgWZGkm4inr9GOnY153O0dBhtueA59u+xUCexW0sP2Zkd1Y7L0agS7jjh5qa6ZaqH08+XdMokgCml6cMgAlWB/HviUN53atdbDegFrCUeDf5yMqhQ0MwlwatsJJyNFC0tTZbMQoN2B4j5pHtvSVgzT0nNVX3AYKyVAVwAo98R7eDkrxCKR2U6+p3C0gAK+mTNA4ME9lGNXDth/3LoOLOUSxxWEXxLSgjPyXjHt//MtwbL9/8JkIfAHckDXUlXAyvpjZkyjFosaVrLnwyDZBUhkH2MYUeDhZ7SifWG44BUaF0Kwts0bqTnklSr5kg00TW2rG6WMXPLbbKAYEjtMzvL871zw5oL86q0/SnzgdJ85lJOVTKIdckdps5vUu4dTo2BCuC78I7fS3gnT03nUSL8C8tdLJO0zo7W/bazKrC8jzhwlMc4q45ZweiqMPEL7CaVh+m5uDya1Z6Inh3LXwgLgKMNEb9mEovx50b+/ZF7jbY9B/20tpcKMwjqAatTDlmjbG1lKpmGuqTnscngz5ceEMf+ad8YyxdoEFEA/VyOMvS9ubxk5ZC1ZcfGOI4OiOfTNOc/lUWAwFZSOeaftT+kgfnAr9GqzvBSWa0vxTccRPiDt7m9xDYWgOyOmYlyJNAiQJz2xQy5aiDizwA56lCVN2JWZCTVZIE1SIz1kQWJAY0txJCM0MaEeWgfKlH65SASTUnmWu+OrIqe8smlWIcWzPqPuJEd9S5ixSQNc+I9gifr8iwmv5whu4Ne3vc+bfreLN1erDsR0LRAQpNeIEbtzj2iMN6TCSEUz6S34cqpxqEIMdjfaoiM+62HiWGRymuIukl31w/ge2EYL9fOYwFYQVsj2KWfGhGOdJilxNM3ZeAx/hsPaNf9iZLuf6K3Q534VPug7vqScu1p7FthxIXQfZ1++dsJCJjnU2D5oyssaHE2zh/Noi0wBu0NTBB9P3pEIWEtyVA1rCmvrV1qc9VYlX6AEACzL3AvQgTNK1CSq5hL5/TSZyDz5IORuupO40IcVM9j7nZPLELcHxvvL52f+r7OJJa2/Hzs5+GoI25XB5pAqY+K5fupyhI7YwgkG0wagR4LZ6wLwq/yjYDs+LepK1R5R197DCrXQPUXfrFRfDA1xGeukNeSYmwD9ECMel7p7UEJoiI4AUp14Q6qvZrMTOWYY7EZunBjPm/8ZLmOYqHHJ5eear1kEE+Wq6MMYSdqz+cOySue1hPbkL9WGAo1FwJoN+adErNjJAu1TGQUeb8YNXlR7Kr297aS+iw/eSyCsoAvDG/SSLJSyAqsN57lBuDEggyGBXy6HudVAxBLwM6Z5cx5aNL+H/STNbCpc+ycnv4sAnZQ5EDZWeCdXc6KWW5Cx5OwOhmLWTxBVqr0egqXoqEenT20oHaufr4NVQfJnt6dFa4d4F8YeJz7SsiY7VCKN7Oys0QRKtOD2r9ZuecEb2Cgo87Nifzh8wh7cAqmcndk6n1QU4QZrZnAbFkIcfGr6t/cWZV/Gw/GKZHGUdsq6O23Kov/LRwllMETyUoXOa7up1mjLTnScudnmoEoV/mAo9iyOCJxiqZsLAoy2KNZy1a476sYZ5ARjECI42cD2l4fAojJfiAg+NOMrODRRz8UkT7270p2e5dV2sSU2MfUj+lG+XSKlayXSXpEytPJb18Pm3IV5QN0i0rhaV7rfmhxrSxZllP7jl0pK2YNJUJzNpd/sj4OViedxji1FOkZknFUtPg1w8AAq5aobnaf+Le24YN3g9dASI1LteNBLZyGENhqs96+EviF5tPrQk3MbbaDuFvCHDVNrQ+NG2kRdzFFfwdooPEQx1EsTVypr/3S5ExZFBTFTDy8ShGgJF2sJaTySHkOo3HkXgYZp15bwWAACs17KgIEjWd/E8dC8ssJyodXKFPOrko04bTsZoBuuqMX/v5MndkASiW+Y4yal3fF+aLxvKlzBkP+XXjKyqmbXyHsK61qJN4P3an/7foEPl2IyZBWmrNvax8McJsaXZUv90ST9inf5SNlaI2MHWcvh5A4lGPeDb+G/3ZJO1IFY9HpywSvP76IWd5VpQmCc0Ew2NTfCvD0pFWFRsAAuAy434i2UQuLEzfF3En52OQrMhGYwvk4deOTI/DBl+M3nLOXZ3u6A8PS+/h7EcAxoyzSNy+U6dnRe/IzNzcDbq9MLweuPuXkvbHJThvrZ2wJ2UhgkgSeTnRjjAHmNuw8vNCEefALrNM3aw3QAoEswwUwezfwgzHgqPC+Fi5fMAmXk1WgGPedI+a9psTIP8Zdl507MCcNLv83Hy42/B7V0x9M2hmeJNZRKxLSkUmj8HsdpjLhT3WmKn1Ac8aygmgkQQ76VbfZEAJdoooOHmc866bPw2BnWbQo5o32r76JefmVgnOVfL1YGdLHXD07heq1fkdFE+el2xlUIhmGo3rjaXWhnatM7X5jxb+YLKgnlG+n1hOoiTncpRH8wp3KhuI6OZah8gzPqmUEE15VJMELDBqeOwGHP70dkjflwEoHw122eWnmKWeM1laixv1j/JTvLchGtr99NzuXSPD5h6ZaDOoMJE7c77PWynretE3hHWNDMJELYyPr09VJuiexbOnxQsAWxfgVtuZP5Gwj9K7qQfMjv/pXAqomvAFeu2tmSM7b64IdaleUpIc/AhlMDNqsmQwCLO3zpSfg8bwH+Kd6UXojxbK4ksPR36FWGSTjLABwMDKksMERmvytiIfdM3n+/Yq6w1/nww6SEF2PvzR4tw68DcuZT3Svqj3A6pVqu6OLViLUKlRJ+iiT+Ui+xPF+JULttIYdwPzaDpsbwxBWYVicsCa1Q65rIbDokzvva/4paXvECZAa+LxkwEmVMYfE/HeIlddBhaE05edG7j/KslmFsS3jUgRg7PeQ9kK4NRfgfClxmhWY8V94Rqocl9scVnqme8whY0aXY7ov+Fw3lQeXgQmZd+ZbZx4FcjYSTh7CrxpvDX6Tcs+7lKZQSC/8hntnfuoPeEXZ/uQxtNNt4laIQQE+IKfrAJPDkCvFepKyg88YiYCZoWQ+yEOTpJVKKuGUS0vYZ5r89oayposcYLFIJFtqNhSznCpKy/ayEW0Ecrxf1eK8RRxIvF1TJMFMShMK1X1C4m9PSWFBCpQi4nIVj8a+Iqx3iUN3HWqknF3AHi2aclZCwovrzAi+Nqor2V1EZrMtqax5voP5kQVHAuJFuRg7QPzTVl+fP4wiVHKjFmNY7Nv/BXlRg84dynXk/VFSAaBRHY07V28KYEQ1dp/sJvAiTeh31FWlEkkH73venjXNuJAOVCViv9Fdbx0Nvg7klLHSUDxS4lF1jp05YCoHnrVQ2D9n4ILsgeVFHp31BlZP/1jvuGYGPADOIHe2HrKG8e69gtnc45tqDeWZjzAdJs1c8kL1/wr66G3lw5it9WBE/R8dF9ifko4FLM/6g/xlmnZhqwStlveTpv49cankanvCLuhSC/hsVUrdO2AIOzpza+W4AF1MfdUVzXHfauff0XdZYUmKkBxWJHTJ1wQN5YVY1CfDkgvFp9Mk464t2JzU5W1QQyo57zQCnZxP7EyoKx5J2X43CbdyKB00LGBrqWJu8yFGzESUx1Uj3NGJOfIuf2d4q7eEZHxLLCuh7ug2jYH+8bXpgi74Km+Rc76AlVCI9waYIO6PpHk+mAIou0rKMROCSGUyAGHCtPNgFSllkgMYuf/1e1RrbwBPkRO+8YDzqv9/fqNVnr4OnOgWDH5LhSxzYHmxGELvUYMXMUDoVoXc2L43wyUsy595JCe1O19PWqToz6tfoTF1xpSE6PPsCuMyvhewcTcfqmyy96mFGGV1LLcSEhvonBgXTCxdmM0bjH78a0xA1yTJuyaxAsdmASrRFtz/Z14fL0lQS+HY6VGGbggvETcgmj4zX1G4k7CQrXMYwTyzi71+Se8c95zzkvj6csAhqsEH5Ll9V8OzHnA7llk/5Z5uNAZJOwQay7zb0icPdYi4JZpLLiDnNCUTBDhkPD5kT1HFNlWZrSmFzJxHADoelGRXUdPVIBAaiPTFIpPdnHdw7xziTgNKfwCNKJcyD9vt8MpHXXz++rtUQtYC4AS3YQPo3XpsgHS7oOWxdQWc59PZolCHjcyPIJKxRyeKLB8nEATsvEZIcMO5ArEOXhNaGbF7LSl2d+3weNCR78FK+Wt8fksbWaUri0fMwmrJDi8aws6TsFyqAE315KwqYD0hR1Z1/YHEAbhUQL3YopHwpPEZ0amK7aINPhz3+MhdUZX3NVsNexEXRwwAToJqw65G1OyuEXwh02uP//wE25Ze2ztrmt4o4KY0+tjB3NC8xZe6+gIzYa3wa347N7TtMjzSUQifEdSEefJklhq3Ug8vNGHQpd8Ybsueu9ztiuNFByvbnATN7Rc1NE32+L08G2p93XpTnZYFmCB6SSzRqqsL7w10k/yzjnUuhedjYYaZNzMITlzayyq9Kn2VYbLNDgaSYWk7gOKgRzruAT3RcdEIOxxBQTyVTvPatrgGRc2gJ88Q8zy17vmEaenSHyWbH0uJMJD2DvBmiUHhZkaMh5dxh6uWaZI3RImRgENjQkKgZgbH+aljFZu+36HzrvnZWKqzC0qQIlf8U6keBn1c+f5QmPRK9cum5HF/UM0Acctq2rM8dAxTdTxtIbYNBv0Pd+Sy7jbnrxvR8pfNjzmrNY8s9xquqamDOWwpieSDUrPTRzTjleUtPV8L2V1Xt0YYzKPUZ1s5P/7nle544iAc2H4H0ftnrN/Y2M9DS4X1C2Ry5y+gMmdag+r/NcL4jriHqHjhOba03kKzVNFWfXbknZsGHm86IGlqtPAxurnvmtANRrrEFL9a5ZpmX7gRVNCqQn8rf501fTrG7V2xA0qgRlZ7okPupr5sboCaA2Pj+1m9CC1px2W1yiu1iMQf2uAoYzl+cS0BKGIbCIgAET1aYreNBPFr1merII5c5rXmd8Gmk/IyxTu89AS/AI/hh0g/2qJuIgDx+etpuntKYn8s2PbSRMi9up6hHyPolyIdedpTFs9xCQyR1LOVbPeco8/mq3LX7HL1mz268FewJ8AMo5xkrQd2jxps0FijKV+zMO78TxVXA18kRwc9xMDS7+iPrEipFk0U0D8cJOvdDKq4hd42lrRiT2sE7o2Zu78isLRQntq9SjA7C/oBr3iqPcwiRHA/FUI4XFdntOGCfhsf9oyBr1FxeFuhUE4Yve6/mapz026IoTGdOCd2o4A9ngwm+WOj0pGruYA1OWyoQTRKPrvtRsEzcjGME+sHgbTY4xIGv4gFLAWG32fpLenOIQ+WKUTDLOjFVA4/fuh/pG74MLkBAEHsMUKhEqlMTrGtsqsyP67ID8LM4F9aFKcFDy4o3UQ+UKOuSMkK77lUWL5fQd903eNC1gbhEXCHotD8devXNIdBTmkh95yebU/VyHDrLGBUtjFmKope52SAl0sF14RA4mhvYfMC71P/gM1vArQf1SGHtqDc2afwB35iGGiSDUyYNDkOjr6RcdKxTZj9CLQn4Fht8U9jXjeiCiZcrWdqn2SBPhSFjJq0n+Qz7yaftFVUWN4J2XG2v9RUcV2/KxOSNMSbGPQN31waZO/3qggzU6J6pdFV68YevXCSLQug2690Y4occjBcUxefdn9NsbA7Lw/FuS5pdjnYXclpPAcQQvhjhc+aZDzdXbjj+IEnM24mych4uI/SkDTA5yUS8g0sUdpEAFVyTLLVMSRnuqXuYSbQVcda1Qr3i32qQs3Li01wyDi6zmX9LZ3QLLLrBEqv85Qc+M+w709wsgwbHj7aX/pju7rBeIKT6iPheD2ckif3IV1uw8Fz7g8ghAGbpSDzBiPcOkLWemhWRqZMqmj3C4MwVVyANQ0vmkV75keX5ElKhSguMG3rFsascv+rZ2ANDjxmF26nFQkU+Y8oAVk/2US5cNikq8xMhZf2W6Vy0ATK9pHdUNV6GUMIzWQLxZt/YHnSvqhE1JJMKSahYs73D5c2+1Mwf+HC8qfkonZ9a5PxrxLjw3SFLE7WjTNkpZV+gDkhbet07l2ScfCzrTwxC+dWl6iEj+l1sZSdDPd6wDHS75Xa/ZTi+DTqfxysnhimAq5Yzh9Yi9Fmxycv9WhX7McAJ/5ylm4F1IHyBL2VJnZkB/MuD0gqXfyHHpCGlyb3j3bYpuPXHg427Gr6DUDfvBaSAynXVw5OmXkw+9if4XVbQA0NZZkriaXPf6t6jLmym0kOXiMySwLKV+hFk8c3x1Xx6aW1ydlXwmt5F8Uj21ht8hxl0z+TPbney7vkRbo80Pld1yHZA5WcIsqeg/ndmPQhF+7SBqvZZM4+RltUiSP6/5Twzw9j1J6pB5T6nJkQfVsx3NLwJATvmO/enrj8xef8KqfzxezhHhQFmmtHMrm+sIHf+vurkcNSiiQ83EymcJ+RkDk3MIjIVe+9yjOAVvWqA4Y9sMV88O3SC85hUb1IYDePj7AnqZGDvMRgVhfm+APWv0DYwYMNH6l7RMLzeZDKAK1DJLh5nfPXXKcqYrlr8R7RUUDI49k7Dni2UE2dCx9aS9lgf4YQtpixiQ2pQhl9VHOFPXB7DpzFtpF+Yg4Fzd09jxm6nGkT41FQwQAHZQzQ48TBCzQFSg0P9HNO+uoxElUiZxdQge+KdIe/rMo4RsvzXQrvoPP6/AFq6Sgxnvfg2vHV2MoV/MHQletCy+pFPVNOZmFudr26dofOB3I87YsY6Ahml+eYjmFuW7z6mFWEL+nQuc8LDktuWeAzqoWef0juJppuvDrYjWVB0MmsCJb4TQ3H6NgkK7P7QpAy5HUsHe+CbpdRxhtq6dG9JUcgQcTkG60EXR5V5v+n6Vztt7erfPcIArVoRAeyam2sO197jWdp9tv2RjtS9Bk2LrKngqPek/T+C7wxCnUPlgv8ZBH6xiLfpSXw00APGQUkwUog5CXsmebzacEgsu9uDYbPOKrY12/BMyHich2uywYLX+NFQ6baNjFHKevLLARSubeEXxikNoQKB7S+LPbIT1fVeuRfZQ6Gx5ugaMZaqtVY7OT33TN8fLP/ZmkKA2dk1eMVIDrp3EjawdSjOOEz0a5KKLGBlMx/qzRqmVVS8zuDuvuy+Cgs82WelF22dO9rBkv3XM5DvGyz1dmU7SXwwqmqFRQSbhirnZPe3yzP0TDHt/EtzSfdbpW8ElEyFSEJ0SlM1O7gicRmiw1bPrp97C50JxRlQlAEuCB+X15fQzyDqXY8i9eIEdiGJWK+wBO9qfqhBb61R4hGXmPCQOCX0++ZsjE2gJ3qik/akPUzzv2gYEJu7sVLlf+sgTaYmExGMIptHS4uIYvaJIJzcW7moXTeLN6Ivv1h8QU0MzJZ1QdYHjcKw3PzbQSk515ASlce0/5eAbOQoOF5ldyt9oEpagf7UwBbIEs+3XCGLszSkSAbWahJ1Y70n4LOyep1949r4mKbSzzK2waTfzcm+c1zkRbHVgObfDl6wGDKPhP/8fH5p/nHkJ8s877cptUBuMfhBEns7fv7GnE/UTMRA9i+wy6bneurUylNY9V2Vw4AjlWLa1UUr49DhpR84pcpgKOdDB0r9GcELMSeFDPoE+M0vN7KH7POnrHAbt6d27JwvGXbqtKXV9R5otMCaOpyX8ktOtLocMgyOwAkCA+J9NqjuSRxiW20W+z0Ax4vGpSI9z1hF7JlwQ2QC4YsYV+DYwHCNJeI5L7AFJhr58K4LpykLJjb5y4TWtRVJhKefQETaa4cogwrTkfFz1Rtk02Kf6YgLtutVqQAl/67hNuepOMggHfJemgYFyq22wxfPYNDwYgWu7rDuRGTzHAw+oty3I7pdHcOxU2ZJH8HndxobAOXiDLQXSGi0PqH62LCkRIDZ6eGWqhlCSRCUii1O9La68uvhJ4o8HW+lKu5zLwk55LMmihGx+BufXPIkZlPpyLjEXB84W5SZWwRQPFUSWEUjGmluhTZi89msOx8vf8ncVopPuGVh5Sc+SxXAoiASpE3TwLC/CoKnjkGme8S+y+WUEx7keO9qeAWfuYGgAPlhlwBrCOeOR9sbACySEXEMz9cb26mJWi5Vlrd/nps0IMrPmxQWlsm0LIxJ9xmjD3sA2N+ArzZSdYT8oZXK8kfmVzuyNC2VoVptvpt+lbc2f2UytVKs00Bab8z8cp1uk4tO8AXiKL7XwopRjw8sK4ES5yG3Vbxw/CEyZclapOG3TexIJT34yQIOpvmnDyhrEjMZz3B4vzYC8c96Ryyxjca5LznFsRtaWmu7IM7wcmdSlgI5hX1IQoYFuMdaTXZgOzvrWGYFja8qOzvOwnm7zdDhclvVYveMEex2prI2tsLUFQ9waI0sFPVkjdwcZBPvS7rtrzVcskUt6QoqaCjLl5oCBh7N6ACU47zffROpPJLKdPyALgfzH8JN59CANYVeUm8ClQ8ruVWiQO1TEu1lnfQUNqQbnlYSJhZJAqU99OeW7x6l6EaldyfLZe2kdA96Dd87jsQkQshpTYpDnVXx+qaYqXlORNOSIJLFsPDP3uvrvo6ug4hftC6EjtBgDWGDzdlLPDwvNBd4CmlaoOKmWgOt1NLW7UX4ftNSBVneGtIG9k/lB3Zl4KRJf34Q0wa4Q+kbBP+HKdB/W4x5ZpHhLAvwjc1VbnDOsJ/P5uhHELlxSKTZ5mOVXj+sUBZcsJGx4gm1I+QTXcWZSDPgsOZfuadjzm0llAhYpwp64OOT7xXO5Jg4DfiKaD7wPqATJ6rS8qsphu/q1C3uKmaLwQt9BuM+GeBvPTJwNyKfhjeMUmP7t87835fSf2mvzEq5iifVy1XXbZ2nRWf2LDaKLc/R1HBnnshtg6bnnfJb0Tomwr/UYaO7jsplEVsWu/NYXu3H8JT7GFRsbPvwxSrunBzKxFWLxs9ftddKx+xl1PsbkBZVvowSipNRfS+XwIMNDVySCLLtnNHjrsEfaUgqXimnAkD5cbHZH8WKoJuO4LZI44EXEBpfqNPFYk1vxmXkFQwJaF+h3nCPmI5mvs+7WOsJoY4Vt/hh3CNVheBTVt0NM7T5Akc8Iioj0I+7ErdWpXf5GhPHLBu+pWXzzSIIYhMegNkPUE5H2Su+lWM6QxZW4c2dlNxtlZhLZfkgIwL/i6ydER0WESZTGlVWTW0s+dSkhvB8a2WYuZ1qR/68gbArPTjJsq9fsgtXlNxgXIpmQ/LUvvr0VWjrw8e7pPJU0tc2CXgo4gH2/DSLTVvd6893wMpzY9GvsBkNxr39RVwFwdBW302kFEUncdGngDg5qkZyCDfINnd2B+yH1lqhPqx2S2CJzocbbSWndGtVQ9ipHpQuw+g77nGZF/UfH/QaK2ycAlA/rKCqFODxcLx7RHe18x/d3zZYFHtevwPsxLh+P2msz5RSYXZ/Vg0FzwsbO9hVMCBHJJBLXlRDgrRk6WyDCYPy7JpPRpkUFtCHeuCgHaZzZd26MfGzFVv5crn9+bTEmwaZSJ60AFORmuEg/x58Rv++HJsaUjwyqTl/hRSqYaVziA15GBH4y2FYx451ZXQJSwyVGkpZY81MM1qFDS/D5bcQrU74TLHFQvCkF3GlE4QZaYagfs/FktCFzpv4k6mVyR53juaD36kE7ZHienO06PzXZl9xFmXwDhoFMjqjZEg5Fc1sLlfdNaP6HRHaO3dG6WUVRPkwesl6P9EbS7T2r3TIoFXj90Cv9USiUDqWum9Ea+nJssNxaZkNYAeKp8axblvC4ocf5lR5HSjATb89qeSynWf9j3Rs5u9JVbMo4lV3ZD377oRXN9wDDPSarFPDfvwaaOe7W52IOwLL/DNOkoMbHccbREJ6Epx07n8F86A2YyOU1FpEKA26wFsopSC1WCbwlLQVYq772toayo7vZ8xf13sDuu1VqR0X65NHjIoWF2M58GskvdXCrS2tzIS4DF0MfAWaBD/B7YSLAmAywGI7hnF2DBWKGJHFTgWCeK0GHkyUWljkw8WkrKBwJ5MWQ8GVhriCkGnPqJV0ZLxzCbcCuAbqsedyELpmVmpGLRTkBmhHRoa2D7teGvD5z2kxOJpidLE4lHsvBgXyyUCl3rc42kcCWKHJJv5yLv8SNubqn/02xip6Q27/zdqqghlXSMc7nw/HqTH1hwkdAC9E7QveFR2KVC/yn+BJ3G9P/6OAtojboY5reOBx+ElLSvJgaJnL/pVFRQCJx01dhj+PYfm+9t5J7mPal5YZkwh2HKYbV4/MxNMyzpvwUVKfF4MHfuIRKmSgus1+S84tZM9Fv/kMY9ul7Tpmvvvrpcwbly1bFP+mQM/yShILvPgC6A/LJeU3pWw8XiKXv55hptph98dulvO7tFQzAiXlZAfSzCbxI3PsaLyIuK2CEo7wq3cKlLIsMB3D9S/2j57rBzLtWyYLmIPuhLUhukfTbaAweogSLcJ1XM1FxtNjKd6G8vxmsc8WdOjzhOp2xfr6YyupTM8eog+SvQ9YAk+4glPHyQB5DXUsAnnEmXjw0YDGj6doZhLOvVduT1UZOtjGU9ngaRZf3i2K6SWecuO89R6LqgB0l4tBTlnL8KDkQhqCPkSk6AYc8kx8rFDnIIj94Lza3E5mm4ESiZKkLTt/qw2VjLx6H6CQofzpro487vpq5VQPikD43FZAo3nc/IX6rhT9G+3RcUTG6ecZ5s5Hx889d+gboTMvT82v/NZ+bKM7pvslMsEUAsGus3CuLB+8Dc6fJfXeO35KD5kSVadJqYOltu94iW1vSL58drYP+wrkwxSF3GupFoPgaDlukvTc1vz+R+yXB4OTPUkWEMVu46Zb2VOgUFi9SsjpN4I/S5drin3bDT5X23Y9aJGNVlfAO1YGTf3O25xHXQtvuyHp3h6Gmtnt4eDW5ixuQr1foBAEB5AE2lT31JpamQrqlr0ZUrN4JPWKAnMK+cBTzjKqCNVL2jN3qdqgymUUC85LAy9wESg9JzdMrzuMxr1BT22v6VxgDnNRK/qwUW4MlscAakbzHb4vDxTN1N577Gmo8isFfHcnMo5zPdt0GPsKsuKpehFLsqsd+dmlpbzUVAnc5D8A4lxuirmGwr5hQwY0kE8T6RbYNf+AwhQgzlJa7sgKJt+nWIyqxMbk79UMSNV1MyI/cJsk+e5GF4SPoAC59qOQe2XrAQxBktL6cjDNTLEUkQyOoDwakxT/5qdS1Eyoa8RvdKZqhQZKHp0QPwyzbLNaUCJOhcm63TEMGA8g9tsaa++T29H1NcOOVFFPGSvAdjribXrXjQgomc9kt1TSh8Y1gbsF4v3/FroQkFmOo7dvZDrpSLFLM4CfKgfnO/E755eQtlZD6El4EOrVVKzV1VZ3buILRjjWQZjzk4nQKI30Tlmt7kxvtRfa3O+Jai7EtmE/3yD1zTR0008BDzJsPLtKj7bbh1UPj6VumLfzFxW+X8DlJjEZQIrrZB/5n9chtwOwz4qk8aYlOE6R0+h9ZROE30yYgTju8L+4u0oZN0AEGzWC1OxYERWxOqIu7ow92C26/FZEHMuF4+WfhNuUxhFEahdqK5iEuuMfQUhh8PKa5Hh8kBkHvhf+HNTDjzRMKBZZD5aXOKiWfHeTTIRj4avSlRq+02C6zdEeQzKhl/ncIWfdeGvP8w5tMUNAQv/Q+YRL5OD8hBJUkGjCy+oRKw9KDUZ5FAhF6v+ASBfYWrhs+74+//+9ayXW6PPN2CvaD/OH1KIoQqkSRE3BzihCY5bsfwtdzXDVAhUm9OmGNLOORv6EZi5zU8KMcLNnSVIZObo4oEsgJk9d1laC0tc3fpPQ/+fbR/8qZjQ1KOsl2eCZCAAt7kUucu+TsCYpA3wCwyNJA48f2PvaODPbxbAWMfPKKlK/xx7k/bJQKBI+45SaB1sq8eAHykxtnQqHwI/5NltFp0cTn1qOA0VN0/pqPx+W7v4ET2A2kQixqtBZOUfUNfZWLfd+Mmt6uNnDcvGZPWwMxYIiw1p4ty6eEjtYnDqcLDniu7LHJrPrhOW9steY2fw20zjk0jxaaXBI1wAIxcRl9+xNY+uFyBnRKG0gWykBUsNP4H4nBolcBwPfWyIozvmqE1X75NV075U215aSVDoJFgz1V+yk9K+GnCePzhX/lYWX46ICwm/dpqvtH9kdREfnBBBpRbcRc+QtwXe+U6ylFtv3DWlEZ0SZ6HbC+ajhy2xG8NeLbpnESExvVfVS5HxDMRbevi3iJk+rCqE7QTWGr7eNZxdmx8dC/e97gNP1Fl2v8h21nx1QlgvG2DQwMaeelI7/Tw0T+Q6VRGARVl1B/NaIVEqJb2cckc/os+usEnaoRqBTzxmJID9Thb1f2zC90Gf9/6HzCKDoteaCqq5uii4yvKOfDos18bpSY8Bu98jkK/s2dTxVrZ8SEVmZpedGt/2kPXPHBXegTnODtHtNnSpGPxNAOISC6iUHjcKgG7v6+L7Hw/M3r8gs2M9TYN+R/60DpRnbVRXPlCzGJegwrG3e677FW+gbq9l0gvgim1ijm11wW3ZoZTTMZFI1Q5WlFJtUojcuSMkXWeR6Nbu5/jCYS45leznqz3d/uILwQ4ER7+JUAM0vUfUyebUYuRWIxPpCtzrKZHeMs48P43HKG2/6ODDSlFUHIF7ZiiLuJOdCWAlOEjLO0puBiwWE9Pq1ZsmeFlx4MRED19mcd83GqpgUz1nUWAuQZC5N/sfrnLTdcAXGBtX/PJGo59imQUfd2mIA5iX5pXXD6G9uKjZ430YMYGIfFIDEqjSuoO6YmQGIIF/cnnVJUU4NAR3wXPOTMwp92KZpM/rsgcndpDkcVipmMfxR3UEGBcrLiVM4QXuKY6h9zf4FAs56jYKFqPxAxKVoKPSdmGcYwneau4eJG/c/6Zf1dUOGfz09qgZyDKcGe/bcBuPgl+Q5ZRExolSlNGwf+MEubh3asT+pAw5fnew/8jiyAz4PL18H2lOkVbtZsAtZ77Ch5gxnziZTOkBcw2v4s9k+QA4gmmKWSL3XLAERUcSMhQgO9192MSUXhIbmUkcpVllDljau/aSLGNboXjrIyiYzppIZbPUKZSe3WSMr7oacNx8o+mLtH7RueSSb6CX6SijprnU9q5vYVBgv0HMxqjD6zdFODSPtzcxvOM1Ae4kjzoPmwdVlbl47SQHuGFuNMLDpY9vtPVYSHRMh39lAy4GKF4DRAXwcJEUnTm9RLEfDKun1839c9B3FHRYwPqrCCOU3cxNgTID1eyXjscxlpO+DwJcJ5idSeD0bluHAb3khpKnDTylQ+d7PuCVzaCdnbh2/V9c2N4M+dDPapav92sEO4hnW437+UrCganzPaH1N5lvESAWv/m/nSZn2EPQXSBZWuHJ+ZWaeU9iEmTJy+fSbKXLzloeHcIBZF3UyjBs8VH7DSiKTW4Curbe1N4ZStn9TFe2sSshI8riKVq3aKpaAGs74UXh1fihvP0g0dFnJzZVyXJldJjzofc95OFItFTK2P7JoQDcskmfurG81etNg3HiILxe6CHMyEmvYfQKCREigG0JGUjCUov+XDEiboqqtghnO9PdOmkylJdGazwD0uE+DaChArdgbOkJfLoziDe76PY8ttQa/OoOKhhXsSZZfOolB+PRPvztFCoT4ykl+YYzlo99A6pr68umXAp404pKfmEUfbzOgWDtqx4+Xkc1TtY2K9L9p9KvpbLSMktNjzG8ir+D+32ro8aZpS9dff3R5GQEtLPUB9o9/V2j18U5GkVmVqdsq78NF9qNFC5xL1A2WgbSV+AA9LB3luFdypJuxgYIJC363drZ9bLcIeZlzo1hR6n49P4kYW9jDW69lHnbgYBpWFJ72Gw4e25QKBjTZ9wZQttrjg1ML+nL8sbQKFgnz0DXPpljyW/+C0We5+h4rmr/E/iJBl6f4K9qAh+lO1+0QHqtaVTPVB8xHgOBeUKJz2/DqphSTCSGQG8AgC5IqDHjODHt6oAjwnU/bB39JrefD/IbqoUvrF/sHvt5iF0HgsLPXc8BT5+rf9HajQ6Vg8nQnu2ZrZ13itoGguQYdcW1SB67qhTy2SvOaN74DsoPRhSTm6f12BY3KS9Y/rggdiaNPYPlJs5lsqWum2fP6Cb4/bZm55waoYV7CDt9rdEZ8O8Oaa1BvYgsdrUaVTp28vzP0QkgctivU41Jp81gnMXvMqK6+NRBQsbtNtnaZpQJayhW1jhaO0l6CaP6X0mjeMUyNqE0jW3wr3NfHsVXGwdLjY6QeaI74ivd0qMzqjLE75NwninwlMPf/STbyWk8OS0wBWkQ3/F5/L7KqCf+zP8BgIbPQb4xBTalLWymDQh/ILv6h3skKB+aPt2pxHYbCgRlTgzOsk7zt/7y6y6cFETxSLaj31PEYFJiUmhJFsXd+F6fblGziver1gwAykRbntSmCaaIEEb+K8+tM5lHBr5/Ajnq8XMTiBxs+/yxKEi/CJHCsYEq3MW0FrtkXRA+7ntG3eC5dHLNEauHAC/n0jzCbCIETOKO93xOCgq/68qnrV4hVZlKOQRKEXLx4tOt4aYGd3FLa4tT9rqZYBPUxdMG30giIjwPdLU22VGUvN6uK7tzKJIUGGj6byDFyIAEpHtBRNv01t2KoCx92izVHlHwhVNTsLbpRf248PG7lsU6Hhq+vEgSUUTXCk/bXi6/PqQT/tTBh7Ls9s0wv2Bkyeh+Yn953igUeOns372uxiq3p06E0D9do880wS8VGDKSWuLqOnq8MoHn9R4w10RHcvU3QAHnj8MKKgNsvRL0+yMpi399yceB9i7pwegO10eCtVnvHG9UG4pEXagX5SeM2KTnCj7FO7/Ts5DDgSqa7iRb6pbVMVaR9GK+7V7G6CMt+i6vYT6xUzswDaqr25wfnwrDqTnDCGsqzndgawedTttNFTDtIpBL1TWW/weGHdQwv4CmvURkWyiFjh++Ywe6oa/9f1Sp3t8nVhCGQq/NzzuWFBOtsHgADoHCe2By1eudnxU3nnMEXP98e6oLYBwCS19FRkT2C03EHixRgPoLN34bt/8HdieitA/v0t3v0/Yf6I7oAaw4SnA6kDDaFhHscG+L61c8SSBzph3j/6uvobWdt2Zu4CheEH0YP2o4De5SAFWK+TXmrZRdpm8GCMVFHL46Cxw8U/ebWomP5TiCDpSlaXWDMYVZTA7OCr4/UH06n3id0ZzDP+Bqf9WgFS7iIr6tlBTzpGNB/Inmnb65UT3MzJra/HYkEbx8G8XAGILfjyOraxHcu3XgmYW8g+onU2Jfg1EHG6g09B5zYESVyuCGHS7QhVvUaUAz1FR6zgUu0wdXL30Ywt7ijVQcNLv3F+WM5eBAGIW6corcf+6q0skYF5tVd2AQkn8psuoRF1/+hFC7884AAQo6AadtpYX2vcx5G/4NHVKtYh/9gMRf6Cqt7opcZmeoBybvHGgXE9jPLGDr6HorTNSZ0oOCKOTFr71FDizjbb1JABJjmv6h7LgGymqKrCJ8skCQSCdOoP5ahaeu7Ic+En5yfbQT/O5jDr4GjVLONELTgVUtD94U2qFtksxcp65hJBuh5Xqgm75kq1w92dWuoVo9y7uXJ3TDsMPkSgh1sFsK2euWWcffzla9vfyZxxyciajinbPYwgK1xB3Zf9MLEllcTHbWvnhPN68YNLZ6ZRXkKGbi3GMyz4RiWAwlX69DBbwovXoOHLm8lv5K5sA7tgZMFYAA7XpBmlqOQU7U8rFLOZs69iXHDok9YhJv0U+B626YmThjcALrEGLG4J9bXaT6bGyz3GBHkIcKWKweRwweJ3cFHFfCD/8XYi5Ix1ShvK4W91i9OmyLgXHXyzDyIACawHOc/OzOEO7IcZ4PRETt+IQ7UJZ84d2Eeoq2HCMUous76k/5fVEqU85lKgqWPPquaOPew2zZIgNBmLyyEDsnpxyvFeuOoxJbcbO0qAU0Uws5Hs6ScF2NpFg/9pvfRLniCyJ1AbiDr9EfcOZjwslMhPzmUQIIUq72o6xvMOFIjdFly9oIhh7lWkwwSPG3TLdRVcNTxdkDEEnW2LFTrWDmHCpkObRW+r7YJxufPGh2ASRLllS6itYb8X5hAOv8GxblgM3WUuRbHOmffYh1ux95xvkC4WoMNh55D2tCDvN+cY4H6e4JuM4cNJ7Kn2JW5gBX4LzG1yPX/eVoUiWHCf9UHNZi+8GHA6fC5ZA7bLU7lFvmjkdxlbtARQCzV/tzoDBdqOtOWqwbvk8p79tX4KNVYTW/uI7EMBIliFsXdQ9lnuNy3BPybcr+VMKNBBcEZiAd7DwKKJhVrX53wsBmqGYjja6NtFcVxeWk/7lo0QWOACJlV4k5ClAAEK+4ngOIkpb8NqAgzBJTCw7apr4G3VL8kngjrt5Pf3cKcVkt6NchpvBSxiFr+hOL/h/wM/T2CgYN/8wB4bmwrts50NA/bQbakGVH8sodaMHWubbCJ4qAP/cKSR+iHDQmPteMf4bEpSrn7nX5ho95cfR+IuFl9ZSk5Dq4Pg/+Gxl4qbKtdPhN4JwKYHzoCLmEcaF7VAcunkngAenelMtW2u3s6FpIUvNx0ItPm9Ze/rJ8KamwkFiufnYxJ628eOh62pz+5j4ZRpTnoI74IvPKXreWKb5HwmnfHd6/uS7JBEGrybRxrKPbVMkhuAb2GVLjBNPC/m4AFnKTPRsU96p4+rENyPDpLXbTgfaY2aI55eRWS/cvNQn/C7VNvQCsnaNilFbnpUxW7NmjTTSEQJHQkLCrlyTfSy56Xj8mVslWZLSxJH2E+j4HeB5HznYgstacm05/PgWl7xtEicaYS7GUGSwGIEgOPs7RrNUBlukQSRpzcYfD9NCuAL2sxWVguLHbZJA/o5WfY0+t44nhHoAdHHHz3sOSBMzOdHWemBYZzuhI9QF+N5zVNSxRwLwkC5i/wDKE9hk5tZ87nS2Ygtuu/eLZMdStzddR9CxFY6g/8K36OeObSrQ2wWRrZ0WUD4X++0ZVFsct975Tc6CBB5tBNm90RcR8Pvhpd3ZnHgiD5gcin2AxM4XX9uvKzzjEXFiKPlVaKUK0ES74bBMdj0mKXWYdq2kjH7EqSa2Hh4TMZ8+HGoJfFU/sUr733FLMni6rtZAgl9BtB0flETE/jjP3UwMp3cWdESTmowjQkGOyQDHi2H1HkBL0w/eXARncZCYSxOTbpBaXA/FI8DBE11uehpgVb9jxYJgP+w43siNioXw/C9UYdbdDRy4+T3q7nEiUb+C67uXP23XBFBL9g7d4W7BjZva2CmtNvF9VMBKJG3AMBUPukINGG1JR0eIxQWKY3aoRnrTcU8nSXM0GXgJ+NuOiv/YOUPJp5ZjKBY/MU/y1XOgVH1j2m4FmSnSFZm9C1a44iH5e8Nld3vZw/WJvt6qw+IITBANJFCrQmXVVr/csgBMMtsW0aYRGrEUMIY4PRMt4XAo463MPvJslMprzn0VYMRp3cVxtavXKN7o8qGpI3DX0kWIZP+hQudkSkMJZy33D329nJq0jMoeeEnChREWiDpjiB/OOlKF5iOskXmhQ/X8OUMNB0SaYnGGtkjS4ziBU5vTMFsaFOv3tOLdGi8lWW4uFNDym507yBKK2AlPaPztsEEC+uMlBUuWFm7Zgi3gWT5W2oMhiabxRkfAZySsShsxCgq5pwhSwMu1xiki9kLmTUx2/3J6bPaJwroxpCUW85ncoHujr1/hN35FSrdwJRZuGJ5TYQe1YGbxegf3i5GAYhM66J1sl9OlecYrivYFnl9zEYO3mKi1cF0DIKTe9KwRBfpE2LJQKXmKt8yNF5Ng4FTVht9/69Iw87ipVvn7qWKrDyilBpXfYI0rWapX2JzswqW7wBqkdo6jthLUizrU1/5sPi7p+2GPMU3eKEhbd2cZR0x3GjqJeElw5N4YRsaqdA7r5WwaDh6LxXNXV7IDxmoIBQzilEFJVagycDz7UOfGW6ZD9Kc2AGMzA8ehr6phiUm4JOKbS2Cuwy4g8QUQpr3saOoaPHRIkrk9J9zwO9+SimleGs4taAKENQvsO+el+pXnIfoWP/DvAeAY+tJIoDi51bPFMFzIdRJFECJKZio8DiiMPrACKnCCbWIUOd7vmYZz/QE+kd083h0VJkUIEvlBffv39mrQS+0FXK9MeLknvIM3Npc8YE/a0Yr7YTxhzYHRYDeh+rG06C/JJTLLHUCGl4kSsxSDlqFnoJJxR7CetmlspEXNGQBTvA16ZTNo2YlvaWhIvex2IdWkre+4TxaWVC86YXAAjuiLsZ14x06ccppmjNEIXeeoQckT/KF5WJqFNkkRO6b9f17nxmlwpecbvLovxtGBwEMSmkHcm2FKFV9GD3PP7epELpC6szXkeTFATJQE0mVOOVMefEM7kHraJ5tmubBOIBlcom5RI5X/cnpSThk0UECIO0m0gF5rkNhzUeQLxIsm9QNU8qaviRXM2Oea+IQX15NgeqngS4F2rP0cyEJKd1htwp/KKiro8H6g3fDfLpMTYDW0R+4MXPVQFcTiqVqwvVml0T+KQDpP8Au6mTBh0wk87BjWH7VqZu19jgzM/duYFwAiVNIW3D5F4RiadCLm/6ZOxeUib9GGcIomY57382SibnBPNfeezpjdPcnNugXOhhbSMbMGh0dZ+YblVMymnDsV9/lmy8Gkb4VM9pXJpjwY2imJJ8RsnZclZG4kaAhCYQgqPOCCzMKSdASenjHE8IpY0FoLX19FiOzoIgPBCLCKu0a3WQlD/J3o+twR6QsBbujefcPofZL69sJm1Bzfs/0lfghKGY83Y5TSQnhxBmdLl3Se+lAAAeyU+fwYZRCh4EK7PW94qLNqRBz4fWgbue/Ke79xsrcv93xgyduU4mIZZeWNoQwIL69YoikxPGsSG2Ej2DzFNqG+hlzHaRdtij7/fBYH8vsS+xDiY/2mt/2qrvoKejbhL/jqawwiZb1uTedsupCE1cj1Kr8n7PWXAZjBzAPT8dbpOfCPQhz18ozVQiPtdSmtcAI30DBSaW9UdGCFyK2PnVkp/+5YmJBvFh8fe3VFfPrg/+sBf1DAxxqKcFtPNtfULzRMG8WsYOAw2pZPHZaTsfWVS6h94G08yveXuU5Gl22OaGi+CZex8cPNIASe665RieuCtlSVqzvfo+1bm18IPlIxClltHJWO14TuthCAunLWSoEeF/6hOErvmobVPBbV1ZJsgIiyUgKNtEdnYqNw0+3gNUaOGdcWarPyQA43O+QiD1UtNi+3Ubk4ok26GTqYDa4vcy4WBr6evyGBLf4+0XdeRM5iJnNe4EtYjxivUDTv1ktmgonvuUn7Qx9NHDWwgPVDrOTHpw6jy6AxrQr2B/jV95pnBvUlCiISdDN50EIUHmjHtmYWI5Fvxn3LHUSsueiE2PUfWSmEO3cnfOxd4trxaxKPotgJagx6pGsbm1Wb4YC15F9JgY/lNmkwJBepcZRAFR8QVkvHGk7pVyNGQa0bXModC2E0fcCBFk7X66ph/HxrQGvK6OB5Y4r6CS5+lu/+v1aFxZmOk4cWq5pFlBlRcwbeFYQmgZ5zK58MgeVthypnZVU1c+wXGtE+dnjSjI7Ln4Ukw9ZNacSX8fNTwrptC/EelySa35m/di/3PGzftw0K2jNgeqr2/WcyHzIRwKjDCvRiZE/HNxt5zMW/zvj+UxrgwdIa7MNCJp/jhk3SIRWyAOCoJWZm8bhbU/UzTdc0ot606TdY19jqRsWnRWtTM7+nyS8iOxJZw1oV9mk8ldxtp2T9LTcxc+NSkVwpBsygCaiF05UXe/8PFWgVYEEhn37PQECGu+aC6DCQlNt++6UZXITMrqqxc9RMokGIp4TIGUzNXRE7M9n4JXdVnt5qM2i7Za42oCEVH5M7O9kPZEm7CrvgPH0/hA003UwU0nr+QRgakpN7p+1k59THaSFcZh7Tb/ibArDFfqyZtc9im/dG0nKoABLwoAqgy0TzQ44xPhJviNKJxeIWPQMUHqQOLBso+0ejFdH6r1nu/STjTyIygFjsTizcRL94Ip0TQEac0qOCAvq2LVOLnPfSHs5uSisP7Blsw6nXed9gCy2eU67n41O7A6FcCatLHi1QjkPisS+q3Np3NjNR3TPg3v3uH2u5udGEqvGtdInIExnzxGFXux8c20antG2eVgW7RNGQrHaSuciBVifyO5llZAarkUOVhnkICN10z6L6d8bob5e9Xv0sxct9FXLRndMzbvTv0E+65/G2QE+ZEUYZpYMBA1q2I5SV6i/59pQK/NHTZxo+un+MxRMZs55bsAIH66cSJ0Em0nljgOWP9K/FzHK1kWbMLhhLeIxRqzDFU37e5upUrnMHHg/boT+7RmRAMsP9ShqM3Futlr74cN3O3MND1+39516FAsOEP7/65ueGO1/9Ddos4VfCE1cZ8iWQm7b9rbf+kjivXSjxmhZYFIghYaAOMOcpYG6E9fqogzBmR84AL9aOOEIdjvSPSyMoJkNJnbTmdatbEmAs/bE+neTEIdBinQObHxck1dNmgjtOh4GuVwx+pmbJ/qusJlBR6tq9RV/Fnn9Hv76D/qdvF4Va58bQpy3W0Pge2UqBTt4vsc1agT3gCXO2uX3YFc7Ylx40937pUMxt/vK4jsKKkL3VNA5oiE6dQqbdUFW/lPJC8afV3qNlAZu648M9sNZXOhgnOnk/EVVy9u/w08fC4cOnTElChsebtewTBoSVSZyNTbdT/7MuP99BsTSDsPkWj1MwXoppjwcU1QNqYm3xNt+HzndPaoXHPVSmfqtNeVWkzSgHtBiPA3YVtwF84qz+nkln1+c+UaymoOC0lbRwZCK9YG/J4TsFgUR+ZA1NVfbXRWpwrBA1NEBDkY+Q3EponA7xXWvZBRN9H0B7//rMO7zGIMJv9rK8NgkQOxsCPQvJjl9ApJ2c1FQ3pDmU+OOeDWTdcm8CCbFuC/56PGWyInhFY+4YxY/MdWyw8+07Atr/IN1Lld/DGfzfqdOvlirowNkaUu5wsWRvj3g4wvH7V8HKARs4X1kERRnASGwQN9xcFj+apa5p8esh3n5r0Kpm5ocUSeGUM98DFMIEa+j5eYaE18FT9CDCljb8sy3HoGx3YEmseEdx2fNe+osv66aB0aXl6OclXqwtuoLm9H4jIeniaSAflKGJt1z2jQUYH8B/iXuzJz1YfVWsiZaMQJxuXjqhcrW8E5HBxOFV2uUnrQiBShmXT30fY+suwzp0ig3etMUQYFIUT2PS3jUxSkEWesb5LMPi662Td+ATk2h70ELbLQ8JnI6nkqu1tI7+JWN0uYIMbkE4+aDxE0Z/S0/dev8bDh4QyulxNqUwBJPRFbuJzgHHcB7MTCBE1rnRKuKODOhKvwwAeBIPcpuy4zdkNJksMVS43nQ7JboyVYcpNjdsgnWQkCbIhnqcd5YJs2BhKz/hi+6OXCtwFUx9amADpRIQJ5Sqk9SXyJ8+9IlUKvf7c7/jHkEW4+xFzMP+ouA/7CyDYEr0lAojQQ8XXnFh3ZVKRtn0ia9ROeZxt0KuioSj4MCutCH/wk429Kdjw7WJfXvCy/fNgiU8eM/wRWgreH3c1TMpKC4uuvBmICmqlUCu4eMQ//HjAughttrPHpvr+cZ5wOSlZM6/hP+QjmayftEppv4NZgZGIHIDEbAQF9WXJ2oNchwUwsrKrsa9cz8qQfSk7gAu05kHGsvlB8++NCDTsWQDpOivbmTWBegPK7rNm/jZVjxPDWjefGtAYSD3g9aqfdtJ2JOildb5UyWGf9pzcaBVkBUWmVS2m0k+yOdM4c61NO6myXinuuE+yCORZuxiTLIuOyBfhIt56eK7qiXIfNFWvqT1H4ReP3+RBU8KCULlT8bna+R8ckGQmshJBRoAfSAy21AxEi8VGndePVzNuWuihuqXV7eSP4u9CDouJr+nRaayKYfPAgW76lqvyF6B5ryY50gpVsKNg4hB6rE3LAWy7CkmTmYPvfQZXsH0hA/89ijcJiaPqCSo2tFTLiMx8RrZ8u71Xc5CSva6KOS/7Ddokq/z5ziIF3LVIfEDQKDmNfCGHH7qH07fwilGFDgsxCdhz3pPmUZrGQDHj/+CqoSRQFIHf7jyoVL71H8jS5Ebx/IPdwvSHwZ9ixlLf53olMEjPHxOOrbUkY5wFtkfQJ2TGSUwmnfI3FZyE6mZVDf2+B0AgkuiqmBTePE3cRx7v0PSBLMYuClDPCWUCQcDs6TrgjfiQq7WsLBlKTZpvy7WpMfxTxoohXExcaQvXplZr2n/qT6nvozN3aulM/E5CALONjQC1dqmv5GZuilkj8BL8E24lbm4Us/S25sySJY9wgagTaUjdL4bp7KJjBLrO13NIiAvWHT5Bbxxt1+JaaJGG+cZ+WTM7Zk+xwC7IGEhf/VR/fjupqQ50eZcBFP8/PL8A6ddnQ/LjAqIpjV6jEsVKsCBwc/k8f/QSMfBItqMD+YSD85QFZBIvFTM68uCCu/6OXdZtMCmjtbbxfGMVC43Zm4EtYmLaLRBUhM9DqTf3GMqq162YCHxPeRjJWxudIyjafuiiOQhgL2QboFmg+6ZAwtmcEIffRta86AHgIsHUlBFgBE4MjBJvccbirexj2FyvvSWueAG7BOVR56G3DG1c21ru3VS41sf++OJFpSEZEUwZKtNRPX6KZfbOdBX1YLhLZTXcCS8NfbRWWKAKyVW45RAExICZessfSaddfHIHmiq8LpH/2f33Hlld1qn5/K9Lp3/Xaf9C/OcTK1z2CMQs4j1ImJVOfPdWVV6jhJweUAeAl4VZ4CXOgyAJPTt+cYOJXCzzfjZRmlKu+B3e49Y0UUkxYxgUiheOt3y61UmJFft50aWAtCeS8Ab1Jb8+xkBPQSNMJ5jXj4PJtofyyJ32NLqYS2fPuoh9B/Z0mr7UQ1nA2W5BKlMdabT9iTEUv2pxXBNcTWFLey8X+349YoliMu7jRbE/pKt8HaCZBp9m27o+duo+TVaWW+IznPJszi2OEbZBIy8Fun8ruzxnlmsrQEEAly+ia9+S3rQgjvJIIG1uJENUXonfHsHJOQukqRJAOjdeu40kSKEfAo6Z11SABoEaRLQVgcBs5uQOuwNiy1/h5UYDJju/QHBDcHdcb+uG3Kx3VYXJ9hd+QR+ltkOtjiBzY4j1DXpGMZXD1FtCe1OQZw2QXlbhF5+tx9LxhNvUA5zQoONF4CyVbOoZls24p6sEHPystgey9NBHFCqsMxFGVhZmFOhPFdVW0b+rmW2tE4hnMvFudtJnIyZ9n58UIPn7eZH0eiqSAbCgQ1NeVjHG84s/Mh0OMmsAH5A03AJVFIPJEE6V9ZLR39xsrKkza8bs/4nZtHVqQIAwgejUj4puxVfFHksmLecmCFtsiA3xJkyC5kAN/vr9Bw36hmSto8Hq41qyX8wjvVaeEuCK7FBkTVLZjluXZa6VNVt5JmMwVkLGsGoZEV27WRlNPJp/v4HwIxVOuXW7QYfQ8n8Q/EvrlkpIvFiyc2X4Q7Wg8mAm4YHIURy4hO8vFFVagvf9qrudjml8Xa8fJTVg768JDuNQX1YPih1RFuup6FSsEBePmac/ZZpvYYOjfGDo/0+1VqHomrEmvUJC1iJbBYnpbSMSaelzsJfpUWgV1YD/PiOtAePqTV1LY69bhMNLw7TNBgL1G6g3TZkiRwoKGopsmcoNiPtRWxQizu5qJLeLakgQbUqLFWIOo2EX7nm7F2U9e3LSc5dm6ex/vWIKrUyu+PNMV6/7OA/mBp8vIfFDMBza/7tJp6OezU/GMC8ojfZYf3/S4J4pfE9ge6rZWi6XfRn+8PGa/R3ODBNQW2SHRZhTbuK2mTKRIa7WIW8onUr7mraWNrVftovmpD5TAh44r+hmK3rUgbEp8Yov1WdhXFbMHNji+CpUikpB5PXqaJQtUEHi3R/r9tgmALZiBOma+S6ZWNi59ZTNkemG5XgotmHy+60cd4WyweREWSRedDSle3aSzLGk3ehZyMmhmChJtwrW0q403Kk5gXxnCaVcrJ19FuxNFXM0LKghwx7cs3d9H5cz1s26/rAQXfejflXEpbRKH+UzLrhy7vD8w/N388YOSmXQvDeVGQykWuB8G2YAhpXWvfHRw1fak9XWUbW4pHPGtCFFYnNohkCzJemzU1udgxwepQlhEHeL72Te+HBeOK96v/KNi1oVt8TR3hLGB4y5FKIm0PBs59SBC0KODjINB9ZJGv+w/GMj8kVBRMgl8CcTNTjDlcv/0aV9ok5XjVi2/xiVMV7mcabX3UO9YZV+xElF7oqcbm5VJnADVg6RodhcVoW/TxeYuF7/8VMszS59F8w1sMKynwZxmR6DVpejN6gi5pzG6weOv9fKKUGAPd+Rx46nBS2/ptMnMlDQhNtnDjVQM2IO30TmgNerH18iLpWJadGsfiRxT+r1ILbFoxTvv0O6xgBMPzEPtw4mU3pkWMkkDciGiaGgatF0ENCYuh8xzuLnhVOZciWYrA3UQO108fHb+PApLAHmMpxopFanpf5OPxzrnueatEtZpmvuE0/xlvtosYODTgPJqrqbrpIr/aEB1LKx8eTosDV77qJy1pF2tniE+r/OL543uVYKIjg0kxJnJ4BHpa7b0/mJ4VbYNFckJqt4oCgQvDrwC7elfsfyMqHDGxuErY7iZXCYj+OVe40AbkKeFWTvrkyQQeqOfVynMFWEnxVE/8O+XS4p8bR3IXz96tLfeAmb8IJcaEjmJKJbMZh+eUaE+qq+s2xH7lJ1B6j6ETQO9qSt9E6LSvztnVnsK3MBDu7AfigvfxW4kOpceILbNs69XdsOn9fH2sBoRBSe/Zhium6PvLGcakUro/VfMM0dyQ06Ryt+Te5qAS+l67ot5XJsMer+GOrwtZZE/Up1hyI8dD8t6TRAYAYPcbWx6qcCjySWRDC8Dlby0dJE4USggJzv6x4DEAdPb4LKc8T1hLsGM2VZf9tVwTjgHoAaGY4Koncoq/cUYLRnpgBdjldeGNb2J7MoZpjrWOXJANQp+iBTwQG46eOvEc4isg4gvfHQL/M1nViPCFWEaeiw//ZVfb8InVejeTHoIaZbTz2Eve31r8YcbMHa02ScxOFzv0+XYZUVCHsSLFclcg2RMuaWWpD3WoZnCIgfD9EMEhdcZAR4gw2hNQcKvfRVqqOays7W86fV8FkeNgUnJ9cOTRXQS9cKRoTyDOTdF6lx6muVQVlOouBK60clHRwD6T43/q447aYnpkBaIBwPiYUnZfKoa6iPtvDf2ZIozYtn8zhx53vA2McGM58Dljjvtl+AWQq7kZAekBede7shWf85MdzTl/2nAWelbXARtyYR0o6dBLDHnuVQ6tnqGjii4QzBoUTSn9YxAfkBjhGrp+ae5tyujC+kFs05S6ZFuGZUJesQ0LkVoLjEZUetc3Y5haI1Qr8dUR1PwXqmfqAW7MA2VEt5PVoHsqcrQljsEfrx9dd0hRDpI7rAIp8cgmYTFFrnswyVO+d2fO51UmKsLhPWoXBcxDkJA/vR7chymkCbDJ1raY9OTZApc7ARF8qtL3CAvnTnM3GR6Wvkw5kWeemn6XBlLFpZKCpB9XxR5GDQC3AapJU/Ca/1ZW+oWhrKVQgwoJ5dm2Rr+ATfkdDun3VR/spuNCyuuUVVVp5E59muZ2xl8TfTHMRAotWDroXQ83UoBBzpt/hN0h/dj7fC7cv2fR0mswrJshjlJFWWS1nWcj09CuMXufHIhX8T4pRLzBWWbyEiRPDC75K5Eb4d4z3i0EGysHR4yXm2/3kHqcZMKdkbG/1ZwGFL4HLPzEzSB1Hi5s/GkZ5cn+2r2NwQs0xBzTKKZd6tcCZ6cUqGvWgpO3A3WN1oDVnCDMgmrl+PainXSt2lf/vEOkOG6xaavetaTIIqIkNxLjn8P1jO5Y+N8DtYCR6h9E96XZ/PSSMxXi/ReQ52RW8oaneFREcBGEtXIp4MAFZBMGaII2bTudDCKLdnvlsDlTPxHqzfKU+iTMpdhVhy6RWS1PorRVVghP040rcOj+M3DbhYytJ9Y6nHkVnDPMawWCP7aEU0Kfc9CXRNsjMkJGwo6p0BqH3A2vVcOZrRnwl8FJc61q33jChuopG8js3IX5fxOaTxWEYTCqcdxPApWg4UGOIT7LggA3QBU5PLxq3pPDg92XUi1RBV1iKu7y71ZVJb33Viedf8m4I3KyoHKBJrDaN2d+KKKvMj9KMetKHIIPkBtNAJdm0IFiAlcodu9C3/7bNSB+1qL3aTS239FOSgb7+kSLXfftmwwIgCqYJ1ZR4eJxteDYqnQXXjnmTWgW8Tkhh0o0NjiP/pr7Cfv3KuhZg1fvyIPxo48ggHdexXGK6YeYiOf+G+ODeVTcdZAiYYG2+okB9siFbHn6eFsRG6wz+PZroBwJciW4ErFfqxuhKzjq+whui/b3qpBXDIQiXzFqYRGbYaRn/siUZk6IjuLrWHJqJI0XiYFG8GdN8j21Re9cUHkvFQiG9o9T7pk9/XMB11Ns7t7TUfnYrTsE3BNNEfX1Ts4BHwxFiDeCfbePbZuJ3KJsx7KEX9YNpyZhSy7tnuujFbTspdlVfD/pxvyg1Yr/OQtzzwEx8z2y+XDnazcC7IRbZgwC617g1J+bTfiZGoEiWU8nMSBdaxMizdlLFbYEIpLXnC4jh0VdRasYsGH99EgL9cohUIzgbsm6DDWBvH2ustjFHSq4tZeTBJcLj/YRB1b8kum2e62AmVoFepMv3cW6KPv2y/KMiAKT0bdNbiD4xvXiPpJu32eQ3XlRnMhGa0Iq+rkk3MoXDpxcRitlCNQMYipNmQfVItn4ZcjwWUtTV2j+H+EMH+L9Er3AcdR9+YQw2LhcMrY8Vb6e/MKLil4CFblEe98ARFbPdA1vcphp5eO7nGuDLZ1EFzkI6yYBzfQwRpCbOMH2iwgPgInMf19ofU727ldbdpT4//5t09N+pVF0iQ1PaYVyh577Mihxs3wrOyxpqqAsv3ewcOKJr48zzhzyGpfHX10upIicTOChYsBOXLzBKf0nZuTpHUldVIjbs9qgq17/vepD6c0e52FMybqEBH41vbajPEDYelj2CwH8J0jqcMx/mSOuBnXGXN5ARzboTTnmqP3nS4cTHMS6380IE71VJJ8SfI4Vft9NVPLNXpRSjMWoA3NnkdyIi5qDEMZMZRnddTPQR2/OBIj5og5cy/aw7uAXT5ogERswgnsvA7hIWyHeRa1prwCmFyGqVxnLiNRhmyyLFVtMWH7peC06AslSLfWEwqbm8acVty70GT6CJnEM2iZ1Jg9s3dXNZJGCOFg6Oi5A2PAS9vMr2+PSdVRw3Fiw66qfgTeV+9q78ozKSYH0ivQz07GsmE8+SMjrzCNaPixUoXJQ8ksccZBxpu5F9gJpWi2dUganaiJFBaDitKXOB3FfO4NVrclFDpp8n/bXlNo50cN6NwEC5wDe1FPEvudUUUfkIZ0RbOQ37tu04pM83bEyAz0k+39AHv19AdgxkzfOK0U/m1UuwdsAF8tccM9sMAuTwseK2a3qkVrbdwLATmXU0IentGn7cUX03lt5IEZ2b9NjCX6nPePHiLNRjUqjOpjC7Ozbaj870D5vKWgSlMBtZz6GwiZ3Ve4WqLt504Sd/au0V3vMxxMd/d+uSOt1iEuaWpmtpHmE8TUggLTc3RlgydQ1KGizIzTGdSRdJKtTq+fffD1nr2mcr+ggNofsj5UaEC3FTMZZ58HgamsSbo4nVnExh0Ns7zv64W/DyDLNxDyIM+/ZZxrEbmd0tLhqUA9U1Px1eeIlRXX/dnXAN46k/JeTe5LduCWYKqfu2SLdgJT86Dtu6VyK6ngDErtwCMUNebdg4b9z5P/+JmJYIvsRDVVONF9B6m5r8XYPgwmPB0qoNtjhQQZDyEE/Qqp8/r++i3UcLONIzsJGphhniYLEBhX9D4Kz1+w+6x3cNu82HceciGM/czb+Jwdda6Od6Mrv1nwroUQfhIX+08kw4Nb5IqjSVf+u/N7n12z0EpwEr64GUKdy80XdCf1yokFIgOs6qwyQmniLhXNUXHo19WkAG+ie2Xvpo0hBT6nTsdDx5f7aEqA95cVEheNeRHALSM3I4ACLR/p/4xjyzNjpVuLx+SxAEyi/trfKF7Vfx+Zd24VQN2KxlO5CQhJffXcfCXBPCovD4nNzFXYCZSQQtEyHZiEriqmKNvPjrk0BuYeoJAQ5SlcB/k3D67tPrRa7OMB7kU7/jxyGVu2N+mRn1hKxU7ITg3v+ypZ65Zm95xOiFHaoyGqvpLFONWg0W1AkqXhl38oHcSl/kTAoWBWnLOmnxa4KoDbth1Br6JFApFTr9n/L5gCtez4KOK3b1QpQK7gx4RF57OiK38vOaMOJMQQfhMnD7GOJcvuS5anNLyOZ5TNJ3+NquvjHzw9Kf8RXonAYZkxURBQyycEFDFHGQa4agAZy/jDO3pqSgr6zHeFLn0bvsczFO/+Aw2XSoRclC8F/cC87f9NxSUX48ALAnvaPATHNBhTz1IxUiEPh5BMbwMQZfcWw043sPnUAo8GHZacqFEjboLQlhpwVxfqDyM7exOObs5vhCB1rG+aiYAsHBi5CXUMKVezPdmmJ8i5dvepZdwGWbk7PQ4Jqge4aqwPyy5Nkdgldkhnxe+9YYIeT48oLWi+BN22h0oPiU8dJvUQPD/60hpt5M0pkCwo2+RCSTkmA7qnMbL45b5PoNF7YWBnW8TXt/6kOzy9bP5gMr7A/JILpMfoKFlc0/wBuz0k5L1TeWlXNARAszspoPrsf/hIdJKJnQtfjMseytYnhNYxpJO9tNhya8Z43O6oYEjSikxrZYd/qVDTobRWbicwuKJkUxo7CitONRt7ER2HU/Uwdb8nQYM+UXa2+5Gx0eqRspz7gIrv0fDFcPX3HL8xCTyvbE2+1qcC0P05VdvPMhby2U0qlYsbgeVNtB/EELDEGI4zNynwM0rd7njejwQ2OOM4s0I2K+gZngJ1/PG3BsR70eLcYsISbl/Aa1L5e9vkrucmG2AhtfxngUtLs3aaVyvDIBzRPWG/MTxE2phEDPq2L8ckYZ/F2ghSooj83lOWLglAzHCOPiq9iNNzAJPx6ROfMG4585inyPTFXeNp0ggwZ59MenLl7shkUcGbb8E8PnnDrP/TV1M2CPtX/QMmnaE2VbsCFUffoXrjfIGAS8BJZ1hS46oS/rJXsk2yLldWfjWiq+rlRIwaM2QF9pwSs7pwgxGIOJi2NQvwbTGff9OznklIzXxrVtBrZRe6cApl3bwu7pLKokqkp1IkNJXWC24n2fUcZYfR7rB+HbL2yRkTvnHbCuUoTJ/ickcQ76n4mdNk8oHn+tMvzEizwswmMmGAxRWpN7MrHt9rrWlJFQP2c+eSh9x8Teu6XaBaTCb2IxKZ5FhO4sBaU7VZ0VSl7giFAMO3tDyE73vKFRalPeewnBa7nquIW7xZq7pp3CVlmH7qJXF41Ewzo1fv6t9leQK4oJVvpaIC6mRe7Dw8DdJx44Kdck0pKGPnA+AE5ipm7KK0GaN7H5mzllzd47G9tGGDjIfzI1+z5tlJlG4e8xzAXqwlLe+0sbgKsR0uTSNqasdJAZZ86BtZJj139Ao8AsKppNCwWHDltp3aeEfZ7GXQqT9Pc5WJx9Pj5VjkDuasICN8Jk1hhLwgJVaqGLE1qjpbioD9u96T6JP09hNJJWAgYWzmzBtWHLNCKhbS/8PrJekzQJs314OjIHWgs1I6ht5kRVTon7bS+ypSg+KpUMOocsRBi6RApDTzyNjRnhEvmJmDdU8l6thBaNkX2awnGVKMzFgj+RdEPQ7s4sjPTg0h0DGUmzsZbQGnz00VJUGoj6PZ6/mBwOEYGKPPXB9OvQuV5QdCKbNgj0KGHWkmNFoL1V5vb8vdVG4O+13WGSeyEL82tU9f9p6DdZXPJVslm/09DmP13Yf32bbuxKaZ+PjDiZ8bzwpL+vY86SkcAD26ZsqKcWgxWtm3BdYbZEP93oB02oJNODQgrOOqsSHsO75k1V+drWxk5vXqz8fwrTLCVWrSUIno0kJXcX9K0TAQv2dZLvN5OOo/4jNpljJ8oey1jsFhAtLeatzRn7VK7Hn/IRsks8XzUm/5B2d2SfBN+kj56abgZkQBMJyUxfeNdHwPKrKZKQsGzwwBIz3sxr/BO+Au9JhteycgTOYbGJ8Jhw9hVbZl5NGmN+huxFP56JOP/JreNFrpAPHUE3pt9WaUjP7zVtXGFcdMJfcNsvFZqNef/55HcEaHKKCAGXLYf2eG+vxaHtBmmckMe5B9peqWTc7C2rk9+Fmc2EIuSLUmlHSkXD8F4kpO/EkqPmK7BpCHZMRLtfRE3NCCH9tZ+Ej+y5CZYyEz3q9QPt2WfdoJc4QTo/rGVfz9weY/0fzMdgqli6vGnRpub9oRUJ5Wo5b6SINhAyDlzEC0rT8GNWL1aOBcvn4eckDamb16Hm1MrKznRzVL2dF1KvpSj5/i5x6TRflDJZuwom/+Lv0ksHKJxJ9B5de5sgc9lQQINthcmWI31bxIFVONRKACXl0oMIhb4Qa20dviDB2ZD5oM2HBQPWNNhxle4lsejbyy72xRtrp4aDi7GKkbMLI4lsEcHCqktl/JkOXSFIiji5IPY6ntoSkT15e4weYdso7tF28JFLRV2QN+lNDtlSCikAG0ZOwoTH4SBBFuCGLMzzD8xUtSObCmNMIb0g52T4voHHqWkXjPy/UwSdzvy+8/BNs2HCnraUwTRB/PPDmVhkGuCJv5AG2ifaPDARxfSGTN+nkjqmh1S0y8uV6ecp7yWl1K8dwNkb+cfcOuFtPg3tBINqwc7DHGHq+92nJIKait8JYQwxOnrHKv3WMZOPZVFOetCmH5TfiuA7Z3GZgEIpNpMG9oHTIddY7MyuFODsZFgHm5aqEWGCA069ThPdcJTD73pV8uBVcmN75mMyeGJfhCqAxz+aNd3ovdoZ22bjbaJ+fThYaBrIvjWPVuTrb9g6ctPE5ex7VwrcLfTNjucgkCWECSJqZZZcbnbz0hLyg7ElvvQasEA6iwpGcw8VsquKB+4zLp0jsPPNB8L4GKLOE/dbtr2JkXLW9Doxg5sgw6Nl197MeK/VoixbU5y5cX0Xwqx91I+hkADZygfpWcvyrwlsRLA8BARxXzMo8wSSX1+xWTDeqlzWceHDZmp0RBBKvR1GUD/C15lkmg88JDgk/I7HmGKozFqmWPnc=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MEKKOXMLTAGS" val="1"/>
  <p:tag name="MEKKOEXCEL8" val="False"/>
  <p:tag name="MEKKOEXCEL7" val="False"/>
  <p:tag name="MEKKOEXCEL6" val="False"/>
  <p:tag name="MEKKOSAVED" val="1"/>
  <p:tag name="MEKKO" val="MekkoChart"/>
  <p:tag name="MEKKOCHARTIMAGE" val="FILL"/>
  <p:tag name="MEKKOXML1" val="4HooU0THZk28POP9trq+pbTvvzd/gcV8t56cq85kb3NDTsUhojRA0EsgEHHMH7oYP1SYpn09ysXVivguJdhTvfyVMsBLTGvcX7WPTor/CmWiWcfk2RmY+GE6Q6T90sFUr0lg9IPP9y8umrse/9AoLT5R0GKq+XM9pr/aTyOTf0wptcuHbHxeyqBm9svU01qeeEM1v0hpSHUgirOnAK/wusIis/Dw562/ylZarflkzpXsotLVJSCrZYtF7RsGG1e5iqe9MG7z60qZK3vpZqzyZtFVBi094pZscNmYtOyJ+gEByA1xH7Bj2c36EiWyuokqXstVhKAMzqEl3qnbW21iw6HU3tn9ZxBpH4S8SEaZhu0QvZFzEZXIgJrA6kzdz3gNSncoJE/L52VYKaKFV4mp/9oA6bISWP+1mS85QsPrOJND+rsTsHH3+7slVdxGvf3GMwTXlTPSPRcG7+87yoOrmULjv+CVsAXyV6wo6m+2vx48IUjehHx7OA5QoHuQL5/v8kHPZZtkeLLZb/7Ewo56VAd5TeI9FPIwN6WDLhFMhv/MH65fe5xlYOhVA0OJPsN7TDCFSd/ZKNLZEDdlVL03C/cOVCOWBaUw0RByX52Qo1xyrFWTY/y1KQ0L4TsMj/rlrnqIXZFp6LaMeQBV/JqX2dEabJvAwzLB+b22U++wR00WFPOVBufS+BQ0QScivr8lRsvzrmb88uV3WrCepk/78r6hFXkMvc4Dr1AWTuz2zHS9ePJxzF701KavrHbc+I0GvvwQBadmIlzMvIku3TI9Km4/kpNSdBpa6JaxvZaLC/hHjaUgjMLICn3UTcjkFcMh21luhJv5C4DDD4Rgx1K+nKqWEj3mIKLdA4eePiqlHUsYM5oG58bH2XSZC6oIIoKt6gdQ/+KTH5h8FarmA40MOUzwjUs0Mc3p/+6BoMuyE1D3CVHB5VgBwDV6pmAAzEjHw12wYxktaw/WpyfVxnAEKr2vZEElVY1PEA09+Ul5OWXZWuRmohSfpEmrUOl1QE0Q7XjQYaY29JhlUKL9qeH6CN2grce7H5hrVJX0DWQBx9qy1cppiZL3/QjMJT7gSpQNW3Sqif8ebx0SsmYHtZw392bl/3aZ0GtHnOFHUbtWW4REd+UpBy7mrnAD4kne0hjMqn0PKF3IAmn0NZlAIOL7FlUKSDdzp9omhR/4yQ2GcKMZhj+mXgHyzNiXPYb2Q83yVM14+g9rLprSPGWDDrisRE3pLgdcY3GXUiK+75xWXGQeO8k525mSq/jkar2oLet5BvQvHW+dGr55qoFL+RptGzhHYBXG5qInTDhbQPmxyUpbgOYKJVe5hm4N+oxzdW/U/Jd18o02nEaCNCbVWfoBwnH7GEX2CZK9DvwUpcd0vHz/nqLw1XC2dPY4zZ5H1zBAaN9ZgiFwB/2tkC57dkvfwDTpYzU4rSw1Vmh+FMI/A7FJI6XFM+1D9/9cMRkrxG8o9V19ePbrEBDGDwKD9nHZSV5/WOOqbQkZsVsoL+jN1cmDs87zqOJ3YAlEh+5GzADc5BxykKVZknreZtfDCDnUzUDd3Sr5rhGphqzEDq/mEdCrpBijp3fsZwFwm9EJDnvaDUu4WZjRrX2+K0KCmpXx4kOJxgQk13gTh2EwwQqRtKcCxccqxbz2XvCCBtEkM0d1eWWC9ytuJfchBPtMJOBvXsx+SLvReJp82Eefa4hwWTXJ2Wj97EEiJxvv/QJYrb94bh/Op5r/JFizx7LGCutUOEqmNyOkNBVfM4XthgthYqeV5gfS0z2S/cF91eB8N9xmtDqvskYa+yzPbwHlV0zI/i2SJshZvYLGyOe9P6fN1TFE0De0xMT74fN/iFClryj8TDKg6EO5EoBMWnXDKz2ZbOs/5UMi3Egz2d49/jeSFnQGLBaZJRWIndnROphyyQ9XsG812lguAdyYS/eVAjq0RMV6SjknsXc1jqxdfFRKSbGkoJ1hnVXjrAdDAST2qv8BzHSh5eo7nXTff/0BTLOEpvjNVOVS+yoByZtjWBpn2MYOJP8CqOqz9Kzgv61AQ6NHJRP138+6Oo4+fXKVtmAEMoe3/T375KBaEZbEe2FfYRntI4ude8hfVgGNXD5UOn3lGkw7F1k4Rmc+dXAPk6CdCVnMTHZbAoZ2I5QIFQzZq8d1UbM48iOQFXD2wH85a2fF2IqEGsZ6wJrsbpBVpuYxhQAV9yhmGn2yLwl5EXJ5+M6W9rq2bxy2Xpg4LJEbfbKTv2MTHUWIhX9iydgi3x/r+0BAnsH+QG5nHXKdGkhm0DlqQGyvZwOiN5w2fKrYM6NI0zOkiBHN50cgTlyUwKfKT61lq9RRDQRwRrImLSMKR78n/t+WpqLYLetKEBr0F5Cny8e/9m7Wpl++I0IVWcEdG+RGst9VQzdnYAFLm7GMKoQerOtmbDGgzhnWSCgKgnvEvyYifEJpPK/Kr5chBOP4/ADd6bZNlIZNIkPBtdHLW9VJBaFQJ1hjaWtwDe+xLZdzc6GU3YeNmT1dfPRCqezd0jFC3FvP1934I85QN8qIVBoTa6eTVfoQgzVXAWZskZXhzfMHgMaI4NVs8durnrmjTD327Q8g5NGMp+4VH//Ev57vprcqSi/jTJisF2G4RNe0qEAaikusqUamMyEFQyOOss4gRjoo0qzfxDFZNh0eJU5i+6duS4HCueO0LDyCKfjkvxZKFPOpOa9XkU0qiI4edUMAW2l6lCMmrmdA17zwvT/a5+FtfKNnv2LA3AhWSSDEHWOpeo1pMe3I7KFspgsCZ9U3gc0O41yiktB3eGqZMPZkBidM+5a7B3C7pwaJE7cBNM6ofUNx/WdfTGBZMrJ5ZR3QqpRww7FvhgRXKHrnXx6FGJR06MJr9KKRy6QEFUP7myi9TSBP5fRkWfhzVg1vdV5z9nQQ9v4n+2BHk6LMYRUS0In8x6sM2/ZWmtfLCXVTj1nJcnmD4trxgmuKoI3nqTieZo6rqmV+lKSHbH4OrBdwb8wflC+TXFoTn/eshJG2Yzev46myg0fdYhnq43nDu5+Nb4Oj53a80kAN52IJSTVrOJ1y6o2OmDIZ9pPv1dmOmDCo6aKtgkJAZpjehWz5dQ/jScoKVXKmCqTdYqhJaFIv5WgKcVmTSL0A/0Sj2hJO/jWbxjTen7JDN/qc32CVzsO7aGWoSNnnSOO+/nkZsCQ1jt/foDBc7kbd+nTyoRvjsK25+By1VMZSbgVZvhzNItY4g41qlo+iy3Uyc9opqn+wyyUhDDP74dw+kJ20UyjuJqI0D/HIGtH1aSA/XfVvo5Pn/LaPl9bsefxuZmP7mbE0PssRIL5dwhNM4rrfFtz6YVc3Cwr9uTp0YQvwoLl5bRcOjtzyCR4YizWBEE84WRh6HrOivy9rEv3PiAovxj14HIhFhHjy9RGGMxdVMRVe5KnUSP2tvZBlQtyecWVpUp8KtGAsmmijB1S5GwcISd25uGcJFNPoQR7vcIs2hfHJKq25nb1M4n4ROWCVxMSUj1+ZTAi46gV+yEpa8k97pwIS3VBFYFMw19OTupKir+sXwQg34KUtLjHhm01N9P6pN71vu3Mkp1vdJqOufV8EzeFLFqRF/dZfkfsySMmP2nPr+6G5GGWubt94ungoFTffutlZqirAvGhD8VgBjGa7WdTO4+ntz9RCHltho2iNH/6dXPR1VSniHAXy5yTrwEbsVM4ynk28ze61fVoPwETd4IUnK+DODMiVl7wadpNd20djQRAYyVwStY5B/aNOpcd/YafGFEzVwrFoPxoTmv8oNtL7BAQwERlpnsiiVE70gwXEdvIewawlVKbchEyMJi84AC/TOph/32rGfTPK2hgrXfLFe5MS6O4BoSx5E3lu6bAK3MJx1c8eoUY4OgjOvQ5f5Lm1andQWNF03L59VNNjdHtC5VB0lcfCrIngcn1IAmlOZnOUwZvseNT3duhpsJw0tSTzvAw5J2DS0m4cPgVdF5z7dgkuGorA3+xpHOVVsw6KnDGO171IIpf3kK+uc52UanwjM2CDI5BRNfgbuwsT0NhU0nGKctWJoSfBTWFruVOyGEMRkQykV43VqISoBMMVdpliLhZqkjqw/Jdt4thh3AdMCCigsJZCEDYWICnprr9rmdEGXjEZYiwKgLVd2p8XRIeWPzGIpqvViBZSG9MeKWW3iOOelgpFe5sU2Nf9XxcSuZ0j96r/KsyFcSH7CVc596OdoO8Rj4olhyAM4BdAcW9d1hTEB1+KvXDiwrjp/9jyHcX8+LC5V/lCEY+9LuhhBQFGFlhD8QlR9JlVWjzj4OCudQqJ97TD2kybvXN4hS2BW7jTmMDQwvDCH+bdp6BRh2KIGDXFhYqP9oFxJ9RoP5q7GBqHq+F3n1L7xiqTPWqfUkgPrA/fnDS5XZa44zqwY6R5TqM1pbda6HeS8pvqpVbKYnuCIAZ+CRyKW4aXoxFhJf2vlV4fdrjnZQqJ9uqg7rH/rhRa07EW0OPOzH71h7uKjUj5NP0kP+wtK/Ar2z3KJ9fSAN+ztMnNHBA03vUE/HKV1PWyKfdFSo/3WXv1q6Zv6TiGHnHGQU1cpZGsIfRsXzKtFj5MAZT40K5agwK5sS2TuDYJBQs7Alsk68j0po1IWRqXFPbn6j74FqaM0LcCA9I9ECQfEEnFCs3VOApYagQ5JlTGPlppptTv0NCrNfIMzcz+vbsZY1Von+V6lOEs3nndmHQGufaZf1YO3i1+NW71yZ3y4q4J5L1N3+JSKqMph0/49QU5KlFLhNtlbeNHP9vtqkpZ+c0fiLCUf4rpqmE7sVQY3onfSyVQHY0mcF5nTBOx2z6vBH2wsU7NTWU0pVLwLOXsYpwWIVpQ4GXHxB1TVO0YhQYprXiBp6c6lBfS/zYIqLxQf97MGG81/QA751lb2AZ2FsCeVMwU/p9YyTk670OfgHkg8kMpO8bpCHkCuo5HPWKDFLw99bYzZdqRUbX4R+Fd5fY0CW0g6euzVUmkeYcvRVFLVXqYBAsVrNJW1hot3s/1FtmM9W+Q+c/xMe0mOB8c5kEHAJbGT8yGvCrMnY83lHxD3DvFw9IlWdvRvbE58u0UVyHhPiNURYJnMsIYzuXHJlynlZ7vPPcFlSoV3AuIj2eortFSSjy7lxqAXQ/1VHcjV83l15t103/FFeRRLn8vbYQ4v4n9ansaxElVdKmzqT4HVEbxcXDwTeTC+8CpFO3keO4pV4HPIztTuUBuwKzV/gT4o7fQLDFmAfydHMAFxP+pneIgHuf7iLyYCMCOcGLvDPRqiAamrMKAgnYV4n9v9NAsGwSM25XEbujkHLXTvHpy9d7J4G1SE9j3FnTHhghkM/ZAHGMp/CPH9xlPQVMRVByCl7bPJfmy3hQiBz8gS+TVQFc4MklunHbPCnNtc7QrZz88lijPNGtAcz1keapOSR/nF6dhLhD5ETyxZpjQR9t+0cmbm4JOLdFWpLMbAAU6LFPfFCH52OUzUsc8vt/k+oOqboNmu/ghKKaTnxPBebZv98RSldDzAGNtkPXx9hp2kQpqjBnU1et4RzhYBGilW7X76tW8SQGKIQhKtisBjtADivwR+tBUkeMZtFHe2LyL+Zc2tGtO20YtajW4zdYMLzwLNlDJhnTGjtiDn0ccAGpcANtL3/eaggvU068YuoUpA2MKEGeZ3HaXFHi6xvFf47BVdfb/bTv64S0h4/3yY0V/wwPM0IomS1VE/DLc3j9rPr+3JJmp7Dh/66DUq/lAhCeUxCUHrTBQNaiovh8canXYFW8RdJtgNxNfboaHaJbMFuaH6FuuRYobsOHX+MqeRtEjC5iC5PmsSE0XVLJG+7SjWthXEqA07r9xfFE2qDlHVxDRjowk+CbG5RscfbLCbVRp+eHiREEjA2yRRSTLn48zhFbjym/FsyG/W/+edLqc+fw4A+jCRZwbEgCS5YYdCfp9wrK6wlGcx4XGBFL/0s95j6BnmiFyhrKFpyCc6egp8XXOZbd83Qx8E2YLtNYn/+a2cYWsg19+FnwzqGATb4QwY+fWOvYxQIdJoohC7wjQKV9ZoV4PAf2oHCT+HR6tjAZXOexDDLWpZIM/8bYsqOmhhqW87vtYbZduS+Lr4fCBMNETw0fZ0c3A/szSlRQg/gdNNqOGA02CtizvE20Xa6ziIuV0RHRxspjlnOjDg+OWAZ30pCqTeEIfAJW1ZKIjDtIdx1J37sCqj5CI8gPPfFgjuH3hukXgSU1acVgRYydi9bIzxpKhm7w6trqYBVOUeD4HqBhxUtFeM3gEJ1S2z0DjS3xCVrTdFmARKy3dj57FU7ufIoxEwF/1R0PeplOp/LLPZoQfGShdsV0lfSptXYlAifg9bCHqR1fsvv6bITHRDuRt/8gA+uIO4F0+EPAExFHzraQNOS7oeROuE6QQeHuiCZJ19LLYHadAnTe3d1RjmtRvo7AjTkKP8U/tS05DcHpgHB+ZfxI0fL2Ey8qz7liF/rK9LsTi+FaktMlihbhfpFJq+Vl7BuLXCudZH2TLdDQSEyyxDK4KqJlic+m2Y7Kla5Wpym4MRCY6W3Gdtmu2sihdHVxjK4EwhOOqSf0HM9oTwtIJYPRLiIsekWgeD/41K9VJ1tYp/fubwSap0NmiZMMZa8rB064GxnaWHEsLEW33QIjRF0dffzvCFNwLpqASvCd4aLtdcNHS998Jmy72Hv9ITLa+kD7yxA3mCKDydo1xbjDvAzZEOH7eiuEsAR5GBDv3GGDYait+JJxJ0YGw1M2iBF0xRN5VI83cww+lApriBDCigIVLG5SZUU2GvVc1+T3xL8XXY/jeBP5bReDq0UTAQrlasQradVfrcaXrFvJBfwmdB5wi3hvCRGdMBUyiUISJ8tlH6xUz3TqzCeBYnlV8uzz5jtU282VhHb4NaaXgGRa89uG5i1ZO/5CVxbU5Y5ZId7WPIAqQ7umRdVEVoXveRNp0gXun0Ik5UT0oDVU3Yn/JivDrJO73VXfXGv7TL1Z3WUyn8Y3hJ4d2XvNcg6uGNBpLGf09rF5U5u1i1vaPfW8/F/03W0GTCAVnD0xrWu1x7sc7UBepoTIm2IGSngMbXyV1bkYT2Ullzw9+zOlmNrAISes7UWb+yK5XUqj6Yy4WmXqyPfgwDe2H2LnSGkXdjLGdle8kYiEDYd0ztAV4yUeuK6U5HfwB/Onljz+Q8Lx2EFoJSehOJRl8Nq/MBFC5gm1T1DP0xf1/iny5hNuxfZ4Pe8OQPQ5QLZfMHh36enXdFe18MtgsMf6qNP2vRsecVyNVJjTHTvpt5ouedgCCwNpoJb05/xefNf+iPQfGwwWPceXXaUC5qkxuiZtkzF6xJg/I2fNwBn2o2KkOBaoVlzdiElQ4RVLN5pEVKoT6xdv96Cd6LSGkXXMYZi/+AYUumOn+bv+y3plyVAg9rZfoTC1Xme4PyF+wIpCP+eemhOYyetbhEL03u2WT0JOmrzO1lY6h3z7ehfsFF8dbPs0S6sr20xZnYiULMjZjCSbh1fABtAR55zw9YR0cAJASSCq5WLzscBsjMotJHTiyLdrZjAronVZ57d31ageg0GRVp9JjN3/zNXoRlZFsJp36wEvF+boHNjwlA+v64gfK87kiYtYwKB4b3OfSre3K5wTuCz3KXCQQkrxnoXhb+VgD9hnRIe7iV0l8/Fa5JiYglRcxcKEvF0bqU0N5qnNjph7c+58p/piIJPH9/xoDGtptIiofS8Cvk8N3ke/ZjtYvonqkHkzU6FhAeaM+EpYrPBMTmeq7jLf/IuvQ7/j6xGLTzoqNupDQGJdv8vf32Zwh0y49R3xAYpzQqTYvmDcW1959HRKKJAChm+3Dgn2eRInRd6G8tzbETJxvJVRKbVZz/rv6brZhoLv+3Gqouh9vduswqPzfPF5PSS3W1So8omr7ewyq9HTGLR/L5iBuwKIpzBhh9EmduB/WLyOQ410Yx4pOFA9noHYuammpmMo3d8ofJSBbLEzt217Wy8DgrO9gfUbljXYo/trbqoKE4OXltug4w/hLOwuJtynL75W0UC7TniCHKh3SVqi3OG+YB6GQdA+otw+KE0H+qWn86y7FcCHZMnNTcVJoVlYSxwWETxPGFrUnXuBQO5iWqP05uJfQ6IAWh9Oorc1781O1yY80zbIbgttIVV6WrkUKshINzQmBE51WOL0r/D9pwM7wZmMp43Jjc9gLrfH3/Z/a2adoLpG4RUgRMkMpPyj/17gbhEzdVTXd6oLgkyLsqhrNEQ085VpMKFSTHHA+wm1TSLp3SS/p6GmRGIWzLz4+8w5JpzDBcVP4jZIA2aHUB/uSJtsLMOwU85B2/70Sq/wrYfHwDU3USUMGdldb6SalH4uXpzWU9vDdkAYxXJU2DqNoAZsAD2HlXDaXB4aTHNA38W9C0zjeI6HYqtoX9+0mEySoliy2xEAXHzLkteSXFZ0e+KNGCeUkLhDX3dveJ2KyoYQnwiVRjJA2WreN5GXwCjpX5UiyA1Tpf60ZJXSrlDDReNK8wFWskQyQ9apP/DMuXyDQhtz/WPqo1MQEZIt2MmIEWSG9VDitzD36TljsRl2S4Xs3Nrv2LDVKM4wg6TyQ7Q7TGSzQj4+nB63oumlDavM/EVkfK7plUTcNyAI8ZaRMPbzZJG4cn2Y+EmaU/axh0Ylj+xjOicdGlNx/hiiOS7r45ZVQgnmaDZTYp7OtF4p6S65umk8LmYVW9awxE1zupXpnj712AyBmWXHq75WDX3HKyQHHFDG6IiRpzNXRhhjko7DRLZDwZ+Sg4O/VX0ka08zyeFVXcJoB+GPj905pLJBy6LFxHeyncncNAsv9YPaPvBtj5wogThPId2EiDNMyf2mEfuo1NA8tWee5sTff9n9JyHch8Io6esCvNC6xjLoRGXc4GAq1qFhF53PiccRU1mYr6H/6uPOzDy+B459jlS31BhlRkorxdhaX0UXsNWiEPn6hJOaTAneglf2uakbx8kj8TJ+fzaNNCG8dvGjJh5OQYESTLCLjn7V/NBgJIf0K5e2k84+/AvlAbX52ot91GgZxiAB1ADaCo9eMI3OgF6FbyXztqvx+Wv8QBchE+p3A+uSGG0Egyhna5BYyBjsf87Kv2VFrcnZ/DLZLe+TuwEZLSBV4LjGKdt9ja+NBKJ6nDnsD8RTdpTGj2hwtbj4Y6QUJZefN9VIRtmujwZeczLPRMeBGwNDOVCrgNRGzp7oZ0GpGJmyBOCFZeoJAdDP7b3j/qQt6s9Wz4qXHPh44goazhL0bL37vEBSA+bfrSUHxV3GOP2o5elS6spXkmWadYJVSDGyHdvSS8xOQFJWO+VYdFWvUu3D+L/GCk6AHeUYihFXPyCCAqnDclVj5yojR3n5/tYN7iB+ci65P5gTqRWE2UGay4kpUQ3Ejp2pu4KUb0duxVI1pxODb5Sv7ye1yiCveeScjDtCNGu0/gEtR6IPYfncGjxWEpPA/wDH0AMH5h21qQ8HNUEkog9Y2V9O3FnKF48JVLc09997FfPN2ERfkO6gQcKdxPziar0CaNmkOwz3OhIWvtjMgKQ+6dJvS/pqN8zuHeyEEIX39xZdXtvMa4RGOgIv/S9/Ye4sQQWY9Omst1vuexmdT2ojDq5u+Rm4y4ouDuoMNspy4LsP6q+HYRccyrglR2k908egfRRp03dMXvPfGvF/7rp25l8NubDnHcehDl2uIkYIg48kTG0X7PqKEHO/lqv/xQvfH4vY2s8TndMY5G6/R3kLnyyPokiN6pLb6g066JioQJtnvN0VUK/GLLadS0Ka48cUi9OlAC9txRPPovdCCg5hvH0hc/nVCse+xU8QXzGtMDwf9RNI+By+rHNfi6Co97xCapLJDEfkBaX6yowh5oTuWd5rkXMvXswqiORh7Oq7PVn7Eu98d9uljluIOEx0wKqeyAOBloayJ0KB/oM68rps1KauMd3OhDj4WTg3aqAvwsukC3Tsag5qlKUyJ2pwWuxzHpwxO+/i68/OJetrKPAi00ArKM7JKsqyIOR4CbCtYB1oVd4oVDfH+Oafk83f3KsCk7K2ELtHbXAFzTQDHeqKzmzCERE6T8gg4ay11ASJCXWfFgpmJvg90dD6IrVZ/mdYotBcTryFcYsMPlLs95aBm9wPExF+SMoOmrP8wbHHx4z7+rgkV95rubirV2ulVPNgxdybQAQsRgVc26BzjvkpTbum8VziatRj3q3Fv+8AJNGrQEHAACzgT/+Wqa+n02e4uzJVXW395G2fhp4bRlnOb64P8afOzA7c4JkYgcZAcn2XdL61iYQeUtCHHg/HC0NlJ6upFfUg7qX8zfNrujQTUCBjzvKkmDIYcwNe1P/VEiY+eQ+HIETRt4bWYXXnAvcPnKz3/a43wbnCsuZr4QyQs7bkT+ZOA2kSE/kqLIMHn0EQ1/QbwqJizifhXtqn3xOu0YgiJBEvglcItPWSMS+7xp27ut6KNE7OGfNgOnJgp1GZbAvEkh72LV5j9ErIgFzehP+h8l914v3w1GktdH1RnTBZH1Wi0C9d0FEbCSDWsj0kH7XGdVcNLR6R+cviw56xp370CfZB0wMHb1gP5S8s5xqSIHaAYMTu/oNqNgpBkE3vRSP++clLJPhfsIeTQ0l9u1HYjiEJs9sOOo7GRhYouIxjUE90VySrrXqdv0XTn01BtvJEHSNZiimN4LSoI1LWvDe1iuhguSDgOT3OWCY53zvy3vv9WGr/e5/xQMWnbIUQhkvC2EXqoQ1LUfyMPC3ggE+zaAcGczDXW5GH+RnM6torpwkr/w6XgD7u3eDlQmudgvgqPb74zokrlGrJJo1mV7vKKddNU6dp8r5eWo6b7rtHrKgQw+09hX526UFKzSDRsrbzrUjmKZlaoCqUk6HKBdvaUF7/26mqxWNIjv1wocHkQY1lL2T8uTEAQ+Rrq60Xq3xKe20ArvA471kUpgXWGif5dz9hP89iI+AIX3sbicE87SeExKBNPA10WOg13gbhzHYS+jTrbm+kB1wzjkMbF0ynbQTc1G8OJ3bKP1mtegEwwdc9ziM4ONCZXmMBht4VyBXtpbNl9eGsP3gpu8mP1ElgVH4upOVsJKzmTorkAVR2OAIm4A+A8pUibhBFYIkiLdrf8b1kUEkTtbY6jFlbiJ5su7AfDvy6I9bgpIIV2lGEb9TrOkt9kZNxVypuzhTIpDi9tIAJIxlcboPC37wLyAKtCq/6JTfop8pHtAhApeA9j8R4C7o+cgLBvYZ6AiLpWcT/+Ig9LFcfDRvNtb5RJv+wSJ6WD/FTaoDdfp994VCyQA5LLtluTwtzSi4Shx3RyQCDX99wBo6lDDJR26F3AtPPCsP8/m5nLOqxJVqKO/RhVuF0oXaxn98h9piF4QG//r/5TgzY81GVwQ0gVlune6qYJKcMyrRtAdJHSIK4/Ubt0zpiDcs0hZ/skMNuvCbOThPvBNVieRaiKTNuWs3mCLdPILP0zYbTGfyzIEI4BozqFVlV7tqpAP6UhjL7m3wu5jbpS3OE0jSHFxspTJuFl13ROXCWp1lT9Uqn+q6XBK8+hsbQeQttOZEA7cBWRB10mAlLrReuxdWEW7DyWKcHr1DZhhOq9kwITJRpOLtmBCvp/2XDYVhOf1VRkP8nAC/LOr4nP5gDXcqW7Rx28aIqMjwaCbW5YUE4kGRF3uBvgyUCgLU7pN9Yd+nxQ6QVT3nXys8n6ESn+Vo9V3lkezWFBhSuhmdsnP3eSm8ascpJ5Oeu3LXk1Vfim8tfpkkgkYcvfbP0P1kZdUo8wXPLC0XWcblMe4iqH8uIwxIMD3KXO8IsbjqbinNpe32TVpBDmFU3Eim7dl4fH+7Wky9NIFArz+JmrG3XvpI5tMCIndUSQCCIE53E54ZhNUD/dDoiT/qHxay8TPTWxEvl+nwPvKY0UK5Zl0xXDsWbFD/t8UrmUBKqVM43wrMmWypaSIAThDv7zL42yg5UEwaWtNQseQr/WWJqvZvbiVGrJM5UmQVDNMTfAUW8XWGlEcmeWdmnClMeXEQm7qjzbfmYcxzQJ915M8XnqSpbxlm9WjKtwwXp8YJn9cJ1mZbnAaHE9bjLhpJb0dglkxC1Mt47oqLfocPhv1OuivQN+1fIJFv0EbCCAZesB/cwkaBon7dBWlrQfu9CGEAy6OIdz+Qdzfp6+jp8EItmwDQVQcl9M2YEccX/5RWue+/6vHBShDbFTnIv4E3bX4eYdmUMbVpMDhmCf80yJ3FASQrvUTMmS4yPlPFcLemxctPK8zR7pG10Oqn/30UEYnWIkrCFdYBfCiOmTKl29SosI8FkLdCJBw+zqEsH2S9HQS9oa4dzlhQ6TWQAmTlOwejKPhhHwob2gFPbP4Qedf9AjgdJp0UuovH4zxeA8FWVe4sqVWbEb+4M9NSOVCVw18yTTvO5YW10XEIO7c843vOpkbMT5fWbJ0JzTHt+X+Pg13ZIRiJ35k7olnK5XfPKUj7jPN0LF06cR226bbg1mNMIMSggQbBNGWr8Gk/cyDbF3ezjCb690pvpvHVRLDM+b2L3vRFS2TQcI/OKviXRU0CzpuA3m/k8uZ/snnbYmhIMMgEoYec0IQ2uFbA8FkSMPWj6SGF8L6RM5sqx5LY1bDB9kjqd1ipnyYqoWyu+31Zj4opOch3wxKKv7NERe5jNfnBQgggFMWiPsPE15DoNMF7piz/wV/1sqImENUOUjpdTZyrV4U94nOZDl+z5kNL8vTBagr0m/mFDSvRGW6JpMZFk1pLlsyl2RzlSmJmJXnbvA9yjFLR4ZnCLQBqxv9Agh9Yu6bo0QDMXuRA9cSLHtVEXKVbIRhWEsnHRVJWLD5gmPuPnWzzIkb4O/tbJpDpXiy11ySvVm6v95TEiXXVsmz4XaNEZu9qfuEzW/7y9jstPRMnjWAzXIpYYBdpTyLcI7PagICTu95N3pZ3lKtWhRnn3IQHqLgfHhqfn4/GLxJwZC3mTRkGEXAJR6xHpvOwahMG+kz1jCuLFDKKX2XC/O5fqE+5t4UYVCuRmfr4G1SfYIXEMJbDCdgo2OeZ2EoOy5lkqPQdVyGeaTa4MgbLjI6ki14aTFIN9q8xeKm7z6qTl5LpVbnVQwfQpvD0gL0RIfwT5wJHTSKs6YAvWHeUH5OvVYHUkbqiDUOgMBJ50DmvGl42Z1YADmmSU4/LNOF46C76SMrZF9kN7hq7aXARhMuTon4tn68oHL7Ax/9eSwVw8UeFGl8RQvqdOjeMvoYotm9o+3BfJ8d3jiQZYiBz0JzCW0a7Ccraz1Gc8imYKxpvKV/f0Oaai+eUCiyX5w4UKTAMB1NmxFfR9zifqYYyJCidJPVdpOvEFQmKj0Svqi/EhwBr7WaBQTJJ9UIbTqWxYXgZIm/70IhD+BK51j7BpLOs0DxE10o7+xxBnFCfzRjzz1gQS/rBF6PB2c1KBML4ublNXN9OC8NX+yQlxVuoCp6IJMCeHMHLhCmKDPPYat6HsgUiXnkeplmBnVpHSmX7cvKuakFQm54oHxcSit8KE3rAOVQhrd3WQcNwwqjoPPcAZB32bIvl+H2G5MzLiFxFXhv+Trz5GWJK0aOXB6HDPPUjECRvaGQNCYor1jmahMpsBx+MPgWMi7Iuc7yTrEA7ONaOBxTY47fsEotdlgVp7v/03pwOMowFrSrwshZAxjQBdtgEiYiiW/+YObEXq9mdgEH5VdOpyhlCFTlz1K/9nR47Pj1M0ZWvn/N4lwh3tKoN7wgU6sQPH7dD6CjN1e/pm3jD7iSqxGRPLnthLUpZHPJdEWFizi+DlQsPMLGuK+qO3w2oPAK8RuE951uzysC/loQtWXq3/FWbrdyHSimqFZRWugQOty7gEam5UYqiJdm5dAv1bdsNmFD558wHq5v0Y6RjKRGkGwS02CFIxY1EeKP5r2eFDChCBCT4Ctmg8myzNo7BL8mEQnmAGCBDbXHLQNtqGfzi42nBE6swysC218MHJ9QIL9yOmbs2gd9gzW3UsTs1z+4jfjpWAAat8N6Ouo7XP60fWrioSb3GjPKtgLi+BVdDlvTNpG3JaGf4bYJtspfb+Z/5HOuK7rA34F9h+cxHaN0nsBcqXm3UAw+Tvyk2tui9hC2MgTrK3PfUxCIc77Zoud9boQxEykv6mXH0FskJ5j+tQWnuVY8h4uQsM0j8Chw39zKdTUThLYw8nbqLP8OUW2/uulvyhCYC6T6divVe/fdkZpMW7ai0wYeow6OM/KOzlmbnVF6QCC2074VqIS/B70nS3T2+kboqbUOjtZLxcXn8qb5qlrt/e87TNRbYjs7xWdOsqUe++86wU8ZALCBsXekmBr1FRaiyeWNXlnGsOytEO58oZktdU+6256pvCQrnVyGbvXsOjxAa8G7DN0o9UDtPfAjsIUagmhy0rGAVjcwKaNxk8voScQlIfDlWRBk3PXE/GFH9ZZGKTcP+dUgDu9K2Jn45lGQqjjXdkxp/CJY6KjNNSmUMw6YSv/dCmShIp60heaMXKq1AGYQHp+aIXqBTagma+bhgydRRpr7Eu+p/RqbXJCIepuY40fdJyKukiqEuEV9aoSuYcCpMq6fW8Zg/a9sYHycxshPfxuk5rh53Zc1gBNx+kIYJz+7TNQszPlqHiwS2iqGNrQ8dofM9yZw3pVGlWMyUSvBOLIlyFQVrhoU3QHR47L8e36G9Z+CNgTd+ctdTO/72Jga6ZYK6Xfukx5nY9P8Nvoib5qZUPp4IKKI5HKEfYdQqygJ5sXmq7iO1OR/BTA5oiokwCQQj8Olaxbus90ngEGYxenCftaNG7JDkgGen0M3iKPxPwwnqq4YcmooZC4bqV5m97+4MeCiWuXVsht3+pvFVC2Bv6XApq1qbXiD6oAapCM7f6UWrSkBYEjvgJpIZkgb2otH1v8u4osvv4nzBG6xYt9iSsYW8Ta7L0AE6MSx9wbqOjXk3YBmmMxQmPAhe68WpnlpvQu/+vSg9d3KBXv6JYhEtJFiFMxERGJO4Ce9PMteW6lUKojqjgRKAmQl+PkaT13Lx2P05378kj8qceRooiLIbs5+ZdaytRGjjAeX+vBmj0/BhtqOnxPvWWBzV1lpim7Alh6SxNm3RJMiRohhMfddC11nzko8LzvwekfJjjeK7m6dPYFZ9YY1adVo5teawsf+ot0pD/jZHqeEpB8MzS3j/XRHfSsHa/fUVjck8LKzIt+9mTkeWTI0OqO+F4u1vGvET7wVFqGT6zxL/8ucq3ZM8oeI4bK3NAmGKy8UsXLrAW6Pp511zWM2aE8JioDwbiNxBFwjpleLFG6VZNTuhHCbYwH4EF3Mpe1fw1a/0qkNEAiYFnK9/9/qNVjPdNC32rcycYP6U9pWCfo0PAeH52nQqh0tPAswLjxW+s8vAeSXetxgGRZ4dqtXtExX2mGpL7udgSWPWEV3ljckO1b7k78jwkvqLTYZh6njer+uCuTBBhllkzZ38VpWmr2wFvzyiEAsKXjKteFUr4GjHLjiwBlsw8daOQj3m7AvBDiM4IfkWQ58omZyEsz9LGs/kyp9lYt58wC+g4pNovxmQ8mU8qfNgCyGGYXOVmex6Fso3fAltGjBvMPUgcbnK1o+CYQEEMOg3aErSe0xzWpaC2kvgewZ7SdIcA42TQLMg91CyGZsMEh/Onaa95fjeh4KwPr5fdxL4J8xdwpI3Gj/0zE3bW4AGKurP/Q0X+kL7N9CIfw+0M3NjKce3DwuXxzMWpIfXDpueJjDVVKISrVz44AbW1SV0NGDokyS2GPxm6oYWr9+nwBqDTWjjEcLAVZn8Wk6MW0MvWFGSCtv9XvIMXAqMbeTOjudvPyJ05fpvs9Mxo31KvcGm+YlCWFP/8uVXJ54VlWecumX1H47d88uYkiP/9pDBNIAbFuEBxsr9kJ+Wc1Zo56oiAea+qgF1syWhi4uxI7I8974DnHoRk0P700stQkRn44NY9Yrqx2qCAZl9mqjQ8pr1EvR1KKe1emffYRrqASqdoDeAHvw9dYaNbjcWeBbGrJj1mEpmpyzInMR/E5AiooQEXzCJGki37cQvydvvMcskI+q9M5y++hx05Tbs/aeQzcOrPoGPJtkriIHIvSCkZt1WWQeBjXSGJ3xErveXc3KpIZ+tWCYMlsbDRqXf2qqDAwswkjmwPgZ9Movpd1Z6YrsLfjOtlJ7NCiIeALc6gIL+eSoKFnd+LmYtB/mNjl6uIDXwOToAMTatlTjKKgpHSxrX2j3+vaHM1GJ30BY9fuV4Su+wuFNCLX/Rn5pRrnWRMJhkgc400NWW50IlkDytL54S4g3gvson14ps8QCfmKWMQ5sOhW/Wf5AEBa9A8xfhBcIp5iWPjdbINcdCRYmID1CBSpNgrDBMi43zLey/H6J/P68Z9VOHMcFCDUlD0gC0MebzDUh+/0aHnEZxSck14oJdyxG4XON6/v5XNNnJgUPs3CzxS0VB7ilPVTp6IUR3+1a09mcGOFL6dKPIJCUDF7qQLy44LRr5d84P06jvkKYqnrhmjO3wJwAEzDZZyY7vBck818vbWh3GR7DR92EhLEWpP3H0djx76LivkdXlciYCVw9Fv4nokF7KTjII5tbmjPN1bDUghAruH+KhLoMsjSNO3/mL3RNSzUjWrqAzxtuoNAGG1X5yVdW4ubMzD/bAwm0qfLTM/QPxkWkXK23hFcK4//zfq8MVxtRlHiIs3KEvcbI5NBLhKvwXNa8rWNeT3K7BfQ+13Cw0ABcl5pfySxwbZTpbOTk1oOOHkP0cXB5hMfAnTVXbMgA+kaNoTXVN6pB2LB69mvrJXyEv5EJS/jUGc84GbHlL1kHx287pfG0aLY+qY+06rSlXW4UaurTloqVK3s7erfrIKcv+hhYZQTbyrH7R19a6kU2tGQIQsxP6rpoj/gDB+2iHvj0lpOv4uDc0/Xm9SqYFNRa4kDp7bMkMAgjVHOmnMij04FkBs2+GbIcrWYFARdywZoZYLN0CccArPQgkcyA3Aihfv+KXMGNvfcMO0j99NyIj4QmIDWnP0HpzaiRtLFdefc9Jl0M9H/G6vcD+SZagUcXuXeuD22gmTsu6rIFqu96xIntu+v6XIfhKc8IozDGBPmG4HbDJpjb8mHEJQ68NdC6QQyDkDfygNvgIj1nRUPpNS/3iQ8hsg1Lgq1CVZoqtxg45cRrIlJv91V7iAXlf/Zz807UikOrVpdUQLpVwRxYvoIGnAUjzbsY6ddPBXWoOvN4KbsiolrpsJHmdWDCdL/O58yxd4EmNZaOmbVEXTArjvSIiiuNNFpBhcFGIS+4NeAXnlYkDxeEOnrL6VN1uEBc6V/KWi4M2kHZI2m+MtvMc5dAwT7PrQaAPY7f3bwNXbE/cj9BibXfEnMF2BSNs6XuMJmAGlayYJ3lLB5OXZNApAmFFaQYIi0+S9qGTlNrM2pdQVfzZ6I5ZPg8Dmzfad07DmVhUH17k2zdfwDd7brrzgISQOU4OWGsaiBFs1YvsfCGdr5hfYgH/bOtdixh1zq6DjJx1zoiA7D9O8xM5AvgrNrFO2xdWDomOYpKc/hPnPbwB0fMXyjyFECjKgp6JC8ovOzdCRDQUnh3cQHSsmiJles6kQZNLaMbd/pEjo6IKrbu3R3SRnBb3I1XTpiGDbIar3BGcr7yWleM/O7RuP0fzMdxBRYzAB68o1Ymei2jVGhpEfaTBieqiD4TV8z9wx8nNQYulLTRSBL+RyduwES7C1Fw5U8RQI5EO+BGhQXfB5O5Q6Zppp/jJ1CkOoP9K2i25gtthjXxAirTYUGTsv0eNfDr/Ky60BME9or39o01IiVMFnKqci38U+HbQrH7yIUnNfgeMF23bKeu4k3S+B9/BTS7UF3jxitTjkNQWcJ+3OmN/tbL9Fv9HdtqbRnom2GiXv7x55KaIytk1xaodEzqPh8ugPrH3puzSYToSvzYirfhqy97eEcz/Epv3xyd39YrMpynHOVA9sYu9LuOHJYpBxEgNmjpYa1doTFBLHv6meHwE3Mg7KNjQrfSqip9HI1bSQDIcBQHUALEdZ4v0nJBMr/zSevzY4rBTzFJK/RPuXQGYMTQxQhPG3GTNHv+Xn5kcX0DTEC7thtoLbZUlCpiymWjRe/PgKHglwhhBJynbz+39/JZrbP0k3U5YljdRORdCg+1c9Rg8d3zlaPcZDF42felYiWGlBt1roB1Jetx/CCdgqWl5MzjJWGi+y0vJt180nQqbjJHA5oc4sG1TVyyG8Pc0D042c1vozt9YD/zrMd/OcOPT5132RyfM+KOqG5YJ1UhLqpx12lkgdvXU+tpS+sq1NamKyoewop4UWPfjYL58Uv4ziE0yS+vGTABwMLyg1e4R5Gr59jLxkYA9NXbIA6Xhj8GbzM93bBAoWef1Mji/LRJY1W0rOu5x3GfEUH101Bf5re4Qp+cT14dCgk8b6TG2J0R6l45v+daKFNPQMPgN7vowJjT12bbxO9plSc/U1vsbLnNoh3pT8NAbWjHPdJhgRVot/tKr85oEuYQ2Cjj7efb6kJavzK9B4dEbSd7HMGMUxxZ50JyT2lPOD5P3ZdbKgzpvtHdroLA64wAS8B71rKTlKsZodZLOBfW1ynJnt4jyZFv3o+JfJpPzTIAsKMZTWMDp4ZE/ByIhXnRDWbPEvo99cBaYu7ERBxUn8NRnCg+Q5FVdd+seUv93RebetEvGOnBeJHKuHcXTcPErwtiooWmhnLQOqwJd7LurE4Q8wlzxZIEa/O2o+OrkYKAn+gpz7adK4af1/O+OdhEPXn+qcD5wKXzwYZddcSc2EqBaLE8mzCoK7toTSSSH553qb+fXIZAtXwRnaIZat6/CGenlc1le7fv4rVhtJIiBmvCfq8RabewaTw+Gj/ghJ3VNwkFL2zli3EsxhJoFsPCaUOOjLC5XCil2D1msBI+gefR0uB9o+NCN38hrBLi3z5dHlV81LvV8IocFG5yFSnqCJ0+tA+/8C+g/Agcbg0oRtHwY/2Zi7Emx6Pvj/5SbZf/VY8+4iVknKFEmExjyMT1GBxIJLDlXQYmeXtEMoaQ51xSaXV1okY3Gu3eVABkpoFclfFPqVYom6Mw40cvI03Ib4ezyHagUJcSxh92AjUpSyT5zoKb7LD/lDuOSG2hSWU156THshKRziQxgx4Bz8BZkr46rPmyMNuqLj/P2Hf2/59HD33ItLfc1G513JOvZzI+0VBuf3pZLvFJRqR+JmnJ5lYe5VzlWTc7LJPak2o0HD/z7jS3VGB7P01jbpsDUJI8h1UgAP26UA1BTX661h6nyirCOc4WpVt6XuwhJAGx/PjHzM8kICD2szpLaEsg4LxGrzl8MHbApJXNouf03VUc5Lr1k7uzNmHNyxoh2pyZ0bAPJVcnwmVw5mcf5ptBlH7sO6ZcJe2EfMTs+74IlB+k7u+PbUlg65P+Xb1ZvfhTL+B8XXYP6WzCX8Eq38i+d4ATYALgw4uAzTEf9Xcwlmlmc5VquJUp76SGynbak2NIWcyZM/EvYZ/xat5+IFWxsQUyBtWEI15nsMxlFTVTBnzoEqD7qO2jb40NEUqvQtSG5mVzXQNrRxlihOXjn6wQbrSZixjnjnS6gzXlTCN2uw7DnkI3i4EqUephXUrLFqDUaLbOGteSmfDnVrEMKgdmISBkEg38tfTf8btUqxh6WtrXz3yI3oJvIGCCKmfzHvqAvhgyey73jdpL5tas0r/b7oSltRgNL4crdtjtTWdQ1rIZXG7UZwctkXL5OU8jgMtmD55oQMf2ytwjgQIyeyexsTN0aoClbvMEnMlkjBIxfc1QKWcSLuqloWch+GSwbm3a7dR47zZIhkHK+Athsda1sGumYCqaivgSgukTFLntNIgYMKpoNQ9wYCHZ7VR/C8uugmZyvuFS77QRzdxlZy7zfsTaTQEu7DYen6O1YV7n2nVyaUX4mHXXOWThzngdUasTCvT8gWm6y021pi4Mzxk0q2rGzUnkgBK6ITgjBneRq5yOjWyK9TwqGQtpy0KNnUd+CByE9DbUscsyJWbhFhqy+2p3F5Jj1iObmE+vvliClifcp5tHMr/JZh74c+dS6GxtVUdMFJQaRd5urWQDCLivKArcxMPUd/1vzW+itplsUbmRriDNgu9kanUwJ2jlGC93GNx337DB5XPWjI337LyaYcNvkEQR6BdR/n8h8e6FoRIW5/73CIEX02Z5c4/7BaG7qL5gavnqGAq1Y5KNuL75CSet0mf8pi5kCstvb1ZPXakm58ltWzwiGQ+bjtr/onTw4kz141RIg4hfk7ryFpjXYRE+rJB6hGGyzI7vWc2NHmFUMrEya3wqPTrZcBCaW+SQu+so+gzVwcrkub8MLtPha4ZEsWDlJUll8x1YGewP5wTkUCo7qcRO3Eqhv9PXykFpJFhC9KjDYbJImDIZwtZCVRxje110bXkDBElM+Oq+xMG8vGncUfzegHZDT/Gg0poM3dDS0E5UUMrrsKpEovwtTFmwPmwBcaU0s05xOvhMc3yWd9dCHR8argeleH/3GPDYChav88nErGz8NS/g29HHbunIDlptKHHTJhLrpU+A86VXFE3rMuARHXrkH5cJdKM7KMQ41k7SfwYYA4JjFFBLOIV2t0sZUJJ+FslTTcTbURUk23pail/CRqJV+uQ+mBKwU1Q0MOv3WlgOouNytMtj3WON7EemMTOZjguA4KubfOsDWKAFjtoySDNND3fdMRHioxZ/I9915/gC7aPYA/H7r9a2E7JA57zhbc/IDSsxorGt4DAib9G83hPqE7suW6unscq6VHeDJo/vsGt5M7mOc4LAOcTX1cMRjmEBarMFexB2NyOWhPeFc68QxFjDkIivjQzA/mkfDFSYzzxVNKzVa1A2k74jaefPrpTPCesDdEajC4038PUkOx9FT6bFBELGeUSgsdy/Oe0JRUUdDcKb+2g7TPB9k+bYhR/VRhihaHObjquB+U/Aw9AcJtkvh2Lo7ZY5F2EidqS9i7Pl5Dv3qDIimF2uUNuRl4t6P1WiHJldNmT2wVgbgsaWO0zqNGqBs12qreJm1YfbtsW1nKFpRg9RnR4eAQyiXuUFn4ObUFrgZgrM8zm5p9oDkUWAIdH1Ws1D7q2twpJBMYuklNeW3SXfUBIrpD7kk7bePlEiFP4PYpoud1Aiw7byULK5sOXqSSNbjZT77P8ofdxi2AMoPb2BArlAfKEYEG8d3crFrm+4S8rGfCDpshoy5keKQQh9f0nzUX1y7YevawtCi9HgikVfZLubysTRcn04EUyrH+pbfN+HcFT0k8loYFPNvi3XkAKQRTo9whCRFc0cMRVaDl7NS42CEO9KAi9NHBYAYeASQ0u0qr2P8QSSxhxtotQLotLYWfPP1TkczfeHbznA8O7uF7lNw1vYL9eHnYNz2Dq3RIOQIl2f3FaJPPPMdHQnsf/x6NHQYH/wq6W3KtqS95TB2voAxd+N2fDF79a4fTwbI3lQ5omE3X/N5NE2y8RQev90HpYKziAhVJP48BUHXZmjAY7GjmSrMlb05K2qPDrnYkNli6olm9v1HVwcE7k+qts4edDuMcWoBdprsV6kSMxRSLqUccZWHqr+9p63eX+hOUqL2/hJAK2DRlbhhrZEMeJEVihnHkoOq1iKIQV44Tfj0/vlVL2rlXkQd+oi/sz6DTomXfMU9a/37xFrCZI+2hdQJnQ4Kwh9SorglSB7hWUp9YTNDpIs1QFzWPSN931rGbRbnvtiiEa3X1EzVpG5L4IF9crTfCB21cUN/YVVbCEHuE8CpXubAHME8705hWqIzO/S07+pDKGw5FHyPcKJ2reV6nkIvDYEVUsrrvNsz1gKBqNWTHzIZeq2wqWtDpE/f8L+WHCrzIPLdlPcy75I1O3JcK4Zi6P4MRLtjsSrKHym8EXZq6dzhd5DQPapsxnLX8e+TgPYdUAi0aZU+Nep8FCoXGxYFNyUKuvj7CfOjPBl+pSFiPKH4obpNGD3dtLd/hebiZmlLnSzbHLwM3qS72H0+1rJzUZUoctOKeSFIZad7JozdSfYnbicHBCjRLk2VBE/q8CuRjMAKz0RcD3FhXQ2S83Y7P4e+MMGgeWbjzuoh5F46xHGQXtr+px1Knzcht/z9AssXP9kioN6XXdJ5gcBhfEnlUdJw3IET7Zc0nAVZ27qrJGZPERNaVWSu+/6J//DwZsUQFXG4ObbypizPv9F07wTVSW1S3/6BMhmjUrBxKPArs+FkJi7+kxm3Nt+YbH6YZjHcmIp3LGlYRFh6My7MMxbk3xig2ArKpIgE9CURILxY31gQgnzHkGkpvPAbTQamtZM26J5tkhONhIGzo217tPlbf3x5ceFj8MB+WNma9f6Wm0MHYvZtot0+c0wODCZSJ3PMn7feUSCMoUrkJ4DhiUT2gsoVAPCzmwbvABMmxJc/kgVwrWkYlb8ZjMzDTInFw82OUnLIS6MUVOx6MCk/BXeZQgFJQGCRYanmYdwcmWuhjFUi35oDBwCEo0oibMTnRZ6eewRxehbdi+H+/L2Q2qL4lwzPVSGvEdxI4evKvTVmtSdwBODNpTreYHHAMkGP4R2O7qYj6ZB5DwDvBuWT6LAHiGUvhMgjDblZiw1KwbJSc3uz8DJGyykt2qNCWwiUso3OmiKoPflesCelo3w+a25DL7vi1nExjlcl6+poIlXlISBf22yzaMfaBbxc6+Y3mjIfvSJT0yJrUUcH4Kjdmx3ARwOkljpGZV5cyKBsEzdWKAn40yZVptOfNVJpnI4iSiU0PTVefoxCBMqOc+mkCVgMAb4/ryTZIGNHVTpsPShQhYlvfc6lGvIIJmCEUhoxVh/7hsM7Rk/IuxSPAZxXmw3ES4TAQO7xoGfkbUfm1ZJL742+jGHA5A1Fn32wwn0Pl3PhoWtrcUyQR4wBCDvLvjut+YZl9jMQM3RnArGOMcSuFfBrhE/sQvXaT5tqTV3JdXzBGxf2emdq9qru3zX2PQ7l3ljem8AD1dSnc5bSxJNMGXAwWdQaryStyIZC6/SqzS+jdKO0MgCcdAsgfjGQzSGoRq4Oj6v8Fn4fvtR46EpDeC5DId4HALQT8wfy+2N1NHcrOm/CrgDNNDwkL++dXP4z7PvYYkJNBCh0anZPE9mK9LRn/uzs0kGkm2Bxhm7I/kyZLv4q+azmZJPQM+epARJEtdpVnGNjPUfs5NcDuTD56ZxjDh37uGlqOZilN8PpVwTtRXI0gomGj5UvwrA/+AHTuY0+WpWkV55AH1tNcnu0EX8QfxijXdI1xy+rZ1WUFHJrPp9wyy/EUJQydyIgmARDrWWMc3yGoIKhNK3le1Q74VzxadUN3vwbtSXmy3/b8xROPI8j9Cvuz8g6UJNyFsR9FCbzkhSntMBq9uXsknj0v5gZynsuWoSkGjJSImqe6IvEdpcF0GgTeHbT4mhkBQj6EQl8AilDWXmjVIXUFMACiGQKZVk9gwwoiEqAzMgr1nwAVoBfjbyHB5kS1AzYqa1ZVDIiQ6YMWgdUbiWBCHMQGGnjWY1ESd9KdnYco9yTt/P/euSm2/hBV+qBtAU7H2QaWB9yqrXYoGPF4bApvqsWu56r8+9Gdcg4jfdLvSCqcHhh5kDhazTxWAMLqBrWMKVyo6XSr6+sWt0QK8Wysffcw8eBvhzrBuW7FN31QxW7WSyvetIgb3PWJrtslZUz4WeXohhJMgRfzFT8pRo8ZIDXEQLsA3oZf8+0WZWAdWtl3/ewJ/qbxJuB1O+3EIFY0f3fjmBrPu+EAtB+C0151TngxVaknzOgOiUVwz5xEVhUWTDIAhInetrZmQ3q9BRZds5jENArTLTiq3+yBbYDcIBDOjhiCNFR9gbJ2tdJ4OFq3LxeNZJve/WwTNGCf4mz5CtHbnslek2yaOliOdRgGy8mREhpKgeMGTTZ8x0tgY0ScZ7tAgAIr2stD5CnRcLHQcIwoZempz6T2Ip3haHNjjLtdqdmBwWR3W0FQEdez+JyJNOCmQwEg/kPHmtIOSVu+rhTtqOTKTiuB/QMCaKIDkcPNQC95PTY2hg+opZl0Ue9PnRkjyNUVDg7AAdHHagpF3hPKyoLsQbO43IOnSCQLKlQj6fQVHoR6q6pe9E8rYsFQuY9zJJSNwA4P1HKXCgRDFoEg2Ovc1Ch70I8MevSRjznYxPjs2lujRmBrh7KxxY0srufxpRIL08Zys2bLyABti50jkOYwj4UDiLIGXg5Q0Tymuspw0+TS1pjMbcYUXGwGYxyto5kd87xJgAWWeqT7ROypIzvpG7kHdZmR6w5gDk4dH8s9HErzdwUQ4VxowFgyYhKPu47EBhKtPfAnzwrKbr5iJuOq80VNoIJm0PVI+b/2U3sRiHlMHK9tRj8AFdZz0lap1+ZA8YtPzWiInAQPdYMFB6TGIybX12wmd/S2QIg3fiSHdOpbYa/SPPFlyH2hdeGNI3NxVjpUEdC0Ym2cTn8dXGuQaGwfXk8KYyAxRL8DpwWjHnXJ4vFswNeTPT45ee78sOY6Gd1HI3mAUtlde2OT+RVKyzysvi95Q3r8l/XJttrbV/LwYjhKIXWeU+1FQ4OCxasn6aMcP5THEAqaaXdFRMAGe8qe73WocNi65Wem9zAmnhrguyZprXIO0zhoD//5mhkMYAs8hKBRhNweGUQGz+uev/xEV3PTX81PNqdhTBLq+5Wkl2TUEF8ge5bdG/pA1y4m93VCyokdB37pXaSb6tCvEOVr/svjLYkVQPmjtHxI2f5uxKezKq5lYus1TB1g50tniJjqgswEkpyqWLesBI60FCuShlyu7jICsvR7tb5ss4m8Z1ToqE6juD+1e318HwenzlIqCc0E+iNaI5MS8HGE9LblU3kJLNAj73QC6NdXhkIhXDXKxP8YqCnfxbro3kmNcEC+kdUvJXtWEYJsiyo4PMJae+shdmu/DIsDkh0bm2j9EBnFXFdfeODQoLVqiZEUmcOC2uKiCwrwLOtc4xHv6+7EM2qQfZ2d3TYesSoY5cM0NSuStOSTmQS4fG4mAZDCKux+prdDAr0oxgyzoMvAllR83r50dWsQlcURXaTNYs3OmxAifhK5es1OpX7T43aDT7J4C/V/NlCRs23hByQrqCKxyxYpLc5bEndmOsZ65XTJ1A6iqBOCgUCD90jU3jtsW591r9Kg7WGbCwEbeCWCWHmCusaOx8w3IS+P9QUqXvbKe3uZsZcd8EzNALdkkIiNC/OiXzlS74l2hGvcaWvtx7Zevclzvgoh3tY9TETNPYLxJATf5XcvWU6XpM+Dh/g9hKHRmHgFfzWuZMB3jMVajjRtaw9A4Vz4zYCQLn8a06rOavl2+GyYNQh/YdIYjnCghXah7VR2oFDBEcQbfook/oc9R7SeXUzv1fKniyOZFNG0IQdB7l6JiPs4ftfkrmn87YW3R9n0cuPMnBDw09tipWS4sOO6F5FSF6N/Ma4hrbwqNfQZ85auJBHTr4vgN8y+QTlAWogz8AjKlunj+xv+DA5fyeYgr51t19MT76Pp6Vo6+uEZ9poNNXKjeG4s1Zl3GZ+P5PEoDYgSy+FoPCiMWLhFmJoeVm686fnDQdMQcDaenUCSRi79pGCaaBhxNzkYoMFPqFXP6iiWSWQsfOcKqViVVpXm+421zsmJCtUYCzUYGjZRxKpDL5izAZyUl6o71b5oc+PBPn2A0eyUL8HMhcMIEuJGeKJAE4GO+C7V4ZdwomkFzNKiEVIYw2Lm85mUHgToDoHhvrx+1eGvlupvssrSRzUZFVqK7z4s1cMuPkPY/Lf7yJGqHM/olVtqLuZNzG2t+PuZGH5hdXIOxA4y3ua9LnKCNLpMHGJHLB8Cv1rvbRWbsQSZ0UNByBbk/guIhy1IBHzmnxcOweOuwVowu9VJDadDmeYS/4cYhDMb2kcVnZYXj+QTlMR8KU0VEGOYWxwbl71T9EgUW/rC61eY9iGZHBU0t/JmXwF7QN7Ipp2gnU7dVKCZ3h1EaD+PxPzrUt4tdycAKP3BZc9ZYoJ2seTpCufdkeGyH6XXLm3CAk9c8YNWc3rIOCsQscM7bjhjB84Vsgkso8TUW8ACouJQJ49lrDYMWfRYkooRUh6C83pF8Q+MNcxr550xNVapDz6dOSfclYCDiFPlwmnIM/oUAkoLqETBIgOkeU/TXt4ux1UlHP168DqVlAG9CdAnH97b4QPIVWwHAFiNL8qycXpRtdtUzciLDi2VMcLCq3cdagITim7zi5BSfgbaq2M9mYHqhvRnQ2HqQt7acpEq+ggGNBwDZGxzOpWnppc9SFoCLrWlwXRiGJsFqEwvM3Zsw11SwNsfJHI1vVvJzvMxvp9l9yUDExNeI7d9vsQ250rnNTEeaKYCzfGFiyW/DxfFDbJSTPalm4u3Mxht/0SvWUHrizmLZKlDvVZlBpBw60wGqM/FzOuaD1e+FM0IfnC0ExOIZPITxmPocuVZtjOdZqAg25j1iVKN8ji1zQbiJoN+Y7xEOtA8lRtLWXZreG8QRl/OdH7BMFU5B7pKrqh/8+4EeIzEFWOyt2o18KWdnbkKz+Mv7EnbSb8prNS/w80lSmzZgnpP4RiTAhID29X33QQCSl4xaRqn+m7yCiqdz7xYsaCT+gNRIZO3vspSyNHH333GID6yZvdb3pPRl6Frj+Ee74dSN+DYiJ++SoX5ruUYxKdFY5fewQtTUq4gR9f7SxS9IRfnZfGf2awhk2IZ8WYgoaPrp1dVKiqSvA9wf9ZlEckfrFwhH8eygazqEimq4x15cUcHMwKdMhcHN6kmf4oThf8yHY5X/QF8WcNQhhKyFEoI7y+FAUQ0Ivdouv/Ast8kE+AXyPkv9Y9KOU+7BNZefGEMX0TsQhS/HO4Fx4feik0UoaMynaBEPcptlKNK3WeOPTPMgTEbZ4EG1Zd8gwD8yCeRecxuAawMGbiutN7ygK/uTopZ9UOmtCw6JTXTLwVcnwI5AG61uVtis9m20bAvHAxRuWtiyfD7mbUq4OjrnAc87vV7NB0JjJfWF1aZnpdEdvs8LRIW2NA3CBjd27I1kRjAiYBGa0yNhrTB/nWESB18WIZ/SJjhnIRjlEcWdn2yqoXeI4EulGYZV5/drleBslY9jlfs/c0VPBZRKxiYNf2vIlKf33DZc1CwrbWbVKqAJJRBwuBpgcEF96qSrNXrYujbUJVPPgs+ueVqLhzCJW/X+Cz5RHx28GddiUuPCNc7s7iyevoDh/bgkdYTnC7Jzy01VNNHAw6uF/R5NRFw98yZ+akOnL6U91gvl5p4Yhu/Xqxmr/qXnZASdNH7cTdi/XnljlfKiga2u1qTyr60ChBH+5Svte4Yg8KmEBJV6jfiC6nfpiIpWsqqxOC+u9tn1KZpP20OM+mysBqTZpxxwW4rvxo+P4Z3IqaclhvEIblPbq3DvOKHFGOZJRCMFngpVX7Q9avzE6pZch+nYewpYxla7L7p9jAZw6flggcpIGe2ht6017MloTdkr4f810j7XZ1UPRyIT2iY77eLrLVYp0LK9G89mobMNldfFAJF6U2is/JBDSmtcRa8JnkGnnu4s051ffY5aIGObmr23LoVlSRfDu5J6ZNrrLZBa5q0doTSaK2kD3LMMDpLh0fbOvhHxBroxZDPJFCGYpcxeKpNcbRtjPYFIZoUbZHhFAc+sQv1j/2ai2V2aF9H8M2vdJ/1vI7snxXUx7ElgNN+02FOae/OdWxK+KijHGWR0schhkEukgXYuOYIiye3pnd38pNoOaWzSslhxANdSKGIHG3bTWdZDZrxvt3m4wguv5VpgHf5MagLqEmZw5OCHHtWhKfqbqEUcss7VMyPUQLDFu14PKEJUXVCd6lqt6v33L4zt/xd/YsTiouU40FTzgRiEn888E49ajbItimfJQFV3m23ESvsg5K2103bYSL/D/0YoFUs+SuD+d7tAcTfqf2a0L06kIIZX57kM96cys/3rk75s7Hcm7tA6kxC+ed+bIBcCvZJ63j5hvgqnsHcJS/iY2bAwCBot7dJIIE3nAmyuOA7VD3KZH8ACT3ELVeyHDN2mACW7FnCMvC1yPlvxw0KevIjgWrEvcjUlo3tgS6De8htKmlvcArajnyjSTdhxPP05AKfKPgbkUJ8FlL9Es2RPIpPU/GBoyp1MfpQ1EgdB4R6firMSfmoH/YEE9dr93QIfsK9W0brDIrCTtAuegiUISCWMDJSERlbeqvprm0KwZQgvACKmUCUwq9HKaLzX04ZEfZpsk6XLCmD6CgVgjUgQkYD7A5OKyH2EUgqMJtJGAZoA5JRvYUaUOz+LhzDs93zi37bABu7NzfbxjsLz0Ti9+D7iTMQAGJ+F+u7YQRtP52SfSvp1qh/+8IpgwBp/wdOotN8JdNxGNpJt5YE76VztDCISMQDLQ1xlc4dKDVArLngU2aIDvyX0punuZF161JY/5eXszYiBSApJD5PPSQq5Uj2/D4RbqPo7ODnjVC2piRtcg8nAr/nHIHT+gtYGQwYkLUBCMi8yUl3wUWGL552S7OwFcDkvPyrfLawpDUnfY199Lu/KLKLQTBwMKkjB1xktCaw8n2Lx62PA7f6q/qjTfqQ9HyRYb+rGV67jLAKuwsU1rLolTpS8NezWRMALcWb94la7GE5zurcNFKo/LSiAPFuiOA/fDS1QS/PBvkWsaS0IlUo+epxdvN9bThuUvHYLbw9bBVpG9T3ruXFrhqrgpXXgQAG2L9vm2lcDRlBJhoi+AqhsjbfabRublFLjRl2/9I0vY1qAKHWz7oh7ZpU3p1waWr+X6ECAPXGcQnIRG5C9tD2qG5LWZlF0uoek1BKPkuqLDlCNRzhSqWrQ5PZDrI/RxUSQldqNdlmXXHSjP224gKEyagWr543X2YWmYHkDq8hEgcSIa3YhID4+mw7AbVCNzcayaMliAjXxApiJiv34l10HeesXICD8tXpRUN0tTSVG3DWm1jtuY4ZSf9jwfgtL7T2whw26KEiMH0D1K39bqrtzeiSv2ZfZ+qa8sDT1fYqvgALxp1QtGoyL3ZkQOvFsMZFtLCB7sW/UJFQ1aLiEFUR7ViTXaNiYWxxpxek9m/El2eFNWJs5PDyr4DYPXZ/DxgNxaBIxZ/VVuVJFrqkiiCh1HpQuNq1yDjPDT5Nzayryq4N2ztwMhLCMIv5vFJZBD3f6fxvG0uuU/nj6kfkfhp6IJrCa45mpULMoPKd3CYgstVRMVC9Wyt5m7HlSmNRAtOAF7GL6KdqWZreDLjdZ4vJX4PViaf0mK4TgbRYIc+3quuriFsD+LyeWDjhVs41X5VkONgcjC01PizsWxGLmgVnkjLUSsI4tzcx0mIqbo8IrR5ZUd0ZBlqwuO1Mjig+ctUV9ZTDF6EDhN/donLMtPgJN6XzMnAW65zYIEIJjiJzg8L/8C223ry4VMX84VF785I6jnxnMMAPbkHhytlBo1wzDb3Ka7epoHgyF+IgwA3qyjefxXw3orBAkBPt2vIsehLNc8VXrUETjxFCfk5pW48EJk9Ic0k+wfU5SQwlhNXpd7gm8NTe+U74WQBtWUJGzPZSPsRRer7TOFMXZC7dQzEQkvvTLfQ0MnLQgyMbxlHeJEGhkEur0oxDVUafu67lolz1sRKCK+G9pM6V52K9Q8dAv/n/m3SVa5b1mzR5EqFqXEazqjA0k3tjipW8ejeej0aZSE++MmvUFPVN2v8EHE3NZxSgNohgDtOZbb8Xy/jQ47IU4WfrVF6Z1wR1XnYrR8zL5gHlI2bgwtR7ZMD11ocyG39HqikcrdFOgUTV/5mmEs1kU76DwsVu3nY4OvlVLp4Q7p89Oce520x10C6rXKOxfXjY43IX8PqA/kwukJMsWQ4n1srpcMhH0TIdCwTRQ/0WPeXMVe15Nka7QrFeEIctKKcdy81T2ORyCk0EqZlmF68bUW+E5phQEClLKh2zFD3YX0LJ2A8AffCq0Mvh2u2vsW/wixF+mQTVleKSUJLe+YPhku889QspRC8ffxdUxUUAJrm8YsuMWUodfce7NL/y+XVRn+TfMkSdsjJd8kKt9U6jjC4QqLBY00fED1Wp859GVL5e3qT8Sn2PtUQ6BBbm0yALHJmTo2n0oqA12SPE6pB4dM8GQ74YNkjDvgGHNv4MV8DCFPnPjRHzRB1YU82aTxX1oxKACapy2dUKPdAov5KRezqDCVQTqBE0VVVEa4aCNi8oWn6fXIQJvdTmDLAKzsDpO1bu4zh3JA+LO4c3LL6sZEalodxpXszYNDvNpcMoRh+QfdNB9VO+3WttUwikCsVxY5pcVkCiv8Ht8iVJeku3LUl2K7R0nLSjLFgBJnBHAG/ID+sNVhfAhIqWaslacbcuIaEufEmjxJGkzaf49xfvHMKexTd2LzkjQgJJrpe796V9JjawAW6y4Dje6KSvPoSgZwb9MyJu3+cbN+51zzq+P3veDhEpn5e+mMsH6Sg/bGfYcsCq0LETpO/tiYJLHweCUxlZGzPlqNGzATNqNFcej+xopUFtDWNFaZHia6+TSGhIUZU7W/QDCAy6MXMbxNaH01abTBohxSlZkNrcZp+RnjEj95miBhMH6foRs7N4vY1IkMcuNKg6bmqqM3meOUM9FVsOZF0B+ZHcL4sY+I4vtOiR8P0jfo4jF3Ak6D15U4crCzMNfU/91Qz5Am3QIsf5aWAjhiBMQBAVK8P27apVw+WhDEir1rKolIl6FxuEHtyhp6zt+cj/gmrdQTtJAgFwdKPfNk6KDy9KWWN7oqLFISSZUUsxsz1ztjibXJQ+wnhQkvGzF2npas8CD8kgzUzri3xYUOaaFPrF8mVAByqyQZathXsW9dDACa/j+KP3qbQ/SVDEp4nDYOCVIPyPOArpmRENbW+FnYgNZpwNbNcvPhC0h8vByp/zf/8qv6mvWWlqEGnxiOUwMjIpKZZSodU6GrO4NJ9YSLnKQq6wlLu7w50EakdIjXMoP/NW7ErVwfBIT0qbZ8e4Q1x+QGvMUx7WDBAs3ZAw/iGWA1M8nQUoIELZSmFSypaBLxBfvlMm9wFk2cx8Opb7FNdIO721MlI9ltiWvPuQIDVtc5wFkZAjrlz2st2ilcarCOfOP+wOXXD4y2NTeqUwYFugFO8TmqQEYMD6nvGUND2K3owLNkIJAUSW/PjFyy+TzM8ozlSaTtvwsQy7GvB2CL85c2DjatKWUWzDGoPsmiCOuUuW+9x8Q1spFBKNtVHH0YvbmGmJYYs/pPEKA0NYkafBUmnuf37I7ElwedJ1zTfhmHxnSJH+nXIFh/AebQWLiRMcjYQ64kQ6JfksXkdMxBGHTupcAx8R6uU83m+y012uhPHWjNwkEPF2pLjkec72y/HE1XJjrYihTx8QOgqr1i4pV7JRr18+oG1Adg0LNgL6VNzV42aZkvQKf4IK2NrinE8d+z1uashnIy+CplPl2FO+E8YwU0Ya4n79t3X8SqDrfJV6hIoKl3OEvlQv2H8gzlhRdOd4+ZVUWd0TNgf0iZtQHscuVlc8zgiZFTcUNA1CmQGfqMDNpng4bbHq6L+qc4+CabdHN/XIvUAVYyMxZ3NTtciUgIYsiE60CKjH4YsIPbILPxLgeq9FZjg6hFOPZEZiHqHTDIZn0wU4+lI7t6Vb/ZG8Hi4PDOe/VBABAAZUpCjhgnOJzGhhJFKdEbipk5T5gVZrdBVv9SsXyzMJepNAqIV5M7zRPVwAWGBG97YuGDmn7Y/AT+eqM7dVLKFTPPSZbmt0RpAryTVpqYXfhjWCX3FQJG0rOq/ajmGX+DDfTwnKq8yg8B8He8JZ3WjpTIJ4rkv1jtNPDIGUt2uIBN5VNxb6dcOUUIWA+BwZwbWFZArmW7OxV40+jul8NeABa1FgJwZ0d3D/EjgdTrNwJQKUXu+0CwCF1pUa08vr9OhWKnmBj8vLk4W8mJyiOcUPm33zqDrsVmPx8vR3mpil0ZEec71bfEo2Zm9lzP9R8tBdR9Ff+ddYZeaP23BbZ2DgdkydFwyUsow+mutgEkxnIJC+YC8Y5rhsje7Ez4A9oybZIL8OTLT/4xNU3GVO9PPae/3naBFDvuat+oeXCEWbbmjnmRSYTwBZXd4PdS7D9kT4sm8SSfsmtM9z7ZQEeRSjn5nihzeAAu6LAzReLukBtzzHdSWMwKZ1xZc73SXendx9o/XVnVx4URjbrTbYSn/hx/KofwIHZPB/e6IQI4mfVLJEHtRGaLlDY+rU8/vcy+/sLRY1aC6MVt5dUND2R/XK7HkBICwbfh30Xup3rCp6YVgiuJLPMpGPoJEBDPhMEyyG33czdEwFJdiEYBzclCAgqnaapAzw4znarV0ZULc8k7Ur3CC/MK50yGCdVZRYnHenJrMVyNHnN3yG9cc+KIjCWig2JpS5VQym0p2pbn+UBTMZV5c0k3ByzTa6ZMxU3MMesm/IYw+LrQwCaZ07TnQaurFwL9xTUS+FLLPBhmNN5gQtOMCugzQui6zNy+6xFKRM+AAKB07sQmGmw8HpeNaq/aoX7TS239vMuPXb01md0AKmttrQv4WEB/DLxEODqlsDMZXiyZZW1Iav05mWz/3Cljyo9bGazD+rurGxBM/6XO5yw+UlyJKNYLNlLFFUfgeH3Rvtxl6I49GJYHkuyzLOlXyQfqGX0/gc/i5DvFuSSShe8DXSPouUPS9SdJ0V5y8n6uNSJSqrJVSCFkHM9r4tKIZ9aSODRoi3itHQhReuxDnI1rjAthr2TgVmE7Uh2VSM2nA5GEieJ+GRJS2X7jUtcTGKcjC8Qg+s3948Z9yefGP/dLHUsvv3nAuziNyStVsJLxY30O7oppRCNzitQQRn1AV0DiYYn/1DRLwVFa1SDAdyt/xAvRCiheThEL7n4A1C2jQcSAxJxor4cxZHuQFoPwCTjfjPrQrS3VrW5ooc73AkwD9AWoeuE3f9/KhKOTgRygrm8uZRP58uvh1eqpn65kOz+ccjE7x5tElpOSbIp0CJNwIawBvPQaASKfjNbVfRyTxapLb5Z6ozSy4rB5e32UQmhO7zr9sWZCBYtX2xn7G1q7OXoFT48we98OhiITeO82W0plKanqSEYkT3Ld0up5+htPAg+RY1hylBLce8raD15LFjiFQKjFuw/+ND0eV8MmMqOiOaX0ZKBr8giZQwvOwuthlRN8EYs4+GgNCExZYG+ZvlUei1wD7EyaQWIAPlafjE088i6Px57DQPtf9a+1xy9rVSy/qdC55ZCndNmIRNz0oEaz05FglJx/1oLDA79c9bsv0UXzHuxyJN2KVd4cTxrn3AvBTyvglEG6zdsIKRJxEVJs/Lm4HsY+TuMSclhNuUy4nvNSsdLBwvc+UpVOwS7Rlv0ELJM0JnZAgu47+Mk9/QpW9X/qqz0styez1lnhAlMrRWPz+aoamXLhydTgU+9l3JudH8mPtxWepR3cY1+r2Ko8NHjsHdHbdtx8nG8E+3QRKS6vwgZ6AaES3vzTCY3sj4V+225NXpKIxrQmHkPz2mKUzXRRqUsd5VvNmaqsl3Acn2c7H3vRam3aOAt4o+CG4k1+uUK+NAauyLGET9jDnPSAo1Awj+taC/PyojM0DKZx98QgptekW7dS4HnWlCFCRHM8R605VaPljnV9u1y6JAF9egAt0ZK9d7PNy4FIgi0Q8ga1CI70iG/nxxuQC+7KC8IfO4A10MV3dosksImNoFUXYOqlN4hSaWNrVqyhjqCcaaZEAjyKvuEwZrTJdnMYH4E8JNhjYI+2/8DK+faHxAxskmJ7TeckrRSqycKW5nhUvDdlNo5JVcLqfSQqrqqe9OoV63Umr2FIjt4fByZY2IWf2QNuMVrtgDC0qMCAfLX847UFk2W16SyXyd3wzJ51UFaB4LeOASY6lBBpwi6Y7eZ72hxjungITU1kDK2U2Cxh7WcBeBBvHIsieEApWEFA+sGQwutsMQ8GGpxip9zyvUVs1WcmSDW7T+mVYeRMSIkFNwLdWUctRmf1SHXK6GQ3CRtw45charzTyac+cP/oymSZE0FL9fCrtsvE8trIS5TfcYkiwpVOY/FyE7eCDN9hKICEN5mVtuM1h5/1iElSiI3C25t16f8MpgTEfi5Gh4ceDiwhZWKVvYpUrWQAcgbKj8EOHJ21DYX+thaVpZIEz+Gn/77or/txOsKRUhygmFYJ5qiP6eBJt3eqo3iIZcGh/IZDZ2qwAxbL4BBDZcBcpwQEClfYdRROoitfuEeha8z+VNpT3s7qeLlgWGjFOkfB7YQg6w4zpE9EHDHOc8Ehurxpi2Uhy2Fw2mLmnKe5RKGTP7AZArBRHpvGEmtWUJDxv0t/AQrtfHmZxNPvY3Ihq+iBD2X1ZUtapAWFK0q8s6CjP1WPnctrzK/DAJx58LP4e8Ld0Ee2mZJceHu5ZXJyUwiccwSA+D6bIeQ23i7TPeGXGTh7d5V0EpsyLr23LZUIwPnZsvkP5d157xVIR3+gpN0j7XAsg/SPlW1toS/zEb3iYyFHB0gl0MzBEtxOVRn4+ZX+PYbyP4ZisCM4sHZuwgxzedsKR93NyLgKUATty/qMj9yyG4BEfW0bxACt3Qi8H1Ua0BynQYJ+Aeu1xZXrYiLwklmnzh6A43eVTZLc8VUQKDratZ1Sc6ADPbEGpmA41EMRZY7TTqO0ZTY8v+m6T6nwJbdeXKZgtZ9kE2xNXo3p1yUuYCtC1ToalR8KI1eoj5u+7mOC3WmA/FBUFakVelU7EpvZ+3Rl3gNg35chSyCbKg5Uds/yzzsZcxGWSAZbg+gEDq5T9ELZEw+fLYIZv4BtXQCGZzT5fxBDqLbsDeX0Yf3RnY0a/77WGgFsRwGnqaEp/kCzmOcCsnXQVgkQCZCUVbowS7IGqEMmb6/LGOd+8phaMU71+BtkUBLq+OISKa6AqmUqwUieH9AREHHy/Azhe4RPFn0NwqTp26LYuyRVjd923khh3f2CSzD/+ejjubH4U5mUc344Po=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MEKKOCHARTIMAGE" val="FILL"/>
  <p:tag name="MEKKO" val="MekkoChart"/>
  <p:tag name="MEKKOSAVED" val="1"/>
  <p:tag name="MEKKOEXCEL6" val="False"/>
  <p:tag name="MEKKOEXCEL7" val="False"/>
  <p:tag name="MEKKOEXCEL8" val="False"/>
  <p:tag name="MEKKOXMLTAGS" val="1"/>
  <p:tag name="MEKKOXML1" val="4HooU0THZk28POP9trq+pbTvvzd/gcV8t56cq85kb3NDTsUhojRA0EsgEHHMH7oYP1SYpn09ysXVivguJdhTvfyVMsBLTGvcX7WPTor/CmWiWcfk2RmY+GE6Q6T90sFUz2dD7pS103gZfJ6l4USC3jqtWOPR/ue0umjYEY9KlLthURXCUyUuZbmGDPUXB2idlVQc+R1c0j6vNnMaKvr/AhH9HB8/LZ855JfBD99YdmKGekwtu9yX7l3g2IqhHppPUeJ2kp3jtNEry+0FqG5DpxShlyOhroc173mohSSY6yd9b+kTk9fiibtialVKCL2LppoEyY6dT76orkuQR3IRjXONL8TC0wSddYREjSlrWusafRbQ4SVWKSFI8xfa/0nsCGiJ+3KAhXqV7skz8QnrKu3Qr/QQ413HiEnbbZFR9uicKISIzv/wMWpxGdQ+temUWNP7Byn/O7Mw5hyxYC0oRtJGxoXrRD1SjZhyHVzDaQK7/2Q2FfwifxrhEikLS7KVSUoKIVno2gKBPyQolx3v+NPQU6Q/hm64tsWvrtk2WvemX3R1i30epLY+Gvs/Bk9H7SvI+l86HnzJphtKa+2gVBliR1UB7wpAR8BTu//viV1dRXSbVvIidOuxVZWzXBoQ75zemztbVkmTW2/fRaYKe0Qf43blYygBLSISG4OzZ3mXsB1Wh4d68x2fSkeyPQek9XLqLR0ZkGaVo0i9M5DHPeQXhubgVVJHVs1/boEt1x/VxPgLqq2gAqOme7x6gqOo/uTxCvoBOxYI5KOz73YH2WVOPFZw9H1gJgYAqblhbnJO9PEJbuRiRtMy4973tXU+JnYDhHLA90fDe3+oP3aEj33102D40w1RgHW38BB7Y2xNnE97IhgdUi9DPdD+weH+Kn4yzH0JLIqQgoyTOQiYAXeZ2yamw/1QDtLDnq8TLhzXYkkfT4SIUtWah8kzW6Oo1e1VwmD2Zf/cXyMT0miMAe8TTxPpzLd3b4CTryiS+RD1IoQv8iAk0FpqIie7JXtXXyDY0dRArE94bBibmPA/A9iiJ6xs1iRyKkoEDzbWX3DnpIHa0YwPogC4Ex1QcMBSRHDhdRPEdhL9KE8biBUzk2QQjWhZfXR+Ft9UdbW+kJ2HzMdL6n/VXbaTTJEQ+8l1BRXLB1ARX5f+9px9/LObAQx3xLeCkZ62BZTxYWZRZHL7KkLusYfLkCq52WMDbNOukumawmoMUorx4sLkiuV2/C1k8A3LO/2I7vpS//Ju4yWeYQ4tL3k84SfIxYPBPXQAzQpAscalewbdYbr9DuWjIpuUOI3THSjBtKoP2u+i7h4hVFpZRSElTrLCxQvgExijPxFoDVWiNylapD22+KZ2MH1xGOyZwsrn84MvPzLOw/pByWgwCCvD9u++fJ2oTrKczEuTJJDlDAhXKn3uRNWJS1CfRd+NtU95tKhD7bHYM61wCGS5UOBTZXggDAKNiK0bpXiAiyP0WfEAKxTlfKshNEeAE5CtujtjuuPjelb3OEOZLtLHiSrIiHNq1GYQQPn5sDEZgVvAyhGS3isER+RecAv73WA/USo+2IJlZ5hCMzmx1MqyZOeAylQvtKgBdMY4KKB4sP7pApIsVYmWgeWKLiJmle2PP06ig2efi5k/hgvGtYfOBOhxWfc/EG+uTFMhkHw0dlkgWdY9fTPYdMdQyKQ6d4+eFatYRV75lEMcRk5lWVu6FcPjIa2gmf8VMQUVHs/3j4Q3julAUbt+E7i2oJWOOdfQJRSqHysfzYo2PJTIeRPyVaV12s7omVbJFt6TqRMDkDo/27fh0foQS9/kjfC0q6Y2fOZ6TqXBLoseT1VlNpiBaei9IzhtNM8f88AhNygwe74or9hLMVdiBrVWPYyxggRfkUdhXm/B9qry+dwQcyDcdfFAYciBoo7hvsmu/1KptPAu/tktnYFOldTskhYtqKs9d9S1rf3ZAKiEyRCASCGbjzzY2IefCpfSDjNcg2m/LgAo+kBqQQPMh+hlHeYAoFh61kUTeRQMSTF/XhIhdBYCQYlY4JKAFxe3OxNGKcnZkK6P/bqAF3Muu30FTUQ1yiH/RG+/Y7MDPMonbaJEAvlYcw3tKzkWiMzoVXxT0s/RMOueOWHlmQcYWOcc40IB8eYsuIgnpye1+QWRslZo1yaCopONbKBbeJ7xR1ipUuDgsxC2FTbU0aIS9am+7diOREJrDQ1xyF0pP/zc2SKqJEYH6RQfb/jhgnXELOOf7RY10W9J01mrKoSywbSEpjNzMVXzJodN2CZoIN5wQDr0NczFI2ShTlDEaWDQLnd2OvI9Cy/zNGH0AFrhwkw2OznIUGFLk7n3/sCxfAts5cHp/pyL5uISRQ6Q4Ra5ais8x5ruj6b1Yx6oGrEWBnzJhOVZIYqn2fB484IjQhn/WiYs66tzda5hgnjtoNpryWCCyIzOf0Y3B6jX8s65yhbAaxqn8g8ie2LlA7jwIts6VTOCfoZnxXT2h1xBVRIu6wGP87DJNTJ+6NQxwT/O0lidAXE2V+KzkJ/UfdXY+qG2Oc0wUj3d71F1tiYKmsQa8YMsNrsTthCB/k4r8J4kjL9qjHNgLlr6bf4MhGI5xWUnekSkiOeUxuyzv2te1ZFjBAVklEra+QL75N6y/xfC0kCNAx6RBOqg3nhet4r47ZI8prg5sDJXUrN1b0m49dSVRwm546BySsCmaAwK9e5LlnRMboRjITOiT6E6cE4mJN2bihbTM4gcsoMac/FTdqYGLhsv7/kcwbsiGFeE3Ga6PSjv9yLZtIW0cgPCijbvQ4JTbwR2jviRPA0Jw7C3vZFwnLu9jNcrFTtp63aMwgVK/uzFy6RWJwsLMG3HcglDl74EBldbg01XpuHm+1b7AOVOJGjSksK1dhv3rKBPiLi+JpKxvlyoE6rUKCNEPu7G+flBhg5u1AmFoLZmxclOqpVS04OGTtoCGcW2+VpVKdyIesZxoskZ6RTf5RhvaLTGvtnjx+0lrJxtY6sSWYucbYEvvFkVd0Es8jsmSe78HmgONSLbJS9QQ0SZTW0WQYrhQQM3wBbmdjsKqrGWFDAIDI90VGWqiIi/3ZP1L0EU1EJymcm8+o10K3wXqvbENcFh4M5k4s9sIo74lGe5c7I9rjMpIX6Jtjwd0MpYi643TwjSFKvqUk1yl0GVLqrES2GYrZqZv6/+/txGCo0wVSd8LUaVWPky35q6hOLZ7g+YhV+yvqcKQiFSkJTTTWepK6Mfd9YDfxsmIm5k4z5KyVZ1c8j0Gk61wU4UYOHbKgGvz6s/Sbba9W1e3KA1rNVDiIsfMX1qoZEKnrHVeTwyD/nIBLvBv66pEO2q0K+44BxbknZ2BJkfw0kR/h8i0qYfW/OpbHP+xf0mztIXSolKAhz9PiHVjaVlpQy57f5IQjWFuQ44Ne6hkX0CR283RKB4m1R7l8IBnu60cefMVaMjmWTruEcpBPuoX70o8cQgkBDK4Lt5w1dpLdGNgvKZxZVbTqvW8N2edgBE1udAGPrQJz3jRvTTZ1LR+8X8PzZEwJ3jUwiQU1fFJY6+pTFsjMnNVovji3KmrucnKz+l62njIZBhjBY3tKR4QeAN+Ve3LtNips3xdcxPn0j/LLYwkrnH+Wi7wT35W1VpHFr5WoR06uICl6D862thCK2SSjCAEq/t0KdS2RePCaVjAhJC97SmeKSksUla9wb83tjj8mtztT6BvsLSYztaQZLwrFQFBafZzQ8hy+1OqhuPEbJ7oSY2YHl8Fi5cxuyQCEqpsAvgaCLisySum2QPLmbkpEeJ2sWN2F0YaT4jW8Xh03zQfk6mHRChHJitZIEp6G2la9ZzBKqzg43fSCq4U+um3NlWNuHsANkb2aVtfZmGGx269va4H25jU8xCbXAaq7djt1TxZruEZQCHFn11zGUFalgh2n2TORB8Hg0PvIMz3x44up+uZ20kogjgxUln3XkB0zaQ5Cr5vbXfPAtYkzAAFL5JVInJtHnHw2w4q37rBQlzHY0Bm5P9x/dSSxyirNmic+PVy6RP7H6S8xJE94gADOIShXsqwvSZDt5CSueps8fl+qf5nAhjLi4p4wL3+HVEwGWTaoeFVn+niaytHNOol2VdH2Rmy2c19KswbQSEnvzPDNA1t5YFBqE8BeOZizKmpjNSiXHbH2e8ojyT7FCULAZ6srePivsjGWi6EtAf/5KGBzF9tYctqTPqPjHlYhRvbSf/QOAZkEwsKvQ4m1Wu2UkKIlcrlne6+bE8ekzvUVaYj975lFPViJARLZBfhdz4pGZCml5SzNr04dKuUll36AoPskMxJoQClM2CNxXLfAGVtxA4qa42rc6IWhk1ES6i0GQ1jgG1UfNUkN8H5d9Wg48nmBGGyL6s4uSJ2K154S5mb1zUBbnr8nslazVrRsvkvxaIRoIUt63lcPTUnntunB2tNLkNA7FVr3vMULvZQ0/C8wkP9EbV9UEr5/E7G70ccOI6VN8WKd0DqDYbBkbecGiTooj0KCDzdF+WZSkmBqtnOELwN8AGWvQOf6yQFkw68X/mUXPrJGgfzcuGnUcu9xpvbh84+YMVGIXcZh7L5JP9iGEgFyrBwXxPVTLtYQts5a+GMm6ahYRyjk/LrZs89dqhXFA75nXAJfS+YUnPElFWVJyxCgC/zIyRxRY+T7q2xgO7AK4JQyprW9XjzLHGUyK1Ne0str7onLf6bh6j8T3cf97zLqSFWHenhTyyu/rulcRm/pbpXBRixBF4HExwX8MzxDb3BcjQSX9R7aFQaFSyEIJcofAlmDZVXtbhRpqNAnjQYimG91S07d5gsaqZl0RXbLdbjMbavgNyRx7xxrZzZfNfY92PMukv38aYm3K/Na/DSRbj1wVtbb2nzwnevGZQcQgOdMj2OOct3BJ0ncy7SCPchfKHoj1xcs9Z8QWjxEr8Deiu9V7sFjMAVK9ciUkjbyRc0Nwn5rLqoTDBgOOQmYm13Gy4YxVmsSqlwV0/za9n5bzeKkl24ypWMsEHK34t2GWKOa0SvN1zeO1zfJiOnLp1/YelI+hm2nWnWCVvNJQFRXtdfKpJnw1E27nYNXkqJVVcGHo4uZksdfuSXOoZah9IQIV2FgOuPUzwKXN3mb9oo4lN+0sc+c5Izr14zsN2XMSrzxJqGUy5XVtLDAf2i+TRHkutPBcH0LAu3JoJKPioJE8DsCJXj8DlwOIYNiZjeDfv4LZsMLCddcP3+03VHAz03Hy0RM/WOiaU7MRt6KoRJYk8LsOsu+kcy1w7W5zu8SndbY1iW0B2gJ86m+FlAUyrZRBe4493w9Bzkyzxjx2v1y+2jcBKKyM7Jm5ZmxWBhUJuKsfLEqfE1cY9DCkdfg27Fur/RIUhlI/xedroW+12csZR7DRhLAB1hCt71zS5jwGGvt3s/3RtDEJdItJ1LJ7DDbVcsCvDryB/WpC3l+n1uRiOdLGxDKP4GC4uYbU5piX9PsQo3WciUPEbX9xHj0NKEfAzHCopHphMbGj/4rt7BGeeipvcP07gEeJaMoxjbVNEcb0HpJrwJ9OYWIIOEFmW5Su8KYW/DF2AuAp5DN4DSKpOs8/CyC5nq/cQxqCQqm/nQKbSp0cmZ0ThupS66vWRvOupIpdR4TBjErSyIqLJ2Mp6BB62qA7zkF3YJQteO97JFj7wjcHaQFK4KD6f2vzfyE9c/GP1BgRs8sg/rYXD2g1QPBOGBTdkTRFB2KlIqQSgyVSuAiNaYKPgXcd/QHxFaoe+xo648JrUUwWDHN+BDXYKWAV77N8K29vwVOkoV+98TomkMUQMPU/Wb3qHbiWRPGxTqQ0SqHrv7VNOoXOg9uOsaXBoOzpqSslXJA45N4ZAQeFrcqi201YWP2MLMVk+c8xASSsaxQUcItRA4e0YgwVOJEwSq3rNmAA5wnbqNwXgosod7Bg/OLXdlYl0wjR8KcBChzRv0QEoyIsYmC8BoSO8pexsaWpAzeyNFGW7WCTRyNv1K9ZUO7TetXfXMYawwvjczRvOEpbSf51aEBxBXOhL+xYKDDZ8KVZScl5+MSl9sFe7vw2hYdCw79TYe7tJRBU+yL3fW9pa7Itaug967n2acZ/HeX0nvBdYZYRWvvthkjMTM8/4QePhLrjPoj6CFp2npPecKrYFOXGPM+OHZJb3AqsPfIEVtP/N5iQA0JwAZIL1CSqjHHdcFPuwf2tXrnYwCOgFxO8C76uV1wu3kSRtb0FejAjunoOozYvkHkQsjJGW4RZPsmGVhBKpw9OdcFtDswL1BnWZ2VhMlw36fVfa/Fsg7Ss7prk1ROAfFE2iI2pQR406DsoloSVz5W93UwjzPUUx2EVBq/mDncOOHMDydxMRClmywH3uxYI0aszjOjzskNH8vHGOL3BlFX6po1MVA3yO0X7v3Sb3zFEew+uaYuTXc+H5Nn9wAIITAqC/ZKwkwd5ypegZKQfyaikGWAMhlRvpDSddAiizQ8g+q/dCJMKIeIGR6U/yE9tmogHimwwVCwI3kowDt0wRqqq/yhKJ4XPxmUeU6uhHTapmYXzeISG9XJ7TvE1CWeV1jyruiFahB9JrIYENYomyKLEsFBW6Uh3sK/JUtg0m5pq3JDW1NicNNS98rbsZo9dy2wvcNS7g3y4mEQ+PC9Q27l4elbjILssaELjxsreOJs49iUEeEGLo0dWzBafTYOp3K6aSmt+edYus//39bZWrsesCu6d8AzGd/klik+sLDR9Rkzelm/0xgjT2p2skohOOqDdWu7Hk4oamDyyL6L3GQmJPOBNYKRv1Wl90cLJs/595iHmwgpJfAHRQ3BPqRtopJuwjkGZEH4fnlNuSvatuXrNW23E9mAJv6IUf+amfuoE/O3GqWtanNPy9iSzR88FGJpDJ+rUx8XIh48s+XfDeWq8tST/IiSldmIZ0RSH8fJAkBt9yWAP/fGFUb+AQl2cCNDe6uFV11nYV7nZZgPUKtl3ZROj2rmpWg/tlgKmO1FrzviKia4uQ5P78eAs8aW63KUaYBNttxWQNbmZv8wweAlnD7E+gzUCEdm/D/tvh4UXOQ0ExgZUyIV9j3RSTG3eDlCKy4AZrjvM5dvrPIifsjmOMtwgVI93qYT00TUIID7OWeJpw5HqyFp3UxkVsNEysqQxBDxcROqoAw7v7pKIRlVHXK4LkVOV7pd8uMP/uAL+HVNDrJ5qczyfxNeCgcWwX1SP7yuKZcl5f9ba+mhzOr6izmGKHH1chQu2diHUzo5xDNw7K+fNKE9k0FC0oBCpDrtRajunLRbqDZMVa8dknkc5ATLHvTHjKxv8dPuRrkeELMQZTImOmZod1GHKK3v4zjf3F4PqTJtrb+oAn5NxZ3nV6WadbmVmD9tA8XHQFfXIoShIMj1VH+OoI8LzIKFMc3jvQCIWT0au3syNvRu1rzFohxZ6jm/Cz4f0tOcawh2dHvFXyRfpumAqHg0fGBeGAbTLr/rmmr+yRl1TjfE8dSU8sADuqI3zj5Pr1mKJ/LXckV/F0lwYkaPts5C4okDqbzSM2NL3SmQ+f4u4D/uI5W9gQaQFLLxF+lRRf8CLKmFuIeSDzWp09hwjxy1tTPj8biAFp/j/X279KmmSNgZlx11x6QBm30UxsQY2PkUchkFdPs4oVn19vEJHtHd4/dJHhEI6Zim9ZbnUzPdDU8QRSg0zWgkZyiOiFO4r+OwW9yYXzctwGcpgaFczDptVcazCsP+eR4OtmUqjpSroeh9nFKI9A3dkWw4YO3Ufm/Mwkvk+VtVkuVOVH2gw9JiS/2vxtR7Mfjfb35529JQ/hfCyDFfNdZScc0bO52P4hLG9MXxPneeNx4uNarFlQC03yFQebddcJgB9wiCLYy3wRFWcE15o9L6aFv84AY0zGAPewW+15qLhGMMH7Qb9BRu/KaVjT9LwciOdtuZ4zlZJoUnbbgAHwLax79Nm9bdeNBp4aU27EJQ5K+rfEHvUWMbwLERYrQNXyiv6hZORINw8lHXiW3e8kzUqSEaAwkCJ1Wu0cp3zsmGeV8ptsP2cioqbkeM/QEPBrX49RcwG+WwHUfhJscB3UKHsOqrMHTnRQKJQlpof3H2yMc9VFbDjBItu1hlcphx9b52lcCMuuFO+qXXx45kakvoYpezf2cocHgQv0ET1pllsOl6aJtUB/n8J6QipFeNvx+08bBTakwLMT0mhLq/aXCnxsAktx6jDNtpT70epVI3EqaEJM5xIYYSL+JlYG6BrAQJovYk6w70xs1uuO7mYDDq3ix0B+Ls+XgVGTkEr9kjzJojRVEk8m+Ycr8V1aH/WNA5og6gyZm/1SGDDIO+7ZmnN1wCck4CYi78f2BHjMwZJ7D5e7sorpWbJzaRI+24Xy6S8/+4GytxTRzV3RJ+hOCbNruiGar+Pmx2twlhNUetcfRCq8yUMMbTWbJb+KkzLnnHuDH9yk/uZ+beKVakuZ4kbeB8HYUf72xUFeztiZb8jDiSQtxCIFyILXcf/7THTzRvliavAy9MZg0HG7FdB2bV9XWS34GGAMLWaZbZPsHxORAkm49KCsfQeQTq6xQLp2KCkpnLY5XP+5QN9Y0V9B/wppSHliMpKng/x4Q71QkOkwDWeU4riZoi183zfRbjNF9fuWpfYwIFLC/cNirANsNjyprk6zHQwKqDefkqPEI6ixSiNfj9QoUXN4xpu6YN74u/GCiztMvbx2LKdi30Bz8uEFrcG/QQYTNW/DncD8LUh4SmaBMbCih+gc5r6jEKJ9stipuLZSGgdkjuKl4+yloX0auIxdcuDAl11o8ql2t8515v1yrdh5eppqgCOmNDlgPoXe4rcgAwYJpABf3sVMcLjjClGkB4Nm/NTzGIp50L+kzsE0iM53wkvUe9Kwsz9dDX9FLbsRGu3qY99CGLTYX7JqlZGErxKjvqU/BQClEAep+4gAbpJLEdWpvwtKeNc8QxKrWwIY90ts3cQ90uhDDz+clAGI7oU/N6TwZ330jDVFMichqLPUIkt0/6LVCLP+OG7GOr71/DVNznNeaoLNA+LezmezfmVwFW5V9BzvqXeiODLfXzyI1jm/RZcPOdN2EiA3Ychk57V77uzRlcztXiuSkBQfJPBMpfmFaXt/j2p+ctPAxRtsb2/d0Q2P8cRIxCsI7c6dAOpIiEqN2l4mnIkSoT1goI8yKJ9qTwusKX/PJz/xcIBU5LiZyCrFvxqjSxdWd8W7zGQHcfAZ4jP6bGXYUKJ0gzfaDZtr7hzZRX5pKNsTXgQA3zTXgRPzSgIhkN7+zX2Hz+lU+JlCjg2EvYzRwFsbxKQke5BIsjxT0Y3LxfBCdehMQ3UktRgM+D2NW8JmyzWu62Qc4nLUfISDFcNePDhB8/sNVplwS9rkHH5MimUzTNGVan8XCqkXRx/K+beH+xT9W/UnBeq426Y3QjHnL2nj+LfkWq5DWRRZud8joWwPAzw5G6Y0AV7Zvls4LPkAsEGbYVCoOA1vzZMf12tApwrpUfW80oZIaUR8X4o/fydggoUoXToRY2CeAuScYJTokaxMF/UEaxfpzvJfZqfIAw6bpeDlEWvovyHOTgoVXvuUn+usw00hQfObKUzO6mz4e1r9R2JbKAgD+Mf8Pi7L4VczYMnANby0VykzRtd+8VPPwpnDISDBy38VS45YxT6+fB+W2j9QnvAPNF7UK2iLRDRAfyub9zF2zXls+ATMBaguH1OSMnK2T9xRrpCl1xj33kencIjqmalY/s6z+80KHdEctj8E9JTmzigEyL10AOKQ3gFcAnGCGu20Kuy9Xxvn7s1OYO5+hG7YizCWeLfrVJz57alitwCjRi2uejzaUjwhQFKuLDH7WKDnTM/KhEI1QggSjjQv1/V7wuzzkUvju31/qfUKnxCVHIhRdnIn+INIAEjqRLsTuyJMzPvS2vSSvhHPdU+3UCbPMBr3WaLCQWnK71XaFg6Cv7rJlBk4mUjpw3Cf70ulzvRq4RwXh5N1J4R1CPSlsF+a2X3MEiZnfFEITlUV9hHUrlROiwYJAaK+6jkso95395PgBqnYirDt7UeRZnKJNbF2QmKYEE4iB95oah4wy16BlG0vwgSjB6puB3gJE0GvB4Wikl8b1SDkyE4EoMlIvwjt2HSrv6HxpLN8urjqN6pv4uvyDcW8icAKGSuILNXZ9idAl+x11CUe830Y7UqouyzBl5OZj9ftW/hGv7cieMkLU3IzKVnVFC9Q33ro0HJpnYsjphr6biJ/Iv+Jw+Wvt6gOl/LLJsXWK/CogUMTs3BvnDrHrJuEzGqmC6iJOyRCuDw44N7t+7lyTUxrymshQhsQgF3LfgGeVDGEAu/KQOSXYr8wz51kOi0gN3DOeduZVoaeSy4vfTcY5AWcqAdW43Ll/7tvD/wCPocBQCZpcQb+KFTNqvCHiBzHi/F/NxXiReCks7LCvooXR6LHMxb1IqcVLvF7liGdweByo5ynN/a/kSnmEy1teTKgpTIphk3xpG2lmkiL5Zqy3QCBPCc8T1W7+/wsXyvjUSHgWKuYmYwVjMZkPD6W+fZ2eLu9ueNUS2PovweKhufSYDPJeHfIPdjafddWlCbgDTzH5FIKmB5QL+kG4oiDTTn9pzAQIMRK498erEy4vU+5+tyL52Y0JqUgs9Y2jMda4JlVMTd3s8Tz7ZQ85qfK5aOtgkNCFg3oNJs9Uhy7RJM8X9+2kJM8Mi22wWfm+fwkGtUpRMI1CYB6Ww7yyDyw/no4oI7loctVLR6D4tyPgmz2n24LlX5YXpMhFv9PLHyULE0HijCpcJyNFIgQy39rSYjMvhjPIYgxmXMhoMIfwnU6e/yo+pP5CiMmEY23rd4xqHtpfu7RMW/OGaI1sXqOQ9lq9Ojq2puIgadzM4h+ucsQMCfLlVaknSQqhXMDCZe9Y7smcQIsFNXNL3G3s/KmX+YxHgv3zls0e0FZ2j1DvXHJ+k2I1o6K4jRCAfACTCOHBGsWx0b/j9VbynHditcZpp+YckdOWpQ5OAGbyfBC4xwgcHKCKaOB7QQLPKw2r0hNeJZNW6HP3R6cNPJkrb01eYTo6F3ktdISUjTqJq0PAAJ0jFrLquMzizN+01p7qKWOAQ6g9Gq1poLRg8CEb6+aiFTJvAR4C2S4Vc1Jwr4rDbGqIMr1i8UVLt8fyJAmTgF3gzq0sW9VNZP7WilBstQxdjMSybu12SLgmU7QnMxvOQBpK3ZAAXuXTkZY+uMdi5cYtHdj5VKAeWTFE0wGQn79k7EbkAVagB60pwehnTMUt4yTzY3LXuAaU+dbHpKi2/WpuXWXsxLaqDxECbKCNDUnuC00Nebr7n2JWvwhG+dWHvbijYYTbaRGApsKPpdB0paG1Ks34jy701jvOAck8oodWNci3vbGHO4Drzd0oHPSfjMNRB5Z+4XLlMHy0Ic4fl++ux3hj/zlA4w+FjrQN1PyEeoXaoZqfo1RzkOFKDIbBThKJejE8dNVtTpRcro5C2FJb93LEFfPh/NeO4otzePKq1v8b4MWGh3aEgv9EZLeTVYVM7K1wNtnrRU7zkm1kzChdc3ZfX1EXEvVjzdlwe1hzRaR/F0fgKe3/A5YBdsqTHogkA3EBEAOZG/j5Ca57Ck2CW4PM03yIM8YrRSZiCAKNwYCYJkymkFsPiwOkdhrcJn+fkyYfEpaaVoBgyCqIKmsFvr/twaDa0LL2JfkgYjxFcW9aT/bUcfnhoRsVHXZWTS0cc5iVN2T67HCEfIU61RpCoD/fF5f/9Qch0GPpUSMokBjpFmHyZvcBk5tRi0hA4oKM7Y/OIq/5Q9JJofrT2a+eaCwqQDSo7mRcEpACub7VK1gnaajjjh/+G7EiUqvD96aw48Ic7SG5ewLAR97n5pIMJ93igsQs2TTbIxmeNzEDNys/yBzLwOHifCX6r//zFkKtDFOCXtTowFZU8DiO065AvOsTqIrmYMI/KY06WqSZug8OjpuUvtBo43+fH3B7CZJ+svP1JL70TPUcd1L5GkVhQmmWSpxBhZj9GPdC4KPtoxz2FrAwpR5AkhrIQ4JF95Z/mDu+moIBet+E23FLEP9isGjxvga2b3sj5/RJivvzt+/K6IL3DMCHwyH599u59z84uA0yyVjfmsO7na85plT8T1MC1keJjrvPB/kGYF3/rlbgiEu7mTRi6HDj3e3SWkJVOicQDKrLcLkM8FQRW+iLx+/cGj2AmiX721bofqdQDogPwKD4xliBmDKwuhljUJv/bOCLJJv0CGhW6OH1PnUsAQ2PjgTmkJVCr0LswozhxBnWAivXfZ7SvleqtoqOBNHihx+E9Fi/4fZyKZ5/KcifHvrl2Wzab7Q7jPH6cZTQgDVS6ideGtZmSvpDM4XqCmcbapZQWTJViWPOT5lZjPQ9SUQctUpbKxKJ7KXu3N0LO04HEWkddycvzZpaW2N5Uk70l8fSR8qg++tOwcjnGs9irmF/awF5O90eeBaTf6pZ9c5Z0ygXCf5iMvO2S5t7vdyQzPPAyExQrjP11eN9SLZc5TsM4zTZUTedyAJ21pDHhtm3SkpU1hIm+meNs/7FrrHF05JzHWmczM8B/48bM/Jvnp0uMFW90c2m6z6aeNSWRtqb1hfCa/N/BMOQMQWR13/3NzpAbTlkOoIPPUzzb95AFoeXlN9R3LEwKDJXelTemOcCBLdheIWf+EF7DHp26RvGjeWrsviXll/5LJ+JV+HYhdG3B+u/uQQ8JoM3CaHThxlgM9/z/JGJjGX28NncZmYZIhWS9dY3HGt/UOP5oSS4wjqyZvpgw8jECqbvw/NO7SXXoIG45QYhK+KWBHX/ytRoNaLjMtP+lr6IRU2fc4WF5xhRd40bGmFoRLdtYx8eXv8P9jp6o+HwItOZFD2NQvsdQq8ak1etaoTOxghkC/ESHkEwdn3VZ2SFVW1bR0SQqdVvHPzCFVvTWchFddfi1Zzb/KSO9YCiJqrWNSsOE+5CffcwQFk70YFa1Vu0rodpAYdIepLYe/8WIa7TvS2dsmNMMXweMxnPayV/CYLiynIOQ+BKtBbLtKqQFx31MMeTiAzQU8yGwFYuELCba7wNWQl1eIoed+0gKuGCskwVUuGUxhRVJJJmS3VYSlT2VEZfcYInFFaatSj6J+yF3aFLXhTlLAlS95Gc06Y1gIsUf7PWnPcj35YWfeKqDCaFFJPikmcaCtT7wxE4xeCU7lcOP7ZS71N1frJdshOOJwxZz+Z8Wt34IuOwEXvf2GZRXM5o5vqQo5Cl4oYy11zH6DtGBLXlPDfisVHAuB5gCZf4Dca63q7IF2yM6ngnLPKG5gDRsbEGirc+GNJ7GftJt2pYPV5GJhMPNlf83zgZe25iToIxUEDj0LjkV+X7E2f+3sHn7rg5Alw8sz8RbBIWsjxC6XZZZjIlZKgk7a5rtbrXfvADw3rU5z0u6g2D8ouHYSkWGK6g9IzGYnFCZiu/PmywUakMDITpKe92gs+gQo2B7WHhJVR6YmkiuK2NhW7T0FgpkvvL2VJ15CRGgW5ym7j4K/n3enWfflA5GOxCzdOsTb06Z+5SUhRoqTyHAHZaiO/znQNSseGAE6c1GDUK6ZBhdo5rSxmevdrYF3JIv6fFzGwEmWzur9faAzC/5ZIkiMp/IbA+aNqm0g+WOucNfzf9KDzAnEVD304VDGhzGt14bjkMDf9BHMBtKEoTL/YHCjvYowqIoXKiKjbyDN5dqSaSNMG7C7Phz9WRJFH5gJ74WrzxvDQj1EUNXUYK39MhZWx3+/E9xD6AJuwTfhHXexfmzPMzB+LCWgESHWtzMk1++42JdWY+7iuU3jYV3BEmA6NiC3PbTMOCWpkEBDjUHrLZgZMZZGNwwNWX3F77SOqbedGbLqc9/sPrxYcOJFE8loYE+SFFXOyyU6UMvJ7hNfoAG/DFZaYc0CXAE9z2sj3FoHpDeYnMZudhXbN/iyxowjnn1WOOAY1IUFwurz8oECIUNEL4/zIcYpHM3T4wIT98hG33uQ6L6X8Y59h3xtZhFkmRoA8uw1clHTQjtk4wUvcGTTf6AwFwA3gcrrv8hn1ZLh99x8+XZrZL1ORXpr5u/KoHSl7xka6NY8HpnyfkEoo961F9nfW9/m+bOxc59e4RijgZTs9pvKUbJLFDVF17A6y+gZJCTgABWcVEJbmWcrUO97iofvVirPwhd9AB3Zj4wpb6FDIq8HkjEeyAh27v0xFb9swbU9K1rj3R8jN+4oXFmMMWVlwkv+D49cLH2QmK3NdEEqxFtRn28D6DG6uHtvBVf4pwm5jtcdtgJbL8oXyKkWPbsMjpvsSM/T9L7D0q0ESET53N0Q5h84pOhsZmxxohOXx3FBvPMSsrLFsSUiADyZSDtdtGEM2o/ki3nPUYqPowMTnVG8d98od+nlIvtHYdg7Nos6UZyWWCZNjpG/IV9Evp9LuPdSbxk/U6Ir4V44nN/wvocNXvMQ8rv3dTKK8DmYr1IzrT9JLUDhepF4kax1yLefgqkxkO1rVHyg/hTnbJ/CB659eyNJcrOc2eCtfdTI4fKv+4o6Fn/5TyO5FKc/dG5ogcouim4YPrzt1lDOxCyJyWrPEMj6WgwFidEQ07G2Qbd/WR505SYNytxiVYPvyh9mBHMLuUmWt3WwexwReC1jAMU1qbUAgQEFEZNd/vLF/GxeH+ns/IfwxhykFHqngw1vkyKLFEB7JOqUiEh/13yCauBIssc54ByMYDbvOXVAkRLp6ENdbdFTRO9pJ4iiLJ7FSQ7pZckwwKKBfyP25MrXIiRbzw8rhh4y6WIg0ljDzRnkS8dOomrQ5wf+N8W++A6ledoIqgqxm1fWPCXiu+81hDRclN3pIRHqhLSZGcfo4auY8G0egpGRM4P0GMHom4AOa6O0NmIzu7daxBF3H2KtNBzZaklQiEOwC0g7zU08CFW550nDGzgai4xUiuBdrs9JmtQZHwDIukNQBMaPspj3q0KN3B7V5UPlDg5S5UMveLAY9vCchfX9D/Y92ciNWwpaxiHwtXngUFFo6cWnI14XaMOC9s/NjCqnks+reHTOdnuOSy2rO8k6sP8L/NK3Gulpb5aptg1M0Qs7QM+j7btVEsp8SaKq1n4B8zIjUDPEod7NNdxjtMt600VzaOOfGAyJZAQhnyfG7SzJ99+PxyhEOPrIWQNBDVwMvCcZIfngKFok/mXdhKQbidUUQpDBtX06WdTIv9zq3w27LgbPZIixCD3WwKeIa0vtwdiHuhUl0tSnx7vGXWX4G9A2ldYIzC4j982zPja/Bf04XxR9NvNPqMHD60/sePIupv32Xjc+/AyJQcrta1CmcCOcPFhUWIb1FwqU0Jy9ZoMzZL/MEr4ST/C60maoUxhxYAb8tEu3PPNWTG6Lo813t5IgxeTnES5BgPRh+Oj3tFgW+SzBKxPnTwDHj7FGX89kqp5zbYHrFRqifEXp+wKi/bpKKcgyhL2VTFsEv7flO2WsN5XSZFKwrei2iUAEevRWiMbzMJZNlKcicXe98V9qtZwuUhaysDS6wqxtnn8ykx7lduUXRDut5ke/5f1WYtJLXhYOC9S/DhAOtNdcUFg51xnQ2cGc4Ws9iW33Sibv/FlOkL/X9DK7uSCxHygo6z4vPqXlN5ejXoPpaG30TSoWx/hEpPHJgii4EtMVB2I2GsXGJ9eLmtIexgowy17BgoAw3Q75gNhyaiNvZPylfeUir9/fhLVEl5ot6QTmAOdiEXgzzX7apdkOkAU+v/e0rghrKYfvh73pDKeImfz8xUxePWIZ5QRGWXqexAL6HhPagjhCjuQoGd/91YqbjgIaMfVwVvuDI1kSUCwCo9iDCGPiipuE7qwNoA+g+ik/KHzFR35KSjlv5OW/ap0dPiNhJXQb02GOyertXOekADpwo7z3hT4MdyxwaXYetLIgW6Tcegrxmk/qqJtOvakfbB2YZ2ZKqo8A76qn4p54yw6qHStZD9A1rqGHo6iKNNuQTwhoz2gGz+dHqGgcXmp3XO2hQT0voe87rbWGxvrO4hzlaXUxef+6UHxd/dOOgrEKC7ZGYUDWljV+Kms059fRNwCdJ6V5eM4fsYrXvVLkTlBkV3pKgL9h217ERmTUgBew1HEKNWATaoh7ljbCWuFrLZgINC6BgCCh4hYyDOm0jjMZE5XlomY4GCZFfpckloY47ufGCDcx3/MtXqXiJ1Dg4TFR6JpO5hspKCI3IzJ1RS27r/N5v/5chVjS7mwPQ+QbTxPpXuFzLNvbiSDkvZcKbYnHHTltYf9UnbA4lv2dYIPe0ZMYAdp827rt1oWzGrQBfiiJVtbCNw7SDUU4a+PANpepsX1AeY8QpCBR9rUNCFvIoKqXJb5f6CXok87/sdKOrMEsQCgM1+2GZnNz/nKIoiqv6X0CnFuVf+EokLWtYDSjz+tTkHGLhdJJVt3JOxfs2QtgeXf/mID8fRilIB/6gmTU0t7mev53zJcLOSyqHN7awlCOhM6jCO9kkQxhaALzwgMtkRJT79UN5/SqFYDs6a/Oh5A6gj2uAS3LO3V663TI16ERSsZByfQNOaMkGo11q5zD9/s2BXJUIyQXdbftAVAGzqZ1MDdJitI6Id9/dytEaV59r3+OZiciY4P9YVepNUvykp0SLxECsctEDW/8Yu5Bxbii9sr6Lvt92HHC+Lns8dSsrzmuTKo8mQ74Bilx6mgjMWfbtgO3p/rwifMRmBQftGsY0QFvDQcCZ3mXgm5faPKB8wnCXwHknp8h7ucVWahwD2Mj/tiOKN0/QLJQVwSVjlKian3TVY6SNRh/odnsaTpNXszZubRCP7kLH+lGm7H8qfZ4TjmBiRX1JX/9ed/T+ZbtIdTQOftO6YIVy/iBDO2Tgc8eemRNnhocXSV0aNDfemulkyt9rNnBnNMHwhha4js8tkLkFxS50CdoS3pTsXkWAtKhTV/0jGfAXV+FlXSXdD2QyP3kU9cMpL3VJ5bg1KGA47/2V6Pgg8U6hJ66qQxrRrEtlqwY3asvYOPdCi/1IKfxo1xMbf53AGiFB/c0lS8h6P7Ki+okxpzYyaBDYGHmRpQqul7Ia7U5DKpQRGAdzcKWCiig2NVn3IzD8pFyfMrl1TtiorcddX9ezDzdS2mory9niU/URqIStTROy9s6UbdkbaNQZDQm3XvnkfnaxEEIabhaJ7bGS61bh8QbS8ro5nsPEiHFyb450YlS5IfZq0fXMfOdMV5OIf2ybM0D4Ghdicm7DmZGaKV6hK8VKQusyCYdLPKvi4X+bz/2BG5N/nFlyuYFo9EGPIxYzCL9bC/6lQRULORvNvPru6yXT45Wn67hyxj3S7SO33A7wqJ6hx8DPIlpSRtTCTECy2ui91eNCSh2hSKorW07nT+CwmCKgZrgkPuXdLLknJDHmQ2XLVIn15DHI6nhMQ8jBfP4Lj511/M4VoooARKjqKSsMHdFFIfZFR7x7inlpLLMYp2z/5j5LxbAVijJh8Y7vvf+4EqFW2Gp+UzHmiqXYydj6TqEfc2aiRFnQ9kAa2+SUdSwaSr1z88KXslUFLH41griqBOuzwGKwwFQqDXp+IoxZk6UbtmAcBTTQpGrSM7P4yGmtmSH+bsqxp+liP9Dr12kiOjzALmWCaMbbTLpZ3HYAzH3QbbSAY1fHdfr/UOCXH7T38SzHEedRze0Ys+XG1oD+JklP1Axk9+JnDhki/EVG4hIYqnv1Q6ICdv773cF3GAkystBMWZ0xmI46M6BeIMRq4RpcIg48TUIm0Hug8pVTJnRxR3gHYDG/+bxj30m0glLVEg2mzvzrOdroPq2I9kst7q7WWd7MpPUcxot2ZmhbdpqQ2Eor12PDyvH+ARqs7jHAHn9Rl+9v/7SuYOHMf8Orupnx7YMKo58ZKLXpUyvXLnjFuTiw52jVdJXeyT7uiPsW4szlOeC3eW9C7L9WrVlek2H8XSkertWvulc3BHgE7vp+deGhQ8qXlSGXOIvm4sVe/LmgU+TghdJBK93r6sXQRGYzq+peyb3LH0m2P7468wSdUYFLCw6aOsX62jcQA9tCQCuBD7yNaKtypaLFVI8X3ubG5EDG/N9Kd+v/u9ihormFYGQawRAtVo/EYcXYrdeCdO5dCzFYTeFzyJ31h1J2smBv/f508YFQBf56o13w9l/coJeDIC6EZjH0UOOcFMQnOwfbfezO40dZRc1IufsBpzFpiqdZ0AG4+XWNm9u5w6WmtF/6sE52DAJMISZNrEBFjO8qJAx7LZjPb58JTmDRnAZdL7yEk7+dNn5T8U+m0qM7UC48+SDyDOD6JRHRvJUEidxDdu9xJmID4CMEHR/xsmLmPM07Z/UC/wRj2N9hBEz+pMOxczt8OT+/wj/nHSJtSeQL8huZdVMSIODLEpX2la6FfJhgJsG6nqM37cdvRzVM5xzFkOLbRVxpiOLI3/eorsg2F4VircvUGjaSUs8IKE+W/mTRkQYmBUzzjTdb7CLMn3GG90skTlUZ/8Gqt+iFo5ifyTgk8EVF9lMHSNJVzedad5ciPSews5S/ctKXsuJNBkHjsT7Xwns6my4luEYw08EhNmgtsOSCPmhSXdF3rl1E6/l9pY280GKhSLQwq96CyewamLW6F8UajQRXscbj5UN7nonn56MDlVmAY+J2/1w1l4oaprZ/OhMyJowNObC+/cdZJq9zRidfPg2JPZo3bn2WytIe0u6otvr6Cl8k4Yhp7hi9ao4JREZKevFtpH6T3Vu4w9JsClW8T8xxujVAAx0VYLii5+D6Ur62W/Uc+K4T110NufgUmyCUVR4/w7/ycBvZRMIn0tez0yLkzty7wZpZ38sIuqzeH4px4UPBgk6AZtUpZREcUGVye6/PU80rfTtmSz4fLmuSqrV/kprJ8Hq0hTL+ZtfsIr1bjiYMkXCLYkHp4SCcfUUedJVGJ38HFfEe1mFHoPZuQcZ9m+syXL2MqDYdz6CefaD6yHd6q5q2HbO4K78V7MJbOAz4M0WPNiYW+TUNnawui53DnJ5i7YdFFn3biUw9exaKEeU80IszE+dFIETZAvmN2KvY4uGIGKKTzFkFXdk0GOhwVEPSlPJVl25lWrQ9rpVd5h0ECBUDJTpzLMGms2XTm12jnfH50s5GqKDc+xjNijeYlH82CU6DEojxbdIpoKUS8uZ8JLd8JGX1mPLBwyUcS2ycfLh0ADOycnXMVem4DQ8R+nc05x7XjehKae/UrFvW7uCZnx6syrQoB2VTttLRtAtmdgU0UyXoY12ZDNx6c7sg3PGSu3yrzYIJDtvUSd24iqR6ZJS2MYyRhmLcy4Sd4ESarqOaUnbN3x/Gcp6zkBPTuani2+pfVrYoHCwuTQJBRb3oA6EYBRtBeBo4Qt7BtyT2imcP7fMYR2KCgUmsRpwsqIni+XLB2u+QoLfL8dNTi3qp1npaFBeA+c4DuI2sNez1ynlzqAd2b1FbY9kf6eFktIC+xan7VRW6uDREtsckvUMUQm004Bf+rzAXkEWoKc7BrGctoC+uwtSHaE+dkWxNMruGN0/qp6oG1gNRaaIlnXwnWBte86IaaLVr63TDEAn5EyyZKKCSMnAGFHJqO6xyQHitMzXjZ/RMpAMEun+50LWZ9GLRxo6MmzePRC8uvIC4D0A4JMhJlvvM7DzDuYisR6OsHbS0npySleAmsNDfFLf9QVaAa4Oi9su050KwlTA3bka40MNp1flwoHLfdnVl9yVxK3D7ZPWspTo9q5BMZ+H8rn4vdeISMgSrDrxSj//wW44AAFLmwNzWH8bpNLU4s6uvjHZ7UeMa7VXTCulLmTxrbN+834lK7AGytjvlmxGWHS/8jv9wh3AKyOGEHivqKrO54ZgRN8STwjINBiizB0MiyhMpakx7D+HLdEcqaWOtvpAlL57UwCIPrGLcMBcZ+IwFwbsoT293lfJzgSqQBYGeSwph6aP3oWuV1kVNjpDUvF5CI8pwM6SWetw0bMBm3I7rQOC/HeUwr2gBiUZrq/PjRNxefrhRessoHYNT+PGGLZFSBySiwFJlHBJjpN3XfbJpOOHvy1+HfmgJrTftbuu50EJb8BCBJQvp3gquz2TcWf/8IFEQDcd2lOEE3hjzWeqey1lbCo91MOlyrxnJZ76a+PHBH4O73Oz92caaF8nKGOZ4gtxPKX71RjlVtKwR75JOtYzjZFYV25Wau6IbqXuKV7bj+z2xIsEb6JdHyKKz18VCZ3cAg26FnYkhqJCHzwKqtwqSuXg3ZbcPMdbc0eTucQzaw5GGcUwdZ9r4t6baPgP8pLoxburCFdxJMnKBGRRMgX1BeQH7sPMFq7IlikqSLsl8/IrTFZOwvndxZ2QR2SpXx9yf9vIrBE2OiGABDm7IekvLiYOUeeOfYT2JwSNnhPJoR2meVlIDDyaSjuDpoHOimMqKnmc4pYWZGM7O6GaKXDz+12DqIumk++wV7zh1rSgAKAvDCJUl4lh1W8jDZbtkLYJ12FEtnQiEkz36CMjA2V4k3wkqodt+qSDj71Ff2HmflskatM8WC/i2QnZlarPkuWPq3IfpCAAil9fq/2ZpixKKKwz4NIgZ/Wy3xpMatPWbglqJbhmblMYC6B/i+vNUpipGg5gk4xnDEGzyWmkUnDjFRDyGMcNH8qprNRk+wK4tJpOIVqxQoVW1kgxZju8+D5jAzanarRzSp+WTr3r3bIrf9oIc0fLTUj3OuqTbw3py/D9tNaQ+334sZ/sG2X9BykMgD631gc7qgnlgq7OBRM5ufz7l1IzH+UueyN4z/CKtofU1bxrb6f4Bhv2PRitATdN3VAfMXalMcNOH3ty5Bx1Natie+1oaEalIGtP70KtKid6i4nVqH9pYtdjksYs1iSnG8TUTehnbw9qdSSI7uUpHqLMCww6h3q29cnqsst5EAD4R592DLnPWRpX4QuVEtLyl78OCPjqns2bLC+pBazXSLGGywkxDcKm3D8uEMTLITVElz9Pb8u9vCXM1ZvhlNwzYCctqlcMimhiMWVndtXs7/4iYUggGgTKLD/5lAP/YCkUlSDWWzc4o0JyPFTv04CcmKcz2Y/6dsdPdMM9O2DW+OCMKp5s42oW05RGFMqH0dtoY0/Q2Ydw5l2Yw0rIxbJD6xETmqw8BDG5/4S8DyS0L4X7gw6mMpW7kN3tZEBnU4GUodMAhbSnNMeQDlqUXx3xsMqv0LaGZdt6KeVcDSBgo5l59MczJBF9SEwCx7pb4aPZCHjDpTE6grtKDcNfZvMa8G9DF7NcAYf2U1c1+T8f13ckCTqEfuid2OmymHo3j5/sA5f5TWWlBu5L1dYSqUFw940+WzpKOp9fsan37MEYwdLvKqSv5ExhXnUABRsTIWnhWsT8/Xgh81RSYIQHHf1+N4EtcpWy5+mc10FuUSmmRlFEky9lho/c9uzWeBwF4YcRf0N5j+pHXFyGAs3SqcSM9e+gendXZN8pjCp8tskvtaMR+m93yFZWCuAQwzm9cdj4XhHTMVEOB7tr9uamFX07W5XZdl5wgZI4L12X+mhUbvbPXHJR11qnl3TuJi5IjtPTRSyMiufYuq+dVOI/VdcWem40SJxk7OY5JqY865ffohX9c1D6aYxv0TlYB/7/mlEEsKo5k8ThRkVZ4zjiZvQoKJcIm3+3HM11NwyoNhefexbeXPZpJVhpMPpgv7nqFgsuccedhwSe6fVGLvu7DgtcvIAi/TuyXa38Zcsrk2ua6uMTJbWQa8TrIu1fGuYlUOeh/bAfxqFru0iLIwyIMCFbrFfLaFDw11B7+TriUsjZjspBxPbkAtQW1y2ue4ZA2qUPCbvkFS7ynwyt8Hf3WA7PnaHeeS9iKRujn1m1m4N7LHN8kO7MtW0emG33BNYM2G/u/brbHKQwP47dh6utyn2ydJ+Bqzm87eqgH3sKCE0xcD+CN5qHfaaCkdoLRpNTnoU9jRs5Wz8YjrwZzri3zwVGfQrHPpk/8T5zbZECL8dAamLTogwhPlg4pyc4dJVcOp3+kVDA5Tp4eVANuLiuPo6+DvBFLmFYumTYTFQdhJaLHdpLyfC/nPwL25uvEu72BBxzNSyeFgskZdhfiWR/RIVXBGN8wtQtnsBC72IB5obKa1HYnOs2q57jCJKBVATuDCAsUiTQ3HoLX6safnAKm/xnAE+H7AcMjW0zOU33Sqo/RcYVhIU+uB+WHzCUt2nTtaDSNYBpAnGXMH9EnEI3+kKyY2B07deHksXXCorMdB4DarkREzj86dtLT8TFWxD1UViKdC8rdKBtad2P5WBIHnTgoz5Wx900pTLkKgsxbfI584I1BLRLBHSZXo/s/6NYd2QmyxxQUZyqExTF4N1fT8Fow8I70w8yBNE/6zdsC+U+G0jJWJZlQE1TgatE6U+v9Tj+thpmp8k6iCLDmbH+GOplRk8f2VcAcPCSuAe6u75IQh4JL/n71H6dK+y5Y9NfcZStqH8C+uXjDtjagiaXgMVwlGtQuuJxz4ZlEBHT0d5B1x7KBa9wYg5yj4kQTbezzOiBhQ43Ehe+efEH5OrQF6g5hKxAMRC2W/cQ2x53tMOlP4rdcQaWtuJhfTRHWJGuby8rn3wxn+MYDR63exYZ2YFtFVvbjDar//PfVC1KLQkUyio+IHBpcGMUuqbCsUY/nVp5FZwRzxgr+DJvHT4V7OW/z5+L+8ZXx+vAnduWT7LgcmBd7LrIGzptPH/uAQQa42GdYtdE74mJUZtrWTZrv8IkdGVxTSrH9oMz3VlDxjZXHSTYIxCi2zk7MfDAflC7NdLkjJD9gtWjpprDHrR3BAPtDG7o/TdPEXS85clmcWyMq+J8JSB/NghgflJXwXY0otb7uNZd7oxIu2i9FAihz8OzGRLlK0W7csQYm4l+U39kn5RjwUeNFdGwxwCWwFGDm5rEU9omQnC28B6dNIVz//hh6WSeuv1sK8n6vYOnWQjvS8ZPjSt1eRug9sM2Fb5O1gYX721qHUaK59wjIi8H72zYHHPBVAVrZ5WFuB6kPZDLtyZipljH1TpYAOD1Kez0TijaeXv0EZgPyU5YzV3rmJMkjyyAuatHiAmDAJVak2mEgOGyD2EBDcjf1GiEZHRmQUUBoLiGX2JxUeOQl5UG8/D1EleZlGgxkb0sjFKoby8b3hV062gGkmZtQ8eRinZP7ta1T2dTcJz+5dtmXH21GdmPNIEa5GU+DAuo5XGUCqYLno1V/kot0gfbXT9NA7E0I9IrubL+tajEbSDiVwQWOqnq2XXO8ChSCPu3qrKU5hltPEgaYPuMw0U8Vl4y0UaaDR7+dE1XVeGRPAwtCjwsXUerZlh/QGj9APXVIigMMY92ayIaU4Vk4ffx3LqrPUZHGnO0T8PW4OH8N96/v6tD/dYbhSp01KNDSjpr1grjZCr8OMEJ6Ki888xqkLpYfjtcktp0+SYBmbRE0TDARJZrakBzEBpf+JRTX5U+6HnoWhzOcyBDyIPyaN8q8g9Cgeqs6VQJDns/QCOrrzUBnicTjspPszqPawyUbq15Keoa9Tdk3jU2yNuQ/CxNDYaLz0/4qCqqjryTBSshX9Rd1VZUeCdcbKR7C6DS5tCkZSqVJNj6BfR8OpcDASmpHmxp1mEPCvmcEAln8QVHDf/tZO4tZi/8PjVnZNfi9jHYGVL7iqqTokDjxww/pPwlOg5M+75OMa5L6xkDdsRFijFVzCmeOxfIJm2D8vyBvJDxYxWVAcWIXsDwqp7+5Clf0jlQicOSDzjZvKQ2YVfAVlL1a89GCTaLrRFpxGpookNJuhl1UY9UJqbXeiFIEZ4Tw3a1A/49kne74odnIevds2zznmDmnOqNLkgFxAjUevD0gAHyZQRChojIEFzVWLGEyEYDefc5UMFjJYjwAtTKeuJppjZm8psPAIEHKoW+Y4BEmkUAAWWiQWQdrohQ2kv6FUUTqKb2VX3VwhmYn0/eLum5S0fAvYAgH+Eg1vs5wdpmM4YYZznOmb+KgGjr/OYCtXtH1h54+xHqD+1fU9HXmXT0nBoJWRNTLrUaLj+GMOonLDLf27G6HQmMGFfj4SACTdISPJdJ2Jg5IV8gtiAiyt05jNR1gHL5MjPAou95r5kxFQYPoqho/aPaF864cIEOYOrh6U32BvJScHbBIwf5uquP6J/ju8b9YVms82xcRdpGi+Jx/bhCXIeC78PBtyCq/jxIX+e8e4CT0zPGMRNXcOY0Vi6PDNYVDhi/0Gg0L3r3FImms5WW0KZwyNQuO8Wn3+PNwmuHkvrNHQANxaeQkS7KOZzMVk0DUWTEEAGIleERFdWkZ0Jx5Mj4/2RRWaUcE1Wfqrbz4lMFiSTaNl4SvpDKgpjMyg3dRa2HEJYwG767PhYb/uQodtN2VDsChCnCgpgmXYZ2WtFIQ/PFDpeXhKf0pRxoyrdK7nEV4B2pD/MdQeD8iZRPiRMukCntrCEXwoLFP436xWO3cQg+ORkKraIquvroNmJTSfI4epnUbtxre/GfXdmJgdPnGt+PpGKApPmHAhHzv0wBzoR9dskrdosZjA3Hz0jUEfEgcJLsdjvRBcAh6nZYL0Dut9RDGfrtofdrm9gQjEbSKmhxpnZnjTMZiIQ47fO5hUwK7+yqX3zqJ2YN8h23Gl1BZTYD9jpGpAx0TX8prNwzshx6TEKflpfoP++qj+qdrB7w9b8buViYZzBulJv4JJel2HKufs5+w3OCV9nUI646uCck1jXtkcwOIqsNmdBEnwkOGictb6QW6jF6hGpNyDOfIZtgz/dLcqWneQR+cCRix71DwUdRDW24U79AgRmgO+u2qtv2I5P2zCh++lXmGmjKnQCo0zWpy/7Rsog17SR/IdrBAVeOzaZ7r+wo+LqzIXxJrBSDxBWqGJeXrAila+d0jok66h0JYprasdeepTLl6BCOZQ2IZga9NGFwWwNrkdvg+gGd7c+H7EBMT0lv95XvUvhhAi9JSQQ3N4gg2e9mpn6CYpTjgCSbevIN0595D2NrU0y+R7Y5sA9MoQ7V6BpqhnLS8aqZmwVwQ65jaI3nBJj4hMVgI8FA/koGYZKzJh+VCPkLMjD4xlkSzJ1wg6COKz2EKMo3dBbVACQtOxNFnM7TYG2fAL/X9e3ahG4AVFOXIyZ6gfH/Y6oTT46ENXcDD59fnbTtZuookKgqzokv64ryEQhdEQJpgNnxI+KwPvbSD1k9qMIpsGS1pBAfvfavbK/S3h0M69STX01QgRXFIrZJZFkCFyhem+Eah9V4XRcUePAnsXMe6yB3DYVB11+tbYAYh05jyqjcH8dTGPyGRxyye83r6izvwetI5LLvhq/g6Zi2aZPP7DzePD17CbvR+WNTE+AbW2COpuduNTO/aA0PqeoYr/OV752sbvzaWswHIIL2gHoBI69xk8GbMFJkEXvomIPOdhq3oOIMwcitbDriDUwJdGu+Zhj9mE2lr7/OqIl7gxxF0DwWgNJJ+VwCWw3S2EqOC+o864QeW24DBVDrHTf3WLN0rg9rYsSvcBjuBT1/jSc3v/Xs2cU/KKchVG7Q4NBm9G3uVla5jgHgKFHrsw5ryGPfH9zpkCwepqC3O7EqRK4aTximHPhcGZlqpOi1tnySdfHnKwrLlpxDWySvDOsJyJA/f/F8KBjn/1HsQSbGgx2FrRLGK+m32NHw56zLjSIUF97vujBHFc2YDfJPsBNn4XaVKk0NmC0jyF5apGThVfuMVz5hhZq8SVV5+TdnCo3hcbBtKQDjqv/KqduA9/CiBf9eoLtYVGuwbMBAQR8UY4C/BhRmR9K//72eivYtU+KfjoTDwYky1KMAyfJPsE6qMlF5WYtUirmlZ5PBoqliYijTDNnnVVuma/qaVt0K80gTSFnXQkYPSBwoYFIsWNr1MkLBY/X2egw5agYRsu8Qe9P4Gc1+A+Nybz8nQhUcR+qLgqQ4Wv1r5bSciFxhx83v0hrn2xjCjule/TxMVFddoxwRg3fmQ6lBYfMIr7izoxjXv+CaO8co72anpfp++30oSaeP6xk+dy3rrQGJXAthxAzjXzaoXpk90tqBzCubPlryOZtagyIkxa/Nb9ITsatSA4Le31uGlDpUmyCeptj2t/LGxeC6NhhSjMqAhYtCyKOE0KAsH8qmBmLGvZQEJeF3fPUCvwFGA1wPpzSVkFNq9T/HQy8djcMKOJCyEdA6Gg8FySqoOwtvuDGorxSsMoEEzKyK566L+EHOUfn8TW1ebBsKM0/dR1OugsWSlwZu7NCoAol/1PKHNuElrWdLxL67cAB2sV0uvKRdKCY+23Nr5nhBRXu9KkdtNSqEP9pYXssuOXwxLcbOUVTnlKzFO4zSAT/ePyJKNuYuyyg93xieI94o750QRvAVwPfNMfCM9dTzH/mw4NEwY4XphY5bHPeXbDCF8EE+ofzyLNGo/x1DhiMm2fHJmNMOwIN6hbuw1O9DMSWTakoifAA93vAtwAXj8HJ8GewSpeFt/hzHW6JyIfVYHNMRcCCLHthzwosKAUIThbCcmm5YTcRGqKPyDBkAAkmCwIuFcEDINqs8M+uleKNAQtvcLYxKXXC/lX+HfiignYruPcxo/JhY7/8/9SGOaL+EgZ27z3B6re6hwSwuB4ZwXjXE1KSqROwUzdc9kCgQSlA2bbfBJnF0BqO79p4wTFO4DdCvQjZgHsxzT5Fz0gnyarl2EZwisSpi8JD6ViZxBN9bvMhhL0KXHDwpn7DNUrO/opx1EznzQHGvAeqXSN7XZcEhflg2IVUv6c/A+1zBGc1jhVN0FlxXQcTnKXwdMMT+rZD9TatRMg4mwXYrYrpf8bASIuCscwkkAQ7HVkXjd9smuvo59apDaRwsT0hlWuqD+i4eNN9yS00/6CRIakVE0kSI7DZeTbC32AxOK2OXBCB2OadJ1Lpn1dtHu6eFth/O3ETeO2vHD9fkKTbB+A6GBtf+X3DOy3NooWWD2Ron3ZwP1Swj+dmYnDKmWK/W7b25Aj58fN/q6SeXcdtGWZaXCaUqbkdwYTzghflRHEc76oxcnQVNLPPeqz/9YFWN1q0qoDfs/j1wAa/ksIKU1ti+w+WNivC2QMNmaZEc8NWBpDA1H3mLrQk+4hUcch+8rjJ+L6Jpy+9gu4JNTRUiudq5JNqeU47ZjuzGdItjPVB7vfXvhFLTuyp7s8zmf7RlV7GL2EApgVvCPYRwjFl0VUZ00dX2MoatBd0TZtksvOAREMg3z+t7u6XBY/nJcqEEle/seU453gxLGZeyU7Gczq79sF+SeO0EFa+AG4g7+n4ifcQOcQekJQNpEUncMSbSfXykouRGHi/IAgFTGomw+xhCTQx43lcxRx1JtvGmdyaPcrQkXecJ9Tj9Hiyhuqi+hjgWDIVrCL6X4pKeMzkl3J5KU4W4VYG9S+srLLkPcDF552D/v/DiRe5d9EQV9wKZ9udZmRyLkbTjsDTpq/jWuOmc8+mq+FdsX2+BDfZFzam22ihRXZekIC5BXgPCShLtrr27Hykqmcg1MoR4LOoeQfRXNMsNGELTlTUriGYukaUdU1oYmNMh2gg2QxedVcFwpgE1EE/0G473W4D/JBlcSvLojYSMLns4qqyY9uUYuQTRt//sF1Lf6OepVKa6XMpgjQ2M9zhwXgMWfm5s37RkGYCR33/HHaHbsc6vd07NYwl410MxirqxLzGvSAiqbiKP6AsDYTHr2zivyi4LOPt5ie889IF58Q9nZJ8dVCEq0H5TB8Pi8m9A2F/wBS+7lw1xosUXF6opY+TMyl2aF9op3VIQIlE3TNPDmynh8d+ZrFIRZnDCcS6srh8Emmwc2EAdqxGsA357N3JHkGuQEa/HT5aT3SO1vKf5zXKlDGwTgZDdFQpWyEDjVbSZv2avSYwHfvMIevJuFOwJ5gUC1H8+Y2NSdPIF1/IMmv/aOsLd0Cn5OGEF9+D3oRdefEtKE9oy9xBF6yPn/c8Z8Z0EjvblPOcZcYy8xTwF3YkJ7jFS4MytIl0GwYzS6W7wBNAXQpNTHFi4xq2RzHR6BdvGiq9CwuvdMN7xIn1z+LvVeogYJd9W1182yq5kVN09HISolpi0tvDV53NMzRXX2pvCR3F3XsU85He7IlHjtN9FV4di3rSq4rf6kAeQUQcvOJbbQs3moBx3O5NeS2b0lmzr5VBAi0HnxdS+PWG5D92YKFzFUn6HwQiEVVesf1NxggD17vTpC/R2cu33klazvcSvQj8kDCTT0HBuAzFViv0gXmO8t6rYBHFgZxEa0fegPFuWvnht075WaXaWCM/kRPeSbB8CrxEBwp5zLFPKSkhiBDCL0C+QHE6TRLajZgYpCF0HgIWzmqBl2lysKbIWnxcqsWkFta6RO/9ZS2e3FA6aNcr2ko02525/W5OkltSEsMhf/V5QYWr8hL+KtnSqe2amOJbw6wwhDEip1tXJf72BPTa5iuxdz0Gcd86PdV2N/wZsXa0yIerlwh28IISR6Dn5XSDxlT5RTRb0MXJSIy09Su3JSU/PRIZC3DGj8yXC/jBkFZF3fG64GjfdyT4H6Qjh7Cnpbz0amOMAPiWv6JHpVl7iLsNJ6YMO/YdvLgcubkdBubZjouMIUqPXVvQRqxE1/cVI+aABF8xXUNo5oxdUMto5flO5YHaUpNKlV2vIbs2ZvZcyLSi+fTaycS+mjLumUmndhVRQUVzfg/1w7iRzscgw+JI8wboZT271J+CSWbf/imJ5zTHpr2JI1XOhuffLQORtMouX22d/ZSmnmizb43agigMj/b4Lo9llrsFh1UfBcFRPT5qWWCFuTWd5XHSsnDSEZLCna8WIu6s6Ci4MElbWLqeal9EkI8R9cOjxBP1DEGZMpDkE0tYQ+U3BSKFUttgDQ5Vj9P3mY9E8HwYmYin3pI+6Lw4Er57g77+g5y/n+gDjZtx4vTT6CI3uNuU6frFKzQk/fJ2QhsAAccHpVzCvHZIQVaCI/Rk2WhSdIy1BST5QP+iup8B1joVvoiNOGM+F1mY4FJINf5tMArbzg52turCHQlLBE34B4Wq0FcDd4SoLrp0LArZKIx6n86zmM74upS0yaExNpdtpqGgSCjiDPSi0PbqdBNVgIncl8DRcHp35lw1jPY9LpMpZq/c9DyJlgU0GCq94IhJlkukovVyvPneP3eddcCpY+rpuI+4vu5aC71vVbngLF4nyUYfIib1FMIQUYEXp6P0Sje2PAGXp6USLe3Mv2FWQB/yQKbXxaEgRDS5MGF+P/9aR7IAatWF94vmzJmWyR7uOGGmbrIrcGaKFg8RI14zW3JHUsjZprHXC8NE+oFwUOfpRhSCETgABb0rH+FPZXLgSIyLudU+7dd+i6wtkRYsf4JpOXrs0b/EVU7yXGmr7XDvBbEJYUmj+/lpHeAaCGNL3B7oS+xkvem+XF7GmnMWBkoecIj8HM622311V/Gl5G4UA1QLjwC1zihL3Qe9CaJS6Ho8Gfc7t4iYn1kCaMscDWe7NtfXYt5SKeqeGCVfx6XxNfeKP9ooy3zPpWpdoi5j5iN1LfpJ2akLQZaFerIRfPVCtF1OrkegISCtL72lrwkIHdEu6c6NwS/Ja9oF3iFvUx2fGyIC3f7ebf7nsODfjNBpftwhSc0Os135r6uG2IHTJsuaNIvcm7eqGAofYA/LxZhQQvscsET87zEnwVsHHOVGvLF5kQG00sXACXVJ502AIlNsvDHu6XgAkEG0y36YmshZ4bp/xUzvPv2Acxst8IzDv0Lj5g1bsMGNXygvZKDlkC8nZL7azNvQubpOViiLFzIXKg1tfrV8bY3boUl3CahKpttqRWWqbub4f5q0BLE7sv0hQyL08jK05FFZ6+1g72r/1PvTc7fVTwNaXYE+MV85Zb3gQMr8hqeOLVUWmOsz8Z2qQl9Sa/rXLN7CES2w6VhyjWQC/oeICF7LmYLQ6ZY7/Aqv8thfp/2PeWH2DxytTng+V4FwxM14u5ekBmOm4VoaT8KtiOMFbvapeZHAU7B7Ke/K/zX9QG/K7XpYkmZfM8z45zN25j8eVwaU/OnXMY7ikKLUFd/Yi88K5iP1JOJ6CmuCM31qZqzVK3uuZH2c3XQnspdTQG7WOVKt7k+LEyiLm5irN55eY2ZfBJsXdxjtv+wmBBeB3C5kWJNM9kmPuip0uCZEjU06D9Gs06cgcWySHOXr2AMqBnXwiVzIZVnh/8gCmBQcHoxfWqoTIMFh0kEAsvgslorALIkpadHFRXhfodRjdTo3EZwzSYyh7uqVMDF97GQk6J/4chIejZesSvT4wmp+wHJFjaHUb+Gy3k+ObcMKNsCo2d9qJKeSG5QpOWm6pPpjy+ROtqwZ5W3iTA4BeGftnRqHWr7clf8eSaaSeWzvVcnrimTNYTX6qwPsHVHfkLvJcSpEOyhP/pDsoeAhrf+nDDWKdd8RyTb3yREoc7muWmcIFIGgR0bT8iKOSW7D1XfWlk09kFx7BKHOIDYwsfNciIjL5czg1n0n+R42ghnvoiGSjK+KYrdLK0KJ4p6DXj1Dtn1XkuM9D/Hk/7x2OluSAhdNosP21yVUz0xdrem0lHOFLo49fd/BHxPjiyrMe9suils9FygG8SZzd2THBLie0eWM2O+VXlnBpFX+yMaiLMl1t1CIomLJ2nMNEc3VWNF8P/NIeTxhxBHE/iX6Xm3ATdkh3yP5BcIlMlKHu2Xt6gZ3wrc5eYVg1xLjSnSSB1eD/LPCkU5whB28KgrOoeY8HSmvlEn9w+fC7u+ElNdWuQmFISSuLo9Fod36hj4whVlV+SpVMyDt/5WAQBW3QU4QMrPJmfLKP9/dKBBUMpPLlaVdVy/hAJy9waAf2O6egvuzblC9OUsREACyFJ4rydlHiXt3OEKDN3olefe3GYbaLc7SM2NhrxQUl5l6GD8rqBYSEJ0fHUrwLHIJmR6PmtuJxgANAYVS0e5Kxx6g+whhTwMDb3QClaUSRY/d6Jj+SansebLpN0GhgxTQVQeWtzPDzNeqL4puGvQyQbkloaiyEPNU+dCKej+IrtEl1jxy6SJlcGWEzbAP1gU+pGlqEJ8At12MkBMiqIG3K2OLBj+c5TN2kIqpAfvDwpEZ/GvaMy9eGxs0CfUjZtMfUBJciNTVHQy4dzC7QwVIatLTq2sffO4a3q4SadJr7b0F6eptAYQpt106nhMAyiEArx5IX2PLivLXQkFZ4pmoe0sC0EarHmwyF3aN6OlpttqX/ptPqQDzQi+FdBGuEbJPKr6cSGlFgHs+wuxgb0vujeWpIUXrCyZ9KhQuL+XrjNgqAzyFq+1dldpT8N1BrBTvbpuNtGLMFglSj3fiBAh8wH80mbOiItvym9F9EZ+QCHqmVuXuk9B5iqTD57zYM6YbDCuYJ3cKid8EOqlLAAy30VDfXcrkI/o3SEc8PXcpTtUYlhKmoKAfOEP5OoWAybzcr9LxK9WqHASBlPLP0ot6lw3PjFHFdaDQt9+2KepjEPHigSKahSB5BpQmnJ8rQi/w8sfD5QNxM2RgMf5gQCJlqhz9TsE+iprCnkAieikBDFvaBqvja/uVSrGNkD3UTFRu+kbYz0sfiVA/4Qm17PRBgTrKUWPJPVOde5rX62HieJ5WPTqUB7B4MrTkZTWN9cdNGpIsnOqurZbEQ681/ujRmdijBPt8Zcn4c1jfT5oE/fN16bf6KWxLvLrI4Jl+K8IZMHU2ujG9M3Xsyq6rexwQ7JmtUENHu5zCmbhCTDksPkm33/PjYxXZN9huxtav6VQ2Yap/Mnr3dFWvvzja8aZUx55qeYvGTxw1FXouMnnRDYG3qyAxdHg42uxszzdTnoDI4LjBh5n/5lD+qyuSC7hroz4/ZOuBc5V/vOLlCZ1Ae4KmEb6qlYoP7FbRIm7ol4jtmdGSaxNsL+szcsbQ1o6916YhTSZ/uGkhratoFLIVqoEAIEfMUB7Wux5F+RT6vEIraXTFsMzDEJpG1SvhK/62baIguQh42C7cHkMZMxMN+WPduf+u2k58LDm6ehX6Y8BhS0egZL1hv2ccP+JCqbTjNVV5Ut6IBsT67fTR0+IDGLKtNBaOqnZ/nibIogvonb6h0ZxFCkTSrbxF9SZRud0Km2uiUsfy3uTjTTytYm0vZM293FS72mkesjaLE1NVKc05JjHAb838pcygGc9297HV9lNLtnsKCI1eUwRQl+Cx2KxMEisbBcdGZ5EGInHtp8nxstrAPLflYZ13U2Wl7mJDrcKQv8sm/uFtmuvuJLkEo1lw9M/RvTGlUUxo2FFpXHMOLMdS46lzOy4IcG97PjfDGECEQYSubM8EkgS9O2ba2aiynLm4IrSPc8i+TlZitF3LdZqrRnZAa0pCH5hfjCIUKlGSP9LJpem7X8lSHQ69dOQ3x2f4Ron60vCnarAoumnwRubY64L8fa+dDO9e9xYAms/yrK2xxxVDpvrGrEKtYCcKGxZVMDs+kHPZA4qQLObAWGgwj5zoYVnHAM602BGaD3165yW9E/1TLD8gnxUneL804eP4zA5dmG5JU3iMpmarAfqJXYatfaSs66gh13duZhJH0LR7U0A3vkKEK5bdK2hJnBFngmQ3ebYnwZyDgbOko0zby3sLtieyzh30F59R03fT+jH/viMwClQH4mNTnhV3HhJgFWPJewVZ16hzbJhiaw8gENqwtYT9Ah4QUCwIVkOp50J0oLog2PSRYYBfFG0u3/sw5caVKehuzwEQUX7Bu/zpGkwHhUDvNGFACxDUZVYKn/ez72zU8ooEdx/U20f0J+c2uSDVmCIOo87V9aZ24oRRvAmw2SpAxeLxPaUG7Py1ZrPgUC4FcBJxhK404QH/ZBfGhXEhGQFjA4152/SIaAiRYlLqdYKZQVzRTurnjJQtJl2AeC0Z0DVLmOFh8kRJyJVHWaVtv69YKGemsvpsiqhGOtJsqHuO1DPjFYX0+wRqgETPY9PfAbFeDjRMtfZ9lAxRaKlSl2YHehxS9Py4ieokiTyJ+lb12PBS29HeUBopAmOK1NhYoKUzGogNOCyCyQuMs0URoXLVSt1lA+q3TyFsujV3JIySWgY1dJdL5Teie+xN+WLF6dypPHqkd5RT5n+QHRTsMwMWn1iB0oGWz1kdauJHY5BJa7iGMiaKju5qTqrfoOsxWG0l2TX5ZT4S/ifCTdutTZ9r27gq4+L35Y7qo25oQie/sZ7POL+0x1vixPxLca73eozbSr4W93xs0WjgOCQFucLwx+HGi0/kIDq1/b/bMWr0uQ8ru7akkdKBkDhTkGq9ez3Z7FedRFErTG5JCLoBFgQ1uRa1mnzFHMgHsIfAH5X+wPZz1UzOWpUqUmf4uhTrKV6HQJw+yVajDyfnC+YwpfsyYkZds66wEUJOaN+r+ETokb5vy+ZsZHkX3LWZvRJalvANIHqQvgz+KXLMp8oyx2R83f0PFLzMGzjAtNDvC3wMAzQ69VVgOq2Pu2NhSb57rfYX0xP9wFmfD+db4qfdLWjjgsPCo4QO4hO7lit/rd/OqU02Z0aSqLeRlRJ3iep0dNF1KUmALWvvTrDvH2tcfLcg6iqjoj8kyl0QAq5LPYLIU7P4/tLgNREr+CTtYC+7ut2W745DWptzSP7oN/behJKSkKLKl1LAs8bPTiTh9EV44oTCkLrjT3YRPJuu6TzKpN22w0bL4efc+YKrYcfo6NoR0h0GtXvLIIVYYwlJkPd3A28rNre8FHvSW9b5XeSGD9MM6wgduy2j4YzR1pCkyPDxsRymUkVmh5q+nkHUjVfRQinNGttOJbbRIelwi1qYurLWj97s+LyHXgIq0lHzOFE11O2u/f8ddTiJd2Q4GigvYIy02qOjuDZYmriwdJ/qKgjogKpJnNMi9a8gQC+7KBlEVrRMhpuEefWwzcR3LR3hmLz/g8G7AXTY9ZvPJdIs4Db3jTHy5IPsFeLmgqqEuim71gISGDzLWnzm0GHBx0r0QHyJMrZjDyP298CKbAmNrJ1lppbY96p6h29t5gb+aodSc2P3ZXqmphvtE+F1zoLLVvhIc7hSwSPN86LJA6o12y2vi3s6ksA1C20e9nAoKpcdnlCkkAeBPBKab+QrUYFasvpLbNzWWsOAXs1mxkBZddlFVzBKvAFNMBE+7oR6Bui4ief7kFQRAnOoLqYScMz7dRFKJyX2kjXFc8SGUoBQGx6uplx2moq42/umsJrTxFkSKskd3rHc3LDz+kjAG20t5bFX0Eengmyd+6sIXRsDiTuAhdqt7oFyh97bf4vmHmKOSzhjVKrYBKh8OgDnaNl2ntQABFU3xP/dawX+HyjYKHhGKMQC3sNKTEuYPsDUr4bex2C7b0E57GiBoKsR53YF+SLm+JqOqdt0I3ZObWtvFgCstHR6P4V9ugKpOwisxwbDgjveM4Dk/JqFCQ6jgtJ5S2C6gbUzv+y1AqOf9nnHGIWvL4LPCM9+aXXTTLkGl4x69jaQX8NJt22OihJclTiSFnD29mbTzgs1nr2LT38bGttAWfyppCD5WeSwi9XxCJJ5jiUkRbUuZH3zJaPe1rZNFa/iVZu5ULgYrWvyl171nV0JvyhLM0QvxBo3QmgqBi5O5eHj8OtePv2YsZ8CSqgC34q11oHxl62VKkes9NOz8W/qN1sQ2TDeObzHuZ089stsbyzszh0iIIstIs+VBr7LWE87I56fDek9O6ArDvRdhG+4DcNPqPI1yL9lNmrs7D1+QFUeP7DaG2jE51KGUjq0AiNtbjcBtfP7zsUGJGZ7FrAFLPWAM8Q0MmpxTpwGrJE43ED7ecwyZ9Tpr5hsx5cUj6+CN5GabEvseLuJjmD5AzwXwNq24ukIZOv7J3Df7zAUIwZmoAZE2qFunpaGXXBXRx0Q6YprOoxcvsF05Cg7eaCSTKmpq344iNP2++opzfytRmZ9X8VO8BsOAKAf6BVA4UinrxL+1Vqt1SeiTA7fMFHpa3tMHwJ2fFzA7l2fVoKRqRiK14VgbMqKVym8sX96C9r61vExfmnas+0b3ZRNPabG5yIFJmA5F+Zo3B/jUlL2E7ZaiYqNEBKjsLI6j6l5RGNwaFh67vAesZqKGKl2Jc1JLIan6yN8223xlC+N72Xl1JN1uaCq9LEX0Fzy/hVQGoc8s0OvhZ+JflPDGkYqRRkBFXl+cVwWuFgV1T1nwXfILfRXfW7aS2oh50jtX2hOLBwppUaPq+tXk9myETRaRDi2fQWiSpsX2ecWAnKbT+8alhgzIU50jIRe4ux0YEIawv8swrJsmbp3wDbJMr86fYMaqPJdx80H2AYCE7doyAYQIJ694CFKuvB8DmlUU9ILvflbbPY9sbktnaF88vINK6NF+OTs4+UEcp7POeUok5yj03300Vtb5Hb1A9c8bW/+j5tiLR7ke9hdp9i97FxuZYswUMiKFw1omkqnidYzzBXbsIWg3ZZmJEu71kMAWfcLrF6lmwebtCigMG9H15yw/PyUnzXr3FSyE8fHreuzWMA8F1mkYhMjPSbJ7tSil7hog1LanYRs7uDb4fIX0WGsOR+zDsTvPZiGF8Z46CpcnlTWbYigrXc73goh1iF1t0HBLfAtO7YMiSIzDnTO62VnMBS27k7BiSk8zEUlIcwp6ZsFBXWEEvQcWJSAsPa3JCKxb0iZVGXycOp9yo1khI7vN2qgccGYFgT7WF0h8fOExc5hoGU+ecKUl7CDirGpqdq6fE0+dTp0zAo/C13JG/q7P2dpUeK+2N64FfXxuUZnSQRa9w6KKnylFVQyUPZqFCqBtqgCl7DBJLjzIuDzLH9phksUJV/GUf+jcqjhtDAUXCq6ZQQV5SO+wtEPlx+jLtpQsvpju/MYLTVhboxjYvK7snjaSvq/31/2qryAzBjEmyNImJ63YkmhOPGgYaYAoblm2/84UxxhpDjekE9MUwO5bg1JlAPlFBVhiUzFFtiBVFjQ38XloGPlfx7HfLcXgyXQ3fJHKF7AIEpRtsxgH5+obsdUn6e9Yucy/ACMbe31C52Cy0n5xlDO4KVXsyHV7jWSuYMOFTMKJV+o+ldwRAnZUMTwV33SkT0CV7iBrVJXkFo7wFpfRke/4KZtZrbUtdQuJ4Xo6Mws87/NWKLsjU7zswwUutD7uzx3AR0hXA+FMewymCe0Cqg9ek2h6yEjDK+N6MizEfIzCkTUXNcoN+PBP47skz8lbJ6RqTi5+M3FFBQTB1HNgb6JhAHb1/uGghB+rbmJnRrrjA46yhgSiyVuoZioIhfbj2FrmNpxaBkE1TR2d6z/oqJnt45QMgEyhdCzfasifUHPqkCGQyIuhCNfHYP+HElckYRx9VUcTxBB3kUCIzy371NCm4atVosRrnyGu5AcNhOrDFyIvU1XRqkyyOEYWnvs4cNFFrgMxEmP3/1cgyrspn6Q/WgI1PbrUJ2YYUrx185gxhUpXgyL2D64qaojoW8JFf3tsI0DrdPABnsocwJjEZ4Q0qjqqSJOwTk/Gio68G7ZHChsFLEmeyYJfpnoPa//39BlVt3JPxiawEWbob6RX6RpKrCoPvmOHk3ZLLt3eiActpz6J2YNWQJ0zigmd7SmFnVbZ96x9pf1Bz/QP+IKcbFCfpbe8FUCbKSppxO6jjMogcC1a+QsY0TtPlitOm086nZ//t1J7LhoecaPwVHUgDjx3ZnwtszGqlIb+XSQUbmjg6ViNkVZJETezCQ6d4CwEDvO2iAOkBF6H0qh7LJapJgE21Bq68SOxkj+Ldw3Q17azr12T1YcxyMoB80SLB1ZHS2VcZ1EXHBHnTm2JePfqCbTufMWxVoLAPeTkpew5tupkOv9KTiblo0phKs7+Y6BEowAZl2aoyCAC9W0OUnuHWziJc8M5pbfh952QFG0GpD3auecqxliqat0wOG1sVgPqsaa83gdxYBR5upocbeXyLJ+jAWomsz3iywwV5MjiLyra6TFqVelJLCY76hCRN/I9Kpd1QZ6mZVk+iRUwPIoUCb4n8uIAatsP2wMUGAO5EY0uKVwZvs48RpzAY8VaHZU9kvLtQ4NdQ49tVkT3sOhZfGNC/5XL0JKLQKJJcg7fjvpZ3f0e2SoBzZ2/S2UvCp4VGJr+270WGLa9mFhSYE/5CbMUwdyjkCTOqzB30fHOuD89/45U10KgN71w9/sRd5xD7j3dzHcI0rAnIhfm2Ohv8CWoOAvr9Ar8aHTR+AL2pB2JknVp5j811NpOi7+6IbVD75CanqhQVdCW+F364B4mbuK0G+tscGKBflhGeOB8ErhZftct1cajlF7MczSgc0w5HaDNlmgwCZ4/uYV1xzF2rXpUo3a5Y10u6Bf57eaPYiMRizwPrSW0wp3Fzu9DUrDXto+F8fSSz8Va/Pc29d3/ZKYqzIQ8jNG9IYJNPwGO/l9nb5Hf2h3oJckS53VGu1pr5irlY7hnvFVwGaXzjuV7s6Uew9xe0+5xq545klD7MZ2ba0TsWsbAUwZtZ2UBqRJ9OQImWThvsxEhaxI8cxA9OZteNbCu4EhJd6ia+VMYErmf9syzQyb5sQyEFRvWJ2ruvagx7hg0KGKVSUsFFJrIIct73Yu+6akCNw9iG30qH+U7GozkVr1WtLCL522sHw2mTifVnyvS6DjYflNnpy0UJEITjOlyM3h5MXUEcI7ls5KkmPZiMVaz3Zer0tBPer5Irf62cpgYbN1fQRArHLG1zRS3+JUVqQ26K1+QPFfNDBtSloFfKDG4N8pNuvHsX/AMTl+2MZWeR4U8EuAOUFqC7nlF21Mvs/OtmHa19eK12tpqCQLE5DCutQQCTbX7LIIeR573KYSXCcpAnDVOwC9OAYP7GmY68Pv4o+IrFPVdogx+wdXxVWL5EEN0AXhIR6V3f2T9HfBjkMA4ladFDIpJxQl/j8JIdPE5M/dP/1vlL1XQAi5WKZl8A+57ewre83CPCEtd1kYKDsd/NdVjEcO3ll4i05M6hpZWwJNRRCmEIR8DMv6eri99xJSbfv3tl0Zp+jrA42ngsKlxBvU6I3xCwCyN0hPBjL0hz9PEglqAaQbsP3Rys6eKI5dmjkw/bHiBlAJk8MlK0FPx51pmdNdE1VKO8orngP1xFhzZNrHJZtZx09qQ+v/h6ZQba+R5RpWiDGQ1b0PivezheLC4WPpvrT8VU6fiXPI0eRkg9yHhgSlpGsCZinsL8gfSs9WxO5krku99EJIILH1M4CHAq+yS9jqdk+j77YX8uI780guI6fcuYoCg1jPRCSU4AgUOZzhmQB6DEE1opaj5Nlp8pcW2FnAcbrE/SDqrKnAON8fxnS1RYpMJ4ywelYgc=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MEKKOCHARTIMAGE" val="FILL"/>
  <p:tag name="MEKKO" val="MekkoChart"/>
  <p:tag name="MEKKOSAVED" val="1"/>
  <p:tag name="MEKKOEXCEL6" val="False"/>
  <p:tag name="MEKKOEXCEL7" val="False"/>
  <p:tag name="MEKKOEXCEL8" val="False"/>
  <p:tag name="MEKKOXMLTAGS" val="1"/>
  <p:tag name="MEKKOXML1" val="4HooU0THZk28POP9trq+pbTvvzd/gcV8t56cq85kb3NDTsUhojRA0EsgEHHMH7oYP1SYpn09ysXVivguJdhTvfyVMsBLTGvcX7WPTor/CmWiWcfk2RmY+GE6Q6T90sFUz2dD7pS103gZfJ6l4USC3jqtWOPR/ue0umjYEY9KlLthURXCUyUuZbmGDPUXB2idlVQc+R1c0j6vNnMaKvr/AhH9HB8/LZ855JfBD99YdmKGekwtu9yX7l3g2IqhHppPUeJ2kp3jtNEry+0FqG5DpxShlyOhroc173mohSSY6yd9b+kTk9fiibtialVKCL2LppoEyY6dT76orkuQR3IRjXONL8TC0wSddYREjSlrWusafRbQ4SVWKSFI8xfa/0nsCGiJ+3KAhXqV7skz8QnrKu3Qr/QQ413HiEnbbZFR9uicKISIzv/wMWpxGdQ+temUWNP7Byn/O7Mw5hyxYC0oRtJGxoXrRD1SjZhyHVzDaQK7/2Q2FfwifxrhEikLS7KVzuDDlv/D1mPHXBOaXKeEBRg6kSj5XReR9wmn1qN5XdMYrQwHkanzhgMhD9J0TJwJawxK8H3Af6Kti9EQ/WYh+vpzqJvvZuFIuIIsyZHGV8Rp2i9FY71YjwVYHShWi420EmP8GjxnuiviVfUlLa4cB7B3Ds1NGAjd124D++3FVD/4ylNiq7Lh7NDKz24+b1423slCo2Db8WNOAafCCkb9uqXm3dOyKNGzsESRDvezsem372pAN6QCTchxPiToxSkjEehBsckDemCCi1Jvf9sIFkbK207vqotdWrxlOuzkJgvyc84atllN84krFe5ENjwENnMqwjsd4YbUwNqpB+XBkkKxcPuXMb//EfQkkm7+2BETcByTWTrJvXBBB7xnZnUikfOgLGveeFTQjJ6ITeud6C4wBD2TWztgSU8FY+WoufZy4cC3fVJdzH7NXQfC8Khra0H/fGpLmr1u6/LXiVyBwP0AH9PWGER/NFGk3efUBFQm1n0vH7GMrWJnKmciwchMZVEiWDlGZHRCyJRjWoEBab24ub8g5rfC0Hw9VTREL1AQvA6bVxrxza/luim5I7zW54TFZOhYINnwzQ2wOIJHQo1ZlVCbfWJiPepnjKepVO5lYGFnMXmSitDITIhg6Xoy2IAkLlQ/Gr656wsG+B932x64Ll8vM2neord/3Xc/WiMTRQGN8PXdSJACA6FWfxZpmziAPQtjT8JLFYLbgVxfpF7XNWW1UpZVk8AXvnP7KMSPz1j/x45wNFfvzHShPiInOmydUc+NYBlUXWdrGyetq5q65O25BpZUeKf3m8ZMkzMgEEDcridQSWEhTIZJtQnKjAA7EsyDZb7I/FUMhUWTL2YEFEKXsVJ2L5fRZA07WWsQStOePMexd1AhVNqnA6zqSTq7xWkUYqEB1LUSefzyZInJEbILuvrm6GOj1rSrA1+iFiZfhhvgK+FnTgyXknvlD4w7BIF5+pAOOxnWDXdwWFcklVSAbvxiApE1dN12ZaiNX79cFnD13DF08XE+NhVhrFxN5jB0F7vNo3/n0KEBq+zIV8taI536tVgQjnBPJpZbWFce8pF+P4JHPgYiVJJtfiBMQKozyXy8wk71lVSY4x7qddGXshtK9r4LyPb1iEiWrSNLnvuD4jzE4WA+apxJs51hxl5mZmRjczkUtDritYAxoWqBmDIoOaG+rY1Qkhmo1r0Y7adlHfxUzCQRG2J/NaMDd2yjMTtKBjvPtnE7UwrierKRMs2kI8FWOF0O3AHb4gWoDzyRvbolDHAF7dLktSD7Lv/fcVuoVxjiRVYs1NxyMryMBPhkRidavENLYG07JsAqtSXBk7ChFKhYNFfwzeMZMpQmllzC5BnNxXsj4YclczAvdZtOD2BdNJsQqeI/FmSCz8X8XwRP/cjxZMBVWqsMgMr/72kg7Svqo7s+xkANZCbWiprcnqyX0n9Qf4o5rnPu3yrTwwjB+OWndu/oJVidxJyN0Ctl6tnqPTDe3YG1ttfs0n2ikQ+Mcuw9rKbYBYRnykmtCravlElo+zK3/MaVV+Tw6iF8AEsBczUAUQkHSGn4F60YI8amK7PhIjj6LRE7Tv412jjFQEv4F6HVr/75cxIJ1uZQLE9c6zqi7NvQBYhKL0A96VOFPhEWSd9FDgkpDfTsYmVQVd5sv11oy0F8UuYZNiMupOrix1QUbg8j7ySnOkqsKPaFb1m5Fd6yR7xInK6dNWBkYteP0gXy8cO+XzetQ4I4Te0hWK8dDGaj3RC6ngd8kDBGaGraqXGHcSE6hA7umV3wJfERkB4hDqso4rzPpazF13MCsIXounS7Q6PCQlVidlhlFfvP9a1ZeQVacqDFY2T8zpfIJ+aARw3LbsDuBOGTgaLpslMaB/yN8xNU2UWr5GUCCa5WvF8TXI2Sudwzb0kaBUGrUcFDEL8n3o0jNqQkfvqxdq5YULpxPDkxTlg978bssZ/H/zwfDmMwDmiIUZbSc+NPoGe0c5p9ASXcGYHbhLMdDgLK02FNFNPsxnnzYIHn/wjEPvhiQHEN2W/tRKBiHJxNgsnuVPnQbDRGoQ8QsU/UO+xD5Xib+kZ/2fuHxj4d/NRC9rbnfsLPbzRst7eM9BpOMtHUUUPOsNa3Bheci5TgPWZcw10mRf5Pqztg3OwqGFvItMThTE/mIk5rEK4m4EFr02slNmCaIw1RfhQ8Gkq0gVFpw3VWhkXecCWuudXzWWL/CSrmXcmxQjsYA8U624sETu2LAuYCevnBaFS6VRMH9zy3hGQKIoOBdFIu1wH76FeaKnGBMskrPadfFYFgShs6ua6TH24oknHhjQjhVU0Tostu/g8rGOTUdZPN2SmwY4jS6YQolYSvLdkFuDRK629ypwBwytg6c9NIK46CViMYFO8lWnAU0TnIoVDk97UQvBWbH3eSI5wWSfiH4xMZ95jeYr+vBdZW9/ECTn3JFWW08Hf4yH2AVdfWzas02h3k+dZGcIk2s/XVFjHUE+KBiQmhI1jgA8++uB7XjxKL3C5263OiIGymxHh9950m5KiysHGyzALajvSZlz5hdV2ByvDTTT0SF3zhGSZIuCS0eYXVwFiMvxA6lOTYenx9ZJpMF41wBou6a5FXrW/OIhvM7GH+jkFmszGv3KB2giXI5UcZcXvzqfOUDFO4odRY99HErHMlyZCuZQ+kyScMD3Ngu7uPobApX18vhy01f+udQGsKKRWoHGq+CjGjn80WEE67+Lb+0D4Kzkl2x+5EbAXAbk0P/ud7b7l/Pmw82U+CeIFfBFFD/jVrKLv5Ocsg6nxGOfXGHz/mdCCw9uBqhwbx3Uz/hVr9FZBTAsUDL3srkyg5EHa9NKvMcZdnNkAFcwpLqHpA0qI8toqc4wE4yMC68tI8sXRuiDCb/6Jc7aTf3aaYRC4ejVjEUHDDIquapM/n1tbb0CqRaLNzOFM4cdbVYMHDfbpSONKtcrvgXDHs3px8O5vcdZWWUtiIAQyRoG+71CeuviAdOOYm5ksgz3MVYCI83wE8cl2e958IpIIY9TIelGLONF6AhtYnviOJ9zn/P64zMC0SQoMF1sX0uTi9IECpYmtKHyfygZWPdhl9WEe/nyEdHPCE9osJdtmyspY7iWTKIL8UozrRM9goIiDLWzJeIoNor8nbSOvC+kqaZWhfCNgNJEVzyTWC4DvtSyZqmPVEpmJWMJWBeSN3jZiKedgEG6skuhAmQrEd2jIiOYZwHJdVeYA1VmAcZ/qTyzaXmRh9qqGWK/T6G3Mvj93arzl4/VXcaRDIhoYTLI5Q9wvngAgiH0ZBfqneuhnJVTjiSbVW3qS3u45vKQ5KjxGDsVli6lieVxESpe5rcPDPfeQVv0OJOihPLnWKk9XOayzshlz3x6u7mByJglNOk3sLMWreX/+ycpWWibCIwJTneWMJCbTZhP+fsFo5p6kX1J931/8LxE4NSuBmo7eS00sG2aZh2MsImKmZnrebRfFI4JJOYrOKstYRZaWmADGU8ozduengSBjH4CD63K1bajr9l9V+Qyl8D1jVactjMDuaDqMlC8HdcPCcv2jFUBWhuMYxaCBl2gv5mwrQ0Jy4i4hY9ZnDxBhWREymjLVvZh9AR2nYTXldBMLJUtaASGLEEz/3Ms0o606yAW83xhJOR1xDHl6NYBBXQrXpC/kam5qQuZn5FrknBehp+MNGWnbk4ST6ACZVQCuvniw0vX/Tatzxkc8g6tGMC82MRkaHfpBmmqpal/0TNHy0R7WoC1IfGPTiLtsHtZ4SnLooXVmf21KBiJpDj+xqeLKWMXIqzoExPS2q5yygHiK/8nrxzyXrXQlL8XNypJg0HLk6R4gMIqhnX32TxxAhzPwYNBs4BkDLSVv2g2hKC3RsujX/5cZ4zUnjiQ/xEM08zsLgf9X7PStQvL5BEk8KUU7ncEHAvu5rc8eiRm56mFzu9MqERd4K1VUwfBw5XtLo9rX6pGH3R384EoWRZxVZ1pBd8Bz1wHX61+Jyd1pW5xmMNQir3y+H73+6CbN7NxUp3PUzXIYODR7GCQjqVJVWDVjAgaNMkSpjDt6WR2eKQnOxxMgj6LaQxaY6J4/3fn0SlvX3FBuPMjzOun8UuYt5zvFm49rBNz9WRxYyNvVNWvOkm/Go1eg6iDuqO1dh5EhmOyD8jQaNJjTgcR2iEK3b/Xhe3goxyatqg6mUc3OBriutOdOojvrZcq7+VlxlAqe7ejx51/KXkvXLRLop5Ugz7JZ+JyComzmHiXDPBwUr1OOOF0f382qRwqD/h7sXntrxqW6G0DqzQ9XTkdKp8V+HeBWvlLfghu5/b7hwz0kKLurEsvO1qtwWicKaHv1Bzfv4bGau1lt1RYJnueJJVCsebmT1kfUb4PFj7DhCbriHp/mzatLzKKDyJp9Y8LidCaeeddmPANGlYOeiK5VXXZHGQGyHFh/WbQPst27WjN1GpFtVSGWj4n8zyaLZVUABlkk0USj45LlHGqRLP3HF2MCIcU8xLRC84oeJv2gpKrYeHTavMY1GuXdGU3PMRr5dKHH9HAxuBNpArMeQ66gIZHueQrC2cD2iR4lIV+/pLxBDv8cKO7CBYXOit/1U5Ahjky1z/jahABo3upGETE6dGMPoA8YdgVTZ+F1rvV/GlhQ8P/oL1g3KdoBqXvSUVy+40SeXZNjcAGRV0eE78OczuQ3DTIgICyoBZVKJElhRhTCvCBpyiBIz9dbJ5+Gy4CVdZlItQtl5YbEmg6fUbLGcrOrZbJKxX9iKGv68Ym97o7m3H3yq4+rMopuj4q55yzfbGztBoREIPHi2jYPQLNJpRFs+EMeqpHr6N2m0LLJIRR+EhpiYQPrvLtkWVIPGlkEdqjfvXATdRuym6JfZ0/nbucWDS6WjZW9HLFHXBeOoEY/xT88vWFUi3lxJUe8yVDrH75IR9O4cCgppvt29DsiATy5iz71Lo2YtEPB99Gdi2jYNluGIXzfTBgUYJfWvUKq0AnYW1weivu96j8b3k55Rcn5XbGQk6Mw0nF/cfQphZgeHNcfk9kD7LWfBqbwbfuqU9cqegT/WOrXYhOYXgVORF5ZlzyNhnfVihPqxyHHw/qnaNd5oIG4x6TroRQx1d6wXAWjOKs9fTDTJZdE07Vmf7AYAh6Nhkcuo/wbgz8V/XDW8PXeh6+aw7VKiCe3Hf1d9lhaUI9GvrstD4yxu3m+Sjg8rAMN/BqWONgDPSC//9LvuGj2xIpYkCburuVZ1P6wVmDpbEXIB+3CZQsSOP3sEvOOxfrRf4oB/kd5hVcKabnSYFHYn+ZwxuNGcwxSw2teiTCITNdddgn0SFUo9QLhL7bXzcNshtMRgXYsXUIdBp6pJM0b47Fu+jhdmabarQx9xmNzr5HuYfc3Vt7SELKaZ7CHiN+AX5wlTh3Iu9obQedQ4zUhjSezib9W5nSjKJZaXTkZVPeQaA1/eqBcOtmyG+h07HJbfteGPjShBRAqX0yWo5ueo6iw0e6kUY3y6RqNTm1FeMm37s9aEvamfdXOESWgvq7im/Jxfrmw05kmiEya+oD8inon2pHonXCelg2I/fawcxUYPZKcQvR5+I3BHzZcY+jPvk2huxnJ+NLFeVBaqjRzMCWtNWNLq1lTcAvKsaLnpzWmaGe6IzVM8x6lkDKuwkeqf+cYDwLl3Y/fjt2symZaWZhowCcfjsCadhK3ffoDmLwO+UqJTGljnKRT3mtqegXlFKAANYwI2D8SP2rTj2/k83ZZuZDulrLRBeVUPtZovXTqoTjPIDYg7IXa+z30JzTsfue3pE6TxHjvpXuxPWVv4e4I3QTwhHRReMXG8gV11zVZhdr50qiqy02uXgotq/ystfTo1rkb2SV48n/wIH8LI1RXwKvq2jw29Wl8nUbm0vJwdfTwHchbXytmX/9VgC8NR2UADGNXFU065w0/4QUrbL8ge5/hpK93zFYfd3NXYxnBAjTZnutDZ2f303BWeU6P/GKK0yD9UPuIzWdghplHk1X94fJ8M5ugz7rUkkKlZYQU1XracvrftaUkhy59FeiwRIuoseYewadQQZIlcbVG9zrs5YRtzhjYl4mI+kN+dTllbyu5Cza141NMov8vuqZQ3CBuidma9tFqxs7oI1lQIL7nRkUf61IhPNfuZy+eCDGDgZh4bI6ACERsC4vxh5R36kQl2/c2SpqIymPjY4tSjydT3FmoO4myIRcndSddEETU8ZGs31QqiJCYmjTH20QAMK6bPHVRQ4knWAnIQ/uFtW2KhWGLVPFgJ4qz8cS8I8Z4+R58J5d8x34Ggg9QY5PYR8yEc2YQHXb3aYqwz9GOla+7asKWpRI3d/op3QO2YY5wsS/SFvhFiYGMcm+itn3Ilhp3i3V4r0lMo5SqDBZJYSZSj00QMpiVkHvYTq0lZvjEKTj6dW3YkIb91anbSDdsU6+uOmNOCPLdsbk3TmQvfPvYs7CGOhtEyzGAAsbRxHCoqmeLHzkucSuZIQwsxG9o4/8pzdsJiSlD8m9suel1ONZHuO3YPyR+ySMalLOlydsale4z3lzZeztvlHAbWHKC8GK3GcFRpQ5kMtZZ/sV7CR4OdEe8CZ3rbcgqG7TKqvBSA88ibW/lBjLHzLpZzDOOBZiYneMh0DBt3sUjZNq+Ihra0XoXnz11ua3WKYLHR9mm/YmgfLKWk2iaLmHtPDsopla6STQDUmgQYQKuWlILv2cck2bjhiOIc6/ifppzmCnPue0D7gXy2a9mvxwEPyCuhXDOZpAV5Md1p/ep3r8GVFSmZCIcH0LVcCxz5cd+DDuqcamRYWtW7kppW3lVOrygsI4tC7GBla0j4CSk1gQLMV46IP28zmII2YC0DcUFsbwQy46VmW4cgOcxPe5Maq2FIqOLRUnUD9vgG2hfEtIuD81J60S54uXS9iWv1sfDE50u3N68VnFb4Z2I9T6yZxoTm+gmcmBFifjBG/ZqXKtsLZ0botexrp5n5rnYIhnMMtUQEQ54aslrNlKcWvtjAYlrKnCK2pVyo89URh1w2I2eJO9kiUaDVHbMxVc5Ku504wj97+THt55BrHjLCsZQX4UVJaiSxiYU090jjcL+wxNK36YQ3jHRLmq66WYWNcmSL4NrjDfucrSXafrKnmpCKbGK4R/N5f+fDtuuEbG32YMcr1ehI8anLp2YIkBQJqWct0JnLpW6eqHfg/Pytkiw0FOonvBNnPiVfDV9WB+oFRKJkY+iq6v8H1jYEmyJ4dqHvjSXb02AheqInw8XEraxTYFSnrY0aD6SDKEmDE960ZFcRB/3rx4SAedDr+79UBDoECoed9wTrPZea9IK9dBIQ+8YBgXs7Pr3jQc5NwtHsH/cZTtIyBrTfFkragoZ2JoyS+LSKVtqg1Lx6TGImpqFstkx21SMPhUEm53LjPwIjkCUVu2JfUVQfoHu8bO0FXwq8Jxt715AsvT94WM5AVjd9SjkosYxdolFQgNLQSmPQYdJpXopu9uj1vgbt8cT8VF6V44xxsFyXO9xnw4v4+2vzhVYHkv4LUa437e6qMlGBrA+jkiC9ii6QkzrSLQtpMtWzbF19e/z94WQ2msrl+ILN7ShPniCCagX6qzR4YeWL08S/u90QlwRT1nwd+iWm2Z+c1NYvZWnCO2s/53x/iObWr6kIn4ydRFZ8itMpXoTAuaC1szKOlL7AXnOz301yREkIH9dyqv7m6+MH2sCRWU2qiEVF2Y1R9HmBcjgeOzpetLnC5+ElInaLVtX5qb5CxVkflbCH0E+6MiT1bXnGURY/EbzIw8zxyWo7Dx0QQ6+VKQcHxFRiVd1IcJAMYaUBKjyKJ28ysMw70PpRLaxLPaP2hNA6OaslbR1AGYINVGDWgCMOGDi/eOwqCgb6v1zBm+FjYlBRkVvtrLxud4fn3e9yI+cuBF2w4GZJ7xG1AHAUCruIIwaMHe5hFhDLXjlTfy2undWv7hyiY18ZO+Wy9wbsJhyfqvNN2nHX0GckwZ9OMgmxP9f/V5fTI/GfBby14wflO86mNstTDJexC3j2KYJQG4yw/Apymy/WX+/rMEiqRhsZGEvlmn05z2s/Z2szpD6NyTBIcftGWKdcNjZ5G7gGR45DHK6/yN2MBhcNPBc/ol/95Q5N5Io6jVmEYC8j0iQhgp8wHj/8EcDnpXWxUOmRN+djPvqC6gvbRjj5b8cetimRQe8D+cp9fC5anrxqzCPYHUKZtExiCgZoIk3CbICxQ0fTMDsje+3teN1XjUfZ+h9D6WHSP4LESHy71WHit/Ikx0aIUR/j+CHMB7lAD7ocQitM91R/DcQCRlSivS3qTUXaqpu4iRtTgSYJwiP3Qzit3yt0IrqBHQxgkLqsuYQshXDsCmehd17TwqJA2qdwQnTZw4wXveE3lj4RgYg4tlzLlYQjmYAnDKbbcOH3Ta6Xe1Zo3U9+7mjTAJrG91fvm7xz4dPShIt4UobZk9UHdHzptuKFH5PXmGjMOp86b9kQkfCIALk+awKi/Rc+2MRv496kUqbDJHFsBl23NL1r3Bw4Ee+aLhCO2y8gtRcAoby5Ox9y6slVbSvLOOdelgaS806NuLMHi55Hap7jwRyBSPcwpy2iHJdzrngRE7nTXzcMzho9QOgIrqRnZtIn25Y+kaJ4RLW0CFS1yKlx6QpN8C1UOV3SIWXZsXa4qgKhkani7ceUk7fCmUbrOqVwcd1OG0o85lnrOJh07mnaMOKecgmMFLlZgCVMlneUO9Cn/oMkN7m/nxNSrjgUNuROGJbnnhTtEXu5zLTAsQUNWKKJmHdV5h6JIi6RDSkVhyDZ9mxYEflvqnbDhijtsNxRVeSyDcEmh84QKbxZRot4Ilo2nfUroGHR9ncnhtM8tl5hYdGzf9nuv7njbj12zU6mFZy8Eaib1XXS/MBKzfVPFHwj8PQDG9eCDSURHaCs122CvP/XFWidEyiJekmaGqEghvg2eDmLT6HPD6npAbf4yLIUpnhBOhlJr/DunyjrIhMqRlssXAX6tc9V7V1XzS9QIndzFMwRTez0ymMyTnliGs8RABZog9nA9H3cqFb7s3ZOTNk/9gfGSs4PHE7+ZWoANGhbtv0l8265XtQcu4lHfkOP3MJRSkT1hkVCO61AWU5GCpr4Vj0usJwdN0D5NsxY5In6xhZhpfcVCD8+5X5tA1c1jlM9auqH88HsYwrhvua9RszaQd7Tn8y9qKY2no5Nmolf5MIB+AkciiJeNYjmCYF/TIlrBQVTtB6Bx+sAWFLcIVRLeW844lhPX3f+Dyu2iM12gSE6nlpmF5dSzUBgxSqCDsV52gUP0wrpU2UcuDG1Fc5iDEOBfqOcki8NYlEt+fILROq8KJEiUYJWdqzd5ZhHYU5E8LiZlYKqeHbLY6GItJ3PX/Q3P/vDxkaIv+KvQPwc80sy1gfhs0KJWT0bgVI3eoF9nTa9PzPSQ6JJfXm3A2yvsZw7Yql7WcQe84tPa/uAQdWl91TJGzjMuOQZmQbAhj0vbtn3Vdz6voiCerf7FxuoZoG8cQ0NZKkH+BiUFOf1P7cSsinuzXo+4HEEnaC4hKO2c9ua3nbON8NinGJiv6iky2E6SAmRn/H7F1EjElrRgD1o5QBZUidlPxuT4WZlyGDZGUYBNtBMVf86B9uA0JFXoDcTTu7eVG92moCdmtw5qJ4zki3sBZU3fQ1NiN20/gx4646lYPsn8f+JUgaQ54hS3FWKdO1db2fipoGQsgch+D75bOS1VRux/fpSj+Tf04TJtapW4vGnhLvwQFxBqYdZo7HpptCoFZQRBYhjQ2ih8wAwQK1nQUrGNLOECULT4AtpaHwDOB9q4jZLmN6XfM3N8+8o+sl50Wv6tznEoYZ6wjCpe6aMgNOOFejgsjcfvndWCsrG74dslOAmYN90M/ryfXVvDG20kpIJqz8L8gbKSLvp1JBgqS1KXteoCg3YpTI1ZU4AXS2luZHi9GtKENjsitsDT6irEQr4BvDW6m4LqLAlSOVMwAHwqcyHpfIAarca7pVWGCyXKHHgq3wyhXYyk1fQzJSXzj93swla97iUBsxFAMxBvhrYuM6kl+oeslaali+OXXOTsKAgZ4zfbMitUcfOnM5POQgngsRDlBzZRaRV5Fs72guyWhfY7LpbyBH3h0ygg5Sp4SOtGsanXPp8/zU61lyUabAhLYHvwCu3giZozPSEZQ32A43CFiq4VAqmfmSERZ+LCK1RU2m8qQwdRGGtTgZAv5+W3yn8CS//bR77ye/D4CQAKoknHYt52cu9r9Tes3ktaXudQMxo2mPrc/hDmaHjZGCQcZpcd0xBT8ZNJlg95pgyhkut+lVv892fG7vQ73QEhNM9Pp4+t8DaIhMenBf+FZ0utqCihaEwUxaaecAoGUbp/0IRJEsEC6XF8MCrcf2k74OWvrWyYW91kcW+v2+JJlHt0Ohi8WlbfNuSM7xBjpdGICd9W2Mg0xhLmbg6sZfqlvU1UbXypI3oh1J5xhNbqxs38umHpHHLgmQv1aWK9sdl/dvuXHCj47fBZQiXPrZMUUKD3lCXhfBLZbVsFP3LTb0dMDzUCoYJI5VUZWN0TAeKMgmYUcFUz73TeZSQPHr0toRy9nOdT17yxw/s2myppBWBXIUtxJB6f28d8S3VfVMcv0MBCzgJ4lrnmmsF5URiLFK8m5qR0TZENwkNYqJmeqcTXGBFIULqYvhMvUPjt76DD0kEF/7duxx9BFcoCP0psfI5/i8pq3i4J4PZ9dyb0gSnZ/4eRIlVo4pkeZ6H7BPjaVtaPEJaONbinnDS2u6AaksY4nHHtOObZk8JMpLcLlh/4jnpDVyrCmL3fK/brloPVcknCq3A0O8KZ0jB6Q0qJEZgFRn1yIM16mrx59kHtM/CqFkgPtdcFRj8A5QKoCZ1NwaqQ4QNGSnIz/3xvyOFbizlKP+U2J7kr7Qj5Qkdn9dThX9/p8CqOYFb+HneRun7bg24ghPiCZ0Ygw+1/72A7iuc0oCvTCoDlRLH4fM3qfuzyZmi9S3Zezddql2eo3AKTjQABorZqOnsy8zXvk2P/ZxBGcz7cLC47ljsKLqH793DbtwGnS4NrBLEfGU82FgDcJAnCsI8I5d5nar+7WW68dCzJnv722G4fj0sfgDTzSaRA7ow3VWY9oKee5lU3lCCmzkN0IaGLnQfV/rNY8n+qSTlQ6HfRND+UMbmNRJKSir2/7R1Fjn0/tPPUgNXrEVMz2HLMRlc9Hty+IyLXssgdwBOhZTMDI/h2sl8sKzGfmFo4b4Q7IWEQr+MBsAiJpcmApVbj5XRmnOHoQ9ex2pQz70qTdAhKCrgL7zHPeqJclpa3v9ARM3GxsgYqdGgUK1aJj0BW8nVY8GjWl3+hj0ALjNlAtllCmYpCtbDroOk35W6PxgkCVyz8QhVmwXZQSgqb51pfNC6iM8L7YsbCTMLIqjQmGe7dFkz+I4W4IytxdQDnQlautMQoxejud9YZQ683UlS16RtQQaodd4qKv/geGjrYjf/F4+5Baca3upl9BGiNEo+/SQf9vdHNy6DHqEoUou0qtowjgR+v73oFLT1OIwa1VcjRaHoeorev8OadWzzhgB2noyp126KYnVZZu/qF9cSKk3ELOulV7mWeNB6APTfu20qyK2ytpVhoiu8ZFqBCqivRPzYb84+K+nor414npYThgsTwmGn+5u88SCctF+yJtiMJFqX9n1klar6On997XDLeNOMlngW58kfmfyO1k/ykRlqOWn+K0ldnXHubWOf6p2azXHD4pVVlrNoq09QOVChByHl1O6v5YYKvNn2rW9niRW/0ciEG9XD/RsHTEKsLBkkkVYt8l7asOTpQtqtaS53GFB1AO8l5LqBXzT1KpihCQto84J/c6j7ttUAAi63bpfQmrs6p0VeplGG3+5MeJ+AZx+f0es6kx1xehQRy+Wb5dF5OfD0s7/MFaHAvMCgYm2mmEdJtwnm5Vx6wG/L+Be71faNFMCYlJuKOzpm7KByF0rVTQoerLrIi4BGYkabVoCcpndbHDrTZ4+ewdQpPorqnd6dx6VDcVS6iggsKl4s9KYsAaGRU07XAgqIvDb8iy5rybMyr5oGCDdAPUi4+lTT9ZZhNe3HY5H97xuXQBxiiljk5o72deI6TzZEnS9T0YenaJqliJRPtyX/RTdGnIJwWneu6NXQreVT5KReGf3Twug2SDXDB5h7G4TptuO5OB5Zj5ZBu2MkRmUTTOMdPJb2xbwrC/9NjDudQhSoreopVoaaWJDgwQ+2Ib2VNjfEjp2FpOc9p2Xgb9ghcppbRgrCX7rgKU7LUdeZbxAYWXNQxejhMYzFK/0jw6ghP1ro4JUtpbe85IScqBNxOB4opnXx/EJps2774rglGeGLA+nMfTD6vzNKZqyy1+kv2togo2/dnCSsDzZsMCgUzwoPQerXlUNEYx1KL2voV5LCBZigjmL8g3/n2vdZU3KHqmE9w1yX45v2z1H0EB9PsdWWhCpF0rhooAeAoSh95kcQLr7IJxcEZBNxW9BBooQgHURbgsr6L11/gHa9hjGhKNB4jWll5M2gHHYXkXbrA4YFW+AjhFMz15UQX5GoR2OPhpV9uanXmhaqG5H6DA3+xcfciGfTKSy/bSmgKkuycIZBHbicz0JtA8udo5Cf3lR248PSBn6T1IxegQtZVDkUDo/H0gdqpPJ/wOOoxdQiezgbDoNNWODbZo7iUMYLvdIUhIBCl1GznNp5Jsqni44jLtjZwPty6NbCf002AmqCDvJgkNfmdPTQ8xuliRlR9wwpAuydEJXmO0OFogYxW7NBd9jZyKf8/W71dqgA9t4gnHUVNHFhcadiJPsSQ4C8jhbf5OQJ7g0lwPVkrcsK5wCCqjtIC3UpZw40CPQEhaY9Biquj5rjmiSUuqXqBYkTVh3k+Ps1qFU3B5ADG+MIqRhAN1Q24ngJg+y5gYicZx0GUgnrcHMLBY8aHngG/Ed9qwaw421roj8BUQiGlsJ/EM7MIL5EjK2UfWLkmb97c9CgdSm7HGMJlj6bhYqyAr6RuZXc4A+oVjjKAJEf5PQU4bJhl0T8HcFatQ5j9qqeiI+VerbIC3fFfkYxntgKV3hfr5lFXRvTkxh+nFQG2N51QZmNoeCL3pcwW1gI5EWc9DuKcjWCbO7X8GgrzKrUBGnzhbEb4a07Xtit0yl61RvfhmMmM15F1CYcuCC2jpVM76vHqtnBdJV5FV7LRqgxqGH8Z0YZ69juzmiHNFz3XXHOJtf/ghxOrfgVs/YtlQSH5lHus0soBKRa3HTEWXYH6COAUDxYJn4RVZV/a2lUKKshpEbhnMvA/AfvlfJE+gnzkvlI4nIvlZZrt6g8LUyn23XVkbriitlfK7FjuAsNOzU+RGJ7WzjsrlgC0cHshQ03TxeXt7ZuNN6hdih6ZxJd+iPCyK+Ty86zffpCmuerC387uYqgJiMPY0J7ky+XKUEprtORj07soi9VaqGsb+1hWhcVN9LmeUqe+5xL5/h0qSGy6IgDG9zQ0G6KUxtxyPVUN2axtZ29E/Bue6OsIRnT2wjrWsJFHWMTCP71UBb2819LLB/PBgyCI4LQIW9WoM0rsIvMFwBmbsmmJF6A/KZfEm0bhYftWQKMCOaCdfsVn9QL81fB910OhPSo9ZvrfmKVzLBJOmQix3XRoNhbm5rrmYjEtMeUK08zJPVnAwXCMt64qQfKV033FtQSIergsSWpHOX06y+tzd7Gp3Rr4sUd7Y2OHtTAI0hqp1FJzBTR3iR4ts+xoghUCAQ75FtCYxaarHFgxa5YUHtEUGnDzEQzH5WhccTMMDE8eeHGEkcxd9dmOFk0EJTX13d/XuhqJ59MUtLcnWVLtAo2jVMIvitZozD1RhUpa4EqAIe8PEeGnw823NFI/TmO8T83lpLJ9yaxIaDykI7vPLEQX54I0BFVdQ3VBixQrMlFfZWwV5hKwNvNhQtPn/EGCYR+DjhLamnvrQGtB8Zndy2pniT6KdtswqGTG+PcJrhGRFY6XHL4iynlAFG+RTEX6yTysXVOtKnXrgQLTwjU5l4csWjKhQSDwH4ctY7prQ5ILepVeeb4spmZSvHDXanbCSEX9G4Ss0jWhs1UdSEr8whe+ldu95TQCgHZhO7K/i5hhxPLcwE1SVA6jf3Rfurjsru4UOG2XKM2iZXAJgzcYBt82G3T21uZuqJN9jbxplvr+qpc+XHatrCpqmT2xxxgrxWAPDeHZsv6HHsYp0ZVn1dUJHZby5w4WsXche96LJJY6mNYytFQQNCAmcqP5+9yW61/1V3iZr4pyYZyrSoW4KVdMOLlDq6ElqVs10FR8pB4IToztBVjjUQTupqz1WFnxs9eeqeX0gkhvopnWuD02OehLZBNYGyzCAbxW0GQsNv1qF0Z4Mcqhh+BCJrUCBa882KKsjdaVQYU3a5D1DG+Vkar44dGoSwLt4WwLdpk2U/BUq/vjxEO25kHJQD1XjirvHmkVG5uMuB+OdX48X8PIZEOeDuxzbjZkkjo0FreHLP67FzoYpp3bQ/p3LM9nwyrG3cvaEgtT2hin1QnL3AHjx2yZCeoCTm1tjT6FcAkyRCu4qRtAoU2lFttuBarQ12a+1gVNgY08HscDLy1EN40uEEFZBB18S0sm8WNN49v7oV4BJRAIQdMupAduqtJvKYds2f/SrK0W8Sv/RaoNiSVl4PW41+VSHgwhocJt6ulR/XnlhtbWdHDNr4HJEXjE6Js6EX1YHTlf1y6x45qmjIK3pitJ+ngMcgUMn3vta3RghDLmhLZI+O+HEV3jFG7V3OG+SiF/5z17mpuZ7PwljlNnrOBQLOZ+ulZPULSPkVKqkzYkRjrab8X5cbdLYEtrnayJRhHlQbRN9uARkFIlGoz6ICp4dsvhmtDv0td3C4lynbOk1sfTLD4gs+X4HChv+pxWR5PZ+BrMFIrADXkN9EvCpzp1ChLziEP/fb82iZXUSCYOogUIr9UGs3p2NTHhb0mVQNYbuzq09cLIn0mVRMOtINvp52Oy1ztLIbItYvM54Kse24fIu39VgNRW966vsFs71ZaF/kTYSfmjTsTVmbHaPa9ZSTrTChTOk9Hx50XKxFV2exEZmruPB1KRe3DWimLrBpsY864is//NV0++SspfNYrSJ7+0BM92LlJS3tW0xyjtnq7wQ32UMLvKNQIgqvX60Sv5CENu1FktQ+zdKcYb7d/SyUr0qsMNKi3iWzzrlTaNFIfa8DV1+cneql64NzR2FjXRir6dmQtHevqSpTP6ye27Le06DCo0QmVCFgRHsCoRfOzVPrQ7TQ6J6qUqL4V7Scic/r24JQY0WDFNvbzO+zFBOeyAxFGNk/WgoW0+3KiUCbeZqGOlGtftJCQaH1uw8OcnRnwyoKhukpEiVAkUqIgzGVjWLiJD114tbs/ZWAsZcShw5neSLQwxMtOXUBw1m10TG70iz6Ca0sNEG1DGWfyOQ/ynczIJ+iVAFM8aYn2P5Lz2P/9IBkrm2cDm+/6wXQq1U8k3uTl4UGoS9qA4wSLdrrQn6xRGxx0G/F5WqSrgm2j0mcN7HS31VLkn+dVrgq26ezEdqBe64HAbxYXST6teCF4vcuMU3F9slzqB1ParD0wiKrzbzmkoET432spJAS/toqoKxG6+ExlzABI5RJ1aX5beIGkF0g7zicneDcIVCsc6PcQXYNruYMOnoJivda6JPJOuPprC6TTYdRFfp4+OBkWA58ks6uqIFaunMiDFIuyskJ1AlUb0Fj0b2qqHtPZagT0IKTvdp/Hn8dNEuhdn4ggf936niSHfREPNHzP7sU8AsG6s5+2PqpdN96IP6LUNvCq8mlZ63lOgwM+uPThM+sIhD447hQQcY+vBDM0yym8MS29o/Ry1TmaIAyAFB7QS4m5SoBs5HYuhEXgVuHMywdmLT4/1uhBgGoun/fHjK1SL6f2hlU52wnixZFtR+CP0HHgmtII0An6pGy4Xr4qBZqju7IAjGJIfQKZU0YB34KdnzmYfQMVfguReTQjxnV16fcgwWJYEj/hJMOkBjAucOdWcH0+fvUO+JhJWT8JTtUexceWRNvgP6cpExsakmi0xQa/o7OEbuVpWA26yfCDYG4D+yhrj/Uic2LbcZ0dyW8MVqFzH2KV45bn1gbdO/c5WxXk9KiyIjrJfW4E+BtKTGu4Gai4dWIqZ1Px/Ia9uQxeC0N0OeAOW6icxR+UclQNr5gNfGE1Ij0hlhgI01CMxvtFaB+VcFu1c3ffVWYA+QHKzhc1vmX90IiM1tObPC1inmCJbHhRXYuYatKBpcxUg9t0E7twGKXowdbK9qaJT53yNfp7DXsD3+V8hZveUrpDBLqlYmXmX907v8nthtYkNmoF2oPYF0ZSbF5KCfiepa3S7yFio+loJjKrN7jBb7XLKHifImecGQuJg14zSSjH3NJD7xur16FYBJHTeTQwMx6EbBpykb8p8f02pOilbGug0SFtVdRYPlvOzzpQPGde+ZSp12mQ+2vsjtERQCXD9HxgOwOS9+YN4wBXJIk5mWYo+Uv8SjplUnvdz22SfTLYFD2DZAvMrbXYv/ioJiJREE25xov1g/NT7sqD4laIayMmHC/lyf3bR4U+PvjkaSbfBITZ88UAsDynkTndPydeIf/UkRUNNYg3vHLdA86b3ZmRSE9fWNYB5wJ0HZUp+pWWmX+Y8vo3Hg9gHwz9iW6mLF7UvmsINUIrwVLh6/uqdrzI18BuZmlSr6WglX6oj3jizWIpChN0EgJqJEcaL6eSt3LCehYk+wq6w0IljJK78o+hi4HvFr5KI4UjuUQqaz7qdBVWE6AfuXPaD8o6PL9Cm5MDUhL2v4wPcBJJ6osilbfNpmzbqk77g0Nk8hfiyHY3WHcEB7umh7xki3wkVy2NiBxw7gsU+H4wAo5mFBoEafBFw5J7ztyfAvIRmLolIidxSgrjo7cpSXjATvCUsZPXGXiTsG5sjUIeXNsbRGBi5DIsZ8kn90LrR7uhCfKa0dcFO3p2cieuF2n0OEl8cnc3UDW07KWDLd0S4bsc0OPhdcDN68SA7d58edYtNeHYnkd158+cGe6+Izhx9qhDRoA0Stg5g/H2F7p3QMBlPRbjNNKKrhEOFnnv1PimMW/n/92u7D4VBtJ28ZSrxtM2343L+ad61BKetwSLQzUNz3HycdF5/EXIu3jAVeB/X3b4qGWGgBYWk0foZK8bMTcLZGgnekKwPr4I/1E3tj1bHDn8Ir8jah5IIHly2v9mQTIZ2rINY/vuqoMP8SD/3eet4UyAPOiTY6YAiucfm0Sa0mk5l+LXEUSKrje+v5RUnfBA3Z89HvYcFTyXHqIMsTmNbqQKVg4NazU5Tr6jLEVB+88s1ie8KY1Tt06y0cI7WX5o1hGh6orVrlQpA2uvjOliv9u1ONDbqS5X9fOv0TFxNDa5n6+a6C9min0sIPe81XmzaHSl8Onv0LmEJLkuva/qONOSJ5uTR0Pm3o/6dsmgnT9oa8wLBmRlMEN9hYbdWdO2VspSFfLlpoP0lfWpCuJYByR5OyYvMClZu63Gwy7PnCsPj9WuvAtZT6SAeadinF8qfGk3gQ5tdOvsOkgdQhydqvG8ML41m/cwJ35L7WTiWssXyVNj+RDjKvMes9SULj15Ym58GBrTyJPlix7Dlb7AJ8wJP/dWcm8jOBdUp/CPrSjTdtwaIxR2IW0bxoGRLWPQQaKPOrJhqlphOkcwnKGDGzXBlyFiPZP1wSEDSrp/ZKImtS6uYs/nUw/D1umn+KfMe4qvHvSjzil/Kf87aWBlnL+HUm0dmY+du24HbXlNnwLKqnDnqwN+uUoOBqI9aEPsVQdrfufZDIUY4RJ+ETpsu13Px/uxiGUbWQ81W6/hCKCYMw/uMxSn3IucibkH2lKx/3JolmK8gyu9FqRq7oWyflb9IzQbz6Xag3hhgqmAGwmf47nXj0LyEa8o6FhJXq8k2H/6+Lk7tt/yx0PeUQXA+5BIxWiWGyojvAmrTlAUzsJuyKyCkJD2AMgUr0aSA3EYUioRI7iWRC79/MMz/kfQhckAmGoIQ/iz/lxDH+GgdXxvWX8CUPEBkko7OVWVw8ytkUTgXhZSzzwuqjXijjdHzY7TbpELoTzSfROednNdBIDud3AvJT6URTUbRgmx4GDqPZR8X+9ZZ5NZDf8clerj03auvmOkPfYbrOjyByQkDkFHpFrsE47hHsxsqPGChTnWVQdrc8+u2UFTtVCTnBslzdUV6nLf5LDwO2RwXhWojYLPfuPP3CY9zg7PAXB8HgPXzFQq2oXeiOd8jLGLx5Ej8efCW+djBs7BMhBF8aayFF2eLxDMy8g8KAfnx0+1KMNvNXub+ybWwbO+3AO1BktIThRXcj4ppfVm/EPZZoEu+2sA6KqPx0AD0kANAolXBUIcbJB5w0NY0g2BshixU7E5v1NJshsZ6pysLd0c8rkh2NCjk8g87QCZMa9x7Z8+Q+c0EHhl4lAOAb1j2IkXkWMNm7MG2e5vlj/6o8Hfj8+L2o6j6KHQYIqq2C95TfYnWIFKjpquE95wdcsMoQI0NWhpLI31aUk5gcGdXWGet6KZ5pIabvj51T0PgY0M0Ym/IGrJ1Y9HOqHg2CeG6T9i0rYgo0BHVbDdBe3p6bTCRemGVMQPy9akxvBefKmdvQ3gRm347oG76s2EWAcqUol8ojHKN7gW+kQnPgzhj+q/09xVwEePJa8GUEqFUcfVbO2rWVq+pbM4TAcnQOOenuRBLp39diFcQp6rEXn7lwZqciYLdnopms14h8v7MF8/odnW3x217DEgXG72/tN4P/tEuQje/pDqO34d6iWq7rDr1Mw7SGDxuFfbA4EavasmJVVhaGMAzM7F+lFoqA/4clOIcv1gx/Jbew9/hiMinfvubQguOlx5qRoZw1CpOjgCegN9yUaFLKbcC7kvMhbNlbB7nMFFi8RFE7bBfXIh/p5aFzNiJNi8UJrTpa5o8UePtYCdr4khVYToUXyyapd+Wf8YWczxivk7T5++HyvCx69XgbgqgnOqWp/PocXY+JjqnPyYJjFAxf4TFfOS5rWtTMLZFUb0+TV56U7+V6wMv1mO2UHcoTVwAT8YlfD1pYvr4Lzhk1192MMa3/wcYgNS0ZYkAqcKl49zwPulV2/sEtukSdmPq4ztLsQBQg4mtOP4rweNpYvY+dA2Gb/bdVPFeYsoOQCJ75lKfae12/s8eHbJUMRdgehdo2B1ggB5NoJlZ9nWq0m77yb9qVnqM+GNa/hsMg9Q4Vuw0jv12JbQnAe0POKzxBQ7dH9juYjAPN9FwDQXAVrgZpRiUEz/AegUT6GFkmAbghEXgniJdese/0D/ajY9XuuzL8nlew63+zGstHYOnwyfm7gIVBqu7dqHGc/6/V2kYP2aPbkdBbmV5HK3KRqyRK39zfbGgfXkTptYGkEW8l4bOXZqbxajlYVkzojc8lPskxzGcfS1YUU0drDnGepnD2j0eyEXrl3sNl53R6qMUYCAvbB0MBXzfyMr0wUWHXzRcolJnUP5FSi6D7kZhoUOD0l9wlvtUil8TGFHM00JbsziwIbTnulE+G2I+pz/kukcl0eN7imrowaMehWrCe0LeMKh4xepLcOCeGvgWb2f03amVPpFRzvzDNJXWDJ41HmCRA0fkJWuEMriBKb/Hy47Yq1qAgbcngsjRv5r6C7ElqQJHzgpCqtd2TWUaM1aqI0CyHhEutjSRaAYv3a1Xozu4NrAnoVg9ti79dCR00/OE61yVO9/+TI8V2GBpJpaTR+1Lu2wux69ABqu7u5374pX2aHEA66QIQpgtVEYQ9Yhma/oc3sQv0M+tCfVCb7xDTCj/XiM+/KTZ/YFkaNLGZyfl3pH4g2cOv31teOO5hBljPceAXpj6j6G7PTgM/a/4uVvJ/IXWSXWsr/B7zKNwg1QdD9D4PsepxO85YtwJfxcBtayo2oqdCfsjeIOyksmxMm3hEY5SIfym5BAUxsofgvcECjlrXhmnCxLdcSv+U57nvn0z7eZO3DbK2sc3soSCJ0nV9GWRZOrF28B2zzuK7hZ3Ec52OIGUw5qNalZezn7aBiOwf7aia0xO6rp/jLoqVGzCs5mFhKirrSHkTKZBcDyh4xeRWNlmaj7vRrDPy5swr8ksvc7zLryzawiS6ZxPREnU8Fd/EY3NrnECOUR1tlpcPGngI1LeVPOX7nBCP1NvHDAVxlcIyxoMjO1NiKHiyLAjYNH/KymCwU5D9UMtXua0rJukoaiSaz0rbQxhUIjHGBAS3cb9xQQ/qaBswtEbGb4jg9fiIZ3kRdvK2YdAeMig1tg0+sormoULrFABg8Ev1FWBjq1z1MZYdrx5gBfv03tiGH/Cv5NBQImg/tsIRo5swR6sJuuXMiH/sBBTumZw7OCGTJl5Tl/WdwgEQyS+ngnZMsFLBZUcEllhMRdxAcxuLpqU33KKJGKkXGOyGy9o2al3z/mhbifxZh2gDdY0ps7F68kPIdW6JRDsxxkwv+NSHq0A9KV8IHTqe7BDFBsJsTtIwNpwKfc2h/r+I48Wt6VmMxPE0I0UddHnanFY1wLaKpova+zF4O0Q+Qppi8rA3OwRYCqIcDYfK4RMnwk3cE+gPRa8HuOtj976Kb60WEjQoLU2kmTm9PwYkdHtRjXhzMc4xlm/fAZzbNw8fVlhf9bL7ekECRP4sbKES2FYerv97/c87op7qMjcMtmswvhfaKhdeuBg/ShFD6y2Sd2WYHwkIze9jKIwKlhqqGPE3/e/0xqATsMvWVNFyBQU3Ioa+qdKbKJ4CgGD9XLPaJFxQcRD/IQLbA+UUfpz3zl1+vO0VV33hUAuCZXz2Z8dAoqFDHQkT6ZHryN0+hi2IVi/IlXzrnLtxc5En5kLY5bBYsceDcXThUr+NcRJ3CkcoFJpAVMXzdrulcwxhVxLCrmG1YsI3W9RVgacRUri5vTbSVPk//7SteBYXzz/ur8wzO5Nmuk0GOMUb7byNRSdqd9uV73VUln8B+A6a1ZE/HQdrI2lN+uwc2v6h6/ZTZtyMX+HasngQfDMXQLBQFOf3GyXmGWNr0oXNHyTotNQs+sb6nzmdAk+TtJbBqeEyoyfGPA4TLf5KDMficw46nni4EO0qoWu3jr2lZV684EqkDgNaW5AIsWsFUdsvTkeElzAEk0XVueLok0GHFa9G+vIWHqlBLI5QPwgjT6lHG4cpjzlzz3pRICHng7nZoggZUL1rtBReRslkVTb6wY+xRfdI9lmg/K1jvkC8FfbTO83OCVcfVuFlhkrVc6M8Y/AKJFmB0aFYJReOPU2Af7ZLKvoNzWm7mnAQZdKxz4CctKRd013XiS8DiCxTgOkF5balDRG+e4bvTPAGf46Rc6jZoHz16Wsn8ungwkEqdpwxHbct6sJDlAoVxOcZp1sGZsZ79SD4wqZbU6ABphPoP++KWzpbczUjKpOPTwVsA7CM9yIdRvqokaegdxID64IbmNd0ZyagGNJ9mLJT4QrPce1Wsp5ZYJsbuGNArxFK3JH7io0Ld3y/IHghgq+hDRSjRzLTTArCdb1cReorMx6N+HZbaeNX01+YfjvU4IV5VZ+tv2m6+9K1DlWvEncGyrCdsosooYHPO+G15SXOhPBXwjWkNaFEvLC7R5KK3lvifne1M54/r54hBksDyQxeEuaOHRKGGt+BLjXxj1E6fuKU8cr6a/9yGAKIgogbJhcKmu/b6tj8ZEDSbegrYgR9uwqGnCM5ckgQwJDEdOIXqpJi2sRqvkEstgietTotkkWASerd4MoWeLz19AzqOwaWDvQVd4+iGIlIzM7SZRxjoBToy5gQPctUQvyHiIqPW/bI+V5NBbrwRLwxs4UGNiv7DYFRb39DBnMzF0BZWxEMIGvwfuBNO7LeNnQMFvb89zg/vHxz4zPF6/BL4GZu5RZWjBrtIziQl9s+RqS6lIEUu1YDc7XbAiPL7JI0XBwbrAbxTVKjbuBXnjxp++MAnzuVmsOFluGKVpU5NiQAK2pGu78mdjWWA5Gmrn1G3PGg//B6j8Na4O8FYMiXmcFESjkz3qmAAdfhFcGwlKNEOiyr/2gjgc427AVsCjdzkyd8SwQubEMcfIGzw3eh2zzNGUL9O6adXE2zobrdXAitEgUtelBraFmHMfzwROKfjO09UcTplRX9d3hEVr3RFSI+MXf8DL5DzVQTfB3mXjESil9l4eCa1UGALiE+NoNoVIeMJCBGrfBn/M+CalUQMzr/EbdafC+tEl3eTF8qWxlug1UaoSzvgx59JcTQdGJHzdtyN25SS9k/gRuQJANE5eCS0vCL1L5f+SaN1g1b5upYwE+Gn5epwuoFESKDelgg/4++6jgO5pmjdyBLN6OD7UyrCpU4ERlh285Biqrt/DWRVHt4/00A7bUxeHUtLfOgkKZ5QpeNnmVxeZGqQchu/S5ZXls2U6R9zg4rgDvDHz9rcS670+xAy5ILuzBeqxUhi/F0+17gUEEGDijUM6LfUJkNpEnoIbSUI45GuKnTvB0/WrJYSs2j1U1+ySKvLYt+VzOBEMqnJJmqAVuMwPVkY/+nxJMTdZ/Spf/3UlD8x3pZVBwF/h5Ho+V98l5CY5cJJeWF8YD4bMQW1pEJjrIejef80Z7U0tPwhZlUBjxdnQ1Y8WSh0ADbqp+ZdgHM03djjnSd2tluK2cRTFN5eHfaOyHZN2WvF/A47MbbhCLz27GaUWR5X3UQYdFz/EJup3PwzyUqGyHnWy3mf+Ijo6Y5mRYswdoyHZbsZzJ1MkwV3AG19beMU5MVJDtKex1SaWms4TEjCUqDvT4vVGaWReqP3pt8C2vinWxyN8mlhkEUeuY7A7NED8zoGud5xlS1lywGu5gq1F97voUWIBhAvbQcMNIvdxbBlo7WoOjDF/vCZ5WdL6gefMU1lzjnxbo66EXAJKLU+tfu+NBvsFualMiygaauURazsPLfl8K7vxOirocUGUBqyzHeRg5H4k9rKcYpq4eKTxpEkgPZEjF3aB2+rcr1VkTImMSPgnExSaqmxRgBjk+0oQ20RiFXIPPKsX30ZaYpm6fQ2qdMZEIsWtlPx+DUR0+E42SrGCupIG2n8E7A/3ElFmc5YgUX8nTF0hASbRvXBYQp+f5ul5PmKpUtOTySbvBU1edK293LJS0CC1rBE/RFnJ2WqSIq4uNIyySqxOVX7HWLmz88L+LDYmqoRdz6IXNYH7putPN1R7VOUVij1kujwlCZ7aHhSbe0OgU2RvODjqwyEWG6La6f/4uDI3BPoZrHTd4g6JAayADYUg6G07wFcw2Q6ftmo85PIx6sguXd5JPb4PuSK0WX2T6GyP5B2DiHRG9nK6bkuGJE5O284uT90RvubzW8BuVqUmfOTCI9ty3ZA79+Iowa7vmJH9NFFhG8kDp1xjGdhXZN8JI8EahCWjDYRxpvjnkLD8OCvpR5pwBBYFjbwQHSAMd56BZcSi1um2lUjjoON6e62F54p+/9vfUTvzTCB6inHb4p0BBiYTHqxiJH4XI5Lz9liJJI6/TBRV6fmztlXAkIdNcyMO0TjREiLUdAGgzmKPtxASfvwonS6wscgM6hdMfDhVMhPopF2R4tbQQg11pOUaKKtSXqXUCYZj/b1HL83uzkTea80HATQEg9T8HDiLgPcj8N9lOHthterqQi70C9ErTZiixznMELfZbLqOehb8Z6WCeIUSMLovY0xtX7RqaMnX35Wop6kAwMpldMqQBK3R0IS1Xn/XX2FhyPCq4yvtAdgyC+YveVXFHT9SmWVLBYCscJQDRTjovWW+up2XvlkmgHTXp1lyX6pZI9zQ/POdB9hgFvOrStSRMiDcciQ+aNkU6SERJQcGB2PiY/4uXJLAsCsK+Fz+oOUyoJv21n3mW83at2Bbiwpv7m0/4zsdlgiF5V8zU47CHQkqiqbKSQqtRCjUjkIZJnnSdtFKoD8y2V0d0VXiDkqVy8mYpJwSsaj4KZ+4ivrRuCZWdenX7bNJJkoK9aop9Qh9oMFNS5dJbOSBgiZZ5IiRC77bJY2dUTdzB7Nhg4sraft4rfeFvA2KX8CNSdll/+3EhguY0CuhSZ/95PaOkcmhHiGfvp2w1ku/Qxc+mu9dXq5RoYIvUNoSugV/ib2v7TNKlgRow16Uyg8qF7QKIEBhjtwa9paSSOg+5ZpFqbari/DFYaFHPDKwcSkmqjTDXMYpzLWNSzT361BjhP/592NOu13OCtLHozb7ojwH2aSmTFdTw/CzjWVUsffHyog2lSdgw9zszhc1jM/pURzRuzW9QSw7lzfccKkxpHI0oE20yEIJLGgtZ5LAe/dduRX6jFjG3l9/MqR91cVPhD4mmy/RZBSJRojwWkso5zrolRab3Zh8Nr+9+j8wYFOl9ouHuLxMZi5S1VHyXBZPiFqDuqO0c6d2Zp4miP43q9/Px1FSJtBQl91ly3VxCYa4d6Kxta9IATY/sTyrGTqusIwynemx3HiRIsFQHG1JsxpDGex1RAB/81fb3BVe2VBA1J0ezdoA7ljhHJO43X8YU0M9hT5ofh5BpdUjIrVvLupIJEOvGSaSajavsKqqaKtlPjzkBAGcPlQp0EDGv8NPvvNgnKZ2y9lr7xDUI6xN2NBEE2j1mPDMF6OIcjKWbkomb2nZWmmAVvqrRdPn3lzQze/wjUPPALDof/N1+uHtWdmtQ7eM1hng7uyhH7wv5iWZ4BjNBJVY21FaCQ3bZbGSch6KHi/KepT9sWftlg0HsrRZqViULdx0gPTgumgIDyN6rQ2jw4ZZrC2jeacyUsNWDRsD97td1qI4RDKB3urIARcpAzOzs1T94nohVS8bFaq/IY1GjqVRZB56JWzC9W8dnladMWqIz1xU+bk6beQL+y3E9ySINI0xhDvI+BTfdKGWNwF/EWG4+EqF/aTM2EXUMQjIGjpOplC0O9o0K05LLGqxHGZdDJJIX8xO6X3cHe1lJ9CgpUKPHr2diZ6Up343fubJPFVszGjyMQFN2AxQR0MilWbwAGm5726hPaDGdiQ4cNtG2YKXBkOVYHZGYzlkjh0jrGDumAAmzbTVxiC1KvL7dn4Rmcs2ci2zu89ZNeYRGIReQQW6rpPCa1HkD+uzaYs0QzISg4aDsaqKnW7bEj4UyraWkJpkN4UlByrJD/W1ketpvfhodwEvCE5Z99FGvgsqU0BuShIOW1NIxbvKC4I6+Pp4dhITz+3ZPoYRoRryNR0Lou4guyXjm2+JxVOu9vwm1ZLMzD5QnPhpkY+BquPiRYbnac/t9LpmXbArcYgGKao+jvd/Zsp/L3ww6B+P0GCzJzOAaQT7WQq3Nlr+knKcpSMB12x0+7pjMGuciV/mSwaHxX8wC5rO+GI9gZCoIXBjtFp9J9nBodbCct/sct/68P7yg6kB//h3+b6YFt6/r4h/MwD68zDkX64jp25w/dSBRwOY0oZtlxqDMPNTJr7BrZ03tG09fgbgAbfsvgVF3Jbpt1Ueznwd9tRnVVDWAX7zrT+OQnbPDyqtOfepBec5iP7g16WTn91hswLferxPHzIOzptnDBJmnZkK6ToFy/3dwf3ATkfcoqT0gXhZ2lEk3cqyVKNlQ7cKrEOpHofbt0PBecEH1EFfFu19lbPlwTyjyt0Lj/WuB8+8uB2xB2tEOBt0bEzFbHxUGTP/xB77JjXvb5MpR3GbQP91AnOH7eGldvgdcmTV1XWlEcSQiOcbfNKPsuA4uN6H3VfxvIEU67kTvFmigk1b/HV4zBZPP9xYm/YwMDxmwEtVvP0UwofY7ggtfA8hfimEmGjrqp+xUBpC7CGSS0hbiSyi8wpyqQ2Fnr8Px+jIo8Z/u2B0jWjQHNB2jtdNFH1S+cYIkaAI/Q4fK9PkZdn683k1S6WggYiaJ3579y5+z5lXlVL45In8+svMw0MjX4mIZrqltfRMRvZRDX8LBwD8/FQt/1bHXnRP3EgbhF5T1D3ViHLOfmrA3+NzyeZoTBn4yO0fZ2UJGtxntcoaSNJOya2s62oqeLjtU3REXYe3Ko3lBrKNLcb9yTcGtNtaNAy0v7cmdL5xc/a6r+Ej+J2rC6HHHMXe8Lr9uwmrpJVgCOhdeTe9+FZ1Ofh2SDEQK249nsL0gaMtdDVhXx+RMDPnDTIVnlMoBfx+Rpa+9YntS+rzrtVsHH7/ovQGFgS6mBwLfDaihJJglTnYuJl9GfAXSLf4P2Fd920g+Uutd/siupVxol0ocPUyta2EVHuK0hxKfZ63iAl3qPxbe9I0K0HIPC65PzkrY5Zqre3pmeTQoqIHrDb1BP4iQtuDoXPdlm5Ty58+SXB7lB21Qw9UBI8UEWkk4KCaKSt3xlp6k5SoNvMu6hM3W63IuBlgNr0zPTMywVfzKFm+EGKiCW4J6T6mVla1uM6fWzZQv14Xary5plCg6WSOJ/JkT5seAJGWBQN6NpmnuTO5UhpSoXxsGuXUo3ykkreGC7Cn0+bsxWaxlMqFw4ateOTUXRnbN4S1aMoaLWp+C/oadFJZVRVRKBU9imzBlNRwqrr1NFzGpSbIrk55sZN37nUX0syR/A29t0UifG9tMdm4UsYusdPMuH3Rdh04yfglDLMSCyIhxJcu/d2DfNm3JohE2YANZPSKyqAeugcA9POWiImvBJI+R/p7Pmz6Frdaymm441h3yBIpR/G4f8OtqCr+7I0DkHmRe3uuYs17ZWgytK6lC3IzQqvfy6/TKztiU5+RGA6tHp5oHsv2a3GE+bV1gFBKA8um2TXaJXlu7JxO6mqZZ57KzS1MvNhHQuGiYf/JN0nF/TgKgCAKU45E5QPdpotnmf1K5RIkx0AhG0AThG50m3kYb1hDvLvY3PyLhw6awUuRpn6OBSNX5PDLJ2zD8b2Twm1r938RTYgm81DzBfBI0semAf117l5KA1n8ipMDcaGNwmMR64NWwgPy2VOcAS7yiSoOjAmCEsJdlcVQvKYLPv6Z5ygXMADEEIh9MhYZz+0tsIgZaH+LjSsOa/QKwXdqHoav/BjDvlZ+BZO5F6HwMZbpl9dj1Gnat1AXLw8EY+yEzPe3GY5cypbYo8ZL8nx8K5olzgaJ5mVIONElwHKFmgJQC4DsmLScSrHyL31B6ixprETHMLfjZd4314Hd45LnlZRPWx48s8UZZWwbNVk2tF5H5M63bm16crDRyJUyIwqa2VPS4PIostSg8uyTm2thiVidfsMRWNJHhsvSc+ebPRRZEVk3S7dmu7V3oi6d7yB2nivzjSit3vjHVLkFm8ZZude73cygO3uFC0226gcjPwxME6kznl/FPbF/Zk0ybipNzCJMN3JGwZhcsp0cxe1ZnDZKzZJ2gtxs7FzKv7NWXLzuOkk4YxCQMJenEoGMV1itrPLKbEOQbXo+VefhnIymXi0jMcDrrvrkHdEKWsG8D32SM0eWR5tvJsuZt7DQpWq2Jotj0DPWIV3dx4sk8eK6FWJsq5dmkWbHolhI6iVJR237d6EYDBxPINMB1DhNe8AeBkqaZGpmup6zYdwnCmJGHFj/NEz3wtd4q8mwUQgYhyuCxjZDoUdkIxalKRY0aW0YGJ+kLfBh2qTMxFtG83ivm41A3ktabMyZuihWaozRBs7ggT/iImqa9kbbyNI2lb73WBnmU+A9m5sQP4vnAwF8j7Do+A3lgTFlBeThxxdb7+bjEMiHvUhsWEdW9CA3/aVx2sjPo9GXE3VONskk9EyWO3yZdoS5AtG8P3y0b9iWreAdWUh1t/Cb8iZ19BB5D56ZLAugTz5mJACvqb6P6EhhamcDtPKOuDi/OMlZM8OpoiT0P5c6p0gSUQcdLTTX4p5WqURwwzyfqLUzW9snOn9/29Us9KQhQCWiB1wE1yn/FXPNuiMeWdx5bbsNZDkj1X15o9WCpJr5jp+m4qKD9vW86PbZc8M2cFsVhQhol59sGyVEVd2yEJCfIZ48/kqwr7x38YkQyQ9x8qUL5LhWlZTNrsA8BrpSgVMe0sHz/h7jPp6jIzWpJfvELmQSpb4strM2136+A1Iy+37fPO4dzEJCeD1rolSQds+XoobldLJEOvffijW777FNqeaEtlRnzmr5Q2n0Br84pJ8zfSFDzGKkH/oyxEnqIacs8WAcK8aR3s9bx9y/11wdL/mFvvMZRdaiNBfqtmavsNFr+eZUDjyc3WFlrfVBLpN1xKfcIktHuyddhqGwMKxGhzhnNL5VDJso2EWuEvV4cuqZ7wVd86qdfqrcIK0TTMNtmSOYLP8x4VR/BpPvDRREccLLfiIp0DQ5FjakMBwobmR7V3lsIViXQKKNR8VmSTffyYdujQxD1tSf9G/UgL5AcjKefYVq7/4m/DOU2EF6xPsvY/gTbT59XV1tcVurAnL5h2lvAt0F1MIiph4NAC9attrURwY5W7JeliXj1K6shBV59t4aW8kKcRemOTg68mlBRWey7J/Px1iry60lUIDYWkrosjRLuxjLqArw6z2Fds//5tiVGs+dZVuIyr2lfhMXPlPip4BmdIcVSm7nq4UCYEopeCOgVUOX1dpxB8w+XfGAH5k6dbX8tMmF7EWX4uKosSLEnlOrlKplEQmxGKSexs8KzpnNQZyFzNIsOEBSPJa6cdgCyIMc+puNpuuVocMxka0r+voEQkUvPKoEni/fO/ppfgUQsU3tMLc5tCj7gTndhEwjrFtyHBynK8fJ+VWeDUJ21zBLWeRLC8TGy4xd6ffcoLi9MFtSTqJAp2BJwVpdVJ0PfMWjHizRqgScsyQ2/lA2SV4Bf/mXAOZ14nM+VecSAZ98LJah8JFfI0+m0Np7gY/t8JQPIaTQX8yaU1r4Fq+NcHctncOJn6PlKGX6Jf/AeRVW2ZqmYnXltk9ABicdMJ0jvUU5890ULFZq3PW6RyPjINMb1eVsW15FOGAorL3WrQkITywuCri7HHh5l6QsY66afRnFr+6vY5Nhf8ccs6rm/53wSvzulAL+Yz7gc2BQWnp4K9T05xW2ZMClFSt6mqeRwOSMnPvRUFeNegkUzD7NjN1jHeu6XlR6zreDLxtTe4QkbZFgP4Wr40uhhh7oNGu5I8ODa2z9YJf3nZgwL+GnYUMAPIYc7FjvATEfTM+VT1aXqE8I8AI0VNFngyAgCTsmZP2B9sX3lkcKDcwPPh+WZ9zYXz3fLxfrDr7Tm2E6jYzbaViR8qxanwBxS0icY4ipfXJCqLtdjKKvyIKHeXySI8GYwJjp1VVjBwSvRM6dFDHLmrV0wYmV9loLDVFR6NFKiQJVhX4uQ8HUHKiLqEFHAnG/BKp4xM99gg/vRHhIWPA8U8S7IGSi4vSlD4LnMOaznxW7+8A6bb9UF8juoCZjdFkoZjGts2dFZezX/CPB8hOmMdWMQhN4KjUHQrDHiOVTT4NIVwIW1ZCng3ExNMhIThudLS1KVGko/TBrlgjX26eRnRRf2uA8zBkodHtE7YruSTusuw6V6WHULvfea7fTRmyLmWb6NhkuwZnr8/KAxl4ICbfyCqOZvCgj4xcfrq2GqZ2u9JqM+6KMrVkKox3i92X3XNyKcDVZQ1Aux5jxUPu6IiahzJ8pP/ij3p9wZsngcCSfuWey1sruQ6MFYmM5tTjpJ24Bredahlz98jZ2c6dhvfjU4ubaP7wDk4jTHAsq6lGF174Tvt2P+phd/h2NO/bQedGhbzZICVZ1HH63x08NpFyUm6q+D8fM+YijVSMtWIxRa+IQsRUw6IAIGTAN8OOFTQzYGmBkOfPA4rUatfOTpri6obX35lt/UTjNbSqpept/7Jf03+earmxq+kZSQI7vg7M4f4WWjjQQLxCdzaw2Ug15aS1zQz9dabak1ZrPCxt7w5w+3rAIM4DnpS29WuEh/eetvorHoZqMHAGSI9L+6skwIb3xaYdxx23qXW8dW43CP61VRoL0M0wnycwkyAjwZ0bdnO9QxDlNRYLbnfmn9ojHuHLRPE6UncMiV7z0lMPyvZdRQKiDfvzzEiV5i3MhnVPHXTWop0w3LYSRoRJhCKacZ9+AZTD09X3FjPIeSPWRWc5LLbJ5P4fpf/fI29AsoktnIIvBGxXOlnW+Om9RULeAE8dH2lrkCkVQNYsqOyDdS06W3/VwPCW3Tnb7l3zEPJ0UZVCQqpPPlr6EfGXRA5fuNTj5QhKP0Yt+RjeMOiVWX/Hr9ssTutfun8TRa79qW/ose16laT/EhSSe73kAahbIZeqwFfdOSyd4kdewn1gOAW/loC73lq0BRHpG2Ui0TgWbhP43zc4Vjv1sjaIpYBFxx/OF4GxZXnTcFf+uEO/ybxkhIApjAvIt2+sV2e+hSG9mE08rk7oOt1DRBpaJn1yokOURwdY5e9ziIBkICn/a3HB9/++epuKNQLQx9+P7gWO+EDJcAppns2Xdxgcb+Rcc2dcPMZkbP/4zw3H9aroAq8eqfSPlTtVnHqN7Khywd6RYqIdSM3zs2MUyo1/N8K0ipzbMSuO8a0knDWGoKVMjM8wAJQ2Ns+fJLyH4NM+sc76/LZeKBEwCCPIiUVE5vx5bLciysNEBauwhlHot+mXWYU2eXVKiZcILPd3TEaZhUYO9ioFfm76/NLSf5DTeouWC/zTYzuZz6DhsDlgRk673Lptyrvc1fI+J1D4hzKjm51lGeBjxThWq+ltCZrvDKcE7VMOWPlDsj5dMOWNFCjzZpNkRypcPNM1WLMQ+cxvlRF2G2V8nmrbDtAtORKIl74woKNcpvxqlENx+VQIFFIMd8d8S/4uhWjLAC/QAvrWe250or/S2QDsvSxdi5JJ5BG7/M0V6P1swE/Dm6XLLm+92R2ZvhvExqEV0dDnrTd1ROkZoQM4OldJdTQuPYyFC+p3us2pd4mS6bi89Ms+FpQAfnonY8W+oX81RsVUTtOkDr6TK1lIf2lAWQ5rKI3wAODxtrnrvBZwaH24q2i+2WdZyR928nBtf2GwSHKZZAVCqsb79azWWtS/J6ODYWb6dBA2SHri+fBadgIgM44O0Q1UzH7knzRHigrzSlbEcw5l+FMcS9nPiBNgqZBNPOESCE6/eBKZcYPjwkjnO70OmEjwVzQJYFPUrUh3xmPWwRvHg3rQNojvDV2psi5GAk13OPHroSxJ66OBuS5pub/YnYkCU2S/fkeLK6f7yCLJNSWVR0Sg1P2JASCr/Uonc8LlyW9bNLd47RdC9ttUxtY82Sv5hL2bSf2RiYIqKMxjEskPN5VssoL99sZRffTi6LAwvCFzYkP6Lxw9guGBmMP8rtpY0XeebKyU79D+elQ2QSBNciAdHRdbtXFq5ixRacNG6os/DNF0w9oomh4Sg1pdpvdO+MnxFq3yUfPLpghkAPqHMJwll5SfES5sma5UqHoZWcctEWVsDr322JLgEOTPyJeDZQNcjB2kbOoLvFG2X83+/ubTU/UsRSoMw0j+imXKrI2T6YoGo2gM4KsI3YFCEmVYTJ5Ol7ABVIcHf5sjad7t8SukiNp80NOYALcuM8Tu6khDezZH6iALza/246xAIhxtw93KDQ5xaIJgymcxRFUavMjqOgBV1/Nex/LKvLznAZRkFEv/fZHutl90Jirmi4ytfgJ/oA+P0Wmb5D7ZQ+jaOkV/BXlGGb/t2lj+w63KrKxLGQ5WKigRmNqBQuW0wcwzyXlWAbQkEsX/OUc9EjrvW2HMztnkszk4h6wtgoB1SEZTBkFgUwwrAfS95rbq++uVoU8C/kEh8Wi8uM06JA0BtThlufRhb1Gt1xyYVJH9nyfmQLMm2o024DCwd0dYKvBX6P4InocBVcub0Wk5dXt/MoXVha+EOnpRrWRDT6x9p9ld8vFM63GwrDrGAjvYlmIhnjriAMslXWAizCuKHYSe7dYIzka4SYlwCy6LAWMtSL3ZoO68XdEpK1eMRrp/E7cmUxgG/I5qLb68lyRd19ymVYce2SEtAnz539Bf1Dco7z7B6IZehPA08zYnjiSuEDViQ8Sus8ftesxCXDulvneDuDLnpQglTDAFINWts8xZyDeXg6WWA+L5nvx4Hl+c0QKFJjBkInOChwFvDPhbzymhn88ZGKT6or4SZKF8Q6wa6REntjrHPwAj7VqiA94V9G8OY+gyR3YfDKLlEmVjKY2BMjLB1E2Bu/WO/GOxEMQwDk4kgk2buusHWjRO2WAqJI6gxPtUzGlAQr++hO8RRZZwQ+Njhbz5/Wc4kyaD34urrwslwmj7dTNP5a1yLYDdkHmzJQ4Somocz0WVPgJeDvmetPl8DldscJgSbmh7suaPzze3b5ETuqdPCZvJqz37k27MVwTqD4m8IgWRkJ7dL/n9CoV8qbOl7a0GrhkZfF7xT8ySoUc2emP75xUQo1f3Rgizo5JhuSlzrXMDokzyIG4jlvKrNbH0L75IWRQAhfo2AZiVbw+hWa/MzqJWsABmASd3hpEP3jSbuCwUzVh/CMEqfvHYK055gyqDOiEGz4rqvQoM2jx3FBoK8YyzfK2yKWktbfTi52VFPS/ITyGqhzhE67lwQTWXn6tdgP0rhg92PNyWyHytLITzvvh4rb95LEcX64OS3//AfII7hAVlfgq70PNNnzPs72g6XHB9n8lrGwlW3E0GfO5X+iBfWa0Zh0/KUDM8Cq9wKyG0m/URPw62JTkJOKkWKAoll9CZGwihRhxDjJVV6DbtyhK/QG+rUu/envb5THzn/w1IhOmsCLpsFioKm5cNBSzROGmRk9WXtJpDlDjLIyq1FhqqOocSbeQLMJYioOsOXThNX20wuKk3QBsd72qJFO1ZA7SJhbjA2h5uwsExmru4Jul1HZWTSJFAKFrwfGYnqG5s7RXITEl+xGPH7icJcf44h+T5/Rl0g/ahTTkbQwAu1NI9f+qQftSZQpK9+nSWiLYXisFWQ9SewivVS1CvsrWInwAeP8kbF4aNFsRL7vGD3bF1JY8YOIpG2c174grpVZ5JVCfKwABPGPuqS9/Q7J4DSlr/2s6YqFMfJoXfAGDaOAU4ixui7dXCO2URuBbuaXfQY6e0rE67UeKNz/xKicca74TS1Bn3nrHBj1DpYEaSZW5LDxc3mzc4jeH8IE6kQ/C9ZyLtcO+ou9RpvDWkrFCpeQN4Dnkp1mgxSNlS/0TPWo2xKMekf6/YbCMEuUjNPxB0VoxXrQ8nGUGzhBx2DuLHGLSGCOHR8QPXkdR1UEuR49/Mzp3/Ha8yId/sg2YpT0PXBYu3YhY0LsaQT/AGpqvlyLkloSfZITJ2xkIvlhiyewqBIrUXyPD3UND2LoQyskKQUs5PKzumozZKDeAtASBu5RslWaDglNOoxZflUTFuiSDr1L8jD7OboJhgMpQ65wbek8zMMK0bMNG2zzm9lERd+ACn80bWd/WJ/YxHA/ApiUJznJvBgUwYzBCSdoRt5eHojpHIeSbeQBoWtrSxCyYJZRnIQ3Owd+40PQmZTOlBPiote0SnIOQjyJuxTUcUhNFRHNs3NBgGHrt1U8WjLedmdRo9EzVBYaCuCqLnIuwIr059TrWVGXJyPkviZa3VvKvA7s77bkBZwPcw+9hI6nUs8mO5M9JQQGh1B5mGXf9vxgq62tSis1g5R2KNB+Xk1+f3GjOTUbh2JeovLoWvOvmQhyb0L9fWkdNYP/LnpZ2x5pHpItUO+K31pZlMIOAmyOX6L0bYQEmqSUZhxWTiGn67ZglLdTeSunP2bCuXhiqp7NvP5hVNlrNMD+uPAzRZuDSO5wQ6GcGpuz/7wGMyecYvt7bEkWOnW9osQI7UYLdszAqhIj7WgvwdceVHaQtObWq7wij0iNGgAPzLuUMG8K29nxN8Xja0ydJ9n+5sqwea97EVpDt9uLS/nRdAjVeiFn/aQcMtA4kKzSQdAWf6kksYE03JOIj83LZaRg9vJsL/5t7PpoZWyEGySvQ5rte8B4ycoTP1MY7Pv7/ZZQrafBNwk4P8bxy33Aby1pjjDtzE6bVpFq558SFKD4UieALmEcjZCpXyCCKB/rbBUfZLT4P+U9b22fKexBCe61pV9bneAGUn/tL0AKyaIFlSv5nxmIEj0Fvg9dEmxBmLuxJ4=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MEKKOCHARTIMAGE" val="FILL"/>
  <p:tag name="MEKKO" val="MekkoChart"/>
  <p:tag name="MEKKOSAVED" val="1"/>
  <p:tag name="MEKKOEXCEL6" val="False"/>
  <p:tag name="MEKKOEXCEL7" val="False"/>
  <p:tag name="MEKKOEXCEL8" val="False"/>
  <p:tag name="MEKKOXMLTAGS" val="1"/>
  <p:tag name="MEKKOXML1" val="4HooU0THZk28POP9trq+pbTvvzd/gcV8t56cq85kb3NDTsUhojRA0EsgEHHMH7oYP1SYpn09ysXVivguJdhTvfyVMsBLTGvcX7WPTor/CmWiWcfk2RmY+GE6Q6T90sFUr0lg9IPP9y8umrse/9AoLT5R0GKq+XM9pr/aTyOTf0wptcuHbHxeyqBm9svU01qeeEM1v0hpSHUgirOnAK/wuqE4+dkl4wQfaKhVGXQ4wkQjGZ/xta7m3ltcuh7MXcW6UUzr7PWDqYilW+uaB2ctcN6p0flIHsYAqXlnQrEKYDY4LJsj7tjj99GIk/Ks5dj1i8z9ZdqK7LU+ZIUzphvXnx/nTTm4AsYmQXiKJAHwRn7ZM/VuurtC6Fy0EDC831Y+5vH4ma4BI3ueHT+s4OmSHcqyb05l+Plu4rrz8KycXliz8aDmIsT+IBYUURpRBnJJaKWjcKqU24QxhLIP7QO3Dz7It41Y51poU5emZ/WLgamnooFqVMu6L1rEQ9lEjMt92AW8GRXwbxMd/6jGPZCFbtCCgQQDnABnwjZ8MINsDqcKX76v57j1hdNaNqOHtmtT9aR9IbmLPdDFNzPiWoaPQRLVbefdFMqjhoGK+HR71s/aFAhqKpZhGHpVkO9u6a3hOrHG7rS0PzJyoX4WTtUvr3zjzefXZTG9Y0Nvx0BqLlDeve4XMHS4TN1sM5d9y5ttfv2wTYnD/RkYqnGyMgMsBFGbGmGKhJsE2UYQmRWU0DnKmWK8iNa92hApz7xVe2BBOndEa0eV61l3q6dMsr5JP3ugCF6RKWpnuS4hftXGq1rf8MuPNrf+eVJbDrc+oJpRWpr6lEk071y1vu3az1fI7qyILPRG1Q7pDkTYl+K2fZqlaXzcuMb3ufseDxUzyCLhbFpc0rhRYdWF2lqWSwqaGjgpRLAOOJT0Xa8QfCEteKgxfWaak6US4Mu/jKN0Q60am472BEzJxG+f0rsGUo8oBe2VEsqajsJ+0LwDZ8SkxVezS6y5Ta3XbGNrvC9ZvKAksRZMMOd/uQLS7jCqpQS04uSBd4FQZSxrMUZ1UCcdYtecMkW9fSlkkCxbm2Yu8IaoFhMpJrcdk/1YXFhmaiN7CSTuPVuP02Xuauh74JdeBCSvOq1OTDkYDYtQQ0XLfI2h9EQfW3GUuuJCqtrf/8zSVp3Kw2lseftRsc7pvb0yePtYX4Hg/hq19Er1LrnzeBrSZskIoaLodiVAumRDhTXgzW8XJD84u0TxefsebIjd64bvAXnaga3QISF8bxadcEcLbVqQYI/WLcaWDczV4C5b3m5/jzhRnUF8Xg2L0m5DjRJJTsoHwELB41y6/kv6NV1vlW7kGebvQwyVrroQVVq7I16oIyZWHHwvRwXEuOj/6xrX/ozRqP7yhSFawE7uTuVqJGV2CSR7lU9EDn/yca3cbo1S/s5XzzpjT6DI2mhmL92hO8ieF+U5nA80ek1mYssTEq0papobvZWyz7urP2fnqhpHSGs7iHauBViqKLEL/8j+gvOAH9RqBzZcDiyfZ4m79Ja7UeR18QuXL10j4dsvLNP0nq5tY2JzwZh/wy0ZMxLtIb74R1NzskGUnDGvgXK1tu2pdBE1fsk/KTE6yJoiyBFKTQC1qVW9hpuAk5eeGx8z961R20LygMGca661m+AxiUxvooUmpeFDU8Mt/TBZWuCf7K2zDFJVG3CZay+83IJly9MYyi2TTOPmCYLuaf7lNzaU929Bad9keDWfNSk+AOEHtZJ6hBACeLH/4Ufalf77toW7Z39IjZJLsctdRk9prnEmd5zIoyzhJRC70TVUMKgstVQYxqANqIZIswrRA6zoISY7foh5TvjrWBjtaPEhhAmR+I7e7k1ZpeUJXV8QMpdjuJEncZQ7ECqYeAqsKX5XeI5t+2uAaFhZPqo5jGVojLVoPR1jLuHjDzJAR+nBHQ6oeQpuMYsd+Jtlr2I3z9PPDOrrzSoaQG583+q+tSuTDK3kxL1kOSECL0E/HBmy20xBxlg5sPSeEyi+j5F1nnitbu59gh1PqO5HJPps5Vdy25eGQ1hfnvvup379l2MYY9Rq/0+qWEcOJim7c5A/S5d+1HUtp0kAWvq3RLL8ZKMJejh8nQE87yleBP/6xiyk/Vsw3swCwPptv/a8q0P1JfHw4sGNrLNoGMjZxwwUgNbuEMUTx3UUrBwWqBVQ9B67/0+IWKSIqHQF3IFaSGjmbKllnO2dZ9wr0sgBKtH8FdpmnE+htbPFXa9AEo5ExcrFiHIHPBl1qjeWNJdFyHSrov1YnyHiAwCLwd1KsGcgZRuE8TNirw4o7UU1mgmyEoflIMI8YCiGgRg3jS6mxEal28GBFyVzueCRRKEKR19CUxxtXirzECPrCcVGvN+BbredboJE7otsXxx/7i6fI3/5XdJO5YixxXS9sOdlfahU5LaYuJ1CKDkD4VDflyg64xGyMWtwenis7Cs0v5doO2GbzmeC4cFr/JqdUzBeSYVCjh8/J/4RKR7yCkczLfEN8os7nxAhOGN9ArAGvABa0IydyX0wewWHMs+Z1kEBP2idvZrkArB6Ni1fYqwpj1YP13SFMV/waG9c+hPxU/d5CshJBdoJ/v1Iwq5QSmrdP7QK8LXM3hqHtXd14Tv0T0e1jWQrUTcXkynRSnFiFbqD5jZjln/fSdwHfMjOrTMPRwoRQ5pPDuqQYJyJx3mcZbxOyAvKLOkVyeS7LXwJjqRVfeqdVYb6tklK/P1LB1ByOh/yKIbvPzwP10X5PmmAUpYJn5za7DD6bEBx9iD32BC8cA9T1hYwlJhk7ZGBTj8wlS3Q/QtEu4BZ8fgVlWBhesSzY3zYKYwXCwDaYgwHHVqK2qASvFo21sClc9eDcUMlXWpLAykG9U6xrKf8czQle0o3egQZkbjHkffzpOoNuyi+e9a8s51Z5q/NpJnATbPlAaZGOZAE76WtU3PY+k/4Ozbfk8bnYqI3XSYSb6pfNhZIHZcbCePE+7nP4UKy66aZU82xBmpD1YPxGjlWOgVEG7SfUZCS1zo6l79X0TDoRx/l1QxqGLkb/YV9d5eBxJjpm3bjxPA1mKM6NJ3EHlVAGAKynnb2QyKKA4h/U7tXze1baucTVK15sSQA01z4Qjv06FndKwtcDPs/gFIhXSsKFxRQmvpTyIIHcBn+qKpPUjMt3s5sn+X8LiGe0c43vc8qxDYrGJj9F9jfJf0gPz+BOSkYte8HQWSlB5kmSwMbgFaGxbT8hD7QjROmgl1ji38UmqRYlGtp8JtgIgxMTrf5RlHZY2NVcXggEZuAkGlvnlIsdmjpiL6ixF+spJjq7Ra2bAN5eocFYxDUuvPcDl/SBMIXk25CF8YIY+a23OWAlHv3CgnDtn1Esf4TwvrQDHxyrKDNiiLSHQhBAZLpJuO95Vtx2OkcaYS6EjMb/saPF5E3x2z4w0R5QH0jrJ3LHq3XdVrKeRaP23nYO9UzmRjOrPubD0UkkJJ48FbKPE84C4SZ90sjPCZ+wX/2VeZGkF00SB0LmmSztx6JFd98JsI1Nynk+BM2vzsjAssoV7C/zM23YPyanPGwIWd945XcLTtiynAhjq5Mg0gdRRurZG6e8HcnS0WGGneMeBMAjjxZ99IXDwC6URteawJJ8/m9QlKblfiW0IYZhNWKHYGbPGqV5TO9ZhiwLwRSqyvP/hMna8nNPQVD8MrZhypycLEzbX80en4e2OuLLUPqEuQz08zkFreRuqOXElgPyUfr8C8Enn+9Pb4lWGWMr1ElrYWwWwawKd/Hnn/CzBt64VtxL5ycH9QczZHCUHtgRmrNv0Hn0k4JdltgGod+Ow5aqjj8+BCUY8UdIH1JyhRNMczyNGMcnsUlXz8GiRhGeun560vZF36vJ5Au1jpmYpgozj49ozvOFKeyFzwCaT87+dB7sGD3AJj868LhlRk3WPYuyGdkuUX2AmjCjgHhRRIOZBSeFVg4V7GUu6Bzi43biknHkdIAnr5k25SU4TwbJJWF4eQ8CgIGIrhly1HoQPaS0TjIHGQ8ge5ONjqiQC5xs/ueesjW6bB8ZN9XI+kf6nVjY8CH2lCGtIsPRjN9WJNPPqWuQEZuhrhEk39lxtCvr6qY+7R56c1Af7jM1R71jr11K0HhjaenuxK+MEmbZ9ZZfnL8iMvTSUsqplnQSJ/mydbOZre/8o3tFsRdBMjcuQiEHcsIi7eU6uo48tvJw/sZyytlAYxkieLAePk/6zGK40MyB73jCvtyFgd6rpcMDxieuweWuKEyhd1NHN69S2Xt1vtuHvqaqcU1Nf6q6bd02QJMzJlO4P3ICcsNTwPDJfB66Dz2Ra3yYwmTKfZsUU5kajbQM4Ckd5hVCtYCpzDtpTQ+ZkXwey1/ZcCwyXFhMZvHlQaBXoid8rLHLBy03RswGEpBq+aWM7LW3wTowH6iI3E+R6Dx4hT3mo6HKlou25sorVasGiJunIjBYbFroBnak1E1sfAXmpBLdW98F2chbsh+9GLVL0YurEJWC/YyWWYYUOWAs2Fsf5Guks2J2yB6HORuYPYiTAMo7gVkAxuHEUjznycH6pIEq8yrlyAAZKPHGIoKLdNvVWcH9eLCygXcsl7uXIKnNaP7YhulSEkW0VsMm2vhe1bx4Gg1j8SWh7LVKeoSXXWkM+kMd94Fz420lZrfpUq7PiqwRKgmAH6cKnhe5bD6tmZTY/18G/3qr/DKBSVR/zUmE+6ZWaL0Emr6LgTSkKeL7GO0g3Or5wvW+UOJ5ZW+nHCO4E8/q0jXwRkaJdeE07O2Uq7XqFzegMd13nlOMOePnmB5Rox0P2zdYeKmoe9cAlljak382FC8QYTs46wFij4fHb6tnDijzieKxLu/Jp797KJQNp0HD4i81ECyC/eI2L5hiWZjMCda/qAGZO8rQR2MYOg303quS+LAQH0a1IXXGper6nX0tTAtJNAbpp8u12Hyxl5bflk0e/ozUKd4+dOr7IWiWq+b72NLGvzLU63m9fqqTZMV5/eYy44HjoFzqw09e+il61PP5z4KwW2R5tcT2GgdA/8UH+S6vXE96b2OabF8nCfIfWhmsYpfv/5ysZ2hGanwmMyA96IK006OmaeaLrQ8xoM4VjVSk22c83lQKSZECIHIwcXCCQbRGW4y/m28QWsf4z3fBf5ujcpgUEO3szVWTTIbi9Wr6yvRaOYH9V08qGAX0iyWVUO0kl7BclDqU2Sr4SpKv7YWEHFBH71mC1ojOszk8VcAMN3HAdlDQ07L+DNWA8pgIRnieaQdgXInZyOHSK23XC8OQBE0ykZizTzFoaj+oeWvryZ7H3fPDLRDQppMX2jfxYeM+KyWpPzHyZ2x2XcbbBOSc8KAEuB2T6hDbWgeGtplMcX5Zy9SPz4RYjtSGBGfZaDRDzg+5kSwNOGkdnlJxlQArQnQ4H9NHZpUD/mR1PVuR9K2ExiIeq7Kep0YFaK5qpYeSdrHh1Mh2ge1UyDhwu/oQm1KH5bGNUzrJkiFUFo5qGc9Bk/C5642S+3wPCS85GqEBnjfJy+NL7ofnXIqK2AqcRFeZRLhdQWecNOSCN402FEm2IwVDGnJW4MU5zOIvitBYnAHT/Nq+gTVyowarSztqQCXtxTz9gUTZfORkZgM/Wdam8lnE4rXTpuu8XbPREqwdTA3xOR1zpCvASF/eA7ppzFGRY1qB5g2yzZMrlXcjrh2LNkzUMGbl55+UiRcCjWIyFlNYAdwWF3P11cj5cocNv2STvbkQv93M9S1rnWJpSiZC/94hXL53HBBJKw+FHekz3+EYXZJawXsCR8kiIANpnAjxGrCUmxsoNh7TSr60Bo3uTkD4zokzyTb1wlG3WYGzSGQmw3eRp7gt4rwsZjp2nYdkESpg657Hp3FJKf9hWXlkfKrzpN417POXRB3AdxcwLBVcczNZuBGWUT7QiEjClgUTaPpvyRvImg4al9C2MWj+SdFKtqGDOD6ZQWrkMkDcE5+3a6EgvpvqMso+IuLbCL0Mw7ALo0n8tdvZr+IrTnHkYLfpeN6a0v3ZRBVf6Km3cA6T1ynphkf+XSbdFWnqKauLBwxaQ9jiOxQu0wHvTkQyDZR+Tml2Iz2NEei5Cu6lzoohTCJ6HdFYCa5KY9rnu0I0phsA30fzB/yU1hFr5ZJk9K1bADg5uZ1m3VXY5VMMDxKgrV3f7kOe2jlmfKUqHsfx88UB8aR+iKcwR1wfemvegADC9A1MmmrgSNi0DHOcPkalmMr4IsCXYe+hxabLP4Xh2m0IYekro5PQ8ljv5P9C9GQ3dAVkAWhu2ExpBAyBFOgvOdkFTnc0dV3dJ0xY12X2ra/zQ2NCmA5hcFhxjUavxtmTvJsN2EhW+PRbL3F16FytS2Ck0ZnWyT4tNKLjknm7J+Pm8jTen1iIqoKd01LwBxEvsATitVQc/6GUju4QJoOVKpNDZ+I+Z/EDj25M6AsbRDQLVzqFNptfmAzlf0SZBeNz3qxOFPlOkEt71td7H5Zew++nb1q6BXDLnPHpPS5BJaxgxMaGLk7pO/rOLvO6UcRU9u8+8dAx0CfaSHxihe1HuBBSTd77L2W9OedHwdvoac4RpVeiWFOwrXV86E+OVranlSXqKKbyNj7m/v+qUeSdYZp39lf6v0A5p9oOkR51KW8eHauOzimWw1+tTtTffpzX1Be1rrngIG2kCoq6AbeOCdmXdIqnhstofyGnUBc4zLHmt7j0vpegm+ojre4wPYimG4XD9W9cVZkAL89bIfPPDU/Bs7gtV8Kgh6FuGxqkNFctJCCInZ7M0ml6BsdtNhZ9dFbjab4WoVBRd+kvBCP+CHtvR06xeKoAPReIWB5z3889OzXOP5jNsqsIjYwqNfmtVMiLyQkP0O9Ne0qAs2nXjAWC5hQhoMUyixBF90FVw6SC5+rj9ggPyqav2rKh6aRD3CnE8antKySVC1z+Ag6lKdq3XRdq0ArAhdAIp1jMWttLPBMcfNp7WQEwRArUcMOxR/858iCCi18kO64jY0Nzkon59Gg2isJUSFDBFmItjhfLFxSSWlakbld8cIp7RMaZuAb9fCQAfCU//6gpWYb2XaCHEswoxwJgFfVfS69+oqiqmbClix/WHdcrFt2P32Ai+6skvNgO1x3u2IptaXaMfAoNg1Oz/3fsU664femuUBzEAp5eoAiSkJmUo7Dn54W8rfOwJHhCcujh5GEEEcaz8zlIUeLBxjTNmwPiw8bHhhM+4WR6NY0fWIxsLIZpmdCN1mCdHTdOnRhJ/GrabxnFxjSeR7iJEVUpnCeB0JqsjPPHIVW1ReyYkLtGcnAsgYAd653p0iLgJXGaNBaOgsnNpClsAFnmv1SgUARspSjlwTtB6zsm2+PpF6/InuLiK2yBJHqe0KmIzAE12w9nKrJLarJ9FAyo3JZ9MFTABauBeco89HiUwwsXrct48YzsU/q19k9D2oqiL1s38srNeZ4KVq/1Nhqq40NljK8lp6GRw9tQENBKp9SHd7B/YJWM6XAdddA1khCYDFPVQxKmyiAsocBoiQmqBUllHo0eFA/sIdlkGjU7wsV0D4kdQXbKQaJAJv2XQIyUzOsY7xJ7UKhwBFUwlMqZpF4bUo9XrWqezHXwiMdA9pUv6Q6u6H+siuTzImvp8eaGEaPwQo/iLCGH1pDUlmIjZOT8uQkxVaethNJ9y/shjcRpEkW5ndY3leED4PfCK8M2ofbNHdNTZVX8aQ02ptPgrqijIIXSGu27JTG/z+b2pH2SLkvlwrFePE1EDJrHPtYKjLpesyN04apV4FIuw8ZEy4E4Nd/FXp15ieDPpCiPWgz/+y4WS3XNYg6fUdB6UczX6GCzyjwYzaQSQlpE9L+WF8BELJ6vzI1vPUDxo0WoU0h6QPw8p1BDbuiWzs6dxM3QSMNjXlzksHf8I83w55TZJ5JJ0JlXGQCBFw/hpXePY8ZSPBPSAnZQdqef6UFWDEZjxqZRoftWNslXDGgC0VVMo6sp0PAZOxSMFuXow2gtuwr5vp4dS8LDofmJclb8QMZlGZ9k52ESyGgD1k8CxnbliXk+eUDVV48bcP3nEX99QaBbjcVfTvAirc0OchEF/m1AAqbGVKcQUohha+nRT3B8z1E07ORaaToTAR8JHnBDmunmd5FuMpS5CfazZ/21EpvSM8oXF8Y+UL9TRGgCuqCd/9OcIhZw7ZP25WniVTA5Z+ZP1aiWU9cXJt7XN53gh87Xq52VxSDTUdS9DS2XCNX7gb1WAfWI2VyUNnVJkp7oEzkFCA+ZEqy2DW4yZxnOC+IcOcsFpUrmGjY5GXoKy70pwJXmGvyQ0Q5yJkvyxnRmRe+srIHWfF9KAPF4WKv+2JaZA1sAQIl/PliGRu7f+VaMJ5vlXzgMl7q26os2EXka+MIDqv+2Q1DOt3uZ7LeIS46fT0vPyaFPzwVeIx0pX8agU/4rBQQWWdbXKdO8yEh+ExNt4gp7gdv/qv4jRNFamyLIfY/QDSmH5TjVsKA92og2eJBFQgyEQHP9+VEbcZLhAN5sgmZTseiZxsVWn6OolRHZ+RFR1KVBdcTh3vG9xBQYk9dtcl8WzrIViv2LcOFLRC7gsh/OQdJwQV2AghPbwnLnuSx2FVmRCxarb9mhGdvRu+ymBqELB+pdhXGr14SQVnwZag6e+B276uvYFmGkFH71YZQrtI+5cVBAuLO3XMxIN6A2SWD9KNa6BR7t+tkJHe0DtOnYyh6FrgKYymix/dA+GJ1JF1OqTKPbKzvfDBxrvtMzbIrFXu76ykClRoPZ8FxKG+iUhEyHnQ+b6iYtQLhZc5l3y4nE2AquPEbfW5MMkTHakUgkNPeB5hlKhsbH/YyDiofde436JnkuYNny8ivbPsvRQ4f+C7gmkxh069EdXBbNdwA+wWSVighvnqWtS++x8lTo4sEbLUOvs2c5NhhDBEeFk3fTyyht49j54uqYBTeJ5wJVQpS8Fi7q8FBJRdJKi5Y7aITEvVwm6K24KaniyD3Xch2sH/rhkNNh0sa2wnUC43DSDQIDC0PVg6u18QWzPzxWZrQK/fXXhQMPX0oZBN2VAKaWAIp6S4UUFokmvd0/ijaOe4V3x8SgbXrMk7KVubSARj6+6L9BfpXPXdMhftP4Js7aK+Ljtpbt4pBxkNK9TKjgcsWdWvui7KwKSEy5RikDywfOwqSWhHDihkQqSm09tm+B25Ln9BeZoofFOnPD9gd1bpCLKrRpUhjrk5wt8+HvjNMOlO6nk9N1lhM2/Ah2Y8+L0uWc41+kqygREGAC/BWYaKNV63eaJfl6IRp10RvpFb+xLUfUdBqyzAK48AsbZQEL8Pub8N2td9ZlwDuh+DRMlnyBYerx42uztb49nG7IYlreGV+vsZbO5ur85uPME180H3jk0AIvnOzKYrjrA4aVhmGC9sf8VpqraxE79wM59Jl9c3kUWk95NO3a7c7jj7G6fpHqY49VsLiiUUJMpR0Tz28BXKvsWgaHPGQAURj+dGT0N3IYya53k9NUfHAWJIRmWbTZMbRBbL2Z66PSD8XmmuFkGoX3k9ZBj+B9vkcJ0Q4xhmyEVxQE7IuCOSbRq0iCiOGhqMktFk7bP8wS8lVdAbF0cbdhZq5gzhlu5UixmFZsliFTLG4datf7XQOObmgLT0q07OEpvnDWDdQXhSg3nzRbI5QvpB59hpuA+uDhGOBclfftZFkIaf+XS/N69h+/qJ91c18LnN33hxMAFxT0yCPMHt5wthJgUzd8LNad8hkjTGzSg4uxdkFgReDg4AamZ3sU8sFug9IXwXkRuaB3n3h53AR2H+RdAx+1oYybB/25eZjScRItYEhvpsjb65Sp3vLviiSGTvHvI0w8Jv5jQgJVnOWYgwkuCbERcCVhO4Q/iN+XOSbuCRL/fv2iInCpTjitj2NtF2P774AlrPFNiWkY5Civ/EvYvGwe7cRsdgxr4Rfdd2+sDp4i9GQ0ObWox9cn9+/2hp3sZ9VHCKWMrim7SlNyD+xRQZIxxoWdrfflRv/XfH9X4b8PFsyGPYNjRUdnHrewUV7d4jomP1Qr9xArXXeMoMGzi+GComtfZlQeGdG3OITbS1E7YaK6C/JuvSACZNg9/iL9yXvoAcbRrsupjD9W50P6v8Ei/XBxwBLO8taeLSskJ6YiFSykA/S3+eiQwBGqFuA9IN16m85hQJ8t0dxxYJgf5dN9Kiudu+M7nEpJmWsv9746vDpsMPg0gf8DSgAjLrebEjL4oSy/IDM+dVdRsMmB725nrv1QXXBRN/q96uz+j2g9Rl2ZLehnWSX0bSQdZIECNWBYYoK0zGyHJZXQfgqeebXsFpji3UHq35Grean8xrEykZet+zOBHjSdfyb27Y4C25aYVcc9D67G+0LR4Z23wnV4Wg2UU/RtWGivKH+HBMtkhg2uJzY6IkKQ4zw4ejWAjP9aQvno67+ggeekUY8CGIpDixjOoROnOZhgLVpYzcfbuUEo08nHpQu/RzeQAY11Um+acDUssUl5mmau0Q5KxcsRbrhPeHd8Zi75U+GqpWZtVp1TWdA6J0H0eVtCYWxDjDZ3wrAwyCTgMx/jrf0grP3e0Ki10YSQcvfg/T5IJ+y0EfVkHZWddwcyoWNvbn618q/UYOtcnUAnNA32qQhcaL1Mp/Apojqn0JKFUbE2MIC6Vl/exO0yor9WsU4JAejMh6AOsrcAguZrGSetyar5Y7JgjC6Uo03D+gFHPbAL4ycBmq3wxLjiEvk2YK+HkEY+CMv6nqAJjMJ4xYoZS8azZqfJhk2KiMlamR35kBHKsMHDNq6zwW+xvQAQdeNp34MvlbnHcBnPO7mZlIZA3J2fAGVUQuhdgzYCTqAqDkxP197w41xlDgZlNsuGqXoKpWr4js+MZFUN8uOUaJN4nIUmr++WhYMNd7sk0PPSm+3ZDXMD2a90276PlaOWHuf0yW7/air4V40HHu/znSEKH/c1oP9vyvrtxV5ZzQ3XASV4oU+RIpNw2jiWa2ExetUq9jVCIQPmoYFl9FREysJ60XEA43zxLB6LYxxxRPJK5+7u1wjFHhM1rQQtZPzpGaoGOniBhGh+btm6+IMbZr9WJjGOy7t+UssvnOTpC6PpS5bHVlykqtl2sjLOaaMZnAQIVIa7D2jYGqJMNCAqv02/V/rjlzjD+re8j1zXCGTnb6M+GTOKUxvq698Z2hKsl8Z8fvdbgY7YqnM45RxxaJW1fiafm9wgZHMI6EbNCA1hSQMhE6oI/EzBVwOe6lFihDEVodt1b8/22tOkZejl35rSt0BDsekl1ooM9LfQCXQQNA/VadlIlA30gEevsdUclyx+VjAf6C/Y9IuWpGCSOJE3t4zLfblyrvk5H2c6834Cc0yHcM8cWAIZu/1v8n65N4Cz2Jr6FRNdSEVBhc5DUESNThaQ1Tl2iRS6Qjhs1PzxfBbl9YiMNawak+6FikUFjIEdb5G17aVDYCK4lxoWjjuLVDHLLFfdK+v7DqgBdSB46hZ+qrj9WeEf1Zmg4cvh+hPKgjOO0Zk/Mr89DD9mDIVGR106D+ac5+rJFohdX0HmmipnOxWCSA2iX8tbo3YBlTG/xK+U/YX+aIUmMXGFVBzw/0JF4ogqzj1VkvFpOYzsPt3GsL9dkVx1MId5S+t7s5h8WEdtYPdaqvJ5bjqz5zSr/I5r+A11p7aW66w4ln79F9f+mzcsThQ1OCIJBEvTfbitMAICp/+dR6XOX8h3zHhohIihLPkOb+yLDEpExHt9OxgAkc7M3l0x0LkrOJP9hE4hkQpju1uY2dWDDoXvmEtKGAtE8gKKjBg8ECQl5KI6g9AZp+qjiNlGH+8gHubwyj7RsJlkHp0AlTQN2oAs9gm3UOeNwpANfiTjF+bgMb1xQwxF+viGgdJVGAOfdlYxy3P3QmTrGyX5Bn+0nYp7vZqpzwzTja9SkS4qxz69lVid63whaDkQB+c4bVt9PPFfLx7qZbrbCqh7GvmpNB27bJu6j0L2ED5SNclQoulIYNJ7FIiWi7Tg+IhYorxnFgiUjnTC7M6N8KxqgteoCyxLF+c5Gy0QP8zVl6ySfBHrOy0xMj1qa02aA+9O6lVk0IULvnbdDYy8NLz4PQ+UPY9Ly860aMnLRMu6NZg4IBooBwTtmIMyDWI3Xht1WtTs48RsreEMrIkNvU/l77cLUahveH8HeCIIXhALxSOIZEnNH5wntgwFwg3SqG6S1TVzgnvk1RnD/0RNh5NiFdbHVJqNWUgmznidpjkxBb5qoKhWVkfGgOn4NiCRDACg0Kgse5ejF4iCMb4Fo2eQ/K1QNiwW4WT0SHcN999NuJBIlwakeivC6NJ0wCssAzSUsNz67Qd6e1B/qAxQwJaDvxuPAJIaXoHfTsQyPD1fkvH45pVuybdS7QWKfzOfqaJOoXEGISdU95ncVbqDha5FJWNOd0ghErsEiyBBXawUfxOwMKexlw1OTqVenqLUpedDJoXB2kMtvNbrrrSN1pEjtp3zI3pE1wIew90JcvYIxYpVdRWiTS59XArjferKPZi8Sy1BlkQDgHazEhV5M6Xl388BkxPgPdP1sEz1atKkoVgqTsD1TJG3ua/sSfb4tkrPLLIaOo8UA0h863eRSb7eM9jZNVI5Ggr/qZRrnmQNs5xQR/Jc710HhaaUyQ3rdMet5OOaxVmidG2jqZ7d3i4JEe4hPx3YNedt5UPeAUl00IH9P4Hu9K2Po+Z8dYwWXx9YK+6qhKnnhJXwjj3YCFmMMxW8hca71nOJ8GSoAjz+t/9kpMr7vMIIR1ZwQOM9EcXCkrCyM0mYHbhh9Gi97nzfrABNhVTREhKFrMv0CulNgV91LFL488iiwqaEbhwwFZmvxZ1Y6wCpe+j9CQo+znFit6NJB42rEzn0+ns0H3f3kYpX9E+Qef2cIUPRCu6MPRQf5SEzIzus+YLyw9das9N7csiSPkE9d9KsYTIAdU0Aa797S72odTJEELULQU6+6J3TnPjbSCdcKA+0v9CqYQMzVH53hr7S+ycwhS8/dPPBhUlL7FYFPMdtMkcQAdKdtJCBjLTBAsFlObzJO18EXsiSkRDhUEZzxA4R/onxFh0v0Ty+RibxCS7V5/PJtAJ/PmD6XauvCrGApQxJ6Zu+jYNh+4evyrEO1I5kK8NfA/CVAOJ1H9boPgqAyMkdBgDe89TvTQzpOIl/XJXEfCUX6Karmetx4SoXgLCRPGlgiCod+KgRNvlgT71sIejv3m7oi/l7aLxYeAYJRel6AIrWZWtd1LCMiZg1ihsFdMZK5BytXgEniwi3glAZBxQ/yLIxT+/d3D+oB3oqeGINTOJ4rI5VSeBgyducJrys0f1qRaHxK8XRgZ3Wj5l+p5WIPfxYIWME94DyEuu+O6vBZJjNsBh+6HWiJF3rPWa/yDDlcWhNeNzkGXvY/mV2bAqIZhUmC+bPF2wIJUh8waddIiAvEUnHnLujmm08aVK1+O9bZCU299YKivox9GlXKf4dB/fRyTwrmXlyb1H7VRWcegNkLoZrm6TQOWhQuiUSaGJnjPtJiWkWblo26gY3TRNwQdhmL0RgGWDQDgbkGtwGYR0N/Jop5aFR3MsRLoao2yHCaa9NSg/tzythmGt7IGGls15MzTfLoA3YMvK8Ojd9xSJaK3OQAAcF2qmtjE0zTDQPG8IwtNQo4BGOnzmaP8Mb3lLr2SaN2um3ERnVteSvZQvK94dCj1LSJ0Y5zTYnjW1LVtTHVZ388GaJ0w7a5Rx6NiLh/Mj1zDoWZPEK2HcmwRi0EO6OfFSo1ei2a/QDy9om8sh9O2CMNpXKbr7qJiyxYYNUxAk2b9V5yuVfaDGR5Jzj9lCx5pMhJguksNY2e/zCuU11X7EzWqMQ+B9hiQLwHOqa8Z1bW/IvzHiuAEbkg6fHi3NncZUgHb2OgTaAs4okvGDFPOszDw4QoRS5Ve70Do/gLJ8m/JzXK4S1bKphi8CvcIAtXD+2q8uAkRv5zxB8Bs1ygZug9igSeHsvRj4B6sz4/5d+UMp3XAPzOnkrmWkil2BnibASXPVw1QnV/3ntZ5pwGscg+GUnshVSgTrylf3HO0vMMVSBZv3qF0BnI5Tqlks+L+5T6tLI7/rmRZqqJk6Y5Efsbt2wcK+uuDog+OgCJY++CLsZxKb5JWfsSE0QGqu3hJv3992fyt0sCWTW2aplMOgPdEbtmU7wx644JbU8EmWauAikx4VtfuwY2K5/Wf88n8fVzS2czPAydiCrh7sJBX2IfKPOMXHDxU9IfWeorV7RezLYJFIhz+1HuOX7Szr8cyOS8NotYLUkjRy4xRjqCjYCsMkPDuieiadifyBbW5GyMc/A0sZovb8Uw4AfC9bHAZBRvm8TF29kFfecX1W6iSEWVcqaLYB7a1sVljaXgD8Z1vO4GTL63DDn3jS8E167HSvi7ILOlbcvTsR+07qhjT2JWrqFEgZeU76i6zMpCOXEUG3AKmQdD8LbRunbl06CkwTL8GcioH2cIifLhACYM3GH7V2nEdJgFCt5fOB10r1lQfHrw0i+jt/RrFzF7bodWqYiM1ETpsV3hSz+WwSNvhbporb4TJcd2ixbtNztQ/+42RM81SrOaa+FaR4AVLSMZxnSVHAq+m5g1VuuhkkaD11kh42UDyZ1OvUShQ6ewMXe4+0ot0MHWhJa5qb0OtaQgFukhR1KeraaCzDkBxLyHJ6uPsuvl6es7GcrSRgcb+7bIh8U44+yQ9vIgbW7+w8UBiKIQ1psgnbhxk3Onie3tx3/q9koEBZi9Q5WGXFpUJN8Xrx/rTmraVYsyxp7cwPaHJa+tJDgjBtJzH1M0BW5hFGRQUoXxpqtF4K33SHeaQqdzDYqRUqVXz9FK+OdfQKjaT9RZj+ZFY1//F/uHBgoiT1KV1hSVpbCK5Wa7RehZrG2vys+He6t6oNWJaKjcpjsm9bD6EuDhWHGW5d7RCg8HpVgn5oJfHMDAANR9bMGaAHOs+LZhd/LcHlhlkGHrhKkjYuyqMSiQaONLB2NFBsJKZ+Pbx/BqmxAT5c0F+bsdZB4rPQRutE0ui1Sie0CzN9EfNdV7agSyRnC2bfps4yPCZveSi/25UerLPJUYDwMnNOTusErtzKi81Habkn1RlpI+WXbcAVJlUpuuwYAnysD7uq9evrKDUPMa+UdLlb8Yrp58dKKTPwOQ0lN9rcOjo90VCe9kwDsIdPj2EXPNapHOfHFrrh/8guYAXdXPeOBJWtnERXa+urcxkuiJShtuZYE7WahlkjvDoIPuHo4IbfnMqOoY6vBx+AgMOY0jFwk8eVMXHTMnD+RN8NTMTXqIAOQi73+DVPMQsPxCR+IOomvhb3ccff1s5bjpblHUVzvKxJlQlTiLxEGKDSd4mRnhl7HP6sStqfcTfBnBFtISRWhOJo8TlV++o+9iyq4oBObTtBX0rPKq+8/ahnXTEALzFa6QRQ9BHs9+/P4H2S8fEQXkdyX22No9FPDYVClr0mPOXTcnld/JZKgBWQQdmlcRAUH4c6dr8/102cPsn1zENjV6RdgEMBPGSwFOA/raFk6iDhmLIMPv4lBV/iKFQlMsJ2yAcY9Re3Z3+MfZ2PRKtAcbU49QsZw+Ofi55FHm0crC7bfx2Qm5OisALXSd8B4fak6RV4og6E9YkHxqaA6vKVloW6RameQAejLQDwcFvIqn9iEnCozGSwf4BxP4hQE5Boh/J2m8oVZGhrk6zzOxmOVCwCBRAhEFSezPeW5pGRW6kxhWmX6kyUKOoJY7UH8Y/QBOPNtg/X4J6z4o/btDdUmBP1gOW1UGXMjbcZfVcWdg3h3SKzIy23TWrXT76xrnbbFLNIxCRQi/JBhKikAA9BGZPGd4+jR7UhrA7vST+vDp8kENySO00NdwlJANCXvsh6TWGTHDTButa2fPOtpCDq53A24AfYhlLS8oV9iL5gDOeWKK8mfObWkDopYfTpiX0tPXa5hZrhbPZcXoFHFpAOWQ1dBZLUx8eiUhjTkzCTp0FExdrQVTMMp1EHi/6qqSRLOyDEmD7Ejb1rtE1m3uBqoKyR67W4cfmg9tPqMkl92j7yl89Faqe1UgddgwGVEhdOuAVMLLmmXb1L1lc2FNZY0ibN8UYnIZRJsBvL1P9hgG+icpB7m6SXaivMdmufct4d7OvPsuq4HIeEp81OsT6zObvVW8UogcHOsj0j200AJHj2JJuYdGI/BP5Ov/vBBvXvg4ZQOQlSPradVJfq2cnva5iTQpfupwBy/n4X8JKS7lAYkEhKy7OLJKECRm6tlp+/iuFaC1h93ASL9bbZyyo3rN3YdwBHKGY6XSjSh80yMldwf8tFtcg1pwW8d+zvFEmTwL8ldS62vbrqUkgzATVJwe+9xDPKlMWq9p6xV+m2IXzMrVHlWD7eG+HzUxYX2sM6Nbby69+3ROfvAm+X3dbvPRynI+m4CFqGpM5sS8cG4L+/KrsSZvp6Vcpz3Uf/JYmodsiEtDzfXgb4rQbUkHVwMCQwDrXbrXOraoLxus3Py8GCiNXM/xlyZgcYm7rC41HZjEBxvPnySKQM2SZTxfybmNPjMRarcvav1q2mG3GXrQJh6MgG5tJyXWWMbauQYuOJqruXdfkljV9eXh5zch+TFkfG0EFbbGENiEWh/CCQxiIvR7OX96IFW8CQziz6h+SPZD9bfBwJxd3VvkY6T7AIy9Y1gk47/Bt/27uMTvBQzdHQotKMOtwdJd/c6UYAHtzpIhJLTZUXyPFO1F08356gyTBMTXQrVmHnRH3AlbADjDCmNprvXuncqVCpJT1BtAAIqGHvNN4GlkzQ4pZXPTdI4vTCEAYspwsDIe25Zme2SnyVrckP4vIJnoFo057KK+GXW8mTbitewBjsVZjedOdgA+CFd5zwJ7FFPScwzH0vq+wq2WTSBNpWhaIMx1cYCn/4gvAP5c4kDK/Q5bEjVC0/c7LL2fW/8TzlIMviAc/yXDJUkYON+1rkUkyRedfdKafvu0ze0SPcdcm2mM0FXWVoiUmbffSBgyMVwyxCNRo+xhMG+7Y4tigXagbN6w0pM+kyH1EPX/cRQEwCC+TZQ5ee/sHmZSevRmpxMBGLwBWvq5j3pG26F1jpaf3pCttMMLx8nVdQBNbCG624SW8ORHZTscKgixSV1iT1ig2tsYrNz7E//6o4771dPsUetNMkVXYC/DwQW6R44tI5HEkvgrKUJOsbjehRrAOqUZv3+fcDN/LHcvtxNhSj3VGWC5D/PQ7nSd5rpznuC63N1bbn4gJ5KdyBN9JaYSPRLfqimmLeHHa6/t54LpqzECsm/g0/KMuu9mCA9wvpFIpQR/VTBeR/b4MD0RmgbHrzDXhdvSdevS7NZ6KcxTJX20tXfnH1vgoKcHF5YvYhbqxiPFzYnt6T/OIiFGeM3GFg5UG7J1bj1uQS6WDRo/9kucesGbPfUcREZoFoMN8iOAOlVZ8pByTdA6DvXZegYWTER5RQ+sjp4B5K5HyDehUZmai07zHrgktRw0m0I4AgQkNZ45sGbKx9NML9W9UxO4JA2Y8T6NOS/rPw6eYfUO1OE7KFmvkaSLvKq2e7S+ZvVSxNI4TZMzEZIJ0P7LiobUwuekG0vn9f+Ixhrpt2jdHBWDeq4+nq9SacCfCELfSKMTDJKM4apm8yxan87mHbpg5OrDUFkD6bbNDWp/VEpOMPy8PCLjrjrzjZ1V/KsriyXFRs+cZlPi/zKbWQFluXE9/0iFgVPuC9g2kAkr2FPdFn5idG8QPtsJs8DQi+erfJARtgiZnznHNVPDB/OfjJrk9hWF2f/JAoHG5Yq04PLx5qdX9sFmbr4LFE26nPe1quRJY0qzZaOuGkBX13phbrDpG+9butRiE61zPieHAsR26YYG+eFreaGQ2HB4ZwGl/A1v8wvB3zV2/QzuhntrZDayLGWxn5TcyAIkeFPd9ycDU3w30bX/aPkGM8e8zCIde9CTRIk8Xb6ePlqKSiDBNK0ZrM3QYXzYtE2pHhJZH1eHq8DUFZ+vTBkhTWOHZ9yzGqgpbu9ZzTHDPTahcfsZmeQLzcQexGxQ9t8yEHt69PZ4IOnxEHuK1sUcNNUPoqwfbpE/an+4Xq2FEFfD/xqdPkq+OIIbeaNhELx7zw3oCdd99G9H2Px/x+24WNGRA+WADtVk0wuabRmRX2rnv1tu3JqvzWXC5cMxUn/7tyIEQCK5hwtj1sS1Q5jEurUs8JBgYpoxVkZ5T1kT6zV7AcYx6FkIDrXSNmsOldqkGxK/eIhk+8b020VipitkTnHix+Myke0l67cmaT9rQPOJc5rr/4ig2w5J3+0gH4aELi7BHRZhYy3278bJKphyDIppAfKYP6HPYG/qY/BPjzWo2rq2XtBZZ//Y8vfbKifyhuhAURZrosnO0texXYNvrzY9l/SY+mWobYS3LLj/gjAaPLJeko9wxNkb/GYyU3VwFr8wkYnlE63WNw1Ij4noleT2IU1qQCtBXiZVnLHD97Y4H0U5OiOn4i3QvOde9U+2HGKW5y6olk6+JikxLu8wp524/7QKbUE4UJbBch11mDE07ke8lxFxW45tskAIkuYhKyOa5t75OIzlt87/q2wULJiAYSgswbssvqg6xNd322BIDUJz8JmnPLEwSwtviaHqTq8mmD4JaHoER1J8xyEHkOLnW0mvMnjpyOTe0iTNJSSHYXrCZ+ubFohGCEBOYLmue9T/aJkNXiopOkV0iLZxRomBhl8lwNGGP/cIXJAGMsoXG3c1U7hk3sMKlAYSybVU1Amr2uu6yi+cp0aom05zCXQi4sXOikfxpL7Ib/cF7CcL1IdfOb6wtIrkBwc9xmfcBfH4NqXk3p9OgdjW/PZNzsfuUo52JMk7kvyn5vNP5sR96x8Z6Tl/NWDJM0IQSfZna2/tz7cuHP8lQFJ+pOyjy43eLfpK0CBfLMG7RzgYocbA7IqoB/LYhN1hD33lCPIy+kOEqE+Xyj/maEQnp1jZyRB1QothldSa/F17PGNv0ybKIki9bOkcrBhKdGDOWTndX4Q371MQIx49Kt5UbPFFCZMYWTtk5cUNgcan1pzm4FxWA8Nk9SOFf5JnFq3WsIUOQfCJs2Y+y8m7ivDlEjQfvZaFpHjvzT0oxEFFRbEJOu4CPqwKG3/fNCSOmymx0Cm+v7/YhaiDeVU3VEb2MBoo2xG/rzC9NBor0Nf7za6y1ULJ9rmrgBBYrmJDryQsHjawfBpAXsKTDMuWo/40XvMXXEM8fbs3g4JtUtkq16XzVwo3FxuFZGZopxVTCrXzVF9iRnpA5wiVsB1u3sKnIHZBMELZBSbTXgDbQsA8yTurbg2pRJXEL+bD2dBqJeYW0QV/bCs1OoHBgQx9nOUP3Y7CKzCZNGfNs5sKcPrSJTSlMZhlmltiKYYHDhRX2lNyDHAequ9bL/Cp095QkawAOpJ09MqR2Q5O5oV/9t20m9p1Kfd9qp92CYB6oocDtWwpA12aJrVK9QyWqh2Rcj4h2reCHqzvLX1i9P8OohXKRd+Qw7bwD158rXhSyqCMTZXu5PFv0orPGVC4FheV9y/lN7MQ/9T5qFVL6fnHVddVOuhL3y63qMJrGEVUDlFZavEba8fB6z/TE+ZRUcWXacM83sdQy7K28lHf/ZkLkGbNaHpPuSww2B5Ysd6mSQJq8XSHkK1K4fOjJmZ1sElMyufGY4bmSj7b8WO5PNXLTfKd3lb2CxUtwSxggLtcw/tZQUxXj23+mJopDsJSQAwaU+QI0x6Ag8lq2Nc52kONLMZInpwOss1OjYoeotLTpwohrt1TvWTx2692vdpD34/oKtJxz3HLhU/X+CYBlqLtxHjYickwJitxS5NFmzCP1oCT/OqoLoszkO3ECF1UJHGp+Vt6HwOK4D9JPCx8+Xadp1DRO+4RbRxqlu6XSODfT7MG64amrPD+BkNFfDRurSpqEgsHMsedcKFiCBPUzzofXMAmAxO2xvuibzD1mIvL5f8E51rdplZQ+Xs+nZHOGCYK6Foslp6RRJu53k7rwNSki7tsYGdtMDisB3kNm66bgjEX5KNdx60iuihbn64IkGNatBuJuZAEpXiElEp4bg6M1efyULHpu8S0X87DaqKx7+zw5AXKfuj3WDOk/xqf132ysnvKlqIG+R48quQReuc6VT7Hd4ldpaHBPuL5eAAwH4Nex+WDexIOZwtvEL1K6X7BIdetA42R2AeEwap+AE+fOaXJJz+WnwJ+H6VN09ZEiw0Qo79Oos1ySRN2t+Abc/5KOMOIAPZYgcPDj+kXRtXdwjXvwvl9Z7mUC9VX+lPlp87S3LigoGdtr2511jPWbsq8g7Kth5K7AnsySHmXlWNC9aJRJMru+uafw0S1Ej29OIAa/e2zeiepONJSCONo7n0DyWOM/96wy8Q9mrrNMX/wV+ZKeCKTa9one2/FM2z2RpFFNahLrxuipV61OV3IofeVmhffM7Gh9/ez08BDHurTeh4Gqs9D4sm+MOREPLMrln+MQ7lniENuqS1Xic/T4PuXT20YIPjBPylMbBbtsjVwKDtAGyv4gXawI1dYrs+Yl6mw4x81s9fHdLN/pkODGo+0GT5bqajU6h/QTdSsYMYm7ZZZy6qX6wO/UAHqUSABSOQbk8gNV1jehdIvoC0NPhkvK8bayt6xB4mxlGtFP2jok3954hZCZ+aOkHcAp0/7gTmm7uj+4D5s70s8fqiNE1Yt6Fyy+L35jeF+OOTIWzRFjwiKjRh09J3sJv32ZWqsgJCS+ngXxWtEYwi1HmJhAfXC1NqNv45pPKF4T55EwKAQQumoFHah2YuHZlZ9CnCalZLNJeE4xLasgEcOWA6qHM1TA0BPLzQ5wUq5+asKCDcHJZnrEITPhy5KrUWWn3Bz08cnytdjXVtRIhQUqMha0ZM4gd3DOWsw+Aa1ZmioA8y9NUFi7UarA/WyxxQlse2bSMKtc4Z7h1blStuv8YSS90n40Xi0aH7sGI7WgkCBflDgvHlzkduEo6Wy2f5Z1/h9jbpWgZCpcmnu4Gej02ogWx2l0wEyPfEM/X/0AM6QyrDkodnMtszzkW9HbBIu2dQsZOAlXNw2iUPog+euUyrsXWsjT1eJgFNGiSu4b+3i4JTRKCEN/WrNFkIkl7T87PGQhVJydwWqCsfoiUOveWorKYP5Y2Obo43TlIXM0qJPVc+XUu0MD3lCx3NAsn6zw7zm9aR9iLtf0qo/AN5JZYiwRWaR63BEZ40QxVzIe5WA9nL+FItt9JKfVouBk0YTsZOIPA9s5FqvpTJipQTPH4C4jNi5fLuEjiJnfdBKak1rGw1ANQ6xKLlRUYnshglGe56xEgt5X7A8TURAi4jSUhR3NzQ4708KPQ1Cfb3pbbI6VqxBSFgx8FsXGvoXjdEIadBxDTV0nXQ9ixjEed7iQ4egyu1EPr4I2ctBSyfELWJyX2ALQxWUPEW/WdgiR9lrZ9vsCslP608jzklY3H41bpZLJ6IxJnvmoEQUrIuf6Wyhtq0ueDrv2tfbeK2b93v81VgsZVimXY0+NbkfkPV7ddpLZVZqmuHmreBFGaWV/f8UUA9AVa72mLlZvx8YTAMUA3xL9TM/Rr8757uRq+LOiRsRsmZ15UyO6SBdODEJSg/pgKogqsBewCL1V2LnyNytQ/yEjjUzfIJnr6r2Zrt6+mT0KWQcq058BeqRk2IISLTo8mtdO1LJ8QUGalOo0C6AjGbY7RXLywLBfmZ4h1GwsSiLc3vWTCrfDtrdcwz9OvSjE/lPSv+Ib5OIkNKKjWiTuvWonAI1Um8XvDJi+ueV2h705HT3CfHyLqLtAF6upIBn0iK/8L3tmHXnSwxhbC/pSotMLVhtLuBuzPysCt3CbyFetntjD/Cb7S3s2YQ2gryWLKDIlhzJ/07G6IrX1g2MuH2UfBkJR+R74oAbEWDBf5yAMnBklqF90UxKiBesjC7iwej0ASn5IHArYahaymSA40ohnuYXWEa848ptmcvQugk1VbgTiHblGd5s/s2/e26RI81QoG1ct+mcHJ81Blhv2pCrytglmulSpCGiGBHZOZRI1OnXkqxirgcEIi5l8pdrP+YLEU1zNDjdcmlLXkd2/0Sv77TtGWs6Dha1+eyrz+s/RRTsOpVFrA3+3gxVum+ulDF54o2RG2pIMbZilSMK/VaLe34Pc4KCsu+FhLgvB2gLnWaB/za3vtyRtFK/iWwRsYY+N3Y33QPhMPNsfxLFhYhat8KiCuNiqAGOtXredo9Be6XQgdicihHhyxOodbxfchQiv5dQqbXoLvf1XAm0Wyh6b5DbZgh8VACx3HkSYEoaibMhitcNlAwtoIir8thWkMwe7AdAkIL4f1JEyCV7e6eh03u6mGLBy2oUNtjwS+qD9Y1jghplPDDZPMCPQjkuW6uYGIx+x7HOJ2PrBkuPe6jrPGJu0U6BVFQNuUAFvPrH+V1PIE2YJ/6/FXpR+73WqC8AXLyLfJAAVhSsoWe7O3Qr4Vctt+97ee2bLItawt9zZa3ElhFnx3wWF5EdycH6RfPoEypmm0iPiRA1ksYK9vFVSbPMWfmrWxZqu3utb0e1R5EC/gQdzgd8YVaLzdZZa6ggxuLZvuPOj797ojrWsDcXVi1X+95KY8S5qULl+OboR61gmL8R94GIB8VlGHSaG6XY+dbZopTJnAPKzloNWH8q5JmuARi/B18JiX0p0H2/b0EnOqusuphDp/uHXDa5D/yoAnPKOXQQHzA/NUhy0Yec/duc7QPu3f6NbaTIvnH6mBGsLn7oOd5KjDU9SJD8K4eDrtHgv0kjPePP/f+Ao6CpfAmbgX2GiYctvy/+PlUK8ZXe4FiJuhCQ1U0dd710zxbK0noZxXG3svN5thy0dYAJFfk66Yr/0EYhGpzSsR/PYQDwIN1qpeU6q/WZ9mgsslnlx0wJl34q7uRd8SEb6dVhJ3sgBo7kmhBIxB+N10TH8BIXSiZRh7r7ziINAR2K+EGyJc4pC7zPU5Kk6bs5MevPgeM0zpBVgiApn3p6bjVaI6XJlpJDPf6NHJzWMT0mEzGxVW57pqQIeXcnUVxta4WhR3gtNokFIsU4jArQScoPUjyWOhTFmx1E8QLe3zVkFHvlLXs6Qz8oj74VnkXuPBclshkZGh7oLvmCI/R+iw6hCnGKLP2N92cYfnQVVfC3t/GKffcA6deJijJMsWFkGIjQnHSqE8QhbbRRp9p92raMOZxfKvJFoXgFhtsJL01d7XrH2mqZzeW4BQGwWOzP+uBtH6pg0cK8A9DDTW6vHFSql3D3WbK8aK9rsgRKU077j0HB7ag72hDR+EjeiUGIavU5IfOCNTjkM6VYbQ+9WYYm9E8WEvpcwZsaYtSAs/9rH3ZbveAr/91vWNGcmtXsYTA1fRCA15CSmL+vy5fSHIHUDhLeN3VugtXCCAdIAFKgTJ4YQyIA+W5MmiaSIDhZDfjd5Bj+jhoaersnKqrbAJei+/TPMtdJ7AAKTbr//oaj41pGbUILAlUEf8qbP+uGKVgdlKfgwWYZfS3O+tZs7KNdTYXy0mb0JqwAX0jmToFAgt1p3078gya7k8lWdIlUfQHY0NKk67ab2PiRtFByWsYYvweTVEXCgrhEVYL+o0YWGS8JADUhqk45tX7h/FasPcfxXg4K0YGyKRf/QSZ8AB/h/BQ4+w4Csa7Dh9VLhbfG2tpuCnjegnoMm6Ufvl5+twsrS4T4NHqxatO1zI8V6Z2TywP+lCOS/82Or+2rjZYrF7EDMg0L6kqUOiJkbb98iyO1138Lvxf27Do3HdngW+SpYNMse6GjvSBwkam6wMVbbSnv/CnQS7bLiVZ33XwEFEwsojlv+WQPMYTcHkBXmiSGGmwV9swAafGqQ+MeFZtCCefSWTNOf5RChtyODGgntqvH+J+Pjqq1C5+JHcIIxxZwiCfNCTmdhHtoif9PNGXHeb7shTMzU5l6MbmM/e303QOKObM+deb49R/uIy+DMbpPg0GlawB6+nWoVChknGFdFBASMx3Jyj+PgkL1ZHdp/MHnyrl70no8MIi05mQIt6Q5KGCHiavBVqVAksh+j6D8REszjPb5jw3DzXFf4vkHtHVAnEfftSGyVrJB3626+Gv3mPvS2lfLEmVJSIVucqDBrVPMoEXIF7u4yI6eAEc7IetwRB02Pk1p4A5rqQxrWazEvmNkbvG5DXMMlWpcxF74alpJhPTbiDugR517QFJs4WGK01d5+FQDNfsgM6UayGcuhIo7DiDkl/t4WHeWrFIQa5NYtXpw3HVXL0pDDh4u0ztvfVLNjfK8PL9KkMbv1hpC1uFVpTgPZUJ+DiROPX8EPqhH23bgQDcokBkfU0WPzmbyfZMpjb/q+vBAgTRLmEcerAJOPLT9Pzxd8jvv1eMKiDXy82RSE0Tsn9zIZqPOoPtdX4n+NXyTGjIEZI/6naxF6cmBEbcy2VVTayCyhNPkhbd8njnHFBAYSAhI1egcmzJIwNX89Mpdip1EYLxQYmG3TPDlcKhO7O4Mn8x6VmgVgncXM4fmfFkqAGyDbqvgNLMtZ4ICH/hkXOBQcK2TAP+0Xoje/s5+mmsq7iF7FvColTu2tGnreFWaroVGFXs1H1VRJMYvzFtQZUe0hC9Xbt0HV2Vc52ayu1i93zShUDcjYxIrCK903ovbF6njODdnpLMfa4o9LKniUSOI9W7csZ1nnfb0av+318N1le7vxvuWUp9voa59hJj+C7pUPVvaLS2/vbn+uBrxpUoIVuJDEdsXx7FOwdZWPLR7H+RmOQevs1iY4TEi4ugCGdSdo5CTu/tfkR113NKnylrAQkBGWRc08tQGHYbWpWHdB0L11XxMqQ7UYguWO6/gg/oZ1MpVcoTxqmlOliZnJXuQAK7WE/qUtLH0U66w9LZ7QKEEe/szlsaQm9xr0CAHHUjUpP/piAvlXyO4ikSzA0e5/Cl20Wmtto7LPdqkoRHxQ++t5cJb6PW+AHoY9JgiBVzbixEHzVx4GbeznZiovfCNbLMRlO74Ku5boPDoYifHdsck8qrIIB55XV0OZGB8VrNzrDXIUCoQ9FvYMg0D2vxg7ZxEnvdQXPe09Dhb1EIiTC5F+/HfruPdXnmj6i5Poxnw/ulrhBEuUwZq8aXkm2b3cQk4//GVjEHy5T1Uj087CZm/z1Uqh9GoMQJOao4310QUcEb2gjz+qoDXvF9eNS1v8JZ86e6nSvxuywUl/BSJX1onBHVSivq+xmdIYgZOjbT0fNf0hL3ZEc00cQItkGcdzvQuZVE6rc909ol+VR1+wLvHHCJlD7eBSbQDwpFlY4oybo9NkLuCEFUr5ZuD9CKULl1GFQ5LrQf3DfkrcKvr5sJy/7P9g/rfoiZ7yCtgcOByQ/HYT3OAVPogIGj8D24hZ5XH6A33Z7W2H+LJqeFuBISLl7NPkGNPFJutR9hROJkOI85FyL/GisU5615b4v++0nHAHxkSOPEPErziRbUP06TjxMm2EsoAHYDDuEWScTMOuK78D69BFeE+5Ijc8oqFlzO2qshFT4QDalPH3Cp/bY5yRjpb2C1tzuwhlrxMPA2Cu3xlNjxiiKk1tNkPrGOkjrB3xgK8p1tPU2+bVDW4LSViBMhY0Gzn5YFXAl/ousc57tHL7EKnZ6hic+AdFB/KfuztqKZ4UntXHjDq+Q4+Y7D1X1zYSBRC3ZnP7uFIJrTWh6alxRBQJDG0NGG0YCH1CCI5H8rxrOltNw+adPLaw8hBrIfmU+6EWibzKjZv5gBRuaF+Ir9flS7YlFi7pkgKe+5l6w+LryTCk8Jg+vBI31bXEQ87ahrewFZPrAfH6uxzhQ9aofALeCKjqMvTusH5gsL2W5U1toHpgQa1oA0iGTuOyIAM0oLokhl75VquQ059WWUM2a8ofwYDe1boXwighhRoTW2PncNEKa+QbfsYdGi/UmfHIPKH6PZ5xxHKasdrCA7zbp/KX8M6fEqhMI67W/GMLgag80jmlp7RmkFTQHOLe7sekM0ApHZKwloswdMAVLfR3+hdazBEHQhLRT2SwbeX14OLQXVsc1/+8J+3sbsGGmpOnI9magsMunKJ3gn0lqrQok3xwQM/SYFB61D0lJAjJCtt6H/ANE9dnOQEUeWpltFI73CG1OGPJ8ml5yZ0EuNyzMO80gApN2S+89L7rmgm5hihByyLPR0rKs2I9jRb/c4pGAkqRdyTDOeRDt7Mlaqgm4zSo8B1iv3nuWVnFnLcugiuH+Zcwm8wi6B44ymHDUrvmnVh0T7B5vOYdaqrM2YYsfx+GppbaUHDOiEw3JN4pYTZVx0q7jUIHtbLJy2eS5twnTiEJbTwfLjA0WmsX7vz7L8tn4EIs2O2qbzfLHKLo9VsQe12/+oUaEEK04zvYY6xqIbNL1h9KGMZp/S9nam0GTjN8BIx6Qro5XGy2hBmWsPym9eDEwQICfK07+9N85s9GLzK8OdFALFCyQU+AT+DJRKSYXTz5q8ZJ0/VJWmWT/u0vFxHN8BCHoOjNfRvQSFV7ZzCF+Oq3A1GuoOTrJ2oUgmfSW1O3hx1Je9sAef48w2ULNPL5+ESljqerdkOwWEhV+Y9sQB+x3/xzLrJTrmBedpJLc2CrDFIX2I2kpxg/h0jH+XC2jlEjD5qdXYLF+RlVyYO1EXrUchWgPRth93+eJDqTMLyNSuq1xvWK+X9bMKuHzIgspkuPHgRlvpfppR5Yl+FlKswBDiMCK/hGzTOup8KbKuPYGY62xkpbi+t0JcgZnjOTZvTRLf+g3JxwtR5u99dBb+p6EoFJvD/5ybnV6oW5yk45y1xEdlcSGC/6+GI/21zWIkfOusiVRmofx+pxI6r9GtIfQyJm1gQSVpWWDXLvKWFX8/gfHFZPNZ65Uvxky+bCOEu4JpIrLb65fVlh1SA23gW2K2pRHFqFJOK7hIis008Plkq6PmWtZNNLfC0rKq/uqMbheFby8F8228igsJfI5RhOHIu7E7Ik8Kbck7txjIeFA/3K3O+x6m4uYmBGRxOTgN0qquBkm/Xqc/YAQ+Q8K9ZQOPmo0J9HVPxBNxtcpfXwoHfoeI3DzCv76KNKfWoZxI1/GkdKI2ZrDozGMLZfH38pTtJaV1GG6xem20OmyEMy0pIjzk3RbTvAJ7VieJAMGOaf8pkggedcGhBJSIcRC2APStryjWMNl+dP6ioudFsRnMlc17IUr29eN8KReOJELL52mP6OSaDsvM/ZChrT+dwf/DOfmv6bWUDA0SEHmf3AnuWLjwJJXod3HFeE1BUdVaBm9yCI9lbcoMUX9dEk1vRp3rGiCRXEOhXLclJEXYaiX2QpSls17Ng6fKPTWFk9nJ/qJE3gViw0mVpY3RSxTn7aryhRIyV37N/qKRyogGJl6fNQJYDxythltv7Zo3OJJTcrslkUqLyGiw+CaRrp40pfsMPdkSg5qsshi4M/AjrTmN0hbMPIIGnQAZOz8NUOagdTbulvxVrEeXC5rDRqsnHOt+Lg1oUUyYMuTfIlCQbIYGdyPiFMnAl3sFzde3PQLInB1VaM890gFDwzC+smZ+n6ASvl4l3tqtbZZbBI3h/7VZioInAIts2VkK17pdbU2nOmdPaXgcSfCiSRxCgL6Hh6kK36IR+2+wC9H5UksGJv7f9gQr7uRFhxiQrAIFPZ4QbvcBgost2OkDbA2oy4IwVAh0SHU9/Ic5/uV6i7zZI8Y51sLMktc4iSEj3Vsi0IKhbwsFvk+5bnqt7gpQZpvbv6kojPfFsqE34Zk0mAOMkKrgVpPnMjagGpQOiUbpAibDwBre8kQphR2HFiSaiY7EsJIebsmkik4qVfPQjxZtxoCb826hPRQRXxwnIhU1JwW0ltGE4SsodK2cDQYDuY9Hm5fF3g3fNQu5NaWUSybLdBl4o+MHKnnsGRB/PZBrSITV+kJHCUfSOpZESdz4CktE8JGTn7aeeqhuPHC87vmU1sjUIfNmqe3sGn0/U9LpzVSbmPVCIBCcMA/iQupxgY+E/Zp5HK0UcxuqQHnoVwP9vfedURac1YkrFR5fuTSmVyd51BreirqQajo2wqZFpL9fwXFIu71tuas0Azuzkgz1YuS4oeV8EbMnGJvZ9jYpl9/pE5xFtblTmaHY/irgf3j9YD/h1b6HEhLaLUChw2Upwnj65D+fxh3xfaL0uhtIOT/YQPsjLo8PdwzEi8YzzPMZt2vBcaClpx8WXjRlr33Y/hKYjz94faP8a+vBLnz/1BCWEaXDFghq2Lf6aGR/xwmArgq6G4HUXn+t8Sko6uMqRnv4rd9FgHIfIu8JGWUjHdfeNxBYEHug2UQ6odQUtgAHywGv1d6uHofrtRDkA4qELqkotQAtqS7j+C2phdPIeN9OfxRHoYCptaVU7/9JU/ppCusM3Kflx7hhFrxwwVvKx6A2/hfC/VHEkN63w3YVO3/EOm58AWlDm3Ku+5Bqa9baLwlHhGGwReiIlvIhNgumRfxJKbr0j8ekXusgc4SwT5SBTKYivohTELd+jlYySzhtp1cmygGZH7bB5iw9B2HVA62liNZ83NR3a3Eo66/jHWggZl4XHYFO9k2IJvwa9Y3HB+nuGFQLggArtYvhlm/25ufDkEe93aWdDLDszLEKtDORYkDJ3T/UXijX84rrEOU2KRA6GAdPGija+fe9GesBhh0HQSPqXzf+9eZP2w3XUgaEWx4WaESKSfVSM9rkzRwByuekOrV2mqw689BKvEYAVle4C+CBGCnBVLR89iHRnU/eCCwmNDiw/f5/+nqoEVXlkJXNAD2ESReHgj3ARn5GQ9Xkok+kGO3MDVqcZvg2sRmXoH9980tQ0rM+bffEjRcfKolmCOfkEP2BzcqT/2xZqnuwaQqBlZNvYvEsPe9aYCXvZygF5PAfVmnZcfbpzirhnecAxW1R8r4ahMPhkfzD1vYiNG9CUp9EIO86RUdp6ys9FyrxqlRZXp4GDxraP/T0+hlbtNrUGO9bkZkiYB+aHcfRvWP/S+7vB6tS8beFzltoGQKqhYXXhcKt78QJkiNbFqqXele0Qc/d2AnkEGw/FLUzM9xc73NOtTv29XLyEwP6ie/5ExNDeUBLp4mwPC0FS7Ctc4HqQUSQpdyY1fJiDxvGgVlGr1cGxE7XHprx7qbSjx5jS7zzQkiptRurpfX7igi1meiU2LCCjp3BG6iasSYUB8i3taVvzSsIqy3OfE8KIJvhs3UvPQEyuqZ8PDQZMSNYBTP5h+gPoyAfiEPIO04wzWs+Lnv5+gClPAHjAAuI0WQHpFgGCjzIVrpUdky3h11Ebdm3bGtTCVzBjAU7KJIFSoIo9h4qQtENGAnbW9mW6BNJ7JZ/Wv8qjbZQiZTdBcpIp8EpqJGbrS5f+zXIyErAeTedkodIEy/BMwPXTLj3r9Gh3ZifnHx6Pwbx64yR6ht7pE+lrnwTkmjytNYKs6EFli/WI5tdAt/4inJnNLSJb5Khhki1QR8F+Xid4AKl7QhndWye3Q+EvsbSdQEXcMrtD2fvi8iR4+CKBljIIeZnTWf08ZB9ia8rZAzQbNQAl4R+1Xd34LbX2WK4tJSXBd0KznetqZWDjj+yqu3Tm8+rmin4eZSI/WozXU1Ay2xLMjIGdMPT8/sVBaRFKNpbrlvH6csao299xk3/Im1kpr0ERpmmejwP+a3jS/0cY2T6Lh1df+Q2/MWqwlIx8RspDCGQWtJbcPO6PewA8S88iWZWBOEBXHyOT51koKdyfXmit9FXJOEa/vSIZOwuLBkDAJCQHd9uQj9jbD5bxrs22v6vBl32+E+CsZsKULZ/eHVpKnw9JbV3wkLFZ/Su+TVQM0xwROOHOBGO6bWVYOxbJFVhhQED2yEkYMO750NP+jO1/TsdNiXX6/9JQBLYyUQzu5ZHxp4JTALqYZEEGBB4uDhkHcMtLZYxWO68CDxJ+6M9FIjH5FbFzdHCDu0CvP3WhSUnY8fmxSXHowqka4iZ8yvAdVHC1BM9DZxg2znyWQwQKGfF3Wti/NBEmqtOvvXwEX/ltzp6et2jDzsFA0tu1QvsF/Yg6zdjSm6wf+i96WBC+/tEItyHg4yvxhLrlafQslFyu8+YmlgjrcVWZozRcPehJF2dKVwBRVI5nO4/5iJgdTYPVjPbQQ1KAJOSoHKYO3owUzAwVgp4gHzZuldNsS8iQp0pfYSNVFriCqs3uA7iUqgNZ9PLkApcm1vygBw19erbmP5ToMsuNCW9BdBUb7910lXWyCBOAF3xIoLIfPy+mkYg8e1llR7b78E08kemmTgvg+ZMU/SQrnGXk0oKH0ccggnAgerFxDrJIRF5Eiz/DOppG+kjDhR3eUJYpsyY7DDBzt6AS2iaXy7+8tdnaRuoIpS1XajmQK88sn8FZBNaRt7yMih+wKXyHoDZ8jANqSWRRVW3dV7ozmEv8zdGiTrjZ31vCC1xjFY5DPVWup3RQVQlZRs4Mm0iNKcwVXGKR5hA8NXcfFvc3v5hQdx6+CaEF3hITccBtZJW0EW9nZVRjBljZv5/U1KK6UBHH9a8vSFEQ/gIS1yihoDHdLAdxSneS5nNUn00ag3xzH49ZiYf9nJ8IKgA4EkQAwvTs2n2H5EX9ipRUVvz7Fdf/9MFF2Q098cDncEwSwccuXdtY3spqLqdrj/jJ0gDFUSNza0a4EDq4eStmWfLbOE/ZrlcLGKM6K8MCQPRgzQgLY7HEfY64X1l0ULZ+KVDVF9zevzOkS8M1XsLajH5xxSAeKCQSeo90ocU0C5taMdgjnBtkv7QJ4Xsl0KO4HlmuZ3JMsqzy3KxdyLflB8QxWKPMfdFdFF7eFgLwICIqm/TbZzWnBsoGcFT/kHxIvawkUCPewoxlNqpUcqgLWFYbjjDdB/J5eZY8GmXZnae00Oxb3y0ceO19z1pgyQxT9TUPXsrL9qSfagjruKAGIrtMxFMulTCjUKnaT4sZ5G7iS2ewpqyN/He4d6xg5/TDh29VVNb7RaKVsBEa6csXdV7RLFctMVoF4WXT4UexnJ3hhJ1RJeCNK0bbsYAzQyALuxx7RkKTog6H/jFURe5cGDiJqxMWhQgFyeAyhGJ0XjqmZpjpV/+/MmIdl6CpLZu+yb7+XaT4eSYgHGBWeqq8anRK2bceR4GZ1T/LhjziFCDCZl1ZW1v3unR0edwLS7KRFCkVWprici3O0QOE4zu+Nym5Kr6YOO2SYfwqwcQ8nZifFdDbAzedaHGPloX3ef4VuP6tcn99S2Dft+JQLRyHohdqkjPe0Xq5fBWFcTaWDe2ceze/TC7w5OR2CnYSPTIWIVk2RWtqFYXvDc4qaRlihjuy4zei6sc6n1ZbpTueFPseK0Ymv0orW6rxgERm2rGT82vZmzRF+GQ0H8iuEKayD7ofOOV13vOBGZDb/9EdBzxo03u/2aPqMJJrYXNo/Di5XwghtuW10QyQqUMczqyhxeGXw/nwrCUa1sbL8kRcNqGKL7S+WIPVOyJnnYzXy6tFZVq+RF6b7VhT1bh9etst23QbECBYBkFXG+s7YR1BmBOj9a2yLvB/YcSh8YFzrWR3hvVUgo5jluz4IAQJc32uvdwbsVxwKcqc/nWupslX+l8eGe1czpgLoGr1T7qLrdSl6SGK9NOM5stwOXV8s7PtlTKmYkXEgEasgbW5fchMmQM/SK2/wOrC9Mx7THvvXiEeBvrmwtdQXp7uGDfoeuTc3Zj9vji6xGNWIzmjRzJIgPcHLrFtp2AAZp/nLX2KKr3kRgxAzm9eBVCN0DhxsSSZ3Y3VKCxsNYsxzxuJUM578fdJXVTkE+LaRQm/maA3BwR1RhnrSdnO4Aa3DKSfYy6jbDdAoxwi7DKB0xnYabn6gix12VYTwQCORcTFk4i42Llh2A4NIP2iU6dHL1emRIFTw7KgYF7hhjkBLkrMYGcwHWA8JftrbBcu+nI83L7XaAp2Wk2/6tLJ7s9XABxBAvvBZVUE1fRgS1mDFwbhrCdmDGkuY4FfNa8zoWILzTyediRgzF5040WjxLZgVBu/OCTTkBhNHlQ+HoP1E7dgySLGc3tHR2v9iAMgztkeFIt/lD6pZpSGwOQISewshnNMooA02KOD3FTkDz+ARcGnx9uwyUf36WNqmfQWUCN2urXbZ8uJCW3E/PuhJKQpEEkiSCAdsd7cJbvpbbQrf11OjamLCFTbDR03lgHYnfElsiECODyMU3GwZ0/Jn7kKcJFrj3p2zLy5pRDzY0btR00+6U0B3JX5mpqB/gVhwnnNnhR3Dl3BizRkTymAKHWgvjA8vQzCERnbw//ox9wk5EXayf725uWgGs+86k8Cs6Jk8xSpYGKu2unkhYKjJaNtQJMvaTvV8CdeNk1YM6300LmgV4TKWNvxlvtUD0rJ3Z4T7UT1cxZtJzAoRTCeU3wFA/JctfLsnZXKI+6zD6Ougdk20EstCk/a5FbnSXLaCC45h1/sXCLE+gka0EMIW2wv+I2bTo5EikWbzX/g8L1xOhv63dPDUbm7YVqB523VcEHnjh/PEEiJUzTYeHWy4YpATwmur19JMy2vkRS86Oge+IzWBt06ZJgjzR10IFJyaokk083YnDRY5OkgcwGzNYAXkokvWUIe6myFwJcU3YBSW6xLDXyq/o932PDOxtkDYZXvytnBglukhbqsSrQzScdlQo6bEDXRVjyX5o2v5weapfBb6JpzAGqsHmLFep8wuvRnMZnfiW8gFfENqR5nkKNbwRRROw+M2mEmrSquOq6j0J8/z7qjoQ29yPBljBv9CnS+joWiTjlCQUFn4oRt7MwGG/yN7MpvNhpWT+s/eNxb/MA40VW8ZQWGZtz3pcPX6Z7W6+xKhMQ7NzS4LngyN3/qx8prjzspxHCMDcvseSFCQ9SJA5yGxTTSIi+RB5FK/XQLYgwDJ8LHx54k1gnLIcyiWePscyyYaQJUAtIIujedEc5hRtFVXeShGOT0SDf0vG8mmRTWh4kNUg/8qgnMuuWYLznW/s1MaEX+2ivZCi+aDDC2jAgGrkR+RGb1HiI3ssaDbWuHnCQdlQ1iub2fSSoHBhVhtUaniloKydRAPXvq295J8BUNU0BPWQfK3X9DbhfzYNztpNDvAJp3ea8LJxFMiTQJyFjqtX8VZY96aVVk0sT/qMx9a4OODic//36M6bJQGQSkYvN0f3qtihZqf2z2aWt6EPQ6wjvGACplw6ir1d1aa17Z11B76kKRPzAJbBmXYd7Tr7Xoi6JhS5wsNJH505i00oJZcBMmicKNBzj6VAEzRJ6J+kx67ohs4O/qDD8u+5HokopKb5ViqOMw5LRYg3DYnwk9ji7Nt3Qf/BCPTxgq9OG9oltWVItnzN8LsVskWB2j0ZI65sV9fUO+zOFvbbWMrdcrxdkL+exlkV9YpUwWY+2T1E5yTj3jem0tC7skLdkpalCHSbo5N2X/ZZGr+trSjDjvxsxEZ8i9XUFK9KhNYI2IuJEEgb2wSl5dxj70FkwGiQsGoQ52+PlzIWmPZLNCWR5cdwg9x1s9wFLYGUWj5enGVNuW8jtccAW6TRyDs4YfZNOSSiC2bj8gmJSClu3RT4n9I4ZcAfjMSD+6Gi1oXutJbq9V2X/J3CIA501tuNiERH8uy3qAk7wcepgXtqUPKs15c2OxH55bWpL3lwZ+FNe8kajFZLpNToZm672dMP6j0JtJji3BGySWoNF4XJOZflqMxQDhmaAQQ56pE1NIadpr+Wkvv6IaRPZV9ygu7iV2y7eIFZW1mveGsH13t8hIRdGgyf8eoGeVFuujT/DqPBRLmRpW+C0N/XIaMVDblvHPGlesrd14OGEhnED4uCpPxPwaOthcjtJ2ZBnyftQlso+I98C0++WYwW09KCUTQOpaGyGjvDzcdF27nH1uZezUyGfTCrkp3Ps/vGoMJeS6A5psx39xnmqhE/nCx2bn1JD8Mfx62x6wlSXAhzeGMrLuCVmLL1Bb1hfc5VGbK3s0jYkfwV9k4xfbP+UCc3rZx+m7kTwWa3EcZj4REBdr0VwILOcUucTfRZur7OAoZn/uAn58Ie6tm6b+4aZcYYKwSQtUVIkwOUq/9UqXXJHnmq+Q3WzL1T+w4hdHPCw2w093O2gbXMzDLsWBmkGw4Qty+39lWci4tgp0fb7b+zMbgnce3Lr0gfu8GRyz61u4Ju7/lAbX04+9V0w1s+T4MlrFbHtx1APRhDqVNlSGo2QTyd7UMXWdokFxgheS7x5ndhsQB+egsp6L4GKiKEjuQ0dK5EpbQZAoGPqSAxXmKVBszHfN0Rq80EPNoF5pbmTAZEnfAHJI+SfksImoY7tx/kkesZHpdRfy9FrCZYB3qz2FEAbfd1i18035UoYNx8cpISJJKo/pcKc6cDD/j50boz+wAq6GwBN4e4VlrR9liVcVR+loysd35kZFAR7G9ib9i071+12AQeBFndYUPCaB/bAdKfT1PSWN3IlTl1nsHcEC990HJYMDgME51FiV3loHL1wCnnQNEaYXREmeGhUnE8BueKtFKIr0A5BcOz51O0TUKf4wq+2cdt7pQd2bZiKulLSHU4/gLBmS1BRJ1Dx+Q9ZfICFJKZB0zK0Wtvb/xfENspnDI5HWAC02OJrP+XfDWuXKAPCbNCJpr3q0rtBPAgcHuf41sJzZb2JjTHIa56873uNU9jxEkNH/DZzxI19xmRqefDMOPjwGygHgApNP2yeiOm+FKIPyoUnFciIiLlAO3bSdZ2FRt06ldwYdq18RHQCXUw+hJvApbgVI+YpnACLEMSLdm0WaoQpsBlLFigvYGMUYcuMM2i1PJRs7LwT6gHvc+wV3Fboy4l5HiHVPodVsBMq+vC5pXYegPCW75FNflKRGaHFjZid558EeSM3JIabF0wZbc4lZq01sVH/xaF65DDhdkPBW2tD/ZmB+JTOf/+Rn0l6Ry6j1eOaid+oVuqRU9es/He/CNTSYbBCmdkABmqg+N4VZa+Ad04OL87TEM9OP54EmlYl54sOMMiAfV3hyzxGL1aV1NCIrZOUCOpFtjLQdayuOcMWkmuTPSaSIYVxf0LHwql0AdTBAVImNnpfKFFo7z+/s22zObtp7Yq/wJ2795z1GoQK/0SbQa3/oMDcoEMnU9zL/EP7vkpAIf+aGtQzYaQ5hFJbyqoHP8K6CUkPis7SadG15/VFQYxqQmX2+DAIAd7yFfBb0IljPOHMRF+g6WqWEI/EnjP+M8qoOAGje9PW2aoi+l7il/SFX8GbDW9GTu02hMnep95pNvK/vbDJr9jibI789dukHUAVgKV8PAlrwky6pKTJRdkwARHaBlVhhWtCFoalBQxdHCLcHFYLXsBinIO0ulv1s57VAXSUo56nXLLZGfiAUUq/Enik6boksMXs9ieOX/f0W67NtzMn3vL1SvjSTsO/36O6sOQENUkQaQ7ajK5OEtucD5fTPVDeZ/hQq1gEgrB/qQZd/HUA49D2PAc8kljaP1iChzcIGFd6a6GwqhEXlTw6RobfNptn4Avu2/VZESiSWYHbjHsZ1z3wt9iVfcEtiIA/KCVXc++KedytNVPCj60Sc+E76tfBRix+Z3BPub+gclI4l2OiiGZcEgAYS9hISMJY87BkVipwi8FRPj2emEV/qobdh469Gt5xgitaO7VX9Dj7NbhlwkAX36q/lmU3kMRX810BXmoQQBEZUiBn8vK74O7j+PbiW9k1oWung++AxUsHadFp0uLiRo5wS23Bp9fGudpD0/q2DcgYIQfBXgqypHObJI77mbO6VmN9/+07rYP4ltXolh0V6/n+UOItf+EZ5d2UV89Wp1bc5BdbR4tA6F8/qRgqpZVyhtq0xfjrCJilnCNu/CjM1KkVZS09PksWBNE592WjNPbHhWgzu1/8Gjy/sSj8XiwybPfE5P83ajGos03cbZ75Ra2P7gWWHSmkuoeWgE2VjwI+4GkVOD3nnYo9EECkPPBMmAwwxam3ghRkg0Yd9/sGhS7GPieco8R0oq+SGbVKzJyBLWDs5prRb3Q466k0z5kph+Cieg+Gdc57jK8IzlSa0pDYCKWJWkswFbDzeO5sWTmAGImuo7NEX8HvMZruzOnYAObw4uw7eaMRZxuWL45rZ3gVX2sgRC9rvTfvzd9ZCuV1AV0+CRulJe+ShtiXY7GSljlIXRk8IuVbFggMReGlCMcjA3LDoLYb/1Ubew0oxcrAWuEDt3+e7Q8bVZukVvSCi3VNMRv/888pNpBSngLQlJBVidmEu42zFYxjyJgziOi5EhPvfe5MVsyXrlHCR5mZIoKuoNowVwM5w+6pnb8DOpM/cvoQsU7gA1hVt0QhsNYMBnbBMmPnqaWyQlOFzHzjEUXXxq0Bc4tVt6VdiRPTaWmcYiHA7oondS28FQ07YZ64aIVGoIioXH4z8N9dn+Db+eAhDq7m+IPFw5vOUsj/5MblfIfkUE89DDmgx2jEyttrG4Y3AvQHTLag3Qvgb4oU3JW1TE987XYRZFrDOX6llLCJP3CBlJV52TKFctV8JNm/7Q1CxtqfiASNPC8nh6kgFi6YvGNRTZ34aw2gAEAnkFt9qY67iO5SpLKcg3/dQ6edju9888CdoMJDcbmdHiVEZNW6g895BLkXkGUePlWvZ2GwFlQj5E4veoPrgYjzm8RgoebSgPUO12JNKXoe/pXonzB7GbMVs7XfE3BClkTOqiIMls8bcSISwhwdaqP7oejr3+Q+qjz12dP99swn6kbIXnlls+0ejZui4SQN2v/IN/1tnhijStQzOsHq6kNLxL11FG3v3xjaAZVL9TybCuSQ1aFg7Ofkf/TmapV7wThZ2oZfgavolyBoBYJnY9Z59u2OhPKWSy6WElGkCCLj2FT48rAREJ8xqOpvxVHVacUWdUzczWN7u181coOyyyKY5EdNpq0G6Px42kaHF6lt6riX+HZ3M0BhfDU4/KEZO0irr28RSbxcRQ88zH4ubnS1k6G+XXASfCb21t5Wmun+jMJjSAfFg8YT8M3SeCXHTO5pu7sTDJal4jDnvQYBHRLrptqCpSpkJbJPSl0+36XX89xsoKDIvdAn2LV6wjSsLmwkCNq4pQpWYjD85uQwRViBiWG3g7NioZuWN/7ozChLKmIo8ic2uyUbNeOJ7QfIqy3LTaCV0WJrsZkmqzl29nPKrQbYWIzX2v9taVbDrwQtQSR54k0Gi3rPJdNpKgPtH2Z5PZ84MX4jqcP4DIqPOTdRG/UWtlO2EuNsaMrtOBde8GEyzjNRdHKujs/0p1fRVjBfQgUGjjpFJbDrey25a8E6MDx0JnWSiWs1CSmX/K0wUhT/O70izzVzwRZhxjqvKpcH0Shr7Fxeb4+yNjRy3YwVSLlt35vrZgrRCotOdcGEUTEzxthv31dbutf+M/+mYnotcX4qV2NGFQ6LFLbqwITfNPcjv38dZ7jceN3mO72bczdOSGkNl6WdjtE3BPENGt8gG2thXJEynZZpUKPPNo//0C4UJJFA7NtAMlQ5XfLR2JSYwFxal4F5waXtD2uUw89MC+XzC1CQ2a2XJIMBr9wxKAYHHRd8UrdgZEkOQKCqJSyWMQ85sT9LHCK6zVQywqZ94n7A71RqSQjytozOowLzL+u++fKbOSvnqeaZNwfuGMPhlXV0F+ofPf4NfOyoW4+sojDGwbgFHONwtSUoFv6FrRqZH/umgsWhrvmnb+DNVxmetPndG4cChMIYGoUKncf3YFCtIeKJfyH1IKXld8ABgL5nN0IalvgvCSSSFyNbe4FF2yMaHDJGsNgz6s0K6uCxKasUNB49y8G+Vh6m17hyxPGP0/6K9EJLNNHeIJlWdN06Ws3dZRJeUdRDjXAPbm4Yvj8Mf4EFperIdFZEbuIaANt8jYDNaeTAmMK8rUHx/vm5OkDyDqcq/sQQ9WrEBxILBqpPWfeXdOZPuyGHe8gT8xsaNB+P1E03BtPMuRcGLiiq6InKyhfPi20AMSHVrqRnpVPKhkHhuSkHw1NsL82lyl//BN2oe4IUydQAuyo+S5wVB05a+YFuISNWfG/MTIEkIkA+ZZd4EZ8XuJwpcEZmYQhSTcBNEgPgK7FyZdK8MCZZLUvpVwECWwZZGaId2+OPitTr2p3mtDZC190SuqzmqOeis2kNNi4xw0iyThnTMrGCbCcnU1MYXjoxrGMoYMx24Dzg3vLxqLx8GN7A0R8GrYOlXp8zUkMtl591R4piv1r9lBIc8f6vFWC60PSe+UDdpoxfmD1MIxfPvoVEIXbmvbFrL6BjtSx8ybaRPDZDkIq/PSGhgC5ossFumAc3i73uux+DatXHwfduQtv3dIhPHFymO3QZ9OpDqwEcqPDdBIzOi7lT+qeIlerO059OoPcIk6VGQE2f7NzYTYrwiStlGeoYg7ODbmpDzRtN1ORccF1u9dAltuFuP5EO6lVqz4Hmh8+SThSlVH0RG5Ik//DtBtpRYyR1gxCNzrTtzSW2pE2SoVvSR7i0G9402ue8IyOs4XpS5dTVsrNEphjVwdJif9aVO0S9VRqErZ8QV3ds5QDZbkGT71S11X0WQfC90vW97PCgLSlN2U94l27Ki5U4kHKrnsH1uNSISnGK2HnTidQdm4JvyvfdM83i2NynpUK7G5gZC397SIEGevSXePIc+OEQ7Jq6ISFyFXrLucsKzQn6yJ/BARfNmmqakbCD3pPMRLhzCn2DxS717XuLpjMXbX7g4HQvn/XaXZ/yvW4iYnmlYKlwKWRaQkCeHE0OzazIVmbz01rU5ccxbbqOE4mo35gMNkQ+uadnNlDlIbVkaTomblnxQ/wEezADSEqVbCF6ysHIKvzAMcs3gnudhnQuC3ykYCXBmgUc8O7CFNfIyFuB3FSn/m4TvZNNLfJ5KXpA/+KjFFo48Q9Spw06lrQAqMOulwillJY/9m4hzQTEQNAknPfrCVqx6vXkfgn6ZAez2xqGGEakyZjtvrcpmMy2xFHxliOusXrnbHhSmzVTEnShWjnqoY8FE/Zx8vCNkltnG54JpjHTXa4iyzAhPOEOzveQLG57Zq1Ls35OugHs5C1AHZx85Ffslw3Y+lsTEgvJklT1+jKxELSRRscQOWptncO4rOLjt4Y2EpfFP2loiX0nuw5JxIMb09XuoMTzOGm6ZxGHBaBkj+nnsA3lFxtqsmwAAcdxXL28h7oqgYz/qCRnEhZIIMsSNJOnc09H1+X3jjHttHUphEIg2+8FUOUU07i7Jz+I+U17VjKeBDfQz/yNXMmlIVwRDRRZr9YxJF57a0rDQTY5sHrMlA7f4f68yJ4pu6cf87vVWQ7bVbm0X566fB5r3Jia8LEiJjb1oQat30Z8Q7I6sMaWE71vYT5UZF6F5mg9nPnWUTrlCrLNMkesHBZm0wkRAVGuti9vEkjGQUW5C8ws2W3IlMCkgaBRlG2fjXm499Bj8mzZ0J1M1VxeEFJgOgzQ0FpbjSj2pHa+Ihkd2OAWrzqjsV6B8l7pTJ9Jq5xlP/3+N1wXsQ9rN+f0VqqrRVAbjNel7LxchWG/3/OMtj617z5P7wiLwIEsLHSzPqKLj2/QU1oxm4G42R6vvQSCoktP9TmTWMQ4o8FmxM4p+Gf5jSSX15WJPvv5jikoY00NxBCG5cGAqdv9gOXakkt3AZiRPSXjBH4dIBCutlT19SmcWpsjCeytApvSG12bzDpEhvvMdrefUUUz88TJHsFNhJgCEd0/jD22NT7nE2YlPeGGLUKVJVuW9HmnoGswjYsul4vxuXuNqGlLQQtGnO8RmfHSU6b1TUssudYumd9kuXm7nPHEtywhWEl8OmBSxbBCxcp4tRBIfVwXEnYcZbqK2isR0vOJn2JpM1wIj9FqitfffF/sAxSFDfypwMOXU7YFofu4XQl3TpWIPUK89nalM8rrD/ITOvjvRhgAM/QSZA37Ny7VDP5YW1BpmuzE0c1XOzOzUOnFwjktqFFwd4fGVrsNlKyBLmKzBAXKrn7a/nBoTj9XSalAnVLxjq7bx1Nb5fybPC0Heldw+XXuun/cWHTVBRJjzvHbfWxJJW/k7BkGUn54ZdBjxsEn7BvAzW/zQ2N0/A7vfNcvCFs+Uk6RV3jbMKbVMcxIUPgi9DzP6s2F93XhfpOrvghVaqo+TCTMiNHCesWfTQA1usPlQ9DEdXMmJsdcxFDWmZKC2yiC8mlhOlQTYjvxFVCOx3idYmeAtJEhKuFdsa39HpbpwEx5oaPgeu5+6d3W8OoTflK4jT6qDIr3qkXIYsco229QlgQe4iUHNAhRonj4AvjWYYTvkXaLNTPEXki0tEy5JRKcH7Gaqq6TKvCWnR8LGwpIV86wby1A7dZ1KjMed6pmhOKxjvy9JVLrp8Cm1zQYDvJ8Ej+Dbwk/eSEBTr4aEfZM9Dn6CTCRSZZi57OtRGnZO8R+cYjiMgTv3td7cBcKK19RtZPXturaXlPso9aIxTHyKGHBvgT8PKUvJbFAoAlEWhadcFe/jbyNgaS+wWXaXjgxe5X69KLzJXYy7SdL4RxAjYpBRAyzk6zlF3SO8GwPqDth+u/PI+VPY5myeoUDMqbHI7C28OUqhagSlsEeteCOMu6EAsTusdybfxMudab6eJG+LTOvHq/tMVuCD18cIXtYQONDozptmxWs9p5DJ9V6a4mGuK44dj5I24XxKNSEqHBx/Oya+BKWb5vEBUZHEflGBz6Us/8aA6DX8NC29XKUrDVVCVBHBMBmV+E5hJgb5NCnyx1C/K4NqI4xe29ev58NZuWa6D3SkQAVJpuvAu2Y8b+QpuzsApdL8FtRXuyznjx9Ppl7KqPRpDbzCYgR0To3nAtPntGrsqVMoTkM0NZhlZyGbJUws0RUO2AA5LGL+Q3uOFnQX1prKFWniKjVPxvDw8edwEw7g2fvKpH0zKhOxRKXOVdAMphlE0Z5LD0lIqDEl41FuLWyUEsHi+Koo4UfuEjUuE5hK4UOesDnSFAbmKXKBwNc57j//MKn/xUVnQ08aeKY+1JN2xldOuSBVnxxPMT0J3C2XTP/kafLE9WjIFsgElLn/lYlCicU+Chx0ldmv4+GYY69Mw6ZT3lMmyR4n+mc6n1M7DbJe+q0YWK4Yhdzk9kHQDxeqsn3y/dw5ouwVyMp/dxm0MtJU9PCiMmoetoB+tdTvXMG8hunS6d7ZKnraJ5W8d4HRqtjuXMWinSzK8jIG254S0T0xJmjnCRZkRMYiIA6VLPkZcf3Wvrc9SWVBTeMw7jCGszti5jBFjFEXK2wA7Wb0gcE2l7+aieoXyXL0lpQPXy7JKntjZqAH0JZ1U0ZhQWe1WWRhcfkOT6u2yM6H7iOLHFh+ulOFzWWW7X8g3x8+jqVzmmZijKsYL6XHb4PpW82aMBkbYRsod7+5Upj1rh8lrz7Gx1Pfj275wC9Zh4oFfFSbzuzgkpYf92i2jFL/A6Awy2IrSjf8wQfRBABMLcM18RM7LrE4jK4/DbLoRp7TW56i+CLcNFlCLAZvCL8LT541tthSTP3x2vKUYgDBVex6gVVx9kc6arDGkxNWcn6CwrjWs0Dz/qgTlv/B9c7XWwEdgHySyxeiNN+eaFnFtFBQm2yKD5Ba0ol5+Uav+1zkxVv5PlR+d6AD1MYrt6iL6HBR7kuUqB4VU83OACBcvqJo0JLiC25QntuzIkM9ODdXSGkkgrsYO5qlXddZ6egWqY693cLoV6ufU/1I8jB4SKRvCdni9tSAfYDr4tBamSKx2W5Ocvn1Mp5Q57/DeG7UZ9iH2iMS8UkmCD42x1b6fmZTV5/kd7vNxKGicMkXXsRQvdUsxB009iDGz/0LOj0lSJu1v9Y2j/2jB3tI9QupUrD78ymZxXeevsAGqRiZHvolHiLWuR28S7iny6qa6uw69QKDXwfznuGzVjHg8jO6SdotZZ4pl6G3kSpdqLl4oMc9ppvupkDPAv2ErU6IARLN4ywXj+W8rqmhPXh/Cbqk+m7WBJ41dqxUn+HQpyzxnxi0n0GNG875zS2qVSARuBxoPXcsb4q9GVszRBZeirPlf5Gjn4YWcTjE1bJEXZOn7hNMulUiv9rPuMbrL4osgLDkKAr0wkbVnFhi1cE1mYn5lHHROcBShvKrnc7lTZdunl8GXRfE78yNswU6K01jvbQbkKuTHAhEuUzoP8F6spUZn7pN52FBUpH6BXCT/tek/69aBMvC/sLm5ek/2Qov6B4Mxiseh5+6E1gVBXitzzObhZkQgbt3d1gQIQad5SxPTcTcz1iWLwdPH6pFowdJxnuWCSGvSLVUBSDJ6q498vfA8yV5n5pbkVP2jmD4+EAuZvx5ddVlS2ElGW1KB8zoFEEJhIuw1iPl64iJpEtLoJyl+IODU3L7ofSXYunuc7SUOnNMz4sFb2MKsBk55+2nf5L90Y8WRtLWpfTUyO7c86e8142AR2INfVX88psOtEiH5M/3uZ06/nSe/zC0CDLCGismpEyr/+W7b4r+/eXRi+aVJ6Z9d02oYrOBPplyjuAAZCHmhRlsYjDy4aFhENnce9c+vfwK2ub9XOV9FsuwhJ+cEyhsB6aVybFb7meuf7hzeP8HnFaRFcxkTKJRuoiqiQ/A9UawDXIu0H8m5jQxXVXr/F8so/8BF9icPRroV00nBlAJWd1IHeFd5ioqpDcFXWmGJwXKcjv7qab3fCCUM1ftHA8fxvRxS9FZyqtmY2v+JxVm/lrrFAKsR7ogHYt7f2Vpl2X09nRT4PadQxLkJ10VZLF4ky1hniAUWjzM00SKULge+jROREypTcHRjSelY18XE4ElC0qZx5JJQP9BxaZG9BxgD+YCE28XkjCv29EEeyLfkZ7xNjSuAe1/Xc+o7crGXJUm4oqfyhdKI09nfXgGcYQVu0Rf3FdmESHB0PbT997TUdv1qraZxkzRajiZc+2qyywdYxhasf/uH/DiBftYN/Tv05+cy66+8CiqPBCjZyc8EyQSpcV/chJN7jIfBNPjKWg/fo64cNDMdOpjiwJ9mD6H0iFMjPFmJKorxrnP6oymonzvPjPSWL7kj0Up7GarNJDOEwwNh+IG2/NI0eccxeMDYviE1g4pA8DRVyQ9v8aMoPyRU/Ueodj6QDVf+gNVfz16IPzuCIOx+UV+1hjQu1/65EpQJzUF3CYgIHLOwju/mLQF+yHCxMFgo0FYmSRIcYL7+vB74JXoYXiQ4S2YuSdWlyedIs9FJB7CZBvwP0Ldtg40BmrwC+pE5bM9oP1S5XxupLvtfluoJqyrFZweLb6WUMtxY91aM9WLbwN7n75pn/VXH9Vaqa2V5GDCQq3TSFsxhjHib6pd258SABi4v6xA3yIBP3jxGl67+vQoNqrGDQ59rz4r+26iQxxRuPmaWzVOPAH6AyI74TNSNSMhwEgziMjEtBB89gnllwUEfN7FHnvgH+ZFP+6ochXAC+Djve8vWjbjGCZNS1QeoBUA8S3RTYx6POyn3EMH5VXzkv0imjQPIFUR53mquwrZHroUpTK3eAACy71Y2ONHBXXbrZtOATuVWx7ok7V4ud5dySP5Dia4sHuHFD6xgsQII4/nWFkNv2uIaoCVs8xj0bPDWcSVmp+6QqfCjD6axciMWJjoST3bHXzGMA2mS8B+2dIMyzV0faXcdoIx6BiF+dWKRrS6XWGjaxXcE4iD4EulMB6PIiLhhBN5mRFHwpyp2BlHcyYX3VA9humXVL6gkhTzoS0pRj/+uh44JEzwHlg3JlM5wzGmTNI5+g51OfCebLNswx+pISX9z/pOTV5I7jK5EaTG0Z+D6cIYS6Aw3LuE6NRuMPusFSwCWaQ7J1hQkIuNCzb/EGM3hg29JdU6ZAIqaQPm1ZmF9Z56vWxtxVCEUIQv2sI2X0DzhsuOOdc/BMsauReAV9RYG0TA3JMC2O6CKB3ubcWVDqi6reLg3bnXq+EGSrzAqEK6lsvZqOsqPa63xK14wGg7efTw4enzNRW3vD69FLeIrUCO/lfZX7AAAvm2r5M3gJbd27VBmUGDu0A4pryPD0X7X1tfpp/tvftFJEcAFlQlcxgXsMMWwMIYnvLCC+PnYzjWC1iywYoj05GuK2NpP8EBI/cUYhIFwpAMq4/yZDJpjv6f88vXxAZVFvMMb4V1K53twAJM2IwwTMlCRomHI+vodKF73IwiEFfhjxLetA1xkFuoOZ/cKBeSMdWXTG1Um8XMzuZYxEa6nkcqxrtEzOzHEXmfZEGfs2EgOqYaQGy+ZtdUNjMZ7+41bBohRy2RszrZ3c8d0TIQdMLU8zOi5SO14Y97JH2fqOWr1Zn3u9NLEAaqOYINcK0rNMYdolPbCLaUQOHbhkmDXdq3WA0iQiUWq137kvg5jk//u0cTloSz96/ajOeFdzkq4ibM8FDhKsHHzn0RsiOA/eBIpbv2VZnrnapvgHvdhMi8izXi+TTd+b2Wn9/AzLUpWjLElWNScSIibkvEYt+k4495MNKBQo12OWF7+fj06LNP+qf56HXXaPHw8SF1Sv+B08nFmdUSq8owaTQhVMnQSMqsODObm2QjLYqGE5RqY6Ebmv5V/AV0Z7WKuls7745oJbHDh6Sr7uo3PPY6kb47hE9nZfsdl2IJllB4outIe0Ow1z873pZQU36LHC+OX6HhmDCXPY8Kwz0tfEMsQ+2L0KbPuOh/BJn0iehAJTk+Z/dorhaKwhjm5nQ+7tD/vLz9H3D0GbdzKvX8jX0bT9HZRb6oneS3o77RFNfMI+ml8x5xrbo5qE9eSANg5vbPb3wxhD8jCtlP+C/1cIaro9DE5/io/A2C5+4K+pHLaYgFXr18HCg555yOz28VdtY46uP4sOc5pHOqffOTA9H9jGFz8ONqb2DqFQOV/c3UsD3I+fRHY578cX/xJkb0MGfy7s47BpUZUazvOl7OS1Kp/fQwvxlmT9RwPceh2w2PVdrMd1Q3C8oPKsLtYZAUZsihIAko4Pd8BSQHjhpn2VAI6ZCArW/qRdt9lKCy2/MmeB3g+PAdkt1PR0li8JpT37ezxgvt2UpnqQBZmIsi7FkvCggF9Tuf+iYwq8kbJ8P62JEh6e9khRiGZ1daLpW6RBAo4QMJjvMeziPsNc2Kp0ml13ECg2SWpHxrZD7RTmAkIlsMkS4uvDpXh0PtvC/GvtbYs+FPp2h8419BuTOugvKKMGOuWMDuBpyMajbxU6gr9FXXiG7bgIADDOlksLZ+udUeH38mouH9Rfh+Gs8EC9Xrs/7Vszw3z8IluZ5uKOdosJKf7z3d1batf7NP9OzQI9kXI1widcooZT1tTp6f3TTQt2TUybXCatwd36XoDgCvCCxYhijpOajJ0cNyokl0DllcXNnRUmqNUiyCKp4zIvfnucI27n9nRjnWgqfFsZSc1HBZvbYhw6wi8cqwELrK7lB3kjXX2YnqPA9KilxVbnZeRVVCvMQwSldvCcOWvkrH8LaFoZKSRU7C72PlUQZh7aD/pcOM7DRY4cSbkmi0iEIBJ+fBa9b0dZA3vlfJCpv1P8OmplsLuOSs6H+w1SZSpQN201wzQb2gcJWjgjvdGIBoKxmFB5lnQb6cF45y1wJ+OdwwMrG5OHusFSuVx9p3rCD0PstHu9UjuBQqqJWYtX43TT3wD9dAoHVJ/5vmwxayM+Bx83atGRlBG64LnKY196nanzSXgYV+Y+kftfVuUoMI1lvPqxIMYXvYjiKoKjVP2oTzSkZtpRpzOcIV3xiyJrUh6UTZaKx/9bPtzNTZYSkYbq62Zb2FgmKkxCZ1Plea+oUL+vUh4nxw55p2GMYgUlERKRbX6mhCoNUmzKo2ve/dFZTAkdmKinP579upWoJy82lShmHungpfELd+BBtAq7k8hxjzxWpYnHAXOIf6/z/OlEM1hU+42sTOAPjibQ8Rg2MqyNMOSlMRE6y8vtsIMuSoMaktMIbmrbaLUMUEt5kRkBcd4b2lKSiVaCto5JIhf5Vtwisoyjqpm5/qNSmzJ0Z6ZKhVzyF721I+2JYqNLIiHkV7Y7akNZFUdXzpk8OiXSmM+KwqS7aVdXt/uuKO4JpyZ8JIHVuoOI1JtpBIJhS1b0kIoUgLkexx9Q3ylsocO9IBqVLXKOwyZX+XcNXlJmMV0mtNSzf0bQVVCszbs5kTi9ZBNudBxwuiWQ+/1Q9S9F0XD/AXzPwTGBZ5qywVffQ4sqHkr6lVPvFz5cG+I149LSKauojkveKGP2ew/cd2lZ3h+UryCrUJcD7yAVwB5Gsc2ozlEMkjEGF8hxdcF3JO9kcC997ii5Pzcw0gqjfKfxK0p+NPJGfzR5O4bErwVYoChJkXZTr1iyE3R2osPnimTR7VkhNnz49CHdZR3cJD6x4czuVZkN+bD6Loh0R/PiPjnyUT8GQS7omeMiRUsZ172MAdlv4CHrN2N/pmg77vG864rvDQbXRRtZsads36qc8p4pB82LMyTLYISAjxo4Fb8HMTQAEXBUWXs1NGgWJlX9703Y+ZgYrrEBjqXMhHuA8nErXb8cLkinRterVgaGMr5K0HZdDik/MpAQwWqjsMD7E/Hq8QNmsgpdP/9mvJZZ6XnPIKFqbrXfwiGodCOaJpmIcEa4oY1HxItGs/h8H0yI6XGQFcMPGiQJ6ID3s2doaDqs3hEQP9P+O6YUsBo4lr7zILUTpSG7pzOcisLlQ1sQUDR42aAt8Wj0tbe2lyMKuc13E4DqIWwqJFSM8yQ1MPhE544nacecYj5kIrlFMZOdRbvm2VTsEcQgSodlFcSOyCw+FsVt8Qn+rLvyIV+iAZpaqjtMiSdF52z1HOpg2htetQAlqyHbtnIN+/ZXN/8LsoD/4V4SPHj4WW41Dswkopep5/NX+Y7uMdlo+qG0anc5kXnZ52hAACzfpDldAwXUkOfzdoSOJnuXkzJRJI+VtBxcwbIpYOqIVIFo8fK8Hr+uif0lhpMkxOLaA3Y/IqgZ+fnD0I18ExffFZ70zYXDkfYYSNJOhJDCvz/XsvMYjkygrHWCGsiKgiUtTznsvjq4tHjBFFtx9LMIgaA3B26EE7UYvu7uQq8PFCCvJqEOBthkZ2/tVL6R17Ys69unIAScuW4xB4j8RVkwXuxfWrHSVoezGl6Xb7J2oLoRYK3qe8vOJxXu4T4uAtQahNnhsjDJvvgtRICwt2ZlbUPBxqOUkKy5qA54w+0FNx9NxVPxuqeTyRyf82aR1zeWNiLhsRhTqsfiHwjPwl/ADnkMcGhSa77lynb2oCXw/TP8u8zmNdNUgrEY6UitWpANDrSU2xrzOAa3aPwUSrca+EDmFq8a01O2zm5IBTmIYK6JVt127W2BKSzLhu1uJb7Q8xoJ6uAbm6re1hjkHybKMYZe8A7EXCoDql/RdspgKmUCEsNkiGQMbs+Y2/TsTlT6qRz2vISNbk7sIjIS35NxzK0bMTYHCxJt7urEjLRdMUOtxJPg3vRC9NAMtsperSBie3vJj2mQKxvE8DhSJKT4wr02cfJhsFDTcO8IiDsshBJo3+IowtkIpjnCTtwrQV4h4Wf80o8daeJ8Romj7y+SrICA6A9l2ISgNOykXMOE10QP5Qlc4ApX2nvqDOhPF+GoLi1RoBQ36WbtO0oGTyjlbxEHl3AEiOEnSmjEtl6JbMpjpdml/5VutZevkmy091Xk6Q3VuQ4XCrELyD3eqo8gqtiQESjG/trwVFt9aesc1MYT8p08THk6CXQGRfWPezjvDwF5jzh33nXFVocE4XgOC7vY0P3hxWwqH5L4r8gxh2p93ggsYDcY4hZJswjtoCahi1pDyAQgmUaMHIbM3ZH9cBLXeMjE6Cp26LBadtx54EgliXGno58fvO7tgkDA8jgOAT2IB6r4rs+kaFGoC7O+B16sVcSjY73RKRjpKE9p45U8kJbf3EsaB9SDCWwNnuINssTvcTVrdH5reiBMEMbLQGY6XMlgZlFYBq+zn7tHofLk3tWxGqR+TZeWYgXACFVVPu9F06cOsHrMRcUABwDyM45E0RgVeAvXHmSmvClPhI5fyqbN/uuyj2k1/8ODRNKIBbnhDsonQ29vauKQna4Hi/D5m4pkI6e4U4+Hh35KYw3YIq6QGB2k2IeVJJiVSy6G1ZhMd8uO0xQmAZMv6znxsesZVB7gu7ipzn2l6ttTMTwqK7EEEl0mVperR8t2T/uYqg73F2P1FHYxpXcc6Uym+2IsKboXbPu9HX7MvRsjAnofyL+pWsa5+YlrHcJ7depMXcqQctibMTriIpyUnwxlEWyrkbQYiddoJ+T2/LAJ2F1QYHw/VFatmBz1krA9L0prWQinz2PCMuzbO72YdNiFI3ht6gpY0qhgg/l2pIe/tfgj54wMN2F5Dm2Oa/i0Jc4ORAtnYinRzfYS+nomrcwFlBviYB53Siqorf7aN7b7Q/GC37iE5JgYXoj+cY7X78NqL4zysqJOyFgoKEfVnj1mHhdM/zpLI9xuFuctUFQsC3ESgWBAUpJil48dgG1V1X3iC6Zfmj9nkSO4PpUGrF8ipUtND7F2lf8TovCql/t6om8cFzTXwcym45uuj6OuaQrUoYjPApgxNe0FBROSr9D+7+cNsqCszNutoFD/uyWND+oEngFlVJkeEFMiKI5ySP9WJChNf5jvLR3PxAWz3JHIWF0JUCEfGrPpm6fyBbaQR62yZgJd3S+TuKkuEyEiCpDK3urncPCd7mNv/2qN4zkntGe+XNSHmgJ8CKxcFlLWmG5M6tRMNNADobSyFLlW+wS30zacDV/P2yrc1CaqtnjBB4q/QPN0abdHU0Y8hIn6P7f0Ss2N6hJXrWR5qfQNCIi0f5XHhTtAf26q2hYgJHT5I7TNK0H9NIRdD4QhY7BdmvStwhShAi+L9dx02uQwnb6E3w2rpAyFJln1iLrugwrM99fp+ce8eoIW0jXuFfE0I6g3wqzKYFIKV3u6RQ3NyB7caQRkRmEDUdJ18pXTDoAa+XJtoNulDM7DBPxqL5KbgANKhnDQFLWL7bkKwMmfIRlfdG2kX7mEAA7A/XUfVnZ+rOCKeVhkW9JG7Rzz12fBpAteTs1lTOdxmGSDIFVVW9xViavJgsXF3BawposY2OGblLJ9+NBW8x758zeW2qPvEcmRZFM7timeehWxgN73i/pfEEhMIA6Do1JDlFF0cZ+D1zMb/m9Iz/FWfoLc8/7adgXe/cpvfkUr70tkxomygXx2MyvbsaHqtkYdbtc+gwX+raBW+RaGMk/4BDQXH5ctPMirtWVN9FM1MDl12idmHSwwE5BseI794qNj7FXEj4eWr29kLIqigyJKq3Lq0uV31pdS06+UG+2xRu2KOEca8vl5Tm4glUycgekgEHetJPUk3lnpNeG520K9TE8/6dxEABb2+pi5O1JF8k4xSAs297XD09y3lqfuBHhOlc0bITct+/p0FB/h4zFfn51LMAONQGiHDTYqJya/ijetW1aCl3zhQqyh6Wubsefrrulz4ZAVwhni/SDD8T8f8OfFAd4Az1WfRxNMOBcwtEuBt21ggVqgocC2oIeFjXf4uYLEWprM3DSiUt3dxo9YC7psPMpwUFj95JEpsZJudNmT+c0FOPojdCQnLjxERngZEwv/FV6bbunMrzpy3dY2JDBVxKaTcTFzUesk2DEHmYg/5jFY8RoOZhPZo1pS86MAqUmVz7sJb6lSZGxnXnvBD5n/LpdW58FQwymJys1ON/L874rswa17eoL8KyU4vNv+AjsErgYOrV9E9yaoFB2q6u8XgIDdO/o2jqvzAfhJDBgRMaAbjJ/2IPiiaLCuHQAy0mrJfKXVMJXJIUjI6mXnrv7v6Zkj6d3XwwQLuaPue2tnbTfGlDh+N003+F6fUq9u6UuCyfmGPa/kBtIG5mJBf5wWY4wv7mJWqUgZxWpQxjMlFroyBZXDm0xpYVp+w01uxWv30kK3gL9LY+21bum2fUZTX6v15XYV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3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r0lg9IPP9y8umrse/9AoLT5R0GKq+XM9pr/aTyOTf0wptcuHbHxeyqBm9svU01qeeEM1v0hpSHUgirOnAK/wuqE4+dkl4wQfaKhVGXQ4wkQjGZ/xta7m3ltcuh7MXcW6UUzr7PWDqYilW+uaB2ctcN6p0flIHsYAqXlnQrEKYDY4LJsj7tjj99GIk/Ks5dj1i8z9ZdqK7LU+ZIUzphvXnx/nTTm4AsYmQXiKJAHwRn7ZM/VuurtC6Fy0EDC831Y+5vH4ma4BI3ueHT+s4OmSHcqyb05l+Plu4rrz8KycXliz8aDmIsT+IBYUURpRBnJJaKWjcKqU24QxhLIP7QO3Dz7It41Y51poU5emZ/WLgamnooFqVMu6L1rEQ9lEjMt9uVSxoVU4EFdzdr2cHZBGXfkbkPNHdmrlX9wnbs2xRUmNPcZXcatEYvjZFygvGk8C04xikBg/foweNzFRzghPE3gY+55cCdmsCeePrGHvL/OSLHb9Dm0XZQy46oMxsgQoRoLPI6SGyHzF7CcfI4NPNQMq+bweYeqBxt52hMMk7DLJzg2dP1JH1QBaVw7akQTheakaRfiA86dvQKwEjQpMAqFMSrHVwC5mylo112RWgvNbBE0cVzkWmhbJs8lzqj/IOpfE991+zYoXkxRHAKhxhDwR8X/EyVb/LKXUGpQbfUK4A8Ntj6UoGibDI/flx3N5MmIw+RmzLKl4g4aR6Edl9fbuDul8EUtrhTNJTIcIg4qRorY9ujGzs+x1BSK0rW0L1Eoc+46RXL7kyr4uryp6Tl/0e9JuA2Y5i5a8Qx3chHSa6my+hbFUTCzqcTLXGQF5xsHDXA3R1tZSfErc1cZB2m6L8cC8c3BaDFVCqmLcTcyGUDo/E3HYYzw5/XiGTfj8uHCK5UcNY15iG6biNGBSsqdGpQy1F5AhzKbYrl+gYocuF0p3LV1o0mg56H+lnbZ5Af8UxW0tELJs0CQ3sMt3Vy6FY9egzwVA7wungdRxo9WQwUp7iua9G/43UH7RTIg/eeERhco7UOydHVNmZHBFoghpytb/OpxrkjtZrb5E2oCBqz52AFMrAHE7DadxXpTDecw7z6+JnAPKz2k2fYplycRpu2IkGYb7QsycJxkNz7WhTW/vHR04fXQfRQJqkV7URkyT7FoOVLsa1l7Xt/1HjTy16vTc7zHvCxMLB7gQmUm/x6yUSSUOeJQTmNz8jZizD8HDdyC9NwNcamqS2NmPRySm/F2BNO/jM/fGpCqRvy6xOjwVNpbCFMhj7HAtB8z5Rl7ipHHB7yvFoUtlQ38/q0upDwOPID55S8zmjCA8GpyTEy/KhaFWEjn7sHUbT9TnNPmO5VyUMrSu5ilpy00KyEBuISHKj1jQtNtU9TdieQB2y+VNnEF691tuPYpMjmIe6q3oHx3N0pTw+ZD3/k1Qx9X1/SdDvoCzB8T5e+/Ii56d4ilfYRFabwb0gruG5AbqwFBybNZn2oLj2iQKwkLAt2Vev3TBvzuOuJncoFuvTAFAI//nnziyB5tvEZNvFDT8lVi2zQCzTh4/IfORJg5V0wgG+ucfSxBI1ImghXS91XSEoeTqJtAU38R5iBrd2qwpzEmULXS2PXGb7KCiaTJjT0tCA+SCjCJy6JowNNeTVaaCwyMyXZUFatA3r3iMFBOWUaOnG6IExXFmkYqfgxY58MeJ4gfaxThQmJBM8HOF7s4cricHwPu+sUobh3cmWfgC9wRGJQCSoZXpD/M/YRUfNL1MaWW4UwqVYCz/aPme/D0tZst9inN+KYUctSR+urlLYz2m1FVo9uiMAFfD+dvWlRUbCP7CmDs0VM7nP+AeX/fwH+/VZjYIi8wCA4fqlorT3erXaayQE7P4X0evHQJJrfhz9LB4cxGmdqPoFLKPO7fm+D6BHE4/w9TYSAH4vxpcJgFLsaKBxCJF5vS7kxstlHvb1MpHR3c12Q66SqtwomWttf9jWf40EYm1cL5W1UnhY1MD0CFmQFgBFYecTPqiE6hqygf+5vbsghjZ0812tBFYPTj7hf3/SN5itfcZwZTY9ICsSPS47N4l+ifNLqDBmcQOM+72tlZ5gTufmVLzfVX+/d6cebfrslMIcLA+CaghbmCh3tM8hbcv0M1SPSlExRrqtGJiVHUDfa0u+wFD2cFx0S6JyNqB+NGeVjQ9anjLRwWqTGgC/DGYkRD6BzvXd8MzQQ4zFNHniVhZpOJBfAehhIJoGp9J45kANk8hiynW2pcyRv+y6LWpYL99G4m63xLIyEdmCufuoPR7lnfvpynLyMs/jix6/hsalu89ik1xkiMS41+Mq+LCnu0RcNHmKfYqjgbw4ya6Z++IzmIgs3+sbwlOTyUxhsNf8aPd53FJgOzX3Rmk5wXLjFj3q1Nt0D+dHKgwt9CAukfFB0KfAu9Wwzstlg4jlOOMjWMQSvOn8R6lqdAsZT5qRnPk4eGl7rZXUUHQJj4mgi7InU4x5KbkZL25F4kMQOnbTGfI/99kmBQCalB/TmNFMCXm5DOrENLJSAdsJTX/oc9H0r3I54bXkhVAvLs7qvtliviAPl1Xa3KnWG6rI/N19ndfpSt4fpowtohbctqEDgrDWCvTemnFnBwIbtpqBMsixbIR2lwNMslOIpOfQTE6fJMsx9lahp2W/gSZwF6TdetyPUR7P831+AhSp+RtXE99eNcLmeWrRFau5j0JFCoRPmSdzjnq94BUfgJuDaSGr5e8kWUpEvLGVfAZScO1YFcHTfbNzftFD4kWWalfpB4w2jnVM1/S/br1ILWa6jVU6qP0nYhHbesKiGautE3i6HxUF5uq3XUJW83KuAQOxDkn1w6lVvvk+AF4hNlWGf2jOpY8Mivk6IbaW34anoQOb+HkXyWbvr4K1tEL4kqAhlPR2clGlLph8kT8ITnLFihqesdHDLUEQ4kb/mq+zAI7+7biR3aYQZBD1jzhOZQbCxZ7Hngr1RtpRveP+GcjgSepxSMqk2H2LGPcr8BRmJ3I1Ar8QUhes6O2f4Rwzjj4cmjGEs1MXh2lRXqhUcOhSJFQflCBoqJ/Wz5iZn7010AVlVNfRXA/hADOgkhAQnvpMoXB+DfA5zw6r1x0hbjbQusnT0onuDc3Ww8DxbgEFOhKDHrAvyiCzqk/9ZvP5+6E/RjuMgAkvwYujaaz3eaygc1d+dIJ0i8M2bdyTUPMUf2E4Pqd5h/GU7+ZEo56rVeK0C+zXK21MvudNW8iNdoEX+xGgrYxhzkjRojEb2hllTtphY4xUgOsq+oQXU/eUBV3gZIM31hVEykOvbdICQes/zWtHyuwiZQ6xiSe7lBcoHN3dqiV8OVTPSYvb4Z3l0BkNjxUkIwksUtVsIQgOXBAXNmvUTElzs4Q4udTPSo8QQtv24u7gJ5SSwBZ9XMV/ibVYE1wyfdX0oOk2BOIocJxRbvviiA/atiMe+lUo6QDXHglR81FiHDk/Nz5U07PNYj2LcqbM6/jeZ4NVBU2/GgbgTsseNlXdLmqd9929yCzN2zGrQPMc1YixTzg9bCkVstreLiaLb6DgImEDCQc5ooK+eyOCJeDfSIHJ64C8xYGvgetk80KihJRFz0sYdav5LVErTYdIAef/jtBGRK1NUn/0sDv9dZSYvyZ1mnxq6qQby2uOvOhjmxNurjFDteFg+A8LkhS23b+WEcf8zl+to1cJRMCz/FmiBJ1JbyJJMOqf/HoaaCwEBazcCi3XmTcnY7QuKZflxuTUKzGyv8yDDisjyR2EI2srhef0Wz3UbY5o7q0t6gvuU2iDl9uD+10o58OLcYutzglyaSQ77vpffTQ2S0enNEy2EH2D51nVsu4tvFn4LLsV+VpZrPRYeBn16OANIjmP7R2RHKh6C0PDZxvhwE1gS1GXki3dFkgNCTgt8YebEJUZQqWEgtguLFy15JvastMBJXf+qqW5Nc3vcQJpk8uB1hila4xMRKGbjGqEXW6X6xrq2hWMi/TxjH9gGDWo7Phhvt07TmJ9MO/zQIsxSIeao7gj5UMiaDj5EGhZgXcPQbuWr5dPLwZfyqvy4VUIgGZNQzEaXjEA8vYw+BMVs2pt1jv6Eot3GVth/QHI7j67bk+ZMqITtpvCFRLSEhZUwx9iXUYysI63nlIkfUGFYM3PeAkAuMIG5heWJa93q+mur/WAsfu+3mzDCmPfGgFA+QRjKedO7157MuLDmYqOO/CnFwCMlNemhIw48+0uYg87U2X7AYwUEUzbEbWAdJi3VkHQJuGLrwTFTTgVm33P1pYJ2OTvqAji/Ld86dQDBvexpGxP4ieDXNKO1rybE7Q+Ku5UKSVi95ZiJbPDRp9GBzbozzSS+7+ZF7V3ccvTzMJ0bIkoFLX8awj8SJprdvhKjSrF5PpVM1Kt4KJMF/QRCg/BPBYOAHf+m5EqjU5Vc7+bRiFHEXzHDZp6PE8nI3P5xCcLkjzZ+OORnfspRiADBbujcznh0qmUVX9LjGKcrQF2p0YBfrcsJgqx35MVVk34NHyPS5tc6RGyZl8f4XRi1GmmifB4cx3k7OdcIZQBIVV+StRngB41y0tLjpxCaKQIvh6XbcLeOsv9Pb+SVntt9SE/Myi5n//rJBSgFp+IzBl7zNdgfyKA5gKkBIs3rAPC+betJTJy1K9dEJMyauCw9bivfZA6DxfW9rhy36UX256Xt7bMW1kBim0H3g+ZB2m04vcy6bUHNeQPBRKsJzMcaeoACS/B/gjPx+V80wpsZ3WAon0aGmg8kbSfSCavRAWIUm3CtPAR1QOh/wJUZheCglQ6/c9oaLIMciPP2Y249pjJynAaTcCWvEkCNKjmKZfGljidZEnkjgbYAdL0r104LtlxHLMzEEdW3bHoA8I2GbelH2O9TGdfmpv5+aX8IdybM8PG1aua1ZKqHXJI4d4QLmT0sbe8W57uwbmubK/JWCSqZUBY8zgclCT4b0DqUwLqNT7ssBiLgSwgZ9YUZ0Bldn2GHQdi4oQNtIO3I0xPgBqtF8C7fc8UWyXGoQIQVHccGzV1DrYc2UJ4G/Q7eLfSBuuABfPUMf5unxFnePe+szvavB1lxn9es80kwpkmU7R6NghnhsZ7Pectj3fivVzAixzdeJCQD+jpzMbrEPrgVafysf19U1Hkii0M7TJVDbqnnlGJI2cNR+UYR2eLJ9kBy35D1wSmTkSDVTrrhnlgcqKZLKS+853rMzEjDwnoxmFKt/l4pj1xu1w9IqY+qajnb46NfmMbhY77XvrmomLxoM0A/oBC2VnLgDnCHXKhrrVjd38aRe6eh6jUV2mdSNERsvznwMsCyexDbwmpErzNTktAzf4ZuWp0fr1TGoKAQOcwYmFAg/4x1eeEz6GTCJcx/UJZxv0U1xwIQl/jRKmBFbDYEaAYaKKaPRnMUwygQWa5VaAm2dOaO7T8wl+aYRTmQpJSviYiOIlnr4ENbBA0KximWYHMV03V6pq5lYB4jvg+QY5OKH4+iNAQmuOuSQPBoWBpqVnfrMTv3/ktVe/rv+srcwYmvhHsQ4zTyrufdQ1Mr1j7YmJsgmE/bIvNdfx2REanYtzJ2gflvVk24zU/XXu4LWqwRgSiE2TrjW4Dej/SaZzSTUNyGNhIGCBOsla/U8CXKv6KIKrtUMG6tCWVFT3mfL43dz/jhnvOOsRCHIYQQvrSniRg661AlWefgQ7QKDgH/gdaJN3id/NkQ9mVuKy1rw4musNTdV0gNVqI1jJwObGPQf2caBz5we3EVslYUVMsfBGCFD5kfink9p6GF7FSRXEDpZ4UKapiUvD8C8hKnkSNJcjx0iRUC+mH+sMdj/MMA1LVUfrhn7pLiED2lKI6eKaHS7bWX1k1lSW702Rj1Jz7hTv0HwnnTC+/jquspF+5rnF9R5SQ5oVlNHIZgq4Yc7uxPk3W9fpYqCBT5MnMwSK5MfqG1nGkD6TcOzC6UsJQcHNtyzDlTcDY5d0WniVml+ig5nsPLOdfIhaDkR1o1idhaxctBHveI2rGuFGoKxvoTBIx7IrxLJ4yrqTVAbiUKFh3fKklop6xS0SRp05TEu1t8fMCbGwuea/APpftjVZZm23tXY1jtVaMUZ64jv3AG2M+bZxrPr+rZRXe78MyaiOXJ3XYRkCbFxnny9ByeOZipVAr4Evcc+4QQUff6iavXx1xEEyMcNuiFgGXz/OwjVaFBcgvoJW56B7NQYfMH52wrjIk/WWWP8EbzOLfIWqcK6ooFwYQcJQY4a6JIVFECN8c2KJyiUg04ytjt7b6YRktw+WJ49T8xSIdTMwdoY87DLQFl068Ytwf8Mi9ErWOaGnpi9O1CGhRrcTiMJfLamLXmD+wf8hSC8z9xGPWNYYucuz/BRtvc+5papzXKjhHxveFa8tajbodSn7/2mIg+RljOAcsVcDffMaTcxvCm/UvbonltgIYAm/TIU280OQWgxiGk5X4wW7/9LvllgBzed0onk2Xyb0h/u7qdTsmdC6GS0e0teKy95+HRuZlkcMcGopl2sXmI2Z2pgfpXXt/jt0LoLGyKpXBKiJ1otEaogB4gnjgPscZH+iHNzWIMI+DJJWJCMc16/o3ZjGbJaEHctmKdQ2wK87YqTZlA1oQ/rDG3QRZz5vUAzW+EJjDnYCe4YhR35XBBq+/5wdASewt2v7beWhkGs7K1VjkYmfbqON+Ssbma9mVfqXGauZU3uFbnG0anE8aD7C/ZXHJmhDBorK3+9cU/STU0RMjtCW2r0nCJ89KRUmbwk5j4xF7ZPCavXdecQ7OpboENSjjayJh9KGxZqzjU8yNObTJ0540ypxzrvsLFUfyGlBuT1MGN5PE0ZcF2M14rFKgGcksWuJkQjCd+y2pX1vBTevzU6dlzvdFfuL4+6ycXxT7kcOvBWITIxXm1UyQ+89shwojSHErlHMSdIU2qJ0iZHmQLGU54z0O/AhkSTiYIeLy9fA9c2XOnfmg6GErvOL40W5pDmvRXt9y5g/EhHHBA1TZKr3YyDXYxdLkfuNW4SxTy4OmpjYGhor4y1ED6ugeh2Q2MZdbhAVycs1zrB0aISSWWKYPp5zVcIsv+iGneUE8gpkx1DZpJbuWXsqbaiR013qj/xCJ3lnZCxsIC2B8Z6TjM6C1Qx62CTI1hfKRZ3pmHP66L4o7r8qAT0HBawzSlzr89hkmzOmexNnJI0yUwqCYw0QNoRUGebd42eBFHwj91Q0S/9c5hFuY45KOkBFJ+EF7OHwKx+lNsUg8YFtAqOA/DUavvW/IhcBRyn9gi6W7FjS19vE3jUIvJ9GVHK8BKYRUKpydZNyvdnztU8XTu9pXjxusC5dfc/mwmy2drQtSlUpcLfl+lIshiQL0CWhOtzJowxJTlQCFaTinRUHRqAptOt+CDDEh3BvMRpbUPmRHpWbG4ZywLbYBNFRL1J4HwmRa0FDexU0JtPjSoObnodolfbXRiaNslC3bNwgLNMH++yYFkD7N1PvVJSGXyvnprqGCH0dIjRkekHJonaWYAez2hfoh5UisIhuI3JEIXu36qXxmYefgn8nMyu4d8239UyjvkcFDnh81wFS8sHrxafwurauuW5BRLf2ZJNMk9SwvQcaDbKtjrBHy6zutq06jrEJ19PLnO599b5ME1vMhFTR5NKU7OUz6h0Gv9Ti+DZUgcAqGMAhM1VcZojDmtSdXGfuvYhR3zbBTgzqaRmWtrJTHb4NepSTHgjaZJFCg2zu+aycHXphWmJ/CtWxSB7uAPXxUx+oojApz2Vi6h8anwDkEzfXS2Flr849gDTfzE5BHTCdc2er8ek7gGRpJY7DQ31a09KB514hIxhtf7vv2zd4Vk1yeUStRLURPJYFk7v5JG/ikb6r5vjgfUHjPB1tmMZ/2FsdBMLGTRCwUcTgHF6c0FV+Ah4efH1hko2vZoX1FSCF/P4XZQpF/a+yiMlkxz9UlA0LwOfFd3tzNAaEzZpqv8VcszyAx60tenuRhJ8GzndoIxgQHGa0fd8JydqbMWwavqa/RE1L9dLsHWfxwunGI5xOT7u7f+BU40NI4T8VkS0aCupDtRQyJ7+NAWiuQoHWua5JjYlfukJBQWt6FaqujOhAQcHfSe+H10NCd6bdQc1h23EFt92QlZIeuP0m88nulnjNp7kr3/kdEFCM8XKY1+L0OqbJ1yHjS9XrAatpi37bijHABnfsbSHxVvZMh5PsTnyhkSwWZkXWhwtim0HUQkKbxQ4Ta6Kphbbm9F+hKr38lc7BTp1BEU9qVDun7UL7Y6OkdwYb+CaLq4polwALtN0iVH/GgN3UNXCeEWhOtDjH0WOHxNRpWydW52Wl10x5OYMb3JMpaqikChYDoG9bdbMOiBMDTvo4k2eqynofEnfCid8msKjkSW2M01LE0k20mGhEqd2KfKfe91lt2HV5cObZqTSptDF2cRRIyULHC9dERZhCHa1pJkWmcJYxM5ZtijWhq9cIXG7idbdUL+OxfFREDo5mDmxHHxJciUlFZlWVQoWfD/3dMhiXaU75ZcgxL1LD7f8/4Z1hMnp4rveJ6DS2z84R+NkqDyiVd6vnBo32erUqvQyASNGb6iopQkA68t4Lb5um9AwVhCbx80PAUTlWqHbNRzv3uW8YA4mA++csRJ+y9JNmHZqxvjitmEUFRnYnqeucFiKYhpTmO7eTpp0UO9nZuyb0BSwU9fMXQc1IzMgOKv8o+tUy0g5KDHh5es+Jt/9wRyRrVGiiiR5lSKWOHV4maS2JKR6pSXFfLYKl40xYsBTjHkeidCJulWTJWpGTqlE+8BqIIlCdXA/8kcxT3FK7qzFvyB1raGGpgYjKtJERHXv7FJ5GvdA+up9DbFDGXyOVgkYjYDE5cNSNhi5m98w481JInHG/mYmdu+KrlQHIK13kUYyLx/FGN8B4AkaRVU0WJE7SwwOVlmJ/IwI0CLgzKBJi6LTLu/BXKcHD9qZPMbeny4YMJidUztgvxN4T2+d/592QeheaxSEA4bd/FQFcLJfrwtHL1C9b/Mxz/rmRTv9JCA0ifOzyDh5Ge/kPtrH3F5t3wpIzFY/nG1o5rS7mGmM1j1+DZbvC7+sGRZ+ZrMOQnp6lsSSlrvAbaaR9lrZkPlUfkBAbCHjEbN+/QS2sB/hcAwdXFRVcS/YBLkLXwDaoZZ68/pElPD9nZcLsCH3WrPnlENH9FHgMky5eS0NRZbsaw0JAWIUjAhwrvrhaRJz4fPyJRlJl/X9GZaRtPg608wn5BtjmTlTYJ/Lftr1Xejx9PlCqB3AF5P1InaONlHHtO/hm3Uk3mc6NfzGxZOiGc1h0Whp0dD3o6XWb/CpLhmh4BKkfZIhMTOd093mZvN2rX2k34bmnI2g5Wy9/jEhfhqufr/HzOcRo+bPo3fhji7z6IMcUi8ALWWNGA1PiGBYQmcInUPFJk6y3V2jc14jpi88Xc4Z4jUFGhEEgdhm/67s4gj4a4Bx+nj8m5OTkLzP8GLFM27Lb3QY7T2dtyytNaVhMeJlxLbxN/9AusyHtDeKFsiwItQG9h2JiY6nH7v7weFc/fmqQ/kcDlKMzDesXeNOytv7r7yjRSuwd0oCt+1s0TUDhl3KW0x8l8BkZ777e5snRF0gLtLJ43F39PH3PrkfLSdrxxFowTkJGFgsXAutO3ekmao+FdB43TBeu8+auI/xbyrM5rm25K9SL7aVLBDTKzRps2nrJTu9IYfKBELaOKU6JT6gOTvhhjpZ338NlBmXgTaXbHmvWlr9h95tz3SY4crsen3S6kw7kSgGQOp4WqPV3sCLWkytxKMf54pqwyKFeOJ8XK+rLIOGOUXuXJd6Y1lzFCj1zRGJM+HShK+WPO/jZSEGi7TK3znkDc09JHxGtyKf6fzRMtekoT43qQRr4tma4v5LevjyulmL6i6ieCm+k0pepQBx9EUVvCO3zj4p07h3y16GwO3PGNhkbDspbkW311FM1Ym7whgi66K3MGgCkadgsa9N/Rb8xue5ydo9nO+zgiPmqKIC0OcM9mndIJtk3ab1WTQe+GH2aJLNu+JQoO6GssVl7OTi/zww2FIVCaPrn2VB8iUg6ZReKV3Czps2NoKin1M48P1NXZ2Y0BHXbES6gH/INMvl/UIzluiAHcZIyj2v8ZqS5IrDyjigg3/vE2OFe0w61qcvHdNUGwasdAquH6MRehExATgy55RmXnsXyJOMuoZXCa7L4FfpKpm5+9iqw+1eR8BLNm3wCAGJv+QTO5hsV1d8jqkGkFPMAH+iqrUa+tdPFniVT6ijjUXV0jnJKKQgQ3EcZ5MS+kH2HfZy+doTTXZKWZHewM4A8dn+vWtFhxYCPe0hoCslJyBPlkf9/733OqzGvwc219AG6UD0pllkXi+JxRjOXv+4fogFaF31JkW9JXjZ4zgkfdev6tlE2n5WIyGJXgtesb+YuwjnsrYCcljZbliYOXnJkLSRvSseHAPQUMBrLjX7CXkRbzlB8NfrVkmjFCp6FIJop6XHg3H1VRZqEYCmX77QN6+JzK2mTyqMt8qlE6PVx9WMLI7KveqxWV3LHh7uh3dyVTH68Cmv+1mMvwrwfeMBWm/6K8oKKJZusdRIhoM2K/GqSG0RYTY0KOQH0WKFYejNKd7U0hM2AYQ37WQa1JAHtkZz5pLz6YTaOYvwbHvTBinZ5YDkFuQcC6qHbkySyZ193PS8ZjoccCl5efKTA2rNsTMNxy1xQyyoyJRWQaUxNaBl6tW7Rp/aNRobbPWzG8Ls7uuNZLQMgNvTCoz16+tU78FtSqE2SBLYGJI5aQR9AHWNBDcmk6JFTnbzg1s5SDxLuR5z5dtKbmgm5FCWHX5+j2GdnzQ3zgdiqouBhcPlxwCfV+woghjpLXZ1e0mIdLTPkKR6TNG+Eh7aY8r1chz6DPZtXI8J6QjOXNJQX8UHjNASAa+ZtZ7TJcEriL+ye44oRH2Ldj/MYSkUkA9i2jf3frwvfyH9gWaf195syOJROxFTL5eKrH7ot/ofrgQOXE0G2LqdBBCkRUMCjMmchdUxMGFOPsRPgrLLTif3hXeiyK74S+7COOZ+wA2+59RJVe648eUUPInN/rUUb1Yu7HECn4b3yX2NZWf887LDVKsL+/SbJkbuKgkWeqhN8nhcWhlfa9RiJlSU3zScaRHyRZ1fjgzpV11TggEWg7QI7ph5ESJj4vnehuZoQ1p4UGsEzladAr60Fg8Z3+N44lhFCV1GgJu7U+/t61E3eNdKGGdfU6TPInLDiQMwQImKhXGLpSJX1FrlUnsX0wzvZonQ5gSKsskwrnu7rsKnZ5hPzIGsMKG8fwRVcQPtp4iocvSbDnj/4yvkHkgys2epxz2YymCetg/aMfUi2cnAEGo7dFOSo36USS6iFzgvIEmflEamqqedRXDQ9Xj/pQaNdGggoaKtpus023Z9Ri2tn4wkgFIh+qh3nV+fK28SUWDda/npqgOe0G/1XKITukY2w1x6thkLrJo54wWpcdpwxyxBQTk2Gx8bl1mdmmvG6ZEm0hnxxHZB0qdxNIvZ3Fp9y1jXOwGjGMMTITQQZR2JhmotIB3SN8FGVgPDV/xFc+wd0pLluZnjXYqQRk65GDGVt6yBfVLUekRNTdxf6UnpFYj2tPA7YW/Su+LKbU2E64VjeZyeRnSh9ArdIiO+ldoGFr+YLHqvah8/utjth6WLljPIsFOQwIjAiBPONOEYUX6oHKBUAPUOHV7UY5s2FaGhLyMeY1eokj4ODvFY452gDA9jGx6FUIpKELmCO4oZ0LBcNu+ogkMu0vr9JyFK0bsOAU23UKoqxsxsB2ujz/D6R+cHfCN8mDP2zNFX12TBW0RRHpXwFDDWl9z9i/nw46VnLWQIP7i8+IKYFaIyNmyrcbh9id8I9O2Ax1+Sw0amV/ptDngTz6piIrCncpp1wOk9K1FqGBPdmz+PYz9aM2/nj5P6f8MPkSbKHwmAIJU0qa1os47jjNKRDz7jPIwAh3u17DbiKgJOK8hfSwkCsgF3rj8tb7zKQ6QMBXcWng8sncMcuw0kUy/F2keolKNMONGM1yp9Pf3Xtb9HpoX/My0wpz6hfG+x+StX7Kgc/w8GDFXxEvJAh5dLwRVI5rAFB27YKNhTUEOl0Z0iar4TqXweGH+rmJMqgKl0xjlDKyDUH2xPB+CVZHGO2F7nprGy7RzWVY6xCGS/q3uFd7XO8t3igU9oRz6LzV5kzoWQOUWGdSko0pCLVbAGHrxK+wPw0a17ISI9gcZAG/4EZF5+Aciz4XSXXWYwm1dSbB05eG8I15Y2UMs44dYNhnRJT+CAJA1iF8CzudZN0q0rOQgmTldc+D4VgPVM1SO50+W2/I5skLR1ueXwTXofWujiTnzvgGdbw0cBSPipS6218Q+QNJ9jhV5p6t9wxP6Ql8vZNqTdCVDELI9P9t3stFDM8ZCJjFaCb1ut9A41HB2GRx7veJlzz5e55YeebXIIIgdEzs5GuPJp9d1/mlMcZQ9oAYI0VqRFeN+oRdmvLF2SwbDG0XOWlSkj8yeYTXbEEjM/z3qYpJyJ5Xi5FM29IcRJyb1S1eCYVH06pFDt8sbGjLle18eawuN3yDaKOBxIdmFn7dsVJBEz/Ck7fjAp0bt7PbpCTu/oUJncOXHMIGxdgR70vRbWwnmEkr8PAfJjqcrPxVZt8LGYod/8bb999UzeFLtP9UlL5g/ncEQDwOZEh4Ylx0PqBoxfn9BX7fNsOIBWGBaYmvpawEyksUY5es8jA8BhZK7CLQd+4W8CPY+m/7UB8xWzDskNSTB7SXdUEGm6bFrb+Jsi7gd8J5cx815PuhgPOFY56SuL0BCABphlbHEkLKWQTvxTPxLIduSfPA4YlMfw2Iw3tQ6vR/lZDoQNILfQv/kPI7CilTvh+GAcFy49fHY3DFmN8cJ/5cGTht9vHjWcryhv/aaZL0LgihFzsGkbgu/s1ASYABa8ZaR1Q7xrWcHJrgVGnHlKwq7tJ0gObL0aFXM1Jk0YDigKBOLijvm8waRK9KSTSXUy5Lcd+ScyH1Uhr5bXbY3rjrPCfaqg0+BzMEBP08GUt4xGhVVTgYjY1bMLZEmJo87H6sSYGoT2yw7u5ePirXMEL7mtmUeCsPXXJ7LCd4gxSSPQNMZb4koqSxzN0vPlV+kzGHZqm85kuFHMC6BVw5rWvUi0GO+CPSdewABy8+LuiUVq2PmekYLuXMqKlFY2Law1+mzPvhgMiC40ZyLG+KvHCck0zOscgcoqmMzm+rHFfSPIz8tBnJ7ybS733K9zVYq56uwdjtJsMc3vzeAhuavOs0bW1zcQamfkMtLcxiIZ9ATcHztvfjrOIO8QRVbQ5pQA2jNy7E7FHm6JD010ydYpJseDtDSa/bsUR0Pxw6jAUlTtKSQB7+ZRcIYNOUpsVXTXh7EKQHKa7Mo0jo2sRI65tHHiRepe25Pe+fLjcGr5bv3drW3Z9GoXm2wWbHqy7awd9bGE6asp8F2ytkhgEKfwGb0YbsJK02LoZ8yUmyVXT7DeiLcJPxrO+okrHx+LstNZpwjZozmE9yKzhHZ5eyt3HTI0F1BxzIVBsYWlpwLz4fXZAMqOJXptNEARHx4bLAbPoqXebBsCtFQsVdTj0w2jZTwVNXpkCMw9JhXyCtGbA8h8l1rHf2AtaJZ/CXOqNVqlndeSXZ/vjKNmEpNmGXhscr6OjkQXfq5I01tuaSEMs5hk6hAvrvzbaT1r8rM/IUFOtvCz27yCB5OgjdVHmS752W1YFRLls/yXDkRA67uzV9V/Ern6tB3hgAk1n/qFpRi3wqzileV4qFvPAN/piHler4AnAa6Qfvty9089WSFB7zaSPiAY5S+wVj5kCIn3/X0DtfqtoLeOSQuWET+m6kGJTDHHcHCpFRnuyXeU9HnZMNLUkxr9yiCszSBgtq9Qg08DrTvoGR7fppNxN9+mfeZNkZxye9mhAjLHk5qLDkO/QgP0fREj8KkLzlxTCAqqWRhqtDVNPgbJy5GXaEZSyJffOjVCMhiimYln8CkSURh5LnxY4x7SkzhOeWT6JhdknidNEObxJNv6CkPadH3WdRVFjkPRtmDaAOstDaTniaQzJuOVXN7LVz1bCVhRvydIsRmecjkiErM+29YmCwwNlYB5hbiNMvU61toyHRLqfxZsSI+llm7G9G8VXSfrfRGtH88h2S9o0VJgnP2CtDFoQEuj2QMM/jqnhmjY+O2D6VzhN/5tZousGFZF+UtlEQWPHhE85xVeko8RC2epRV1TzhJ8me95YsQ8Z9T0GrNzmhno23XobuhywE6nYjjXkB3Knbzc0DOge1EToqnYmIhWU3h3IrjHUjJHlO4qW0jyiEK0ck3yTsbnA3Y2rmZ8Ga91ofwFE1rtsJh9zUZCI60P312lyWHuP3UdNq9rQGwY+p3I9h3uiyQ0HvkZwvEaraYDvIzL7bzqTMlbFdvsnb/iK/rM6Oirdd4DB0oMfxavCZ8kPnFz3Gh+AmYbC/iW7dpkn1/IbQ9q2FxHGDJKofsrwy8M7nrCL3zAjs/qSQDG6vce4WsY4RUuwpWXmdjo7YHhTh3/un+gxnWkHGpO+Sb0zckdRxQxPjKbm3YoH/uo1YRk+tR+uPwD3Ym00hWNcZkOw6K8v7ihkEUH1o1n7+OqC647PaEGfSxc/ue2Rc4OwG7mhHeb8axYCiBZE2+nVwy9IFes7iXGmjal64hjMXjNv4mtiaE2Roue2kkFGX7LsKs17//R7MlnBvTIIWGSf/unwFzwBE6YzDlCX2Priv4kiewKIR1YGy8cWu/8YhcSFDz3ZygIBa8BSIGaYkfuK8owl5ww9oBhPRE5IFPyajer8FJ1oilKea+fUQsNKRzTRn2kPEV/kqANJ2wz38hOJkVYcjhzR6SDptei5tssuJwnAJ96bMwm1LL6znZJfOIT+F/eIdSn68PqxtX+2is+hdG1EBx0/MrBlmzw5q1aVTqDe4gO+vSA2DO4LpnEklf8L8S5/bqJ8Aq7hklVWH8oS9GFT9lHc0NsMm5Y3WYnRBLW8pZFRYZ2kALdf6UAKpNgrZNPZajKL2D8BWYitMs8y+CxLECOVpAKzCcBBFsEs07OvA399aYm6fwdGFmdmcEwYELHLsrEWfA5O+0LHxoTYlssG3rnuAv7cE3oZbFF+5gFu7rY2VnhYFwqNZJIGs7PncwNX2Gh4qmjtWp7ftf8Ynnf2K5BormQWXxymG5UAJIA4cwGpwkTpg1u0+f79aRRkLiz6IdVP6SEceCUlF+zpkyRNN7BH1hI3wG2WuN1Wf5kCXZjQHbOiYB7XoRBD+nvlbqDVF6mtMKr8sYnAPPsabF44Wu38N+jFadvxdjmDvy1rRkqMOpBIwiwwd2ktzxmUXtn0066E0f5t739L/pSBAveb+pmfXmDgEl/4MXdaUTamqIt4QYx3pcnAO49Y2tg4daxsNOXALsdtjZFnoAv/BKnNpYn7uM4AdNeBO0fUlB9dvwqwylN18OZkvOfZ1isLT/LxQlYsKD3yixMJJFEIgoxJujhz7KHcl/DDHIT7z9zkC3GdER6xqlrotVMYq3lN6ST9yQtEBKwvJKhnJdzK7nl6ndFoP7yqYNnbyk7NJ0KD0TING49klSHaxiwE4tDICZ+J5o65Cnkgw3gLnAlFkt5XApuOTvCKR4uQMAF5vBP+UYFSD4FAZ6y4XeECoHx+WhM0kjkEuMjdMOdi6jFkgXNJ5ANAt6DfzabQY7KD9bXYr8pH1nFhnsXGOlV217utRkrbNpbpPRlkw+MINJAeBwpUhn1wMY6vL39IETG2Sl5ZFgFb7gfn3kZY3sYQrgOBVEpVpBIWcbGp2dE1qhAOWPwOjvH3WP5IUl0a5qXFqQluvjGLIgcSzjQ8qG+bnDJfoXN3d411NNluaAy0FqHg/MzfG4YhivPIV6flO5Rj+s/4WuUwOjy1sum9udYEIdy7EMy/izAcJJDjK+SddkyUYmZx8JoE2GSc7prrxp5UVIqRQT6No29gicOuWvLtp5sAf5NjH6SXXBFp8kS/HrQR0V/O/YjPqLuh/8noD4jmNi2ON8qShDP1zNg0/NnlAWLmJGcokE8Rx3BrCEOpOWF8OXCDja0T4C+CwAkioDv0kL91VwGa505iQ1w9PLuz/gaEyvMaEcc4dmBvUJkRJIBgHY9wpxG5BrBNTAtjaoD94QNgElObMDEvho6QR3CveRw9st1pqn4LtP+O4hej0Y6Ewmu74rKrfONgUQx5h5mcgNKk6C8f1D9f4q92RAzgCLV5ons72aw59e+wmSz0l0EIjmwWiYYfItH3JFYZseCaAyeDy006nC2fvkYxZDSb/M6wwjFWj4KiGLkLU/rsbQmwOSTZxyVQ8ISbLjFiW0GKNNEFU+wJusKevCyHM9ozyiUqW8nj6exe7M6fem3dKTPJMnE7vmCPqU3KKReKl/yChwPjaujWL+/2Mdc1ts1hFyo0qi5kpWQ0r3d6UZJq6yw1yEb71zqODia9q0UizFL+u/apaPmVFr/eSGkzZK019urSBZs6PQOZmWQE6X66H3p0dxqbvV0t7w/Ja2LPojwbGXPzl7RUWzLJbjEnvs0vTcc8Loj8jSA9uX5dFkAS+SBQjG9KIl6iixW5isCHKaiw52n5z3zBSaU6rHPKsHA/5Q2MtB3r6Ydn5PxLoCIScqxrbIXlPM+I075K8VJLQzcQHvzUmjKVXWzsgADwWgB57q+UHyF4ralFToNn8G9X4xNMt7cwPfyQ+a+MzvG325WqvglAAel+2CgBtVwvE/xRP09OIboJDa+wwNAJ1G7HS747NpTovMOG1RY+PCz6cKsubpsbXaYaQw9BXkEk1saDbBkcOPnGRxmjTasMbxlOieMjOSkWr4EdM/LvqmJ3v3mG+cdJxFuC37XcXRRzwZ+lRLjIXyjC7N+CXepCz43S47osQbKppuLSN7cwkslaJMsWX98CXd5VVeYAiSoj30v/GJhjldrKlm7JOSoV2iznUqJctwFPn0KKvNtvfkOZjCbJxxsDIX/qFDliDGJTnbOV9+0cttjAHvpSafOk4yyb9/E0DXHWVLE493IPQSdpsZhv+R61X8xMnL2OCOeVMvrb7p5zc76s2ISPvtwWtNltCzNEJhZ1IVeS6TnalNAmKsdYRgP17EURPwZtsAYqmKj3ug1CaQ9AgIqHNE7BZ34n6HCcCMiBRjBgM14QGvAuKzj19Y6TuqNvpyBPuS2S4gIlwdmD3HqQE/GxZk2+bh0wG4isre8ngnV7rphqoxC/FUoiBrCfxjkDe6d3Pzdt33wCwz/8p+zoPMHbUaldvBWW2QgsdMzBM3IriyJgP4S/lrf8jUQlOFLKkMD37/mMKm+wxLkXLdTIEGaD5O2YTNtMFuUjB24bMMbqm2Ub+gD2UQwy7kr955bEZVscYUJoto1ak5XtDb1aUqt8miRpbesuPGgv1QyIcDAq4OfJO17X4JYFrOfmfmPTZbfH43NQB7mgF91TpzeOW9Pk0fwHfWwdsmjwJf8r8Vh0yH0qZhBZnJ/Er7/DKGtlWvdSVboeN3fmUdOw+1gUm0SxA4vpmqAtvBdzK/CgXcDD4YryBsikQJaLBQ8Le1vWjTU/JJjJ/sr0uzXxzyjyK9UrMIqNq4eWfpDuVqM4TzjgD6371kdpYnRNwnzhm7zFbZcXUi5qMw21dYI4um7ZfX86d3MgZEEzIpkWX+dastJPNFrpvL4ZFo9T65CNuj9EdliqWXUACjjZ4NRyUxHjomoaWLw1zLrZOtujcvudqzdxP1yDdcqdjULrP8l7lvTCC7ZsG6AmBT5kQOc7aSGOpM8+W70qEHqsUkXEARNvutGklJDNTrJ+o4S4V0nZ2FieM717TJFbMYmuw7KHehvf6iXL6ARwn1gqfj1EDRdZTZLruXj60eDyiW8P90TJ61vvmCYAF3GDlWRhcuUMXk5+Qo8qy1ddm1/mXT8M7C0hnu+8JgStXwuJcIADVaVilsn9I5Tj4K8HLmWmSBb0SYZyv7tA5kYmHVoef0DKYaHtTkPlyZo5uPx9kiwFKmgJLimApHWkPYAc/dScmutS7zzDJGMLZUixzupyUpGbRMJSZENTw/ZmlgouiCx+OSpMpmhhw6sHh7Sx14fJlMcDy8rTSFQK/hpusTuCqAKa+QCPqjjpRVh3hecDffkjIWI7qjZHb+E6mUp0SizrlvO7XkHAG6kmCKwUo7peLgcPFvm39ywclcCElavjLgIRs7zk5idxQMlOoaNjP5mZhD4Er+2z93bD17f2BnvmyXK5F9RdTZ8El3gluIZTWF1PU9gsmqm66TWccZb3EO/pz3LlviEQyxDgLIyQ324MMN2c2fxLgmMf+fTe77GOcS5dfz3B6/WMEiCNRg0Xfda4AChC0QDjNb2VtEsgV9QHl/56nBeCcm0ELDGSY7zesuOqVwFJ69UyS+ud6FxppiFqVh8T3b3PTuzZac8N3C1h/O/1HtVaaJgOk+UWlaHKUmbkS8H3XJJc+/IqJvQmBNx1HnjHgShvX0gqAhbCbkVx1ouvvYZSszVf+4BK+SWXQBWE+h7Q7Pea46+ZSkS9vxDP2N3CU1RK4YjOTCv3q0OuP/dpXm0xJexW9gJzt8GDzsg2eCvbos5nGTozoZNLtHOCIqQDZGKqN9Je7iIVpTtlZjhR7rcLXBMc/Eyd0VRv+jtkazQj7MHZlOi+WDHuNZxSlIkwNqdjRMulftVCgwbE8ufhw42t7y+T9BwCCFw0mCkfoFsfwUgpvVhUuGhUd5tI6Gxz76SrpN1lF4T4aVospln7G87UynsEIDTshk1y1U3Zm80n69gyQ1kMB0stFv8YoXt4qVqeKccxujjOmOlVxoQXOKRNsDQbJttuxdlKqM4/G7DiLDDidJB1izCXUORnl7tSRcrwTK9xF1H9fISKED3hg28HeTmrGWD6mg4SFLcESk66EDobQzOZ0oQbYFb9CDCNlBxV8Ut7tCufJNxOnvOXSyhgSUZgWlo+6Zb/9hRVQeEH214KMQYU0PYAu1X2W57BtCHvdruYZB7fasQGQYyn1EYeo7b2+emYgFd2xN/rNxxZUD3dhufH6StQnbM3BErbN9CGzzvN58ThocMLHC8Ask2/gVrUPBbqxwP1NoRZ3bJJTqYgfMga3sJcdQ7KsOMVGR1YN9w2IE5tOnHY8OAm5mHLBXCk89RICAWgU+whE77qxWUWvjKDQAeanJ9KNrqM58x5X/+M/V8u/7lQNzUq+TosSLCahxDq1LBqJygGabtp0R14sqbW5XMrchLCFRuDX2elOp98/RFpyMqMR6ogXts8hZ5yFMkOnUn986TwhTB4nNQHMgTamin4hUuSNXmbc5D0kWDPkoHkoSTtEdCU59KHnM9h17Wu/Hihb7S9sEN4OVX7TeOn9uG9x+ic2KgpemIXVsfrYQ3NjLx5YikGFy/PvI18FJgttbJHWlZs9bBGJYkx7TAFK4bFhuCEzmGq09sAYFOfGsVB1ViiYcIwtKvpYDpaWO15EIQ/AVAAQvQxWejH1vIl7f8YZwv4ufJMGSVrsVHDOTJC2Ma8QTmhr8pDrbwQ6L2mIWfjNcHadOAekalU1Xyu/eqVXx3PQJ1G54lAJJuODgWqkgJ3NwXGFIBr/QEDyorAhnymCf4CUAsZvqW3BiZJdLjyHbivq9TRJUbWLNXN+yP5aoyjnVlyu1vz0Z1qrhfQ9PJz60XTzg04OXYExBx3T1ivSiCrOlRLEOpDHoU+HWVvzeK0LQuiXDAM1O0fU9t5SmapKhw3OUAn+HinYXUkr1jHk1eOcyMf0p1YkktoibrinRuMA5Tcxcqk2t3srpnuTjxNURCfUnl1nZBk+PcB23Xy/30IRc0zpR7MevwTIja/p4cE/LNSy2cL3ayeDNuGl6HQk5dUiwYNJzzO0Dh0ZmQKrNcl8dU45ar3nvjbranqk5fbHU+WtCncGjXXxAXiyCJVLB38vNAoqZqiaUrtT0O8ijT+nAD26ZN2pvVU35FAYa2bNCqe1WM6KUSPTnqsqLDTRZ0InWN2EHBSsK7HU/IUx+UfGktfpf9LXV/OEk9LT6df8B5i6gExCrLguh0PimeWSaprcUBTJOfx8vk07DdMC96cdWx7r4ih7goQu7mvBXczoXGlxEMk+NLEK/rzzevDQMOSZYx48zjPOnBqWj6oGK9k35xJY2yZlPvcKGy32JL8fdzZ85hd8jLktzxG60UoNv+1SwDKW7lsl1etsIAGlGGgYLHATMbQScmFu5Sx+v/bjUr17KHQzUJ0SjN5yYvITrSsOrbySgbESMdWT860tLwj4Y+WPEsW4NpMbvTKFFxupF+gNnQWaT9DaO49gY51YKfbw3WwWohYTSWRx2D+dDXk7EDRJQd/C1gMV0yTBciaKJGq0hYqTprnIoD7YwK2p8i0KXCW8fDSO0bD/ZMA07JF2zxU1FeJuTexxYqesrJ9wMREdi/ki6MgItgavuCgLE0go33omtmbkmI3bSCypW/lP+1XB7Dpt4mrS1882gqBg7AJEzlK5chLdrh4RNQUdLY+twl7zjpWFKHx7WYDEPrT9xhlCa75uhyLjisx5iYCl1Mj5UneF5L5ixFCYJpGKSZSO1pMXpFeGH0fZ5iWOtE0ABUuwRGUmLpHAenb2/7hmas4TvfelzyFIkjNBb83dWRL2qm5QVL5RWktRQhvbMdU1pPheU3m8rC/t2BSJTvLRMAl6b4G52pz5epZ7dLAYSvGNchwgPThZQ7VLBH7ImZtif6ew2hWcVrA+Wfvg5cX8VvXNKrjdQEEzi8mAA1VENBeHIO3n7WJuHNdoMdEtdSRKdlX3B1ia2QtYMQAqATCSOfwgc//JFpXM4kYxr3N8nvCkdbZXrkM5Y2iJao6g0eyp9OFuHkmRdYtyXxE2n+k4dPMSF+pxyPrCbGU4yWg8oHfb/6xlnWDGBYvQNYooBmWZVfWu5TsISB7vgOadi3YP+Gv1WJkFM5KjjDntj9N4j5li0YjEOb7W8MrInw5BcdbERAVqRwBiQGph7NIJl/vuRzr1xCK4/bZma3ek4p9SWo7SNV70Dll2LTco/Mg8ps++RXv5Lxw2WKOZFbmouBm7xr4+O1x9/efLLR0G4mENCFjhBBU9C9fUG1v8LKfbDuHbzmLBiOVYpx+1IX2rHz4Md7zz6SbZq+iLqyfh3tHzsq2rztfPVUrlsZ9upAMj7hwOVeafXAI8kl7STz6NAsiF1wqUuGpgWJhFkb55ns2v0oZRl8KMwghUkZeulemDEkn7mkEFWtBXbRd6PJnzb82Nt/mpPmylKSSMtayx9dtL8JgnPku9Md6d2p0/RVyzCl1ZG7wiY+5tlf1FI3ij9smXVU/U4DOx5KXTLgSOc5qXtCvSbwJxEfuzWarKZ2KgAvOeks3ik/Nmbk/G7BlDDNDA3f46Ln9r6ADv8wC1OHZOpwH+1zNd3GJwutaSyxA/5QnnsvV7iHw8CFMx5tAqQtkPs7qGEXQbJFaxNRJIFQ+eYj7kaEY3bs/G+sAYxjjw6rRpmEgvyHgtegtetHoU9WNoOt5NySWAppBMmVBzu4N0OW1nkqxwZAQYEOm+EUnsr0TT7MzwvyQnaWsWI90RAcZpNIHmAatlSNYa7SSumwo7rXHVPa7dUSk43KHUXvlMNHeO4tOC0zVBY0rWDcazWHluLxi1CRRm/Z6G/W+1DTJshqQuJ7k+DhAnqVYWFvagPR5TO7qxJUyUJjszvhJYineIDxgBw4IyLfffmdZ5ZicWVR4QrF7lS+459vOpsPOyhgpuxp4YSDOVuJCdLOdXD+OYnBnIIL/mLD7XE8tQeGLfBsF6FZFJMQTXbcSpnnR5jOrQ3xderyTsXdUTbwriuW2c7JPjZ14BiM6ZLtS+OvfY5Hb3bZ/UNfM7KoDdmh4CCQWtiAvItacUGedf1X2gffK2Jef4kFxppYxQ+cP3TZMAkw8TDaC+DYdBphWNBQExpvBpZ9Oq4TK81P2mvTgroNGSN7cMld2LhVsIc6JJPKB1ZapBvysqKQTGyHiW1StWfnUs37uRSA4OtbVaT7eGYQMcZWo8iqkgYXMOObJPAd1GRRl9Uzr1dBMEVyXn3uRKSUO0EiIdEKDOK98S4Kyd1f92ej+1opkX0UJd3DuZsDvdiQCGXv5fQwygh8bFPskdWhkCn4gtzpIM+dXourWX76GAwdqcLAiqRriS2nnTpxf1OqZsgH75O3sPHekyM9H63MNVHfJ9WUJ4gu6dq7leWHN2M6cI+qZiWVucaMu7lnqiHnDiqQF40e1BLPgRAWyElH7pyZA9dbc5btnPm82P1DsRu/GwWjGYNXxik/ojWjkenImwdjtoIAjMlhXnytNw+7+LJxCAZc4Jx9N7jq2eX7hOp4bQ11ym5G/lw5il0HmTU8payOOKFpl5qlOu9+0LR48BqLbdZcdriYPoR3Pe8MJbPpwV5w8TBY83Y58Rrf9+dMx26A1nwX2xIKejl8ErXrVrt78SOUdruHdWSewKx/+G+DTMNuStKBA+gMUDc/qJraMs+ocEcz+2AyShar3VpungWIr0qLsD++wWdkCJpesrQKthBU58nKd3SlfSd0b6c5pJVeVM0rfEMmKZFWj4Kav9BEcBz4BI6XXdP7X4Hi676kqDpBuLZnrflFgqWxp561hU5VtqbGaWAOSkdr+lwiElMzN+0DjRK5ZsaY2haUBcRGX0Be3x8l3revzJZlsjejlnzCYjQfXHBri8ysh3RaQS05+kkMpPhZ5hYVR2ZAiW/v3hQY/twxuZYG6pjIz1Jmmvfjg/rhH+DOSGX8+C63nEyzhvXPxl46IxS5BB1t5Hj2QksHf4MbMB7Zw3AOSyf8cqMYYTY5sIFLrClnn9KE9K6vwfYJbnelrhYwLRro+J/0FjZWxIF9DP7tpuApW7tt1vYHevGF+ZynquINDrezSOpysJyO1LVmJqGkE7WO2SCEj/nAHp0IzGks3Z5001v4tMGdniGnLIRdERnopNQ6VjEFXak1wjeCerniSYONe1tdA5NGoAc9zxpYQHA1vzG99DCOY5jyiaYVqZzLoNIe5KIAcjBDSc61TEgZVYvSo9QlJS+FjWi7+ALSWDFMUW59C0bDafHEyDGUpWi8lojQ0baIyCmxU+h6hDuthW0FwTJqtkkegkBuopnybF3r7TEQ4LyunYxfM2n9PPld2+a2ygWrXXqT5WjC2+PzPZlpPLHAfzlloDupwO4olXjgU3RycdVjIq0lGR12fS/ZdI8sumGyaHMqoGVUooWa41tWC8PHT69QBHrXJZtDV732c/Jc5RoRLwSuTtbV03gYw/QRfaMACHQkTk0dztPPe1gVWCb5uya4Fl+Ot6RCkYwZ/qV6XneVd3iEPZE5/3x4/6jeHqG3pRTlaj6tVqnzCTeW8x4WqNcwbceg40g17BgtJ7WhsVEdvms7VakwoiqrHwNmmJqbaxsmTlnPzmsWGIa5ayY8PqnQ5g9Q4dDe1swa/FTmDRT08ENMRFnr3+gymR/Gm7OrNy79eliXKEsBVOnKJFhL4t1wqOEOqUZp1O73OFh3mngowmNg38MtbuAo2a+uDrmxkBTOiOy62M1NvJ1M9fe0wv3WKPA/5qpeOu9IEXp86C3PohYyBsM8MrKAVr19GfGtVQmlcY33z4fxzmwtWHVsk0smTILHzx2yasOOaCxHXq4ktl52UrsnP2cN4oWH9PuaIxrhWiLfoWjpostisq2T36rq69tYeBzTY8PEpuWwbhBJuNylxwHnoadRvRS5o5TqWf8hRMhvV30gY2RIOmwsMV9vL1RsAudDFA4qX24Ru0l9wtCSBUSd0yrdjzTISlAaqcyb9YWTY1Iuhg5NZh/+9rOox8mZ7Jb6Dhgab431vF4jWflrQaSMN7BGhw+EHQFJjNNRB5CpZm49M9rhXDi10iw+zlDjW5e4eR9M2Klx58i6WvoLCTmEXSEroqY8fsoUhnb7JoEoTc8TeWH1EW45mRQYxnsxJyLyVQsxcvfKUVZMmfmT3ZJOI6TzMhjFuE4N4q82E2h2It7bXedQCeOTC1tYdIvZr+l/HmMLROKDfRy2agirLnM+IuC9CXJB/mulhiKrhEKnj+eK+F2mI1HPUpnM4uDByE+MsY/Tm1HRNkWaWV6fYR1i658xjcpU2YMD+ghX2QUfcxAls51o1P4vW1jIpFRrBDRwuxX3ELS+JJnUU/hpbV3C9XOmguz3x4NYh7ov4sot/G8fpCXJY0suuf2g+PSjAe4IFUM3KXV5iwMBD9KJv152T1llOfZjH1ScgCOpHzE7CEET/Jcu0h0F+/bhXMb0qkvoKW7CqupqoxYqdIgU2elmBokAlaFb+Up/wvSrxSXV4OWtKn/C72pFQiy47RSWHS7JWQLe49ZPU2Rd/3sPbETQ2GqIXyFgg3P+ILB8HAblidI0ug/4dMo6l60kmCUnRRK7fK3GGro59GIEvlzdSZqg9iT0TXbw2orWMRhysJGQCIgH+PZX75rR/PKth4BNWNum6hnDzeXliklRVBxepaMVbsI5bCOWsdgMDU45AuckuqbTrOT3vivOG3UmpFBW13CT1mfqkFwzL6O7XKNRQrfFkogDvjLkvi33OKw/p+fkdd3Z8cB1OMZ6tgL51hUjVPY2RQVJPUA7uMU4RDcYUITKLlFc5y+y4eyyC4LKLSDpXSFH7heB9RLGhwFrf4nmVBseSpoExpeDqp729XX1RbIhticSpLugMIAYdmAFnorV3iQkuGgqBx1NSEjgBtR13fJyYHNAh9F9/UAkYTKmLDFqvoa0KqZRqCDTFMIxNYuOWWsM3RC4jnzjPUnopYSqdUfURh1Sct98ENLXSun+wMccjNXzWEah+mErCj/sAZeQhyL0Dyh7n0eiGp8z2Jbz11bYk6xyHn7EQElLjziO/lhwvbpabDQ300Er2bWCmi0/XuapAbeii2hj7FCEeEMfkhK4QHFXKf1iKec7rwbMiH+XipqMcOXJI+oZPQvQ8Xb+XQJztW4KeHp7gEBE68cMt6jOrxUiXZwbMJDHxrxYfDcgyvtfulPYwDv1kXx2YyWrluEkB26Zas61kL6WoOmaxGaF8RVbfXWagSvCb/3ypdQDw75mKB3ya/7Mu1sswz3y0r146xUZrZuco2CgkCrjUdiNUs9swsEwn40/oCrYW726O2M+YmfRDzlAhjuv8CARo5levjg1Hqlhps+ncex4o3JzrOgqsvGDLPfMGjD78J8dzimwildZeLf5t80CVz0YtduCJlqlNNNizlpQU95bs6AnYhbHbPy/A/1j+5YhVnVamcPSXOClh4y5pv8A6gJkU+uOV0LB5uKyD46cQcX+yLQdOmPeVaAVvJXWgqRtphzImvgFiNs20u/AaPkZDUjrfznMdqSuyM7evebomRr6PLoJjQ8kJhrKX2dw4BoFHcBe0c6LV17tc0Erei4p9Hnje+HLE571S44wbO374Ex9AS52ha9YASM1ywcpI3f1tPQbcAjtWOKgT/bTbLySqXWc7OrYR7LjCsHsOUFFXeXS/86k4tb3JkvBHOJpQZQNRRbbxq0YYfzCmgmOb8tg6V7rwnuskejWKgAHo1SqcK5KDRpgbPNvqhYETNtFCLR0KNvY9AKbqk3wI09WbiYi3nAaXcXyt/VhzdZY4qyo3nRwFxh3UynSGerfF6DUnSAMsbM5AlTBmwrjYKRgoSM7dz6Mny/T1hFr1XHACek59dTHn9qMHyX2NdidhE4ziBat7DeTwpsn04mUI+rW8//2t5l8A3C2zVAitYQnVznMTpvhuNukF7NEbUjp9HP0IXaOWXnZBfAsNKV7mbkJAYvxmNvsuQ/3IVrhA63AhMGBOxbnCwkQbYso6SGlfvIo/eEUqm22nQd4FLGL1Q2CFyM0zgged6EHyku/VALwkWWEoiIoEe1ns4Gz+c6cZTDxsf2k4QtbzU93xXXvl/pGMbmQQIDRU9rcag2lJxYlxEzascNp9braHqqJcjFbyq64PYI34CoSHLygVo13gFP/vUuYDn/xzGq7gdYKue/+Rm4E4lBaWmrt89gdFXWtxSqIUnsmS3U23uEEADWrkrWCsV1yiW2ksh1ngIS5OWhqdZtUj7fkDr1kBCcd2baGE0zkvMR2JnTDhauxSqb7el9BA2yWt5s5YrDjMn0jsiAmO852AYaFbBOGcwE/wPe2h/sP+Urd2yU0apT7fwaIRuhhLJ1vtLpIFcobmitmzOJDgrniNFgWxFVbnLReyiZquFVcV7du9YHBaWpEphdZCuWXMA8YEQbK4+RjzKDFVa1N42M9zRZYPAOyxcuOdvc8+3aFK4aqHV6BH8yTMAqFRTd1hJcQJg+BKEBP/S3HGHzUPcvuDUaUsiLO8L6WfR+nO5HsGG33Av81j5kC/eXREHnZVaXfvQ8i+oa2BORRZVzKYdHZTjoUJOJxqi1bnvTSnVYMhwa3DBpzdJizO21PoGOYfrP8mseQXlgx7rWSQhpeEoDaTFiiZrUGBmtoZ5y6YV7jXbJRgXEzlbHIH3U5WHz3jUeeboUZLj4209P8xxvrjMSn3sP2UkmXFPQTfLpPhbRE+hTDb2ZFuatHPaYqstorgQxjInUo9Yewq1efN2DS9j9xTO1KCGIBaNU3BbO5p05cJALNOojreD7HQOjJXVHJqbTrrYxlWVCuiLGCiqxbvmf9EXGFFlx1GC9kK7acI2qSZtpfqYI04/QJbcuJgDCd2KIgw/7JfW6n5ntX6x0Muk+xkfc1a6N0mNYJ123yK0QHSa4rx9H0WvRXXYbgVZn23b+6EmGq4mtdmho07wWBKVDkTM2lbVCu+UlKWWpzErLw5G/bY5YJY4ZdORg+TzNUdrJ/sPY6vaZIoK20VwVNNJwYIYkfwS3FJNHUn8N064h2V4nk3piYReCjQhEawC8o/DQdEFCCVAUCfH/3zPzdRyCJmW07XD07UCPBZ+gp49JLS66fCUodEeS9/pfilkFWjZH2Lyh3Edgn6MfjbA3Ty5plao33oKOVFMn9wVbUnMNCGmmop7WmzCsmoRwGDoZ+gvCam/Dt8nhug8XyROZM7y9szQNCYEmv1L4QKmecLotLZgu1DoKs//fzx3C3Y9yLWIO6zBC3oHsLem6GTakgIiepHAPfusk+UvbHYi1doB4HicQO29pau/vDJRO7wq1kT/QOEg9F7ipXlYShnR7Czfr8h22wSbiagnCmb5FQ5qcxY2Vi6/ZK11fkQcIWz5Y2hbY7wN/FTjOYTRBtej1aT0yrOLKj8w57XopPODSQH0V+sKA9N89znANmygLXzlh1RIx/zpSd6k13qb9KjA1rOGr+nJ0acPBCOvUoTH4uNKRn5x8XyIsgaW+qY4LUAVybyNTfQ6AyAz6zOO2ijWMbiMESEJkc0iG7SMnzVtTDUzGfJFiHIbFN0O03IdiblDruidzK3CFyvFO5lZ9gTdve3TC1LYIMwE9ca/DE6NLa8SUTn6uvY02iqhyINeLou2Wd94expIxVqg2hh79Y8/KZncZU8BBWEtz2ozDlVlcUxHpG98yQJzlsTsh5z189tv23E5lEUFSZ5vvE2uYEbqVaasIoHkDQCAUOZarFzuBEUy+aspTKjP26nLnyPQKqLiWVGAVboM9AtWNupqdwc9IN6jG2n5lniAqeOdxXEjGhQ/KsvRy8/7tu1uE01xGRVAbi6z6o/nx12nnanXbjmtJwTxLaIt7OfrgjjHINlGBXZQei9aWwCTi7RPxEx4t2TKRcPPezGUs3HhZBtbojMjux7dLmGqLR/cVFz8kfPgphf9vhXYdvdvJDCKErqOvebdom8MOC7rhi9GexMDnoNp/gDErx3w1v73K9S4t4AKdRJ/Ppulik46glDcBMTRqhWUAgo5gHsVTwMHEWmrUX0EPrTSI+LG4/B0BtaY4COmuceH8EDWYwhwRFvcdOKQuLEgU0T1uGzoEUOtc/kTvSyy3RHkPGFqqCxb2uO9rHo+gkYGbbT82Q0C/FB8t3sb8uAb7mIt+5WZAwEXI5WPRDIipHruyPTwE2kKLKWD5F+Y9Kit35tRD0vNsqy+dln7A9Zi2CsFn9ZOeWHfaHshl3p45wA3il9CDBy2mwGU/KdBkgar4u8axsAirWZpCZGWtXfLHafaTVx/IIfQUagFQdoV5Mt6l6itAkfLuh4lQgawPlRtDZPmLTnEW3TRWXgWWdd32f2h9uy+e6F0SbCVeKSiHcp/nBzrpA+Mdk7AMfzL3JqHk593wCXGBWE3XU0FvLayWUhiYxZ6XsJHmgCBOm2HrgfgDB1QMpQbvNJDoDYc+yESJrEdhP5BuPIMx890i2cjtakTDS3LlhVWlLRIbCT0EqXq9G4D3FiHHY8eO89IInlFZ+hoOeS+eEVm9KeQWZ4K0t1maZ6yC+U3IcPjIbuW0CZgfYRq4wGN5lPTuueJp1aAaMvBNZyNIXSR33ocD++y5r6pBFL06Bkao4u5H0VhdDBxTNKjTStQuKAHiy7PPNWnuRX4CXleDe/FWXuPH4bZAsZm+918Vap5xh0Qo5pjUNztmnas0v2K1ZUA9IxmpzoS2UKrcdQU8yj7YMAkNIao9n+7i07gqFeMtAupGZhdDo4C31s5by+p6JsiRynmv9/CLmWsIUsiNXZSfs/L0ezM5x562DhJF8EraYSrknG1i4h4RWiaRKM1ALfFHGb5TI6yloEEWk1ia8yhIB35HhNR1+C+ExVTQhADBS5IsJwgFK+OjJATKR/bHlX+L8NeQma13uR90Yp/fuVnmkMjffymjwvkjfK2aYIp+FZN18AIjhy0vbPfhGadK/37yZWtoUiSy3mzOClNK1cWAhqWyf3i6EUGU8xwctHdFMDozC3wquZP0mU2Ld+T2FYFJFDOgFRW//9yFw4JimlUg5n8dS5JLZdAkXWaM4Syakfx1+2Nb/oIWmqKShb/xjMwtYsq/2rAJnNUBNLiR15UYP8AN4Vz+RuzhK6u5bDOp0OeVVTPv53PQ+vLCOMpqhS2pS3UR4D4PKP9L/RBJh18grZPbjym/pxye+Wn0ZuqNMypepngUqqRx8NkDy/HpgpnZ8UVuv/FEgGluYs8r9559U/GaAx6wpoHYWqdDDQ91mt/rqn3YqI6kCtov2KAngouMxLQZ76AwXV0DbJJR2NN9JuF5wj8orNvGC5CtS0hHgC9BemTD6fT4Kpmqj76R8/2vEaLQnT7XfeCvjbg2nUwrE+wQWRMaIECo8fB58oktBqPSBx/3qrGduI/y+npRcfkKfX0NbMjhI5cQqIbmGU7e8PzIGqmrII87oHOQmeJxAu8j7xM+ljtLXhgJ5N9H9tnd3W10t5ipTu/nm646JNF7dSBxYlGRY4yIRqpfwwqvQnspEi2+UBmmf10HfztiBi7JSgJjjRZR9z9aBF9fk280vMXrD49QumZ0ijZOU5YgJOmD0CnKj2vIjhRkqwnRH8AHXH81KCSgcE/5jYR4tNUXLew0dB2BpdEkMNHMhjsZompXu19S8En1tMR3ygPoWfFuiXZIcUtpAlxvLEymZ0pppzHFP9nHkgaYRNIw9SGtkMayrkY6xDY5QuDn4gaWwjmujedp86ff187HE6TpW/nhMQbOsiL/eHGpaKwC6K/XDk4upaZXMGLE3gcPNCFyba/WX1jP0aNhEdczSXkdOtOFbYSJYZ5k/KTfi3WplEWPSiYxbg4ZNV7BO83uNs8gKOEJQGtlKhBNRBGDCxKLi4Vw7K+xVhUMaIDJh9e8SGKRi5lhBpMLB/nskhC1baRiWiiipOCF6OfNiHMeAuHI6zEAywGgfiWCR3TQ7FWjVxFnnFK78wfLceYnnBlo4SU7K9pUMvJUMvhBfz39Gv6wC6SZJnWJwEQGGj5f0GhFWLu3p3KMrld9SRPGDKQTlpAg/YFISMqOJbwJ1zJpFfnFMHteKD6rpI+xU08RCqtbdS3mC0yacaCptwHp3cnapYj+sKuYOWjHDT1IGJIODXr3qKqFXCSRc9a3tW3ESoCGSkvfrABp201PDDd+6lZt3eY/3vkOdFnAcw0/qkGxfQKkq/g0U2oY7V11n/SZP3hmg9z+xiQQJ8GlW4MgYsNHgt3znWK1z8PXZYyG+nLYEdyiKFGaaKCZRZmkV1Fi0ZzD/5JLaVLTRG6Dybz7IJBWYm4Eod1sWWAh41sMog9g7GLw9EUOIfOZjUnEh0lgsC+egBtdNq46kJI5wIrd62lFdzN1NpgLc9f/HVBgYxk56ytD5aMywFX/vgwugZ+TaYa3H2SZ5GeSkUjdAhQYvGDsIiJRcG5qYnNUqI4wnNvsZcHxYpp3jvLXDtLD0uhh33A1p/+HPe5LFSMEND9/jZzvQ/CclzC1z4DiaSqVMqDlAQL+mXcLEwfFGrUeoPzxlSbiE9QdS9C1SjXpl6VFebVya16GyXBgxJaG3y6w3tE7+tK9X5gngPLhQMhnlWJiayvPbWED2heJj1Fe4dBd/E6/zsA2ZQI8+1LZabZbPsw+wWOUBKtYM/RTQJrTRvcKKTw/6qsMHpf5Xd3/94jYRStjLFx8xXlHiymV5a6YhIxHI3s9ytWzCvgxEHKQ2OiFUy3DIko6VJQYNleuIZfcUSrxWefIbINburq72YV1bxoskYXFYyqIFX6ZVCWBU6/3kE1DdiSYXVhYmjAYMv1MYaBkiQ+RulUJCXmYbaVL66EZbjvqL3uFQAkLYx6z0yQc4CxiGKeUnbaCv0eqFImSuPDs5egGwS+85sBCLuQbeoeq4jKLPHe6yCS6KVz5FKR8wkNle0pvF0ZVV8tpXUaAfOIt3aiDeaZ3dJ0ND+/wlZ9tyThlC3SksYGOaNWUBem5p78eDNri8nJV19eL5o2tI15WiR0NfC8cIIEuloTFozOQNQ3TyiIflaVioAT/CzrVoYJTOjaKzGcBvaKQNHbWHQ7pHNnv9+OsMYHJcJPZfY/xGwjGC914uteripBctX4FejF4224X/03kn9/Z1c4x/sUgAtik76sRlSqNg/vxijh6zm3eWZTeUWJgvf2i5Tn7QgA1tNqi0gT5an/K8Sa0QbBsDz5+walNlPtvux+bbEZP/wzgJD6T/WWec+RwBtdxMO98VoQvSTIZo48apqW6DH0wtSorhZUwtp7gbaiEy+kvPy6j/rp4HFwhwOQ2Sz387ucWQ19zBK/e47MjTlg55Z6S+XGr+TN2sN616HKD+7wAIwbT5VM06SyoTKA907NW0Z3WE8KfWJpe7LG/jimjhfb0ZDG6tBIfChP6fXthkp5pY744JPqx+aL7dqFwtnL36idxVrw3hnxya/kUqGcRVGXmr3rnbbfnkXmDKqiwmR70DmchlV/CteEuF+XZDyBEbs2Tdmvc9ECcky5Mow6PmtEcaSEv45bb40ti6Js1v1ThjTrNMhKWl0DqPoiYrEY5oROxX/u5Zj5kFUvRLSiFqada0f9QE/1eUQA9krQ6PPyxc7rkv2EHQatjLc5ypiTO3MuCzokhRgP8mwkzUPSOqv3tZ+0dGXhhIkAdR2Nz+ipdU61ADcW9JJ0Sz7P6S4V7U7F7/bfaOYHT92rOcRxnA+sdLQBC5+8IjhTn3Doeu8mgcuk5RHGORobcjirnylUsH6HR67Gt+adaqx82c6g9rLCxy3drbmrGxsYXF98GEPJQfVeUnmdlnKJ2365f1r8AAtEt8xtmLw1ySlbg0l5bTgJDGC9AHPCsp6K0HqNaose+KKbBUqQy5Z9BfJ+7EoP1xYzEbmP9dHjKpyvudYpPec+9aDUQmboL/lUbuKGjytpT4zqC40wQuTb+MUCl0/2J4RfvX3LjRDAqeZ7DIcjvIodWeVuHDf35rV+Ad61/Iok16QZTNlMaEbczSIwr036wdBPDz+rRolt6inJY9vqD8ndD6oxEvEvs8bISkc9HaZMdqdOu25yJ6I9oTn9jISTjvmnd2mc1+McsnotH7iJhMDuNzAA5cSqNscfnMdgUGPQfPWtdxEkl0UhzhCS2zfK29jPsiWw6gCQwdsRRPrv4JJMcVf/pCfH3PxetkyxhRhpa6MOzgqEmu+JrDoIQS6aGQpgkAAQ8LNn8pppIU+gcRoC/3ptjCSQqBvTcq/dKs/4ilosKDgxs5p7vG1BifL6gOlO+ZSiEgtn7mjFmEwdp0AtZii3PiCxThUGjpMD0NhUbBprzjDoDKpYek3dutQtpgDLyxcAM2MiIqTgmKRA2Y4w5nB2qErbartJue0S29QG7gir8N5104WIzNEl5ObF/yjGYZcCpPDD6BPZ/ZpAODvjOdNXUZs9HPksbQ4CnGehA6xcii4hGLLrHqVpZ1wIbPXr0J9dJDd5u7FCm+2vapzCOU5sJr5wSAQYDYiRlAy3JRzc2XU45sCUH3E2AgYlpu67oMxYVzXFFEoTcxe/k0WXT9ZQAVC0nfAusXbYuY928tgWhFeycz8w3tAjIQW4GPgx9mhxjGYzK3f2tgb7GWS/X5Ipa+neTpcRPtrz6sGpboAXmDIV+UbS3Ozfq+u3ouGK9f2gS2ZAA0TySQ8YsP+qXWv8bXLprDklxQSQ2qipu2kWMYBTd0weDBM8fMVy4G3sbe8YBWb597C52mnT2YjB3mrYWU6vMj2KK5Ao/V7tQcgxD2Z8u+F1UzT4vWdcBmIs8R1dwf65hF6zkVmEKw99X5zIOAFNV01kiFiTn/gwFe7jTLelXnYDYHbEWGgSIU+wIWmTYM6BKg19nCU6OJS5GdRiTrSertWkc6xRT/HRMxsrAG8RTReaOR6rs4ERD6CksNtUIHxTYyqXnB8ITuRGAyAPUUDuCAX1JWOiOOP83mWs9WYnpaj7TbMDmxoUz55RgkKEFfwvdczHOzTDuP+UDpCN6/Po/dvi7TfprWH/yeTY5so5ouyTpV+ufdASMvqmMLfwKsSr7PzcM7vz++fpJps9cWfT9ocTgQFkniBUjWEBBnMVxeXVzPQ0GK7FPMOM7t/7wPEDBTjaxEFVDLj54CUeqsZ/m355BevmQM7y9yctu/g/b9dE/PzG9lelD5W4lBZy2FxXom7LHt2rbQiyz13c6Kc6AvlC50q0euZunkuorHzktChS6GTI1DIVgULfonhT2QwnbLxaewJcEZH5bXlqTjs6diTvMBjClefDYo8Y/hafteqNg+yZrnaYJ801vQZR6ylY3yVjhA/gHacKz7fjmW11Qnt7AvnkJGYHRrAPxeYjROSfsrRobckILjIWzdaKiIdq1POq5SxKgVbVsqz4gQHlR44t1Wrs0dthAEkx8JA358RfWrMY5D6yhT3TtNv1T8oCiIRrSe0IsQGxScE9U3+pHeNV2Df7yT35VFrOk+fwYKtvCVae0emFYkeCcxz/zeH+jXIzcFkZf0bBEzIyOEklsuKK9h/lbvQY7f5VRZXiL1r33tzDC/ZX9ZwjfEjHzO4dpTum5i/Fk4/1zG9RPNYYFAdF/2NqLU7wwfe9nKhvCe/d6MvRZ7pBXKGYiWKKvzsSoPkOiVpQFPlK9UduLv9LAQo3mQRJWeOP8yTLRu7wzjGbrQAGHRbSqlAedrCvREPlRyPPmnaFCEsg+cNk0WdnZmWJOlTMILdDStvCPle0bEo5SD3Hql/OhHWAtfCvGSdIBnrocF8620QAudSU8VNeyOoAE6jp3OWXOldjC+eamPn5jB1zrNfJj1+hWzFCcagTSToYFnMBkqedbaISLe4sY6bVhediwLoaFwxL2iTKFDWWY86mgixFf1A/bCui/KwF2g9caeDzkTCG4pNMxSiUYWKLHw4S0ku5yCsl5A4KDCxhpO3ogyQOPdBsIRQoOzBDn/Mstx5StiQOW1ItY9vZwj3ZvUWDAjNrHbxRCM2jURJtMPmj8NuU6R/yss6/cThcwpWYNqNe+/nn94s8jzkywKKZattRUi67naDn+Gosm72TUGypi7gmT5kExlE4YFIjDA92jthxdiyScgUpfpjuJ0Foagr+A99Oy5fV6/N3o+BQyOkKHSHMAinFFDXpWnqoLgeSa4ySnvaB8c7j2ynFr87vMReNJOCPqhDrzbQSi5zCj8lR9mQtcClPs+oEWmNjk7SdO33Q9IrOeTHvXD8QEbvhZ7QPk9ifi2V2YzkbgtbZImWC3J/JNTLsiYAPXJfD04TtZXbpSIYrMEgpYpf14XIIfAqJ8D+EIWvzmigPRCnyBqspjcOkWyRC6UGNi8CFC8Dv8uPpnaUWCI5JenY6sLGF4dlaFRAi6cXZEjrjviRL+lKpDenMItI63OdhzgB17Otk/1ZSI9MZ9X/B8ohbbcjKPCmlP82xsRB3l62glObvgdZgcGftT7XREkbUfDy9yspirxI/W85caSf3eY3oLtq0It561KBUxfRjx0Au8MYiOjNadsS3O/PvpPT4Dmm8f7sWgm+umcDQa9RchJjwzKufNYNoPWX/yYqou7EYDS13oohfZ+2w7+zz41l+uGdcdVq8twtulTwoB7h4IQDsXgBJIdG/bDnj7nyk1gLfrYU55yQWnt/f+Iu5NfBia4+5PWeAL3PcTde5ZI2in1XBdVX+RgypGSy0QvUBuZTiWzJ/zboKnYslHGZT+xLGKE5sHWhRsAfLxKfEXhlOo5f/MB8YSC8iMYSIedHihmIqpMrWddmp8heW6hq6lxEb4flDuMgwsFDdEc8Z8qEZMMN7fTbDcb5xI2f9CKXbuiywo2xzBi90LGjiP4PMB6foBtJOhSCxpx6csttCGd/fYEka9U238GZIn3jzHmV3+nk/6fS2W7rSyfjdkidU79bvCcAdzWjkmeOMdoH/YooY2ykEvlzq5YK59vOVaL0xsUz3VZxqfs43I4nwMO4XXvPX/O6fhVEHM2UIEYCV7giSi4oPs/e0mrvz6+Fncxg6gtlYAfQrm+WUqp/TdxpSXlgVak/L45B0Fl8nYMtML3ScagW0MQl7RuupScmcR87CYBOTwSVPyeb+m8aa4dw0vn3p/UnKNdDXBCHVi+Mb2UOsBzeRJni9EwOSD4JeGXThar9o4woRiKpOoafX9XYPUauixohEfJyz/VSQ+IIXu4QEJCDovqZcCyLW5u8BHwrit01AXlr5PpYVbOTUjA5QoNCJ6ouYUgv0nJ+sB0bLDv/9EUX3ufvaQYpjDFB15nVhADNy08pmGCcasM/QLX9e6MfWBLbu0G8XohHXypwLzMphQDugRmS8je5uxqnVVaPkWRVQ36jIcHm5w1MQRS/fwz61wYRD5nwcmzy/9b+3FWRwZRMgZM6IiV1aASvrntNTi0SK+z8Y5feL9e3RGQSPkFdGp3xPFPq0suLhTSX6wgPemAZNwrcN38IODl4Kqy4XZboVzO0zguuryV/5mlIClDV4Ub5nOH4+GA6fuSQWLyPFOzfS54hMsXmJ+EO41NpwKTx9R3uO75791+kbiJbwPOwExcHL8uqiMWrH8anorI1yc7q+6AfCRU1RrEQH2hrSlJeBCnf0yeOrcCTbgTYQA7lIBGol3iMcNKTEqyWDTUH1MhK4KX7ZMMNNtJZz8PVmqZ7pc10lTZR8k/RAom1rpGH5FbHrge7kNh88qyRBKhwFIbe5MU4G86FDgRjLW27B5pvL/CncznSzDVQCPKUCHpCvS37qygVTO7Sg5160D7/4E26gZPgN9aO8FDu62X7Mhc74d0oxR8Oq8Fp5XFXa7VDdfGi5OATh+8opQLrHyoLU0KlHThrNT+/zD0S14dpBUSUplrc8vX8uUSwaU08PcBSddgOF4sqkdwpFZ/QWGIxWiGfXbmZxT2vkHrRnDN1DS0MiAh09ZQGM+Ikh5/FzhyLFqZ+P7IXjo9Y9GtKQyweZWVfbYuuyIXX9++F18SBdlLrp+ZDZeERPN0EtaKcbchF126tM67QmEIZfhK9ytyEzwy3+xywyB9MsEA1T7/cdAzXqCdp9gGzpivm7wgEdNm9/bOYLiwgYPwQ6W+H8Bg6ZSTNh0xeSuwe6TuhIxLrhA/d7w19gCLn2XkBtYJbnArjss8J+Zbu1A8ZbIMzgVSfqfNuAr7QD277xtF1TUU4b7G5PS7ShfxUDf+M0hxBe0PZs9QLCMoODtbZ0NY9zB/A5LzWNkOwb7yf/mYg8VkZ2OFVPcvgCeuObUkNDftQ0/Zzh693xTR3voe7TpRSian+BMjeCBSiW2iKCIOySBLzeSZ0gtlPD9Aif4GK+4PW3JL9o8cZjaypV8mzOGCt35BHEoUj3lTaZaQuQ/QY1zST2Xt6YZTAmfW4Jf4HTD0CkSXN6ZIv6nGFOQIchnfF9mpH2oUgCZ4AnUNYV48BrEaaeRCpgvXstRInmvumQdgW/oCF7su6llDE6Ww5aEvFDQNbfPBlAlcj/2cYSN20fCxV+10RZ9nrQTwFPE4rzBdW6ZK4AkP0oUsZ8JNnpweWO8/PiyiOHm5Q40uwna5kpbUl102Zn5Xd7ABdzB6/llbaOYkRbJIFcVjmSR5l6woeg6pqhixHMMKY91lugeHVWfw98v58OIPupGJxjSgGlDVvhdJs+43t2YYc4dqrUf3yAUfcUZuih/TrPLWfAlWiiT7W143n2V8Sp+kWHmp1t1ymkp+tGqIPS9tlQ6CY7+4GkZ/KghVw9F8iQiorN9vODxiM2f690VbLFyCD7pU+VDCZbuaP1jlMnTxBcEvDxTyQvPKOxVeEEEvFaX7B0WWGCyZrYFNGnQ00o5ZAqq/rmkvJlftksPnFRHEWgqXF4cz1JSG3I6IxOWYGEg1mqMo0oXWBM7HVm+x2rNybancGDAfINrXumFBnqbL8pIoVYXMdgmSiAn3XWHMrIrXwM/MOjK10ZMpcQCuIzGpRE2eSrYduDFhC7lCEHYG6DbCib7+JyX3Aazd2YX6srmCpafMSCATC5vJwL1BTJ07sfnzGqU7q4odBnwJl5kWWlH5CSaLBnpTuGWbmtMlFRX2NvaQvGHxsMX0xQ8EHEEtEPWg7lEnNKoWZWaxTkAttciAgrowvqjHhWPvokBbo0Ju4+usep5UhYvrQDwDwooLGqrWVJMDeDZg3XtIsD4FZWX8zliQFZ6w/gyETD+KDyse4JzhzlMfD2ne8RgpS6EVSJAllbqxgXIgEI9JEM/VDMa5uo+KESc7YQ7hRSSUOIkLPetVrqOK4RRpdS6aWA2Ql59Ao1WV7w7BpAgNJp0XfnG9wjbqjDK0Bf5j2i4AZ/VCfC4RK3NOmoLiCKbD1c6ZtAm7VH5IMUBsqztUokno8wlrdAycOpa5P8nUZ5jnr4BGtI+YfFBdklsYmBRfZehnZ74vIYSmRNrIYvpClUjZvvDBvuBouzWYsHS6SRCeSkBYRHiUghkt9C1bQWZIJ30/VqusxkJlvxP0BtsFULpk05ouXxJ9ZXzaQ5V7ZvfmccHbc5svm59VKAlWXnIhRhuKW5SfyHpE/LBURzqrJOIWlJeIRx0EyTd84CN3iQmWX/8S7RP+qp1WYU0e/s4q8HcahYoOLUZ0OuFGNnunljoNSjAmJxXWUbUHDFem4EOZV+OaFeH0i5d6rxOgIKicKUwGssekVykBBTnPHVe8VHvyS4iYwryvgqDs9AUoaMLjXn5e7Xvj1WRpMho+MnnNh/RVu4BZPkUk0QdLgRk3laGrTul/btcW48oxs+98IHDkYrshKO3x/V4jxE9xn2CntJeZEif+ojb6B/a3nAukvP+sVSwSqt8p4prP6zWJtwCidfzHgWWMoRBWw43d0vP5jDr+n1ym32TmTwIarOvdE9OmNdbsUXR8a6Xdgy9hLQp2HOg8izYSHK4DtvdtkTkzKQUiBC9R0mv/Oyl5LnywSk4cv2ETgWiN7H7+fpJmsmRhHb+YPUwA/NqdUM6LE27JAKjllEvaXRmaoOj++0LEZOZQ7fl+Dr08SnloVQhLVuXX5LOeeSsIzBPdBGPzbIakbto1HbVF7DkEfTs8PsaqcNxyZm6+B1YsO+wXUjz2+oum6xlqgspCtT89sDUDDNEPVs7VC2AQjY0UnmfGbMCtPkoQAL/GEeDXOMy/+TOTQF2wkkw+yV4ubOWh6VyFiLoZTp2zWpOHbAOFge9Fcu/rmzqCOxtn07HcG0YxTlqHP/+ZtMRV2RvKJI4tV2eWnkKKSYtejZShREE8TrS07wWejqrHOKWu05W2M9eFikvIVcohwjsfUY2jzPIqR2aZW80Gv7INNfQeER7HG06ygZodWuaS32pGVda/z9qM5kqtkdptHjUsdDotFUnmwdKD1WG6R0+RNWzgcfmaHPHDWlIqgMphUvQt4QUnWXTff6u4MqI1qnZZmSS1DVLZVsfyngBHC93qaBYcBdmQKxxT1Z0KU5mXoAQ449TREmyEKYoTwGAyI5Kj0sLLf7sODYdTFapAjUYRgHdTf4BkT3i+Qg8Sz/MNm2cAAqxfa1RdoeTcso8LKz4zC2SfeZpS64Q25l93mZdY77angPZF2ZKuwhal/Pv7hUT+Q2lZ2C+7XG/Xcmvrf80yHtSP0HR62gIXC9D3XN7zEfvqigTKUFvYmZXVN9ERdu5Fcdi5B4tnyMeC4uJCypWjdQAXXbfGYw9cTxFKuHor38I0PsbnF01kYoiUX5UNWmZQXaIa6HgakiT5dRAFe9WevLVY9ixwvRn/yVBCftI7886pofCe/u3Z3DAb9Qq62avu7TQ5K+PdTjYxFn2JqISGh+ZwrvbPkdovQ9DJNGELfiwmpzWxPpWHnqKqsLMuvlailarKimSuYiIPdhirwwrbpu1zJ4WLqPCfSnVYtwIQcGjjIM3nVc5XojIyBlKQSMsBAUEjpEUpqgvsp+ZBNuRzFHd45Pu1T82CCQjGpbbTPKqOwyQL/k0s1UyKBR+bdlEtv2c4L7kk3OYleS9DCnBMapVpUrjDjP9nqBepYPCQUKTjP8S+mdV5QxjDUiftYfqC0WZVhrJtpCIUCR3M3vo8bnToipzNsNHg4EZLVFHsa9XxmlfHtPgjcgJyRz6VB6/PlkcLZRfSrCGZKYp6AqoPcRVDA1gihd/8CpqaEnE3S4DP9uVmIXWrpYG0vs3z/flBq7Tf0M096TOR02JuITztXLbEbKUf2l/c6RKmCApG2UObmJEcunTLYtJWwB7mu9o8dvil26lkNGrOxV/tnDMDfhp0TjgAIq8OCI7KUGK7YxCODj/seSmzUtzdyIXN1gQPaV47Fm+OIwq4SlG/1KsNQjxshj1ECP9xhHsKNzzViqGvAwH6AR0e+37rui470nx2b0CpWtS5f7o5ed6KQqX2f5BOc/FVlElWFPEzDbdm9ODXN2sArBTUceT3J7gacVMJMiXcgEUy5ZJx7F+xftm5KQ1ZY33y5GXZDUWdxjbTbKnX3SYQ0QOq+PJYkhUcGrUGpVQJTeHuUwVFyyLv5bOqb97mxW1cO772eXIPdJQ3OHQxLKtdC6Oj8rBVtYaOQda7PfAiU3X45BSWOzesX8KedL0vz2QqnXysbEfwFQdirisf/U171PmKJl+yqpYFCQEqDT1V2nZGIH2+T7IKcxreCNt0kgTwZvJ4Wyf9ZhRIVclNLZvChkYYMsD8fxJWw6OWhi/9XN23WHfr3qgoXlKDoWJWqrruCc32nmiskguKGDvxAMIRvvuz8A4jQyhDQPQTZaP8/4K1/d5etpm6fNCgP1IF5734VSK1GTuF4BD9mCX+15AhZO7a3CStvaFiAA48qLkUZEl9q9F8R4ao6YZVdYRDkZYSMLw/bFf1VnPk3gV2nK6YQ+KiqQkvPp8CJGay83pi8L2avb6AIRoHTbRtAMXNI9l1aRx/pNYzCldP87wunYUeCvzoCxZ7EVzt2b05U0KMPzW/TU0I2QvPSmXPqjOrhsxFrshJU5P8Kd9uvMFf9ZhAXZoQ7YChutlIBwdooFE7i/abqiOYqW57/izJ9CY7YSDCc7e+XpiqOq18ULxXpv6UZqyNU9EyUFVTXanRjzEHJhs1omFUUhJc6ZAFkhBiUWjFj/zNhyPzrU4utdGhD11NKa275k8HX8aBjVcHbvm6f+weqdh1AQZ5jzMBHIhdT7zS37f92MMzQwSE1X2fAdnuNSpJqPpnC520xuU6hydwbyphVeu4QjN4aTPwrqKixbpV3wsQP9z7lBRECa/j+KPuJQ+MqrVQUYuyKA+Zceo/hl2+wut3tWqzSnDvfGvZiRmWHGwrToEHgTSA27aW9Ohp832PEXbFcdSGxScGnPnSsmuNKoxa+hoXm4OCtoOZmQscjfRyi0bv4oGqm3e+9lmXF5igEhrMJNFaqpJVVBlfcF5gjHap1P4tr1SvfgPWk+SYJbrTpS/7qLLhKy9oPTs0URFQGC837YDm/U8bql+y1ZmbqZpGP546UO7temmwEV63cgqlvViEly8wvZkOASHsb99z44b3gacHP4Zgom4dqhR7Q6OkaCEnHPljnOvpz3NjBE7Wp54E9f0dY3kLQJmrOGtPOC8I+Ycqj7dKC4ASPYYGFIb2fDbj7ZCe0xlZQHKYRx1RfdGfl7ap83dDGUSSfYfUyGMKuIj/kOBxBEb9M01ZPsRqK9mzJEbMLlobovF9Ds8rv4dHNDOLovYAzX7JPH+jn3jH6oCo0dpOx9C1MKIR3gOZeWjESlc0EwDmuwmVgFhgX0IRYEKDnreOanJJ7rnVucyQuWvZ1InPPjXajW+pORSUd1ZMfLl67yFr5Qu7fC8hRVTcj1TCSjv/wA8fBnmdkHoLaw6DF0sANDRoIPMzqocfeMCBAU9fR5gT4CHe8LpCBNLQ7ep7vHb3ShesvXO3P7wao/FYpWk3kHKN3M/K1Q83Z+Wq7l+IT+qJUByXZnl3CZQihp1SCwGfhEQbEG3q6YnK+icBm9gs8g8e1qdq+H7pUBhUdZCQnjaBIhpx03+4vUXNko7XcN7o0Q5yrR5BXmr7XphGVe7eSXoOv94MeSZx9B6iry17FRQ5Wyp6Y762Av8PDeujK9qg26TisFBRm/Klh7XD9EQwxM7YP6sKuBW9q3nfihlksOE5difr503Pz/1+YH0r5YZf+/4GyxfCS09/L32Oyexmrwb30rSDdITjIvW5EhNgLJCZzuk/xKCeN8iXMeoT6/bwtLfTt6TuAKYbvPoWhr4sMLCaBNXP01cupqsk5ioqJb6Vqlv/juv4dR4laLfUy9tVzi+dk4HmhKntNeW/pLl+/FXKDeKI1KhkhbbrROUAaGv3e6khXT4prD9K+FgCHanHu7LGPJkf5ls/pCn2zOO6sIAVNuSUz1aJ6qj2hu9wJo0tBgIrV4RFBE9Y4Vcyvv1pC5p2kH7IaBnR3VhbLm4T/aq+y5VY/AjUcudwwJCjYdZcP36IcrYGPJHgehJjHrn/m2l0qcPA+12SCeCP8dB30zS7pj0Gi+ojAKqbUJs53kSXIL0452KxC3C588zp2CRcgYNvc/n0CvBNpR3JlZixgUAVDsfasoSbt3hhAgDb7ZpyA2ZtEFVHGTz09bMYSd2Kg0XZrg54G87oM0LPSEndxEItwjChYk70kHHMrJ5O1v43QBgV9JeV6MZhnQ0x6yWu1bXX5dIvRu0kouM6qhQ8LXrJvgz8/IrcG9GYOkZmdYOaJGJSNEIjEZ1/tlLy5LAGqlZ3ETur33/NYllkCtRx7hDYasY9jQ/ayrkCSN52qxpVGGGi9GPbhJIWNNqrmkCNl4et1hp3FeKpiLV9xGECVke+XdQhAicnIKYVemHelqgPtTfjjIfs7ymRC4tZIs2LsQa3oMPmRFA/LxUqqAvwWkz585WdBXjwmT1m+ziao0FzzKHvrru3hTft7dxJ8w36LvCq8Hc9gAOigT1LVztqWqX3Gplgp5awNIncl0tVJM48Owxov5paERPvXwvEhY8mhZZivkjNtLSySH7Nak7fGSuzVdLALYaNfD1uh2PXWWcUO+mqTg9V3TWyuhGiSMIwx7W07+E2hh/uWl/I2dgAB1zGfS8bLL7nlSaH4nIVp8jM3wn+8wBosMRg3T0H+KI2piYiEM6JCXi/AmGOeLqucdM0xjubXNMWoE51f4pJ9+goooZV/i+hSAIfqTewzdu6JFelYw/10tqRpeL11KJQeH9w2tvYs5QvtST3k/0tC5aPqK4NDZzzzQ8m+qDFd+9Zv1qpN/vPtkO6DDTDu4JIZXOHMXBGBfS+WZqm2E8lWIG7t87Vmt5oad50gAO6hGt3wYfOkY1XdvaG9j8N6bxKoo2IB6oYh6k82Renbb4o/2quwm1jy5HnlIwGZdNnPBVq7pdcsonLiW0Z4q/psx6GEZ3FsA8R2Dey/hFFnqitkIEUUKwwiIbd1cryFJn4lB9tBKu0p+BsS+vQka5BqIlFwEelCvqInNMNbUcGHMHe3OBACN9IeEn9Q/qtlJRXJ+d01Ckq77tTagHrKPOq8lOqY4oIDvtbWMdhKBaPhprg/xFQs9BxZ2IsGKsKRMUbokDMQYIHhYvCmb2AphSsy8J31L6tnlCkANUVNxPsooDuAmWPiZEhyWyY5cTIsYdj/vjk1BYuw+IeV1czGJ0eLQRoZTRuk37Fb8CIj4OL19fejfIBwqzF6LejktlLa3v61OQVO1lj5DXHpQQvnjswg5LxBtValqJCceaA7VFZbdxc224ZhDLjSbL299rnTpvGAJXYx1AdgJZd7gWulRp1YzkRCmlNUrkHRoC5yq+J9vA5y0x2q1mlzm9ctCfqrGSLNu7gWeI4Z1eVxBsP1U+Cc/3gtMvW2piQ+nEnCdrmJzUC5biPUEfWH5DJnD6mDPGHy1cymLRdZxZkSjqNzu3uNEZ9EhXteQCZskMTwe1dqYECOSLKSE+C7mjJW4W1d0VuG/1U1yijhRqQhn9GVCdwoVgS+xIynME8ukQ7Ir1GppmBV9L4zLtelxc/ATRs68GE5V4tMAnD0yOOmpapBbL6VppfRGQqzJexygYmnuvDGBxTZAQDEHJX6zaGlYQoTPf1JiWWYDCpG+K3VedO1ryJBbLyQrhKuVp7FiOvZ9FoWAmo820kpD0Sso2k6s1q1awGWEzwgntE6xqs5EZqxNaeqf0/Ew2TdaSak+gnenSxUqoDr2fZWMKBD4qjTLAAHTlNeuNE4SlKU85ndcd7yjAarikiNiRlEWreD1SqNSQXZEMJF5QEjJG/kW/5oANQvy36b4xTtdJKSeokVKmxK2N5sKXxDsl/fRZ/OTfwQr80pq/TSIOCavvSX57Pc1tWRRc1IJp1S7hchl+ZjART7J3RS7VXXowln68J9OSLNWpHclRAYNpkM0etaXIhe/+GAI1jZpjm7Ikofof9pyaoq/NgXkbb+3c5BHenFXuuUTdG4OOo+AG6ZNFkqqcQ1vZoW7bUbkZmjSDpp6XwUNZElhMuxN00gziqmuDdFF9crD8+4moscMppQUCWzktOEXY5bZ4+xGrSb2Y9yo4ApfbOwDaTW1TyB9ZkJmO+urUfiGyui7ABTOuQAq1Fc/DlAzw2tulFSarogEE3zVtRQX25p8ULPg683XsNCEtij+FqOKpyYlo8ia/hCi3lZwCXQXODgAlJteCxxuXOr8NyE5piucego0ZdLr4K3GDF2mYKP64pcruw80J3SJtwQskl5XHvgvS4apVaz+i+FVkTOpNSPt01WN0Ryxolh7yk05iS8fYSNSVs6XTW5CbwVDk9rNRMl9VbZflWEEg6RF1J9Tcpgo0wIvFoIWrnPAUG84xNSmffI5EkgIlp6XpZ+Bn5/zNOp6QfYYfQOzvTv1Qr0/iaZYQ9POZaJE8rUqB3TbGk82Mg+hLK+sH7qyzRjX+e2qMHZKGKWECcxDelhGOhD+mUk8o1zPzNuslru2A+jO07pCUG3n+ybQ4zXOIa8j56ccT/gNLXXrUbReG5PHqojpRYRI5wa/nSbu8sdXfBM7VIZAbzggtk+8GQRXcW93daYVqxotLfftf8B6jGUCMh6Wg+gAU6zZSMKDCpezRpPLKh8dT/YMq1I2FXuRH5uwI39feu0N/BUJKxOwJxYC4Xkx2/PvUONTJgNR/Cv7vtqjy5SR20sWOZONtJtGYncxte3hAgt7UToSApqZkmNPRocEC1JVa3XzfN1BkpFO6fhZSAck2yKUTAvIXkXRiFyB2vBLbT35aHCqxa3Gi+QV5gSJHdBb/0DuiVO64jgCG3bf4/GMyv2pp+GykuWvK07/6Bg4tkfSU9NrTV6xWCKUQtRFxAzGMK1dByvOC9KCEIe9e6+FG8jZ7jpvjcHNoZzDLImw6ZAlMYUMLPuMrbX9gBVZjS4yksUDh+mK6SeMknFJ8PPgWRQ4+joyLWNqj8kBEUh3ezjcjLDSRcFPgeMdGPxWIDN5ZSDn2QULpxxjfzfDEf9Ljr53Ic3ojfq356RyOa4pzw6bMkkzPqcduabKuYxoPoXvBtYHY6+U/k0NvoOXI2OQF90eHMl7XprTsAJuT+9xthDKtIHwNpK39k1TPmkrTTyBaBduFPLtn3B7EPlGqcUEtBUG41NUAo3cPQF1rNq7RD/Nt+Rd7iiQlreK3Hhsh+ZwSRgLAJEZJTEyWCK2FrVCYd7dYQoX6IO8KEykhtkMNvuwp8DxVbQtfxZhIheeWLAMcnZzKrTFpGdeXRJYu8u7j1pZLrgfISrWBhp/Hp7c8lfSXDs810K5ZJc7tywOgukuY6CKZrPd4tUf0hXJHtbxwCcg2HKvyOAUu0bCaqJUZC2zysKZa3OF7SuOYfBg3Ni0lo+Kum2JxWw5RG5ZjnwC20tGzG88Db1/HyycSEoT6Nhn4Ke/hV+DrM1AUKUmPU+d649dEcgHA4zSBcYjgUBvsggcSgunVOf0cfROLP738g6X1mFaEr2zpXinfBdUe5CcuQ4qtU3aBGVlnlsjmZMAEF9xaBJYnQyeSwM9wPeA5Jb6GsSfqPDtoNjBs7w3sIhhn6k8DKW0ox6jbN1VQhJmqmSoScut7fW7660HLVMQFAE7q7YuYKSBOAwCu+Dsj0rj6fhQQUq3kJXFwEtxywZAOZKSfn9F8XgJ8x3ioNiviuLhealMZWCpgDF0hLmn/Gbb24spf3R/+l0vxtTzH51JM3TMXxo2SXNOOKHcKd6yJJMQDV+r5XwRqK9QGgV9HfDLgVAQpGiMeKh637v5Su+VRKUESYMbE6OPUUer4PSwcGM/2tkOW70DHxdpCon5Rrg59tD7Spze3Wip4jUqDrvl24kHPQO2qRL7B1Ir0vHuz5i/37q0OsnX6vr0Ra4XykcYdeL7W/r0BorE8CPmNWVv6ycd1fdGDEP4JaqSTuPLJ/7hA4TjeJkORAgU4+/pADGbz0uincGhjAFqqc3Ig8pFqMLbg1rMoWiAJZoJQYc/XWrhap/xQSQeSUM5eCFKeuaRQrz5oD7YsxiHQ28wJ2NGGxXPkXpH9r6GlFFXnuvtIyovyvtNtNJBbykWgnlB2rJn3QUxKmFh7VzR+ypd/UQotmGWblXw8/1Vz0/KS6NdUFt++SDzULl9pbVp2PoChst5lf7spNXXxzt+pGm8fhrIFiLS/iC1EjJDrMQ9Ib/76SV05twv2Z9TZUV9RuX3F/jMCmoXgdH9cndMVK9yY07pDKCjQJmIkMMtRariB0lXoQKQxbAPQ9Lf+L1omxZfvvBfkElttPZg+DsZNo8KtvfwBUQKKSsBvNihiSQuRsA4a1Y6fw75JezgGS1ZrrLuirJGxMXryPrnDeaw44elf+oCkBezPeSg3pjmMPpHqKiBGLY1Sf0lLb1hwgrfSj3cSgp8rolVmoREjpNRrEcVmBPwjqzN4FoaPR4L5pzIhA7TnMOQxvgQBcmxsnGgkIwId3W/hzh0gF2B6KC8LleWEMd0GgqvCkOpgwQBFVkamtVGjAMlL6ezw+t2S4jgJ+zwhkrraReeSNyMsceecHxLzHgmZXm+X4DzPRTxqYCU5EpixbhwqvabI7GzmeXSezDNFnbTZrtSOjwh+4ogw824l7AM6aS/o6Ciyk+o+p2ugFL5usagkp4TGyYLNwWGCTwNdqn5zQpB3F8RF92rZlsbB7wetHGfK+A7vSHRBPmtYEEq4/qzttjx0SlKxhKsQHfXy38ZZZ0nreES8zqjrU94kK5raNE1U6lJxR1d5VEBukx2GUISccQ09bptPKL64KGuKureIMmdbhx/+s/2+hCOct8ptDL1mhKMfkegT0C9pfNKEbgFjawX2HtBpKtgQKwnLhCXZGEsOA1/PI6shK43pkzu1mJ35vHiFgKyEoLhtGIy/E1wPdLVoo3/jjPY1EbyNhDjHvXDpJ+lo3TZZQyLJZ/2OqzudF0dOf5SgMxp/P3CKMjsdBEyHg6H8I4Xj98hMh5nfaHimhfrUJfL84j2Gmu+b1kaa8VOIwEPEJ7yOqxg2QurchAPQQiEbCmLtUdi5y0p47q8MnsUIH3ERNmya+oTSpzUxMICHPO0Cz4q09dQZtQQKIfXdtnvWbuaWuT8S7ZpXJ5+E87qzXZ5FV14HM6UpXhsKljJOedmez2hLOLboFbHDNT1m+c1x57JuejYJYdGcsx0QuDIfjdlLJrLIq6GVnHS5a4K3bVEeRDiSHM+0gTtb6n3Bvu3sZY5IU9K12xwnbscuBV+bct1OY1VVFExw/9GXE8+ZK2ol9mjI38l1JB5BFRV9ybzaBqxdlJVuf5nbg86RAe8WuBDnLmIy0rtA0iAlzjNRxCKwfN1pfqosdpuHZ317T6eybbQhtcw89ENrHdrB9kxucmQIRURo5TdYVwgSJVCYYph93oCPz5E1E0eE4BE11IG96XYX+N1N71ysIqKfPMzR/T27nzJdePFvvkMLQuVWcDT7qeojYgk+LHdVEhlN45h2akB6jMDKZV24pkzgOTNpo2hyfdHkhMzmsy8r8mU+aUbhqAif8/8DeMzx6SJxJjPr7H7Hy4OyQFSjqdAhYnneGL4YdOzoBxzx1w/Ws5br9TYXl/hYz8ZAOstgA6GjV2y/2FH+oL6nBwWVfid49tQoRkgWren2vQo6HKUZXitV/reQ7PaxTlhg6WJSWuzXv0ZkBdEKyDWkuGtnHDOGEDDBfmwyf3TMIJTtr4nwSoAEoE8n1dg/6OHhnZ1qfVdrNvxefhs3T4+3TsealbQCr6yJl6F0htEDA6dUqe8u9VaTEkvC+Oe4KKHNB8/THvV8/lZLiuJpf8s7rzr529i9RYBjkmBWlerRD51SBFbV3RUZEiYxWH2fBg5INdRrY0dx+tcakngYyeQMAjtsUPbrlGBSvE02nLahEMOCVe3zVBFl2ASE6AdNMMAV0j/OdkGg/PtbvMijtksWE4TiE8kvyeTPNGZFn3Xbg3VUHzHVWjLeY6PLOdfALrajaOa/z8RhT04+BzvXcSpsjMi5ubzcNKbSkGE99QjLawVDHpaNFwu8Fx+dVJ2dBt45yY2+m5k5rtyfA6PQZ6/Uv0zm0OKqllR1hZ72aqK+Rq4TzXycnERms0wjI6YUlukhfgQj/LbBDz7emX2Mw32MZTYMLGDmp7k0LOd+8mVYK0HtQEEQho6TzbNPRrhwYsSn/ra2SuXPHYhAGrXpEnO25120k7hwBQciyLUkPaBMX91/DYB0BqA9Ky1571CbkYuey+troRVHBpdRxvsB75yfGvfDfXWnmRgHi32q01lgf2lCuSt+LIt6+IcqzQFd8ZloKH4RkB3Zs1pN4v6+GUitgdzDnrQRyDnzJ04Z+jnWDE/My5MNkw44FIK3R5YNGQrdwJzoPWFjeq0M0L2JDzajEwsp5EWFKKgi/xYrfC3H+VIgzitRUfeKEaYBJ23dsITB8+om3SrriPyF589JtUfWhpeoqAsoR43Q7QhzLljm6vL9hnveHBc6P4p6CdwOFnasP862UIZrzElGljaP2UOBTmgXcDFwLPd+MEyltKgYUSVOaARj3vdRGv4QP3lF+oHEmEm1RY9f9CDXihAoJkqsX99L+eoKEq7IGGUUp+4e00W9rG4rGdwa58TU2b713CajVOw4u5nkA+vZd4QAnbTwVfUp+hkiSffs1x9Go0Dddck1ypk8tUr6et3ldk5uxwO+Jcd0bq5IMfZ42NtlaW8I2o8mG9vmk9Yn7vZb4Pph6Dwa3675f26V/UczAqxHxVS8K0/kP+Jj/NiNnM57VpAQMaMWDmQtFHg+bUD0wkiUvDn1oK3C+9p8b9YqAWz9mHJdOV3wlhRxxxRBDdyCYzDl4Hgwu2oOppcjGQQrgbDBLFyxGrniOLzdcvGJ1Ri8X6Zo0qWzokaXOi8QIpG4etcyrXnr3MFeRCgTSV5UMbmB/v1iomRoVLYA+LsjNHBQehCiLqwgKH/QTUMwwePzQJn9GC/XPvv1NumqTdAnmgg33exKpivU4O9JR08epg9NwzgHPdig+HJoLf38/qBMW7ilfOIdi5l1u0IUTZV0htIiLURppilDzzh8+S7sDypYP8+xApX9rr0ojo5ElCkRIby6XMH3ZvmAK4Lq8QyeCrgqIiWRzK3Zl/FnaswF0l72vOd39mm/VkLlO2w0Wafnqa8KvyTBtvEzgggRYefFIy54GP7uJ9tObDv6iolSaQNSXpDPNglGRTtJuHX2/ubS3fq4ad43oMA4kWFC3BqMAeh7AoEwZa5HIKLhiAaCvZplan/2egCGH1E0Ow1EcTgdG0IdAEQ4xWbOUvmC1suzXIOT4zvKZ1IiCFjtD8BcAX5uS8Ju8b7wronNowCZrW61rTCLudajWjKSizN3xpoOo8zcHMGbIlUjiRzx9nnlENkoGMpfiHI31t+Tw5aj0/MKRxBxSL7CQq1QhuePe0p2t+m9bbRXVNKwK7KVmOgKgCklMq76P+nXHPCujYiUNTfNDYc8QNKK+f2jWMJA7Sn+L0bTpbcMoRv63n4oMYqrJdFwIc4g5701kEpKtPwNYRTkI8OF3kDffKcx8aFNlN4qYNkbg7yFzL3H1xW//zlqs45xkz87qtpPjRbuFzFM6+do7IuApzjLIYJ+kYA9E1+QKvh5LXGNNrqEb62m8qVLNyYmLcoB6wcG93WI0Z4Lo/WxgIJuEP4Qf2XyAknl13Vs9vmM7bOAyu4T+x/bpxKjIUOxDOApEX3/2Fb3VA7k1ZvXEbM4moUAg6Aizj9Bsik3pyZ3BK2dPxJlaeTEe4qDgbHeWb+YuNLTJlY5u/8dgN+o+ebPFGOojh0skixweI/K/lw+QVm9zomzcERf1+A5W3jDu5rD4zQwtIBVkGS9c9oWRIrtrGeKgNPIDAt7q58pdfdH/kHttIA0BLyjXYPbPDAxc+n7k/tPA5T4sncZOJidt0El9gx/ZWFjYI+Lb1We3M7w/wMHu5XN/hZqbDpAkFz7/9lHxY5AbXySHhTiVwr+mtfx0mmDsPDoS8lAu2MoWsLDZm1KK8ViJ+A+q1Q4oxhbXhVTIJrbn7HMoGnCFLBis3jUpHR+nFINOAHkLNMoXNa1aogc0Tvsptko9ahjRYmJE8oYSi6Uc7taSYkSOJgP1kT8zmgrdytIDIjyXc7Se5C4Fai0q2wbyz5MYeASajWigD6JsQGIuNwe2Yi+P9Yr41hK7sA8AcpPR2X/5GWOjdoWgeplxNwUvZAqwefvpCSO2ARvKZJ1n9cJ52r9vn8u1VJnB+2di+Ub6FF/gSiSFC3X7AvMKctZ2wOTqe5hoO+lmEy0kBRwO2HnHVpYx4/95a2DzaYqHXHItLtAGJUcmO2fcskmd/bPXjac8Yt4UhgvQbuNBbNpbL09dx9X8bUTeH13jC7EUYn3nkDGRNSvBLjL++ipP+ySffZRf8i+8exgqtUFQbPuG6lzu2Av0cSgv/V9nLrXb0j2q41Gun5So0CKofRZTy+ebAec+mE3Sj2MdIqV2L8hRwzKmx68Abu4amDxOk97IZDV+c4uIwqjuRaD/BE8v3YPctkuoQyHBB4gnKD6qjXjXzvzlJ7WiXdALVDrWqlvnmfgrr3VTTHRXbMtnBfrjRmxg893NSo12QYLQMUSpOPkOf5IWVC5igFqnv//xa5PL7lAXnEof2mfLxxOROVMANAjWqXq9wkmN2OSEoTTHNP2mTOyrHXbW3jeA74FrgLfeifqzdkRBlKxMCWOD5QiW6cAAxviFuIYlw6QANwF8kv7SB6TuFFAbcnRdQfYnY2oSJJHi2viQmO41C0JFCjDj0bVolsFr+BHbv7rjA6nyv33z6fTaGO8ZE6JvrjCPRB7c4P388diIz+BvqRTdgH+SnWlwiBii05XrWpNEow/moM2RSOPnBI03hhos8tWf1/AsYLruhr7I6I1U6zRr0Ipyh5n0lDfp11WIRmpt4j2Mwl01NlOJBJmLogwBs+BOrjI68ne+S3T7BREt83fsgI6Qvu2FxSPTTOoNl3z/D2S9qN3tFIrnG3ybadPpoqod3ZvWoCRsocbs7JUqhL6WKStX7v0OS0LZNTi/gZZEfOAcmwzZ/VnfuUZYM1hMOmT77QOdWeW/GPGYcwaBII9Hme2h0y5Vcz8k5jK0i8zLYg9k98nYKw4RIx1oxdOT4Zu4Wp5dAXlTWhOVsIsBAWHy5YPTKFuYLmRli8EMJUluFtj+pzq0wjqI25sKynxNRv9ZvOCBzMLTod93uYK/31OKIk2CBjJ/sv7b2RSp2ofaCWfORUQNP3g3JocxKUf0S6DrcCwXMB2XlW/T1Z3tUE82hk0pCQRaX174h7HvpVFisJNBJNSMhWzjF80+F7udodFHbW5fYXaQgSuOAcMEAwXegedM7CIB0c2Aw437K0UyFZvgR75axFVdUA1rti6vI7HWhasEc/IcCPJcs1C6onq6AGeMMfHTEjRwm3eokdE57YTVXdit5ljEasXpv+dxBjOpP3cQExwFnvr7is6UgoFsRWXXLBp8OeOZ9pJsju6dgkqHQJqQhJM3TO7AaADniPxg/PELaItt5pTwuKdd4uRatNB9kguQRBG1HRMx+foCDykl5wyrogg7TsbDxqGahaX/D6DHoBUDxp6ZQ8G7LQdXQf/1zY2gH0/mZKQ6OGFYltjhma/IUDsaj9Zs2oBd3dV1Ssgndf42FlBHBSYlr6xy/1At8aiBnbw4+2u/Eg553+hsq8DlKh3d8GO1v0KsKgpoadDlkUf294lvFMOTTr0Q28Qymr31BD09fEvfTfPCRv3+2SrNvB7rt/qxPnRD1FBZsvQ5LlIvZ+9Mk3pvHZon4vV//tROMTnW/PBX2zK3cwB2vRhQI10vQTdkWfXoKjmE+q+r15PpPECN3SoE3LS6YM/F51Ui728XcLHBOcneVvQO+17DnbUHKY/dDYCA4YMdQqiu86DSKL7HV9Sv5NBAiPaxo0UEtSc2tfXB4wLFJ71pRI4YIOi4dadOgtPahkres8cQQ84N14luSrBXYIH/WsGwiGYQtO77eQhRiIFobk8sL3DKLxTxsUiqQIPxSN5pk0QuI+3+2CRfXGkn5TmLg8y1Allr8zHgIKuowFX6ueX2yilkWQSCg5G4jC4EeOqClGzkPleUVxuc1Valnnh8ELnL6Wno+PP+3BqCijUMksRs6siPoI251AFpuKKEetpxyynbXAkhbSDpBvo3eIMzO1vQ7ebyZBcwPR+coaiP7JmWzP2b4Pw8mffG8d/zl7uVG3+E1li68NomSziuFC1w8U7KZOq32nX6Cm/fc0y+YfJoEcj9hbhlhWFXO4Inzt02xWvkRxdqEXuWPdvstVuD5NJdtJs1bQOxbFmS/6WQJUN6FNFPo76Ttj4cRKo+xu45x1cQJ9bqbC9MXKWbqyqsDSGMffp1bUp+FZO6c9mN4+TAMLqUNxBgXpWIFAKzXJg/mULTcyuXMum3O7YomLnQMjPjNTPftC9bRQ0ZBAFtJwKVOxUo11NqLgDWCMadDlhDEQ/82DDKXvKPb0ovTfRdv8Vrqx4cSQACT8Utx8wk4sDJQQUEeVkCrnYPSOzq4Tm2yQJMxgGKW0otfy0DEIFMKVJc3ygUTuZuJ+4FKyjpRBsBf72zzsZhq2COKBg+SU5VZBuTByQSUa8m2/Gi1bx8NWNMafGlMELGoGx7ZJYpyV05MorXbUts+5CBAqWAeCwSnS1V31d/SrLigDmFaHXUl6DKU+bJXeQrV82GnwguobrpofioAEh+7a0Ao6Lj/lutCZMRANFU4LJoehmpIIUYE6j7gePaTexL8b1vOAJgWUZiVaDK8S3qzLjmgC0O8QkZy7P2vfuTghws5rfToHSHo+alHO9HT2b8mIgr3yQfroEGG0gggX+YlY31DV4jfbiw3E9EfP2B6ydzMkVCseS75scOQh2fXj0NSP5OScnpDpwXeh0kCHQO9/xX/c//z3DtvzXLA5FIXytIeiNfYyDO8Yg5Kn5B3GHWXtG8+TYN0FoKWsuwJgkTnYD25gHi7QWEsN8klbLMgGqjqLyiGe/fze8xJ/+ZIicWAZheTP2+zgMfZvvH4dQumC5CWLtmeC8dArqnfQn3C//QUQUHFYFVg2UTwYwSLEKBETYDVJXbjDudbiljkAeKJcjLNUd6W61X8AUhbORZBaRj9TAjbBZTxscsaoutZYZV8w1LqKilS9+YHo/fqA/CxtSfardOeQCdwettGxJnNXITuYg2GHk7i2PxAPKCQ0nWjeJv2G4OPZs1+zEqBPlkiyFfa3y4+IP3UDfp7hylmwoaRD0VxFr4FISnMjd6Z1fCwHUYrR0IzG4K/RwOnx7V4/mZ7+TUWD8suBGETdt51K52YvVxp/1guJ+OXOIPx0QYhm1ONIv2Aj79aXhf6Aosuf5d6SKmcwEIbx6WY/rEvk+pvflwto7KA29UaNhtGLKJEdRhjfEYlHJC/Sk06/BoEyQcuOCh3azlNiEoeUWZHkE3Ko+yxSYXySzgO7KYp9rD4zR2dymSnlFHJZvvzQ6eqEZ95czy11SbdugP/bSiCePrYD6+dUEtWDbA5cCJT9sr+Mtt9zc1UaDRpiWKLbdR8KvT57jA5A9/8TtN7BiYlcvWmrI7N8BadXx0KEf4G77qcGpX0e5cSXCJNtFtzwRj3aVpBEvpOpzr92HnnwYW+Ohnv8478QEX2Ta/eDhfUVwuTAexYMwzb7zxGufskiONaznqwOujtmwO1yQWH7wcQ6enG7gmWFUM4F8A7/AhGOdG5tT4AYjfbUfWo3ffz4EWgPikIdeza/NjtN09LZig4vKFfRf+gPY9hXkmy/bPnx7P+ZsjvfZ1d3OyTCMO+epJDoJe8uc7PmsI18l815DG9pQzojFU4+1gkTPyADYjGoJ851blKK0CpRZ7SvyBKREefPKSrHftOiroc2MSFaJLIOsTS1KC8IRIf9CZTxalnbH5DMZRusIZviFjGltZ3/e3IRs08le40s2t3yhBo7G//q/SvC3yvVGmWr28ucnP5ypXJj0WkA2KWP+eKx6w1wOdFdFbnSCxD7Cwe/s+jWT/Q+NxFnut6F12z5HJMlUEZktngMJ3TiqvauyCETY8NpPYMsbI1cQfNxd0j4lxkNA1AaMmjK07t/WApSHxdQBsDUANJW66tlXIWPOQbNOIus4+rDyWrR1bn2RxwMYRIj+fLUsECgcyLER2Wib4j/5P48tk6LRqNxpPCWo9nP8P5TEgwCaVxkNo4GQkIujrRUYPTw6RDoQf8x4CVKXLE9Tcgbe4V/Fc0PmXr9bgQ0Y0Fr9aQC93az7i1AUAFOVFo2DGRApCPlXqH1r+LCFiNbTiMCk5c2688DxsPHgqgwn3Bl8cDD/BcxVtR77GI1nUPFyljkGYP+9OMLoIT56TcOhkrbV+td/iNsE9GHdP6RvWknUatqxVWwRNV9JphyUoO5kmRL6JQfJnrzSrukcR9E+QKf3U9hbsQyIIBBCsSum2gxJpOrKgpaj3ye8Xb60MxyLSBn0qHW/4zEQXnEdNoMj3mUKnkKHHZVGouS9YakE6G9kL4QyQc5DgW84UuxpWmPe/hPbYB/gqELw3oJb8Qzmcr4DtXcuklhcPtJezSMcYbmOqX5xH0I7txsqJ7V2SEWHMVoM2bx8fSpx6xHDxXonr2zbd9X5f3Hodo0VW9nRcJnZYHQnUzHifuJr+2zO7/cSZl++8N/GjpSTa8S8P+gF4FLA0Z+hMNGxX/lrQoSmNQcQK5QFTzPFt5L48FXjSbKOILwZ7ltggW5lfi8PUkKCOQ7HI7Cz5kIDZhnm1aM5obdQyfenit+N+n2laN8CSI6xQX6vL3KnSSpX+dsY4QLr+MSJHINe8jaLHPokz43T0p+xR68BNgC9KgTgnILHwWE3OtJRE2nQtvXjbyj/twj7hdFEwHzCwDvjy6dRmfAl5Ium4XfL6yCiz4046U+yrHobJXqZxG95mywAleujShX0ZGAc0uAxKmhi2AZtTdMx0lvl7gAjTIeCnj9yH5L7oYyX85EOlbs/lYIOi8vOD6A3IALzLgcWVUAmmmN1M3zIIHtzLbkUiYr2LHLiIw26BW9JcWel2QmnRpHXWkJwrUoJ5Ozs0XbGdb7Xsf55Mnav2lFfGnvjjmv+FCZmQBvIsYyUNy3WagSRUhjSw4mPKceT0wDN0AIhBSD9snJ9l22hWaHRH+PLduONNKhi68lXFcUYXiihkn8Sms53z3F9qBq4tDX3gQolWeh11nrdil6iWH5k6m80bmYMNtwviupvqfo/P+a45U/oQ3Lpzlt+t3h5A2sKAAbevp+5HjHQ6fC3Mz3Lmte8OBUXtvZBfmwHIVtxjm+cSho7uRdkiuTSqPuUnGPtGE9n7R3hfxZdv5LygoSwuxvfAa57jAzcF9X4pkgMrsrdT+FbNjlMjAvj9wcoUvh3eZUenLbRTRP+R1a/FENAlsX5lFZcwmTWqwSSB8U/qqAVxz634n8ep1eg4C4Cfnd+Ihus4VwtJRaOeOPvpkXXYNxszjF8051qZyLkw02SBdMkgLbv59yDUjUPiYWrS8tjNeCFdFdcef44edDQ2b/bBEDZ0LX4FjmfHxvJPHDck27aivdGhpDNvpwXPMo7lEcT5J6ZnpfxiLJuin8tJiz3qu/pcwGJO0ie+iS+A7BBA+mNQ7tXHsDHrZYJhDyYcvJwEAbYzkZfLbt4fotsnZDYpqAgivGkFY326W5zmPqs9S91vzVEfM8VlzByk23z75gCNjNBgOAMBZLw/u65gx/ZdSJKWVoYytbn5A51alxW0m5fQItvF3zAi2sFWJTa7ZIXc59hkzjYDphg7+4jjXOs7G0pzOnZl0S/gd9U8eH3B0n0EiD3Mi1N7FGDfxZlKySPHWeG80A8tQIq2GtWSa8uyrZirdM3O5wdsxtDVpHsAhUeNy/e+s24RMNITcGS6jIOKMgNPLv5f3qQbbWDEMKdirx2Ca0OGpOhv3jQRh0kvUCRMb1PuE0mIx3r4l7xbEQt54OJ8asGeipK3apmHt1L7UZkLfJWCYmQxqHAtRr2RC8ASaQsY22Sr3VlXcEWMLadTyO2dGdWosWpI6VDLmCLstaYDb35szCXaQNbSUtnPYReu8oMl266fbHpvyWaczJH/9YIThINAXlkK25RRWFMHcU7UKqmvBlmalhABSml6XXPRtHk/fFVQlWRFDNd89R+aw70Gl+pqxBVS4gtSygTWasQ4XqHDNfma2UmbJkUcX10v4iL8tgPtRoK7ZD3m+kYxeRzf6+UZLNAefMY91vdOJ1ublf2JjJrlg/YhLmiSzRYGd16Un5ry5IJWYR49+46lP9GglPdNKDLQzMDDwzvgah9nfqGJWbq6IwOvjw0sDVJDvytv/WkkRlCEWpqhB+ywxO3MsTUyICuVw9JvqnJlsw9vfuR9y42MErkULfVPBhBMubjjcuv0Gh9GHfY0lFA+WQNTqyf2DTed9d12cuDxRIcmjfwE4r1ZhG8mTW0zEHs4vfSWJxiCzblG+I6Bkg0UYFbZgiP3+/+6Zpt++y3SKdMZYMOf2MSFEFaX/pDtrwxYBuNzqXuOdDzffGfnjeFsfNGQ6s2gn/bsIzlzQNYHsrhAS54sbJUCRcrHn8cq58Vb43SghyQZW/iTzNoDjaKI2cfocxPpfQ0/JbeXtJKC0XcPDGA3WzJryESxe4p7I0OIJJX3mE1EusjWXx8Iyg7XMnAOxoZBh4qj3uUlqRc5IpLUxDCgg9yEVIWVgdx3gvdVnsuYeBOJGjwpM3uEUvEwtc+GvEcjA04kaiZ+RJTx2wX5s3L44X9pVJWdQ42u6HURohGBRmRwXIm4lnA43su8GpIOp59pcqBWJS86Y6RGV0J9XMerzH7nmMmc2oE1YdJMcC3g4zZRRpc3Wm47aKJ2fIcvdfcTX8Hey7fg1ZIfkGPwS9wNF/iLgWEUigLIfvb0bGxN3NFjkQfjj1vrjaNQ1KgcXoux84rtiQz/PrI9ptIetrAn0qHTsUfih5a63DdFz+e7ciX2MSBfZKkzh+8WNsvtzeBEzmrz6VNI4mZyZ0Ub/0gM3S6j252KZjafQuOdQvwz6G91FhGC3lom0EGsTwwUgqpOw086pWkSkCvRFgp5cEXhyyQ3HhD1G/eogZrOCIEWgOWQPEsjROrX3ATAhFglX2SWVl7CpeYNZOlPNAePYy27wBGcUiOvPNLLhojRTj3KDr2I72LCOGWaDTeTEnDKK70kptYbYXcw6qgr2ODvUgPh7k2JQp/kJSDcNxVDkJgycd1NBAgCO6RTxQsKFFywXAkmn0ZzvaxCg3fc3IeVtA6UCyKj4PCH/bayeEyyLIXUxSzZWpPvlG37K1su1y820gWZpnYYqknwbMyWuExpKFM4XWrxR3J0tEkG/r7hDGFxCNj1+CPbUugDI7GiyzDPrR4HzVO05tn44hy5BpJreusoQNOrsM38jqiVNg1/gdLBQa2YXggOtK4dh7OJLAuAAuERIwFBcH8noX5BTnsHENiarbQwGOXKnyINYoQ7fGF4wnb+nEdQLq7H+1Re5hP94iZ6gNRp1JCG8Oh3F7ctKtvZZA/MbbEEwBayr1vKd/eMSYJKoyeH6ZZzV07x4azTDmqnK21CnzBzWdHs7pkG7MNYBX64b+Q5ASTuQo75xArfUlucOokqMSXwHXSI02JS+Rnx+oBoAtlbqR36hGGiOHAs+G3N7IDIcLT1qylICfOhVxh9f8fkL/MeXNhXcYgEv2cNHvOpLCR4UXv3hZbLeijWY7LXrm1jnvhKraRqhhtG397lEzrdkGQnCx2wGMAwKgBfJWXIED6IO8Q8W7MDHpEPWMUzpm5hx/f/LNXd1oyeunR9ILnFRhkotn1kGBjAtcFLeG9qgG1A1qcKTYidpn0YV5fHs6harjgjT3Dv1yGsq6baUxHRS6D18efPwAYYK3HwbM/x/71W6snkUDSPflufDrNzI8HF065FTdkkfFJlD2Sj9aLersjppQTc62MrynEZpcbLXahQoBGDkMqJZIa+lnby+7efHVwXuvmZXXy25bGV5F0cUzBW0DTTrvuJm4q0TYwCToRE6FgzBKj8VRSeDK2JTjMgsyg3W3RAFbdkPleZhcS/+klz7wVNnCY1ab1zi1Oa1mNWZlRiIxj+LdjnqRLJZY0XYN2y83YBjAnRtAAMXJGlH61pW6aO7i7DgZbMpPepufDazEVK6qYueOkxF+o9j5Tf2VTPmzWzHyIbKprrYHrRSMJv1G41Tf8+s30IWJRhsjaErtJ6wJ/8e3SIOBJYhB1nD+ZyZ9JLTcps7bdweuYgjldNoJ5j2oqckVr9fItsvelpIK02hFtm37sNuhhLh3tF7FwYI006ZxT/l2qguENrWyD2+VF5P8rixxz5QTr5eQdmkQ1dQIF5Dr1Egb3t4Unsn2RxtRoJlbSancU9JCOJDofQzhPMECgtxSIrPAZzLkHfe60lAE33B7Im9w0jPIlZBeQed+2B3+0xzOLCySI0VBLCkxqEqxXRf5XHthXjP+VXUKIFPZR6sitreOchyHFI7yoDNTEP+rvLaPOhq84PUr0BAt2aI6zo4PjD75s6CbYx6GYh9BqufrPByMDUbVsKi96IXfdblKOMPozTYjVb95szt1nltnqOQMvs/4u1/lu9e+nyygyd+pdmggnBWWNX75qEMd4f85vi1zxo+sxAGc7Oo7vVOoxmm1mFa65IKV6VRLNRj2Daacjc21hqPxa8e8PzAI2FLBRdCBAYj12kf00LpqpqFU4HDdu/6koFYV+ea6h8iqXoPFTm5gSYnya2nlQoUb2JyiGKMjL/fjKmIHUCX+tn9eZrhqN2DSG5TIgSrn/KVrnNxRoRkkJe2MLk4zkj7L/OAuPUjBi3S40xcWePLEbPLOBR9thPPTPJ4YnxyY+pIdffdGSfzIrmL3SHEyvzaCJP98XXZpgOGBSSMLY+nsS3ADgb1wj+RJVfQZQHbFXakiHhMf0fkmeWb6hJLrTE8gMv77JhaVe7uGNBpLzF3f+grfxtHAnzDVpLSBJT2vgIsIzJBuxOCEvdD8sjUfoCuawE6bvXtapjadLV2pPVZimtKtb/QoFLUPcNjruYZjUP5hVk/beHOQEpTd7xxN4/k2s1+BarKhFqkYKtYhpKM/NOVyZMi4Mcy5jkAzCSXTZUqDgTTQyT57Angx/hJy6RCvNXLRuzucSuShbBXi/m5ovbeHG++oUrkcJawgvIsWqhrvTYys8q9804rVpsgttxcJaMlvtL37gRG4/Plvjaz0Iala5UujjMUh7kgJjN8RiQ/DrFCxgc43QaCNpZup4QG1qhpmBpZl4cBarlM3EOSLgGQFq0vcCh+IgO/fl9r+ljix+c4uJQknBwZ2ZXy53bBn5uKbcjq33SNpwIFNiL6Ae7W0BRgCZcFzdICnNgAAk3hyN67p/sMj5sUVY1AaZuKbep4HGqre+TMOGoFviNPirvAHWxZg8GczoVUrTZocRoaAR57xK8k9BJh+LQyyxncDBcgEmRRDGr9BqhtUnxz8exvq9fzPnG00DoDbka9HDb/vpRkb+QeOzSerTaqWftEZW6dDvFlCmEO6OVTOxBMm0Tg0okSC0SXoA2/5p7fb4L4C2ULg3ZScfyZljI0LFdClt8li6TSf4/rDe/UMcBGAcumIaMLtOdgXMNAiaYWutU+l7i8loIjuh86GIYQZskuPVx38ce1+jdYgxTcN74M6/IGB/I/V8w7EGY5yLyjeyXFKfwzTHmdljO/cbpY0XBVSdV4EQUoPRKDeMC3sMPXTlorDxUBvsF1GmG8z+UYKvRIZx3UWmUHGE9Iy26pTozwEctEKWPDOJ4qNq5O/N5snuB0er8li7PVT90bdze96QArfbc8OaimE+wahZ0RG5YZNHLARa2UYVqlu2VDg3QXzcvG1lYNiMdWyLMhzNQwekpYTLT/98i4JEO1T+7ezDWTMNH/nsBK89YqAk1IehyRYutLiQkIvbpx+f+LFz20wmKRg1AtGplEodu4yaMY0ja7MvxpSyt6aVwHHeiHJ+pz/DyO3QyhfBcLHuRx32gvDAdknS08Xf2UFoo9a83UQRanhHUXw0CGPXupp5gT6xIYz0RaoIAFZ3LLDcVrQTx9ExXAQuNoNZXpBV3JfEaCYYoc8BBIjNxKu+sMgwj5ek1Iv0t7de1PouuNIk+BcNWAgyViMfG3rkdmS/2j26PcbHnfMx/oalD5pbuv85MTseKoSbul2yVpggyWtCDqe6Xte05bUBq0XKdrUWrOieaUdUYtBLQFlZ0F4Fz5HlK4UwgizTPMJsB3qk4xSxHb9zfypXbBUTaofNxH5OVAyDbJ2QoQ8lrRhtuq2zAYUR9pdbd4j8DPNqjmd5BsROTptmn5RgOqAuGS/2Tkh5c5+UTXnAplA9B5D9fmR4u3LkV/RryINYjzUCAjDyc0jWzM6Tnvv8W+qjzaD1pBNAbigoEmjT2L9b+q1CUcCx1ycQMyATdB/4n52ass0wbN1NlkSeNDpJrIqUT2Xfg/kbJXnSoMc4ZGmfz9pL3yKSnHtSWauExKwnDjvuDQ88tFk4X1Aj8W0D7rMRkDk6LHMSzAI3dinLZG7HdLrBrXdLpwhUTRhckDfSsuXqAwy9ZOw0x8+5p4bCocUXbecMUuSh1v5cTLYzadnPN2+OLzVbnU5AwOASyD0HRjVTDd9YSgG0hx4bj9SqgcUwGQyhJndd0O7OxgTepodxEGWo5RFhyfayPklqCjASkpa0Qm+zxB869P1Z9MO54Ape2GWPOk3I8ceXwEd7qWT8J0f+gg2iCUQvNsSMFjiLh9dLqL5IJDG2QFwo/71zXWqhYihmckHd1eT9U0KQLZCsL0kVMbeqAE3hVKdkbxWVwvyq/7XGVTu+IB+RJKntkz8rxQMVd9NZfOgaJbcYzBWjp608GilCABhMHSgt3ZRgRDyB4VxyVadqwn/r+xi5Qwn8psnnu07FbdKU+f0l16AeV3oX8Hl5/jMMeIJytFSjmr2k1LUbtd/x+N8q57UFLU2pFBMjdoCkCz3Kcd9p1zJvMPWprABXLxR6+SeDAHvFRsYP31COXZzL1mcqMAL6b8a83D74/wQTbelrsTEMv9HOVvfNLF2LXmL4IOVecf7LRx2M7OHSdnPwcxAIjzMJFhecG9p2fY/8wCd2TEGtv0FJBzWCX+/csGB2ehpoYuk6UczbdNKok5tGUbrfadzC9LNDQoLnEhna/1Lz4Tb5asXZMf/qR1MjfChep8vAz/AwGZVetDnQ9O7ccLoooJ3+ZIIXJrHO46A34i6FlNsGCCUPGwukZI9Zya4/wDnGRt9iLyZfdB8GOhRp3/6D2Hr3IVZa078atCAtpT09Q3gkKF5C3O+AJBrmSD3XwKVVTgZVCd9ok34m1QHyhfTZcVYGTpkOOfOjsvmzG5clGOpXVxbXHosS2ARF2dI0/iZwN8X1dKI7o8+1TjDOG10vCqqz6YWt7OV1WlTiXxWi2BTv21mXPcYqn/kcTtfAZpK4e3H1aR6zu/ucTG5V4oKlnR8SNhWJDUBi75LbN9ADqU2NovtzUA8LeP5WETBPSCyqjoMFGlKVbtSWTMtyeDQ01CqVjMeTZQfA//rTZAmUG3HefjokZVFbQi+SHr/cMx6fW8GagYjligRFFgfuvdtYUqjwmZoegIPGdzbYIkZMrgxlR1D0iddt02qkjo0AMiZ2YHOAQSNQyjZZkert0USNKQxNXH2QKcsw+nRNYk3RXYM1HKylwbUcFLMGXzZ1HgqN4h5MYuHOnoRuzy6XY="/>
  <p:tag name="MEKKOXMLTAGS" val="1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3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r0lg9IPP9y8umrse/9AoLT5R0GKq+XM9pr/aTyOTf0wptcuHbHxeyqBm9svU01qeeEM1v0hpSHUgirOnAK/wuopj7DiqHdpHyk2684AqaUNICkKw/ukvfeZFZRgKaV9IfusyUVNJoMCkFkY1tz0JZyEehTbhL3LLc1ET302wlfxvzzEFmIZVMMnhFWnqJCO6R/ChcNfRKmcYJqpkl8NmlMAFKGk/uhQrwN/bJUKid/zQJ1I1z6W4geKqLRz78TVxFTWvLUOrW03JiakyBzd3bmINSJblrp9dUzZ8HmrBbreFLlRASLVY8hk+aLPsh+jOXaOe0KHejGK2uhKPgoWmvCg83GXcLAkKRmhcRiNux6PmdwKA10A4cqzH/T5FBx49bH1BPIWksQQbwk32Kko2lMy17EanQiga58jLQCz/RM5C/z4hR2BegGHD/Vc2vqnqCHF3501+lm7h3+nreWrRfpn0TPihPW2Z2ZtWUlNgVhEm0NewuEkjWnyaRE85rVeuRTaZVUeFYcplrom1957LFCnCtRbLf0jC5hug2SkuNUSLXmrHUE0a7QLLE/admPiruLTH4G/vWK3thCg+6+FOgwSmpN1hp6PYwwG7MbNA210MhGYZm4wrf7RW5RnXmaUYt5y0d4hQVoRst5DudFM5DsAPIVFKZk2CdufA3mmMZXuIvomMz+o6U4yi1pNPyjmHeQanOcr0dpJ3mPWbAT9NQNL9DOUtP8gGjht3SwhYqaq3AJvimUM2J2x6AC26tBr3FwtHEzAYLQo5LYEft/90bYmRlJEiU3mYrORHSQwYrhXnS2CbFfl3IQCLX+vXn1UgeNY25900nB0Tt5pKcUJnObGvh3g1NIb+qwDD5hW5SdASWaePOccT7FWkA59VsD7LJjnXv9h5ysT1cDehW4vSXh9z6ZPJuJgEsEUfyqI7FAf6C0shomf1Hu59zc4gG6dzdgh6llyGXHhXLC1f7Zq9V1zSC/CnkPn5DHmKkgw71teFgXBm+4PB/gw9UqwxlATPRzhf7Q00rN7qUwnAFDnKi2Olz+aL05lEMjvj8Gip0YUVeHKjLgx2CNbgWqwtUBajC1ez4t/DfNn4UwK3T30Vp9QTJSmWLWmhtLA4wiNLWvUBVp4cDqoyYcbKOgP6UFcWLJKlx16OGWMW/XN/eUn1YzOGThlMKHZPlj1/ho4bRorEbCT+jobKyTfTPhoGN/qEFMSPPL/MKyheopRI8qyZDGW17JyVP9s+xj0GjKSoncWX19quAZ1kJ/mKWKCyyVJkYu5xJ2YhQk5ycvocrrBmMLLG7VPZZZKJnTcGsrg1ynKudwml1kFxAv+ujd/6SFfhI6TiXQzZZPUUTDnRN72dFuaUGT0GD80vyKyyYCxocSXuq3bA8LuBJN4aNlpskTBHFtI5Fx1irJW9KqsUBkhFDkmVtW97HJE9C+tWyx4djOzrdalYLQYALm1lkgagqP0YdAEeF4oKpwtqEcbbW1N5Da/SAx7QwLioVKVSoSWUZeqiHNuNZww5qdPBmcdPuIPCte71q9rJOUHte0l2qVJHb9P6KyrRN19dp83s8cM/uA7SFzDq0aqNQzZhX0Vj8D8+xF7H7YbNPc5HThthCKMmS9uFO0vpgFou1Mng6zXZnNnWiIxDhDNAAdt/oGZDogxtuNKtQ/QdtPzcl5FRjTvAIAmkLvhAlRGZ2GPXV7labEV09mVHWmnyB2yp6Z4bclFIHfZlBLfW26Olwy+NtYeoyasZvt1wALBkn5aJeO8sR1bQtoRhaLuFR+r7X6HP0IC9aYwrT7FcHSx7Zv+C+oNlJo3onAe53HjGc+wVwj5b98bxozWv13keLwyRpHWyZyQN9KpMJpXFN3z6K6vknaWO9b9Yy/qzWj3J5PgFZMC21i9/+7sN/pKgD5DC6zkCjNFXYY4GDPjXQJFi3xFV1dDW6xUIEMkVUQIbQKbGrI7xw3QjWiQl6uwKbHp6tvZ0rj4o2nOQY0W8f1DfmzqnD/oS//3lU4tgcl9Zb1ne5xO7UNLaDnIGtr2lWOUL6kwL0kxCP06isjNvwZgAMi3/jjucUmNH6phHUKrutiasiFNrSFnOtsJqk3QacBOFSa6pmqmHmyf8tLvcGodRvOb3uAb7TmN7q6v3HSRz79DoEXPpMhar84uUkNIlbQ0+9tdbzfSV0ZfQ2QaEvZU1GJ9FzF1SXKaAFem210yQVGSoHcD1OZiqtOcsjLkuGpPaSVTIEUZmspCUgdmW7eFX/vXvUPLBGQFExxCkV0eouBiKv8XvIFe1T0IF7nM8ReqyHm0ojNYeeW/2w294QrG1KtDByTZAFrRc8G9vXu6x2XshFBR48c1xK2Cq0bKSH3nRavLacV5W58pEbEUOaTOxhIWeo/7FSWzWZO5D87Aqfl/XlAC50Vla88HzW2WPbnaxAtEd1WdpZL6whSmp/h9GAYJRTjgQoFhxt7iS0jbub7xdRvAwWsonpUQvgiXoJPO65xpSRiEFO+1H00ISM/0UxupNF4cq216nSBrMMZYjsPKI6l3sYShtcK8fZLV23SomfcodIgzXRvYm09Dgbs7swz/azZuyKfWBOGAUGd3rt8o2RyxfZc02V+Max/7jTnnkqdAQ1RFvbpVnKqq6KKGv5lKoZIbFkWj3uLCI98XL3ziXf1VUlckYdkr7Yj/xtwbM6UvMNNJDSnJP9tRhIpxIfFZY5O4dyg3KR5BYAhd9BUW3mKduOvxj95avucTBqT3ZqQn1mPqC3wcJYvGJAuulbZOEt1fIqKnK4sa8Ln31xSbRl3TligdZKSTtw2VYDijrCWx0s4DZjbFq+Wk8p1hwMuyA4kVx+mtpDyBYom7lZnz+luW717hb/pZ0uyJXqTel9+X5GkQsch7281cVMzCdUoz1ocKTIM8vFHIgdzblAPI8I+JAGl/gbclIgRhqNIFRlgMayfCW3+h/z1Sof+SKMp5JG2azS3ZFC6N8nLBbE+AhxKRgQoCVvvHbXKkLQvZfTca4TdYRWaLLIms/1pzqbKMI3MhEFVvkwIg5rI40cI9oTi79kX+IQTZkxp1T81zSd/DBshO/gxl/rUBqftFbh+BDxsn75xjNvMQYYTl9LefpawYVxEf1Q2Q/SIat/yICymkjfDKCbHD5csbLceCwmqYj/51ccSBElO2ygUp9PEu3ko+L7QYEDGmi6KQQUDPlD2BG027iSJXO+MvpcR3pbFBxYpmxqIOnBJOnp3iuzDa1pFAbR+PRXLPus3XMQf2hwRqY62yoWx+s4b2V7Mfl/KmD3Rl3M92ZenR4jXYyjv+zljOQuw3Lb/ULjwI/E7OFMwn9kMAjykpfpfiSg0VFY+AzrFF20UzJSqHs2tEVxdSpzQg1tz+T3FrzPJ1uprRY3nZlVlIGxIYB5nTNv6wl9+UiYlZA+JUeSZh4aCWeT//yIQ8dH3ci28LDrVmjsrtJ5WT6iOufSpHuxtP2t7Jf/tFvvFrPF7G3NOHYg+TCnbHKcAYZhRWZKB1cWfJp9yirs3N7+09VcrrgmL6KnaB6lCIRwhDjrDh6Tvmx0u2BSwkAVMVJXQUJamkbTEATUAcJcqq7sogzwMSPN2+08vmMRpgnKRzb1st/K7h1WBqH2TQOq+2LSGmO8HbutrMMi3sleIWuBc3LMvwoKDkZXSAOEt1gK4EWa2W3EBJKXNl9r805rfFt8UmbFvMZCnGF18S9AUTw6a1/kqeAlSrw3Hvll/+mUExC2nUJyQTcTaBdtlqH7xwmHINXfedRw7Biq9Dz2hB8FH4Y3p97C4UsMi1rLovpmLgLl3XP/b3B3BIi8NJjyuJK65yBAMDcl30i8g87WPqeDR5xexX5mO6iSt0yxA7w6mUiLESUlcA6Fzm0uJNl3Zx496qPsX+yrihRa6/6XfcLYfngyYctH/PtzUHdODKy94QNo2ius2NWao9kxJ7a8JgiDW80412LnMCvn6TrZTz01Zpo8ChYUBPuGF6aDbcQxujHPxcqmh4DetxseXWblFdJZr/QrU2URt61fmD5Pl6cVMNailNMQCS/Ek6GiUXnfH/bhQwQ8ppZB1X7IczmDI2zeUVNhxHK34g9Hd2Asp4z+8vZpstMgZacvsClS4JNCNgbriu9hxOgG8+ntvC98/bY29yMLCJiAy883Z1GpaPXgcjZxiZjLD2SHbLuG6cK4B7KzvbTdwd+vNBqiewcGC4SXUvlJKMJpMMFy7cAcd3Yb2quMLYEmGmjZ6Bb/unrNdKD8HROdYD2VUwvxoRkRabNgMA9rUm+v1aKfXlzGDdu2gIBeomcu9qaZRp51yX+R9/dgE+PtindKcGR852ob+96kAsCDvuCt6Mdc9NLo8apqBlzzqS0Ml8ScEje/U8crpp7JCVkNBFocSaFJ1UfYEAavmgDdk9VxzL5gU0i82wEH4E6uYgPPVBi/PqZksGEn7vIFB5lDyMFl6MslzzBTyGxt/TmMYjgMUTrgYkUJgAEEnwx1vCL8g2+z1UgaLF28bqWe4ZLhqgkruByDzBZ9RXQoEsR5dNQsNKkb7k91U9Dt3EKps3BSvQX+B0ZI4laniQcLJu698spmTqE+ml0wqhuc3iB/kv2NExybtqeP98beqPdzEPXcrWFuWE1OpX0Ac77Ieabye/oaPGIO5Mmc4KFJivyh9X0hOQlYaOKnoVbyLhWKZ9IaizzTdbgnL+S+keBpJLfLAOhBnKhUVkaN+PtaQigh9mr7Ufzt6zsimbz98xno1fV9HV+O/tAABYC24ItD3zzvf+Lvhqfzt9SOSR1xNFeThqKdqE7n13rABfSAiKL49rHxgmfy87lF+PrMdTmx+NWsWTic4mtQ754ajQ+pWgdw4ajvDhI9XrxlVGXs5OzugpGOcRhOZp6IenGJxGjQAkoeYB319R/qwZdu1ja+crZT03F0CqWnHYq3wy78FRbaPrIXGjtE34JhdzL91Ibu7fe9breRJkcxTGkxoPsp4qAsTbZcO4BaI3kBClAKiyzjp/vXzzTHPTEd/Ds4vwu1vFr41j3EOBXaErIIL+olct24ZQqNIjJKRY64TVDUQO/slU3S7EVcrXZuCmt6IlquqO8Hsz8qtwLLBwagDtQBALHrUMjPf27CuHCDcajv82/0DLUvOXz9HJPD38DKu9CNoKHG//Dno0N97wDU70doqYtbfCZjFrxcKavjqHKWKzl1oHTaWK4HTRamTje5VbBjsxtq5OcCTEZo9b3OyegRq4tTVu755DBgYsFKjJY+czuGJj2c+tfi8X7U/G7rL4kP076VWX8/3hrdc1jt4HIgtOHsRRRtZ+5XyncChuAnrzc1shg+LXpkqizXafhqv5OXSFAGni+LJnFp9apuFiRNw+xBsJDBJhUHx3AAl5Zcx32LiXjUM7/6dvT60JnOpu2djPtN59zbSe5eVKk5ATY013xMuMfFyFUOGJvDCao6kag4FGrl0rCZww43ZrZY1lGzL7i95AiP4VoaaYnpCBfoxU0RWjvdyTwDTOpuZyh57kNDQ09CeW+h/cRUtRU8b1xcM1sh+psT90ryqgch4RFFdt8rkYzF9nEe0Z7tObEDENwI8o2OV/zQnbUXJsiAeEM3eISURNjpuHPmC0ZrmrDCwblYL1CeqG26OBgAYHtGhJ/3l6GsZQDOCfbvGEFui4rHaM6loiogkMYXu6E4uje+PQGyyaylexh9z6f/rdsaM/zdYx4KHw/t4maa8XQSk/jFqUOUIfMVRAHcMDNgIfd0tpvyot9sxfTRoZ+02yaD3+zlXvBNgqQzIU56j4OE1r8MLvo946Tax8CtqO0qg91iipcxRJ0d78pptQRjMX4+6Ma0nqST8AHl2BDUOo/xfkQHYMpfilCR6eOiDGX/LNKEg62fKRWKpFxGZUhgXz9jC2yfGwaC8J017Nf4BRIosq+XxB6n9A1eQNFt+TpbW6BFzXDSmkZEWYEyWCn/F7AhMxL0A5DvkHhuiA6r63thqSwWiIXxbGzPnzw3mTsiAfDTtwIBr3r5RgrOs2acwWwGORBV4CEABNMhcpTVSjLMibT1x2/fi3pjeX7kh1w+Zx3ljqlXl8dWu8/o7q6bNJhV+gurFWq7fwJaG9Pgaa+FvT/rZpxIPy35HMPIpa6o0vmYfIUhM8dVAk4L9YXHwV5ahYQCEJtUsAU8GsU20Hy9RqvvNsg3ZZfXPWsMs/MYnkkxMVCCLouC9mT9JV0yVz5AUiu8xex0uh9UV1YAf7pqDm5o6hXAsZTZdyz3IM/8/W/Ulj8UGetjS9nghegqArj9QYtLBFmgimk8+lc41PpOouPoQZmRAJEJuA/uBghrbkhsB6MY8oNR8NW2pQP4fYKvFaht0cGm8rb6CYPt+U3hHUISVKWEWu8ykChPavan9/wY2J49fJNRaJAPweDyr1bGh/ExX1GCC4plJVrB33+EAxM9N+dDhssvXsfJPQcSOsJJLeaIoExN5bhDtuI4tOwnZf37qC9/h1VJgQktW26BXxD0qRiNba9WGUvzm4eiX70upc2dzV3WtP9uEf7utbznJh1Pme9y/GpfdDatJXQrTJG/pbeZO6lHbVYZe7eMBX5c/pF93WcxpEodhvIblkPnVKmFeMnGIpglbh6tLWd0IsD8Uw3ku7xUMBbdIgH+v8QpFoNKdSDYhpuNZUqffGwAkrYCRehjp9nsF3rgYBgv4RGg2PihME/F0YFvVPEjcX4fsX2m/+506kwKD6O+zunuQsmN+2r9GQvYU97GpJC5jy+nQgef9nRnRX2eoOjRdNic6j+xLl1F8Nvv+qnwarjidl03HgfCa3wNezTABrjMAqdRUD3bShkSefuo9gqPO0m+iiOrbHXWH6ppos6mmAtonrVscjzP4KChTYDAX7BIr5lsXRt63n4xz/M70X++pgDNKDA6i3SQFJGqB2od5ln9tNHvkVExP7X3GGH3JSkozyORANfnyHbzkSihY6iK44lGoN585ePUVhk3/j2/Bj6k6mFVJJOsNou+5rILNwsWjyyPCmUtwBDJPbwXpz4UBUZKGbnhJFDJmPMtJ1se/IHXQUc6MhVxSIjSaFgfhoepMsjgDP3bsSLMc1TGQ0ddQCxw80Nry6dej5qop7YXZgAcspCmwypQXuMLzk7Wzbz+rrA/ZmSslpzEO4MoKqWv/MJMRQnRZPB55K+ZlE/yavQkdgniXTIAopFHiKcK1f4ONbTNjzhsAq/Eo2B8x8H5v4PuKOQpavtAAdlsNt8QEAob1pEEI4lHuzmZ85LAtfRh9/Zn1gHkt5lwU9zqZJLa4ejmK1YSOSi3u2Dm2tZCss+tcCP9A8jjktu8DZd1RF1LkhRX0d8VYvgcAUP5X8eZrhcPIkO1jCGPvguTd5P412QsH5JGl4zbtI972zoIepI9/hs50gldXH3lWt4M1pLvIyUZMKMwiabWbFI9d9A9zDpHZ9/yoaRe9pK1+q0dCNrk6Fp51/jtBPBaRgN+TxGwTpLdmIoCoIa09IJqbw8gRBrkDQEJdja5N7qlTczHfkF6ldoZWa2xWrEuzarSNe90+thIFvFaW43P2b00jqPQcXODRRf9XY+m2bJetF1WSDUq05uqn2bnQ9ATdR3PI9WoygpKV/hAFuFP0us5SegtPDRLvZcdY8CiJxPtfT1hM132ui6TDHvdjg3CUXOSCm8e1WgKFRalomqlBh1cAQiqt8idsy2j3gsomS/oC7zFUcx1ikUIWy+ZEifhfYSRZJ3iWvktiwggoI5T/WTGPzYLT51NZPJ3gHQnMfwVRLws/wFLMVwV+mQ+HVImxI0LY0013pjlU9Ts+NEfInLtN51lVrQTk9hSod4/32Le5XfFr1mipuDzoAdGavTkkg4ni36EwLuakNGaElIs5E8zrKGxZaIb4Sn+iQrq7r5DSw26fJnm0NLkaNZDOLrwFM58lVM+HFdWqiU5bKh0C/Qrdy6qeLIULaPcSBejBzkXKwJc5fZ2OizcVdktfPDs/P3r6zU+nCH+dSdY67Q0sNzYEkSnVXfp5r3RloMwJEL1PIoDW1/MPsOApR22pG/fgtEghvVmhN9OYxhDSqphc5QDNubY7UbeoSF6m0iTI1If1bLT5U6os7E8Aiqzxc08ziq8lZlXQhno+yGHXk8trdMNZvDBvY0ZFBYUdutFTZAlkFoDf5tZ8UQ1Q7Kv+tidbzWqMz+cl4UmUla/jzRzoBAH8IVeK2k9xlnljfRBgV6V4zgXjlLM6vTYZPwoFVXHyYld+fdaUI3+tO9rMz1cKURr0s/uB6lN5mbIvS9v86JUd6KNLlfyCbpq5rwybnyLztBdxSZ4osyDKRG4fF6a5Zb2L1SyiQIlX1afss89He+IncE7RkeCkVUZo6E4nXRwLPbPKV9xXS+5Mro0oVlAN5N0lRW9aohoXuScza4ifpC5SE3B8VGgQGyADJHLlr5luz/lsR1w/6UU1MKzjp2H6fXfr37+duVxnWaxJJcsIPSJcBjWQ0vRubVoN46a0fk7PLu9vOMVW2iXDUgoh1bq7hGryhvhtWkNe6tTWzekZy4Jk02rgFf5OPbgOARfisA7PicWXtXfLI7og8qxmWPWXtNff73M4UKm2hfG5Y/Y6C2YLXL7kEjdcjJnf36okGJQZKclV2vBKltMBQoo12AFxiG03Wfs9HO0ngr+miSSwoU9Fo0ks5oXRLQ+DawWbox++PPL0AUeeBaYMtasSHTqAYo1WzEkC/LdDqgHKGUxXA9qdWT135tCx5jo8W8jctdb8980VFBh+UmN3/U5olRzw2ckyaS/Hiw5R6BS9PONRrkej7f3V6CwUk927tbj9wCJ6amegJBaAEj1IdFPQ0ZpnLVJXhsggkNp7peuQm13AgRN9H952TKpgzLB2ef2ySI2v06dVUylphMFTfRI2PUb4LOnV2yxC8zc5y1SGDpS+xZSOjyNHxhNGt4ztXTikFgPa0PaOR/d8PwNKoHQsHn/YPZ1JAcosPJyhdCnc+XLJNT6QMv3ZRa9J/Kevrgi/IUYLI+XZPWgH3/EVf9ni+awUsRyUPIpLhmS7A+Mjh45h5y/sEvAvXsS0vdIYmOPbYv5w1bNz4NbAaIhGCK4l53BAEaDcHnrfg4TGA//a/qCyE3WUbVzTPDd3Qst04IXYS54z1BP7zpZDZmGgZIzkBUExQ4XcjtB5cbPJe+I1VdaLde6KylOdOR2STHrujDfvq3BHUzSKajoiHZmD7tgoLt5ryepBEkY8THX2dlKOztW1ShrFqNhMEmV/yoZkFMUXRQyaaIasqYmzSXpcwz+P9xDdUiMB25wr2tV5q5LMHQeMUV5D+9fzfLHl/QiHuA4KtGU7bdtE9XgrignoMHKHDYErzwNzG0k7ubTLC4bQzL7kDAmA83RLTDQqJpxUHnXbmXP2RI4jxw7SkCeoaeVduuj8+qQ1XZuja80HyS5o7+Da+mUEEGCzv3SZJAIW2obl92znup8qBUUikNaTblt5jDUt0UdEam+Jc+3DBzoAB8TNHRuH+mi84wQNNJ8URQ7+hjHAov9jM1O/O9wtNi/qahqjsTtGBuemM9ZKd7bwQGqJg5uMln/YVuLWn+9ZxLxZDSye3KZj5KUw1hcA60g+QfjZWrdoIQDA2VTfcQvfnVR9Q+Apn/eahDRcHEj9uFn9NCQC2GbRB+Ls30rBt/q7cs3HRLj2GhG1bNkCtlu/VdZ0M4H5e6TIteTcbzx5ZWJW45aISb0qpf+SeMpDP9kCOiA4p+uEhgeMMMrJhV2LZHUMN4tZI/chjKUyI0GM+cJCM+vMa7ZxdExcSgmm7h1RtPM1Q6h4VwkNFbFa519MSJ5/XYbT+xMWlELo3OIMCpMCQn/4m/R4lsJ1dpRiYsd7RJ0UQp0NA8e6VxC2I6nJLYoRGt9xxEYG4BFmehqY9gzn6qboeFxdp3vK4r78qf/OG0LRqNrDFfECOVdJsRC62Z1j6CCJ4jFUbAjHMekvIb31+pS5QVY9YENIjxJkDq4/czPtlG+YjcRdkF68aTx4debtzZkffbPLspnj9gcWj7z+gwAUZSzzUEgZF5MT5fuCHlZNhckC+n2csxhC3wfBXWo4tlmZPYebAjcImk0Hk5lzwxZmNZ3RaAnLA3gjkJdXvH2aIqdWkjUBRkFf0JqxRzhubI8AeJrvsARFdMWYJ1Q9Xc6/YukpriDhFGvFuSYPZEUho0aZBliBccQHKHs/vR3k81F0woIG+IXVG+bE/8lwsX8KILsVRgZMZcfTewznS2Ee/5Y9E3qgTY4MqzayrMTNwFcZz5XB7mbdSdeDApPpYzcz+8w5uPbepAp2tqG5VFCKUdyWym1euI4mlrht0uDmN8rlWflOndBv58wWMLqQazm4Rsy/Vke2vGFceqf8F3SFwVOv9xWb3V/S6pFVU/Ihrg89945TYu+khz3xb5ovhPh/Fbk3esRPvfpCMlfXa/7Qrj2zGbkBt3QkkLCLV1QUc1r2Q14OrFtu0kCR5feAT4IszSchk7OJXeNMSBaIGtiy1Ungxsmw5UKhu6fb4Be0qeo3WD+CLhkT951QCrVM8+wbKv6EztY1JaXPSg1lSpemEhv7VFjv8zCKH8BB9VMgifpB+/undmmr3+/YU1Bx/WqM5skc+HuQaHXbjyKXLYPoUFoSyaA4oCc+LWXo2FvWQLK9+egxeg1ZWTY1u9rwm/qOtlTtH2t9j3yfkZP3pfagv6Ud1S47Gb9qB7b67gcChlfR15PA+bpErlrVfCAjt/wD6fyXjPQHJhpfiKl1E8xYyshdZB3xOn56204viYtYQ5lrBRlF3ryOYWohk+8D7mA35PT58A4TzT6tEybZ8bnvEtGmPrpKZRAEsB31C7bTcaYTG5cluVfKNhO1XfbhTpW4G/DKJd4k61E/iuMJNPpTsVXJ2CmBJgujpwqh1ShCEdvEubSVg5XCkKSy5anXkksMmwe+sk6xfmKauBtwfgaPSIpjchpYNmVb3nzDmfQ7331ynvG6Ue5ztdDy4V9uW7uW2Y+gDALMP+c61PPOs0I2SuwkeBomAOT96SAWY62YDawcamV2hj+bZhbLv0qx43snEvRORQvQ1639Jb0BX588vHfhmm2MXrzRT5vpQtvlwu6/by3AxbC+FqSVPA1mApoDYLnCUF7F5JgmwMLX/WaOJ+VxL6ugvey55W9tH3v8aOABqxNxPZMWaaqyclJTDUey900nKZCmOTnyaYgNIXBzW0m26fi8c8Dsts+3NMLKeF/KwdOuE7F+c+d3yQNFVzPuzke2EXhnhXegzgfNXGuZqTXGY04wr5/TMdE9nyo8OHsvl3so4sEhCh6lTWGofonp6O2K/MeKL30rNzg3e/Mf5uq54MRReAb7gxrvU69coAjSW22dWiRq6GPSW0QUYUQ4TtRlqTau7c2xayDDxFRrHyIpPiDcbv/OmHkQduCxHXK9c/YUOlQ69AdH1vhJUGU+7xGXiNShi1Duucazqndv2mS3X4sL4VsjJ2+yLLth8J1xCOr3v6ygZCc9f6KdUJpd4cvuiP5qtwYvmY0eF6fKuXlooOMrsdcriXgXo5O3vLCzZBTGs1Joms3Y5jpfZVOAS8r1p60WDif5dTqIk8xQYNLBu/Ul5ZI5KnjUOr8g5MbyA7WKgIt/h3V+AeLrBgsOjRbRq+Nc9JN6Yla63JrlOhOP/XnSGCrJfc2eDZrdph5Pk5iQ0vgVKC23F3QkM+r7o2Gvo+2REs2FInZYPbgJuyB6KJnmcI+eBMb+VKDh5IBVdKaaDljKvIJyfuekMpvx9YIMQjFInqqEwzQX4ZBozCsrm4pxWOE27dK+8o2oSxVL9nW2bbokWXQVKa3tLKly6wuPb5gBdZajhSEPv0/yS7N6HodVDe2yN4W1Dtg9QtPeLrTZ262NygjB/EzUBOgprGmjwuucnS6n2G7TxTTvw7UQKYpIB6d4cf0vz0DMEHqFhoj+qCodwdjYjzjAPSV2FgY6GrtNzMsCuiUKPyWEBbT61dt7vuyHMGiYOnsMTI90BH7gC5R2Fju5qzvBy9dTVfbjwevRSNH99slXm+3ahmkb9+KS58+WYmVNQS/b+uTNr+tWyi2FfsYUY6tWmOQ0MLLIvZNF/tmi6+Kw5fmKxeCeOC9xCvy3enwHJPJW7TZ1kLmg201TT6QWagy71dfP1/DgRxxaAWQ1c2VNwXJYcWyZuERMMsbZjDENNj/BvpFq7AMGLdi1JasYjy3g6PSOPMJj7+F3rPEjiljb4xufX1o9J/wD9gzRhh4qj3VSeoL/x0BYSNVZvnjVZRg2RH2f7h+rEEkPu/nhQXyvkNTo7RNQzZVjStQLTTt5Cn8V8uDaWwm/itNZyRsc3KMQ8pbFRajvJ58YTxg3nN9nHHxiz/L2pcKB0vrDQnhEivJhNolXy4jGuMk8vM5uJcxHZ8eeE2IElwWq4Ezy2P3+A2MuMtuvUgtciEtrWnqVZXwp8UcZ9yguhmYZo1oqPrQjUPyhZ+BVyyGCGw0wzxoDbb82HJYdCh8Oe8DMpDzxmVj1P2kpvKIpI1zQTn+Fc+dhtgP+yyP+Jo4QmvuJqR7Q+aTi91dDKa1pGQc/Mwr1TpdK6wW394d0pL3opDv5omdxE2V0+R+mNIk5YuGaJ9WJUh5CBb3cvLhqWeyVAR/HZSYInpRmXX7M7rkZ8rebkin5P2FgGKL9v4PtE1wpHq22VUYuer7r6ll777nUJauTRo/UbJUQIvds+Hg7bmNmsz4ecc254S+1DJU+wj8SCQIRdp7uhCNH9BKBnShATArFfSL4RSoouFbLHldk+FSQR0wkUx/byARLlmHhCLjaq8PJAA5Xxbvcv2+mc6R1u/sjeDcX+0wHzMuU9j/MrutEIkWpwKvF9YKvA0s8WHjzIsyaK5EPF28CU8T+aZKxJ4ZbfYhf+wH0iSXlSmv6K0/mXnUk3F85/2u2Uy9ZtKPAMNaPrSz2acZovKJJfBOBP88qRTcKXRTbxraamjUUWFJVfuHoCmU8y9hF538G+Xs7Jg18O0xGn2z1QWVhg8TmMQKizi9/pqIcrD+nwYMaQMXXkWQ5Aogo18pxSgFW8nRgutfKN+xU+vNeerNIiQlXSl9zanF1hYQ5QA0W7FjLG2Cs/y+GTsOopZJHvgNoZ2iFEnkcl1tucXZ7+zDUlWrLV5Rk+VcPN8lqGXqDnT1UHxgBYHMflLaM3RbEG/8ISRh2LeyLx6jxtL327j3xhXE3Fdrao/iqx94mLYWnuHVGqsqhR1ZOHPNAmxhexPjWlli4PIiIzYnWb7s4jLh/x5K7nBxyEAtxxuikv5PyEnhRoJFd8G9Ybu/rXLnBrFNTG1o6swrQEcG/YgH5dXk6gfTDf9rFXAJ48zgYZHX+5wSfeHIHln4ezxSjeMu91+4s1hyUP1oc1bIh9gATdhaqSYG74FAPeYycAAftNDTqt+kNJ0LcjAS9Hc9u7jl1cfe9wIca6gzHZzm8zW2pLWZuvj+206d7a5+B/6sK/2fHmRXwqgFo7Qw+TpLLmud2AXeaVK7C2RM+hE3ZAJR6p1q62iYaYgB1lOxJnVn4ap4sgu1c0YfJLQYh9EPGuYrVHWy0HMAWuepUt97xtQ5xh9Z6XkRSUpiHM+H7nwEfXVGrAxFo7lv/DzTvdHfEBMnUuVbiVkjlE6h7uv+Q2sqHY2QdS/9bMCn5V7ESXfLA4UIoaVFTNIfjm7iRC3zmg0hOBqzuZxZ6fTVbiDLB13ncTwR4jmtxetuIedXcyJnbLo5HnNPTAjz+AaZdJ1hYvE/aaW60kZ+a2WY1mlro3zd3jNrWnHsykC4jyUoa0WqixyZIrD3uLi2oODsj8Byu93YFKmozSnghVMK8b95qKwFzuVPlRiWkcmxdChuzuKI0fkHZ8xHN1XVaGEQwzal3kty7mvPLwnpJIoE3kK5WaSuldKzBVA4jcYA6IcR22tBsACx4Ciu2vjb5K6+mzZtObbN0EfKodCkgl9+B2y0ETEyKsCZyxIiQHYsvvRFSEmIwf6WXOZDR9o9CGyKnAj8k4v69l1RomsTiAZft96HM7Y5uTEREPI9/Qw6puw8sba7j2FAcbiem3zvbSodKgmoWZmNHeV3F96+T8ThoQ3eUoQY01Q2Pgb20izgr7yeke0cS2mBFa/aZ7f8dEARbCnKJHuyYYvGjvOvJitt5Xr9G2v6CPLUu6X+YAVsRaFfa5n5uZjMZExli4WqePfeG/wb/Y4449n4YYtaIGu3C+A73ChQDgPkTOCAAQJ7ftxx1cnYCgiBAihu1BslkcRU0rKJr+OTrBM/uzuZEW1QynizphNBbdBON9Jm03+2O9hpYnZ08z8i0RJRCpyww5TWr3HLujePq9zpgqerGjUonLkqXzzy7xq01AQa0U6UBhes9yjkNKKkVjEg3tmiq69QHAji+jtM+QslpDhkU5Gp49lD0Xys2eYyK2z6DohGSfvjsXQujvdEuvWNtPc3fk94WSTTSqPb4RRNTIxr4b4uHoRsaqGbkoyifLRU68GCf9qjAaxAuao8bi90vDhVLGvwjVBAubzxes0TZMBC71QLbvEEa/2NnGyuUCjFbETmjCC5La6JFr7wj0VNWHIWQSkNxOu3MRROixRNgvstwTOlNIDdzHtNFve69+KHkGpQlGV3wv8TNdwAL8a0ls3UHGBlORXeOxyhisRqC/jK1Qi2bH+7Vw5xGmKTPREMAjWwcvyRkr7oYY0a8NrnaYKtZRw18s5Huby0YjuryfcWJe5b3Xj1wuaA7HR2k6wc45Xd18M2NB5z2W72skn2zvy8B+dBlVCDfgr+AtVNSHNtRJ5lQudC46BBV3geoh92CPUoveubO3ww+inYFPOJR5kmPFe9lyB7U8JLUg0TaelY6tf9TPnjS7KrZOzJf24KnhCXk2M8HtUlH2ZtaqxuxLSjodzZ/cruZpIKwvOtY09MdOUNfILn3CssRHTtHhijjQCnLFAPWU5j6N+9w0uM8YDim+lL7TMLRQbaDdWKvXSHnkDlJ4ZzFs7VRTD0lv5VoKgLDQsMRsSJYELqv8H/MO8BPGsxxhRj7zfHE+gIgF1VHYpbNQEoJ3MzZwQYeuL8Xw31D/2LF2W3mrywf2QrQQpr4n4k7QaVaOoC6nuelovFlZmk0k6jcPfhtmjBl7j/bl49H/4al9X3KSVKBh2o/VF/K6wqDJIy6PRV9A6JNDNv/UAP+rIWBJyi2ETzEEabQSfqE77E+e2g6kct6D7NzQrFFVPz1H77MKuzn/OQq0NU7mVVoURvykzZLfrAbUugl1XEHcdt+rmLzbWGbSmIAaoK8ioBcTsgGOIRARM6yNj9ETcLZtf+iXxyA1zETY6OqRAewC+WyiundRdcguq2xOdWq/wc2uq4x0SzXNf/EQS7SQzc+/Z9qtk8O0E157zO5RhdkLZ3skl2Kkcg8JZyhp0LG60eJFiUfcVJmzADtM++jCP1tk729KQUlwMc+OD3jDw0tn49z95k2bo8SD5aDExc2b5bAyavPT9VRUkPIfjrs9k0egNIFZ1UjRsOAy7uiMnBJP3N4uTyfOujdGmRYt9qNVygIecSfn08igqykCLZredBzmJ3SQPSt299IPQc1KiGNuDmFRMI3lX9B86eY80SLFFphCXoDtXndMsR9ZlkTSb3QrFE0PxUu2EjEbZjWIO4yfC0DqA4Hp2N6SqSNZZGJnF9MEv58w4RcW21cYQQ8SvzUTGLCIWlt/8MZsNfJENG6SWRt9DAEYEF2djRz3VyogooPgf5YSM77bngykblHXGCLxQYpSSnDOl8QWpxBRemOYguo9MLymxtSpATpuo9Nvz/BMh7YIbolvzOrqw/DtXPXxs50lygXNYgxaW+wIOyTfsE6uTDWu4m8afpzPwi7Xvqwbdw4vQ+ekOGQ9jDInQyaIJ8EK/YewAG7lto7UT9ulAuT3yNJjV3UmYV5j7a3vDAxonbjR2w2aislr9dfVWz6yyyxZkFNKkidw/MAYMPYC75MuVgMIXZQnPo7/KrGzHqonursZsnqsF8VQuoW6L6JEHEa/suh23Te0Ci+g/fj2gbx31QRI/t2eHNi9zfVkO2RxacIrSi6SgFG1xAx3KpBlAVAFsH80XLKmMWBzo3yFea1zGMoMl0wecly7v/1ZXCoiPBTDdOwwiWYgL7d2+WdqdUsoRMcLaxMXE46EFvRE7tzQUkBAp46HlyVSwIV3QMlbv+OjDhb/m341yYg6p2ycVjjRrA3Crd5RvWgspoigyx16hpt9VMla1xDAOMxl/QJWKXLYjaCYbUKOXchtS0iVI0XCNGKwQINxDlQWE+Wyoi9wbffUaTDKl0Tw5XGxgCc32PROOblgoJZk+xoDFTDoOUBEhnQQmZ+6xtg/yPLakvFh6ST+gXHQQ3PldUgShwoIpK18VTa7V4iZqQTZ4rSWS0OOOJrZJ7Hrp6uy6PheUG/kzoOsDgFEJ1xc2UG/Bv1/Rbc5sAqEtoJWvlcF/VwwHNTiNSMpAMaDHfXTXIK8RyiXtAfqZd1Yh8FSAGyhZMyg0LvoSTRwLJkZOuaHZv0OmnwScQdTVWkwO2KoIC6HA6c8c6Qw8MZ8xm289AMSxNwwBzwu2uzw+kWuu1pkEHAELF9CZV54ZppfGJKefPiMZuphDZcTOPOjACLk6/By4zBIDGgEaLe/62oPmOCzmqjwjxnuLGD59vNeQi/loGckwLbJIn3dZpp5P1XGX7URKsllOanldQpIOPY9W2sVXZngHz+zZoGgZRdMPJsCLVMIoP8BeX/9xTJl3ew2pkZs2p+WLydDS9LqpEeV1yt7lTe7uNSxCrpAM99LhwW72dwhluvcWglIYJUmgpuA2S/NU9vjXBLRna8TpmLppWPvZbwa+Gf6cpJtAr9jrnp5UtWtHl//wCNvazgnhaRilR8P7O/gD9Qn64otZUIOlfUdqg7ArYUjaN+GTq5gieDUySNOVmHEeKUVp/ZyE5P4KSBPim833OEvwklCJeTxIydTbh1jM+W6Gsbte/TTfEkSgbE5SrPtZVduQvxHcYjMuNppb3nqTGa6O5Hc8yRZvw/K8xEuWwLZV9O15Ult22nMKGDPDGV2ruaRUG/i3FmXLjdJ8j0Oq/8wbkE/Ei1FLyIrSPnStzBPbr01o8CDKzdtConybyPNbcIB/fyd5m1+5IUwc5jMG0RetfJFpNajl2vT1oYodyPyigdixolQocogW9YKqFVVEq8pDqZu++vZB4XMBRBqKJAgkVbyYJ9y49LMTMs8dth3q+lJJ/yZnpxDwHHKXH1HHSJhyzVLd/4vgK7QB8lTpiCgk5yYYqDHNgoNqVXNGTDqTBIwvD2ankFA0Xw0qUFQtww+i8LJJSu6cbJMSwbO0hbgMl/TDKk9q0NDmzb3qipnNtjUAEjdWC2nBgCmGvDojc7r5yJWfXTtfSRO8tqdM4pdoM0Jj2lPj51BTH5+jdZhVJ7a4rbwS0Y/JIuErpRKN4mjxC9ULYXHmyHz3LQhP/W1Ew7nw8FpE4OFQ8lYCTihhRvkYcejrZX/9cvna+4mWtN1ChIMiwgu7C6ZJfxBPDEvMCDxZHcHzAQN2nBMIpKqfKTakROpmyZcd7iBqsNDLKuqdMnYAXyo6PFYcWsdj+Es7mVI57xpEFSqdBMu5X8pVnWQ1NRXyR6yrH8QcD4cibzqBnf8v72RltNIfWZfi2CQgLXj1jUYK3brodX7RZowtxsrXQV9z71W/OjEMqHDDmzn74wMwBXUoykOyZ6iWCKPGKjacwTAQYTymnpNZ6wPTV5Yixkk/zFMbNSy5kXjWdpEGy8mcYJvdIEo35/rbVha09vn0LJHUHi6H/3jo6l5Bc8l29tnVVbmggRDob40/aqELOhR3CfTkeJjaBdRUnbIAOjMuQTjKT4d0AoKnDxHKTrgYyz3SUUzhUVM3lsvnG/gSw4NrjBOOUsJPUbrvVps1HDcAfp5CRjwZ5FqWQ9QkfEE6HpJKU+Q+0IBcEk45tnVNYObvRKAjFjx271jnxB2mAG1y1y6T+2MnmKUwMabpCMwfO8AA1PFU5Rn2iQ26Iow/gF0vFgKpf6UiHp5ZR70wXmfMumIBjyPuvIXNzaP3iJxKTblb+bob2G0d4fXEpFcTuw+VwgaeDRfFh+VmQdN3XFwj3s/zw1tY7paIpaEvWGMM/6s6K0dvJSQ/A+mV92dBlgPuaE17hJakc8GsTTzZ65s0yQBP//UX9RvWS0Vw3p50cEGOhC2fDs3MdISe45pEWxcR5Wp9euR1Wbnt9Pc1+Xx5cOnUdPpBZ5u5And+G1HwTxKnc9hHuJ5nVUo3qdMOuQbXgBT2P28Dw9+H3jdX9tJWJcIhG+bT9CUBFwG0HfjvvvifzAG8RqLI9wQcTMvG1fpmF1LZqKvf3t7y3D70giHh2TCa7BEUEnoz4nkON1UQNgY9N+lGMGgyrkHN/z1JTOLVWlL8PZ1146EGOPUFvYZWKY2XBWSEsDS3dVRIcpnqvPqeHgovltF2wLx0j4/n+u0oUVWozCET8Bv7c4DH0qylxohkTp14zdC/F9qH+dAvffbDJ51uH8RbpyAi7k/oWQxIX7q3ytxxKfXSNpSZiGNDKsFFfxmM7Ngq+PX4ARBnU5ugT2tiEzsCRRhUx62LlCxieCkNSIGcJPng8/aur36f5J8SiRaLPi83NN7IkpcvC55SR+lSsNawL5II8XhtSj0sFhtRS/OzNIhvAAFuhMqKTensFCBRbBN0uVUEMuY0TFwWTf0g/oJ+1X2FUZlZDorqEq0DDsZjl04Va9mPBh8qgrJl6sshCp1jYnVtnGfZPjZXErmOu9Gc1a7ZL1cIXln9n2VfxTehXn8q4xr5Zj4p7FmnpnXqCD/NTbzvbaBw0yUxPG1C+z7lCsBwF5gLs5t+o2fimt/UVeWwIxCxbfQB38MacJ9tAFzN2a/Y9DsCULGKx1YJZ2Y7r0loX6crxKpOk+VwVxoRwZCIkXTqPdVs+kt7QYhMXdngfodxbNootJIIjbS8aXxcvSlXr+vsGJ/gZEhHgoUl4wcvghbvjaOr3VMkc41CvVxGtrGfJ8C7Aouyp9KNDHxigbAvIO2lKvl6wBvT85d4Rl0qxKxocjjzpYf08X5yZpny9+pAraC/23IbSaftUjIgYujy85ymF58liJJGxd0rt4ze/y43a9vRiq+95NXKUJDa5HyIMjABFjF0pumoCLZ5SZl/zh95wzPWukUS3DD/fECsdc5re2ThMJxNOEJNhx/wTeK3hNkp3WLqsG9EQG3zLpYDz+6ClLNKKlA45QM0Vn88REPMPu6CK6k43sstlv+WIkiFiVt+jQ6tgjn8dAcIsmsO6/5W7l5Lur/G44Z1tUyTkGT+b0TfWkt/EULSo/uYIvHiCA62Qv/Wc9OzEzS/rkvkpmu4+HXZ11fzXnUAjmyIyDnSvy6MQmei5qJXEEzKoSZL9/RmSdIze7FugO0OXw0nRJ/ds0kM8P5avlXDr2iq5NhDVBKjYgNBsIWu+wwot5uYdtdTpsMbUGA3es03DGcvk0UOfs4Y33fI3PY7VM7zufg7BeVT1xF5Eyf+QdPGVnufRk0SLMzI7xV7hHm3zff2hDaYjiGx5CLLC7A2RKHtBULZcSlBUtAAnBaKg70aDEAnyQTSGMjcJies7xpNvEBSJpCZC8OY2W2dL7rZ4fALbP9NjYCnMEu/yzaorAJcN6C1KfCqX9bdpiTKWlbA5e6BBLESYV5ckbEekjNXw3G8AqwPZhJpCUI2C4lW2NS32waVbkIw26tGXlSOFTax0B6Ej9OCknOkj1BhZCVFYajoUcv83dZ8lxHXHXl5h9CEoDKlF/ZLb3len3BLkQqSIjO69hq9T+ycteSnq2NXU/C8EmiO+rTYHFKbgwV40K3QL9tln/dyHx60uLTdOo3xuYrOkmbEMFdeiJZh9F/ZSFjzO7xVwcX2Ica9axiQraaHLhj+mr7929nZ8SK+Fe2erF9H9uAcXVAICUiqgbilav/QE+v8yzzkRj1Y1g+R6kSsBDw1HpMXxN5Nl7174lWo0OIevLwruBldDfMxpa85wOlleb6eeikok/Vqmte65kl1IAuf+AGecCZri3/sMxBkuDiDtCNZFKhBquBPEqyixkw06xDkLnHVdGP+0mL7UcQhLQkd9m246Nw/aNgzsjQ2zrReJguUsfOYrI7M1flmNHxkXXqOrkYFOl4qAy9GeFrKhPpy9FuoepEaZamlmM0nEZ192/fyPYfTo1LLy4VlbUQm9Wu6mkce0ZTjqVH6OgpM99p2thQYiMYL6CzVkG8HFNie480kkIjcJpNfJ0/pjuwCxGHWA6o93ZxIKNwW5e8nNy/5HfdxPbzI73kO4J/sWxN0LOZ+OTG40syBSnJDBcrt1CuhgjhzJXxPOkBxVTg9/ETETf3TWz91RdPNy9zujCfOS8pxBSgABFN3Fjb/1YyTrn04t8SZOgNm1moekCayZz5Ha9Y2y7+uFBD5HFD2vaNKDuFummACjr9stsx73/AE1bSdxgdLHXd6spkdK7WGiQbS9LnHQW9RmnJhR/7uGVZxWcwy/MlMd+qDUMjEHMt+KVnOEkdNNNqLNZjuPhn+TozlEINqCpIR5mMIgYc+ewqhQxZ4Qvcf3k/PaSrFedvu9CrYSqhcbruRfvsmMrbuSr0+a1R0SxMDydCo3Tqb2SkQezhtgp2zLcbcOtdnC1l0iBI5lfIO7e8KxAPZb0WpRYhTIQjlkmX8SvnZ6UCP0N0ktZtxXCuupAvW2H9CbZ93orrXjkKlFzgAfzS7UAKdwUdXghZG/yM26eEKRZHDLFSUL+lJPvFMaQSdt+HziM4hlZVJHA37lc45HbIdliTam84fsBQc/gw9A98LjSVXu6t+vLRF1NsQmKjUjOAMrz6uxP5nzECNLMv0Q4x2GbD54uUMFpPy3eZVyeOovmww9qUFyT7GRNpI9XKVKUo2Akpyum0148Ilnaeef4RqVdxDLxuC7iAYiebYV8Vj+pSohnfSD3EX7TEy8mPjFEhAMY2cqN8eTvCVuBHBouJsKGmKS7zFRoHmbbG2fRSy3b8ZbdAtL7TWWehKU+gNoNzfIfPOg7IRY88DZr5FHXlDbzSexUEYUc+BpRhvaTaqxPP65iB8DVjyOyCgg5VOd0T60Uu3YqOnCWfeR1y4Rrw4MZzAH1OKouX84zC+hKXbAlbUkCzN4sWDHemZJPfYREYrgCrstvJjogIDRLWwTuzvE3eQ0PFCH7cJHOcyRi+qhLr9tRyzvOo4uNbyJEMBP9kdKQ6N/0Wzz1scdr3GqhVJI2LnCYFrGNw2Du3NyK2UNx+29vmCC6w4V138X+C8dckWGvrn1FUKL95AvHdpOwQsUtID5rZPU3m8Ro+BszB9BOdp+8tJaOPigOiZBVaJR4n+C3zqhV1SIslrDZRMOsDZD44iKWn4Am8WhoE/uWV6OmsvzcNWpgp57o/d2kv9pz+xicNG2sa6ajlE6L1C8XUGrs5O6+k1lODtxGQIKhYx6ZcGsSpKXw5EEqSSpS9uynxytgpbxeEFp9aSfoeWMosySvgH3Go+en4sXfKLhuF22EcK/GbPV5b8iWnF9irVi/Wr9jw1ztNypfoN2efXmezluE9dDJDkt+F/J2EGZ3gzobfV2vFxmsWGQ16XI1jI13kei7dlGHMTHOLExweES8R5b5obIEQsA/sTVMiyvypT8j5amFwqycR8WFwJ4W/NubjFgQ6dDDlu9dKbklAExZoVCh4oDduOQE+yCrxYniVBdsR9ZGjl9xQLD7UVgc7C/WP0w650Lcn18NaQZ4mw6veZlGhcgNPzbKJqMWpmBfneCtxfEjUxfKoxldxpiki7SiYUBrmHCVqgmRrJ2wz88sZqGRFqZYzE7+phmRAZHRGHRNU7YaxeS52YOCrJzz7+2kmkb6fm/MQfaIy9rtribn54NXhLixq8ov8h9ZXPW2gaZiYB62o+lrrw6bXEoR8wXt1Vg8JAZFBtAykWBwHsfhC7jKsrpvHTd8HJLaQXKZlsIZB/CbjoaY3M3oC9oiefMAZFSTU5wzhSwBm0SK3wqEBhGaZTLMTJzVa9e0GX4eYZdUTx9LneG9WJ0I+PGYf1aSyGnqh7HSbV3SztJbYKYpAnmv1GLChdPOSTZrrNdAxZyOa43jYaRY45YnxFvfzMm2DIohFZtEr8vrjB5xqOv15yT+ZPsp+vLX2dUQhL2ofeuwAcTM6NaxNcmQSwkg0jCXfphgXXsMkSXnQDu9MTWLjRpvPdlv/YBxppIvhz7NrJnl1IWnZ9vm02EHf8SeCtO1FxgsEsXo5ci9vWe4diagOyqpOvdZtP1/4+8tv58+v4Vf5VB+duTjD5swnvvH1oygoatKn3asZh0Tc3+eMZraDZDobKQ9fTc8YvQokriBfDuCKJTEDv9bRheZz+oHVEyLaL9aOdpKSvHuhEt9Xua4IVONZnZkTZBXswk3DllaLeIS/1hljr8JtTbGUztBdil2LVxBaPxIsWbZTTwSaUjjjSLC+1sytYQPMV4Gnyc3WN/3/F5zs9W+xfenO2ZHzQJiEMZvldrP/mPbuoEvfrN5v5jomdctFDaEck9hwr7zfDK98Ax/3YPV4vANEn4QFhu6a+wOUs9+ih5CZgVcHTenQAru8w73F+pKEFWwzRGdN5gIVUJw0sKJttAWlY9i/DmGaN5YvsFRaRvux2NECmlqksnSJwOeZEIXe2OFsEOHRSr7FN/QJv93RmmU2sUbEvtxoB+9/IR34EvgR98J1hQ4WEi4AfBZY5b07qPY/B8FJxy3WLuWuTPO5wJSAAVvSNy0MhF60igyfSH2J8fUHN68xZGU0aBbMISa6mw2zWdB3U9krjfMnwHh4kVkfR6bURjLwjhNOb6hF64x65WnxkN7NpiEvX5SzbyqTWk2wxchZw3Wd2DiL35FBxmC6GWOHGDzZKrBlwmwGCItoNTvW4zH/+I23FWIA8UexTpfZrzAfKgX/kxSp4I/5/6SX9DcXBqhjGpY70ahBoN8FP1wMSGk8dD80Ptk92Wm/mwGnkfkESBM6wobSsVc5TttQ/yfgzRztq1blwSWfyiGGYmZtw+SRb9MsG2nOQ7zXXmT1IMeo0gm3Ya6kS7IboxhB+nmm8Bnkmu7D5xK+0YDx8sB6M5Hs2JH7NWV4ugSKyraS1gbrvb7DM7a3rj52vthurf+45T/QI9ZNUzIAbhWUd/fZtwoFGfVLdchPV+WmCKKz8y5EBVSro86S3DUNWY1BFcTnypVeWgtK0dp5jVmvhgwT/MCN1e/5ejbM7MBhmngqayrbwhyy6uN9FBgl8ySxuLxp0yI+516tX/ToxgqNfgwReWqMJlakCXJBQZoY6hPLJrkEWDm/sCWDDADdNIB3SPKhPfFbpCDd+v4SvGaTWKa84PgMdd0ROCDSDFTBsIsrFf/Hg3kHpc1gQyV6q6aCNvLYocshwYj5WivY6bp3UkPBaXpEjBqZCF9tSVyxH1juA4msJ5MpzNWEKBgpAdd+oPsj0U4WhPQVQ37I6XwCBJ0xMmMOF1qg56WaZSE4zdqcY9baMKCIfY8uPeUICw0LoM+WfgMJnEg2LWPL+mbop1jAyEkf/1TU8a0dYFWPJd4W2uL5FjW6nv2TiR0/LqpppaejyEjkZtB+3jpj1gPeNdeH7ZVHTFJxOU6EjsaNN5SkIh/iNNGt5rTPTQW8kyh5REqX+q+NaoxX32beFGAN+3kyCf7oI3beXzXRaPXyMD2q0g6bSF218FAPcyxaxWlugon0D5XoNyl8LvVswj4fEnRQlLMg5/Ld1aEQ0FA7TLPm//bOiRvaHvBSslTtF2GEhtGoqF0dVOg6m8zZz1yGkJ7qdGPYnQKnRmFQ8Fxjl4hgqsNr7yWj2NQpOj047CwA7mzutNahTJdO4hXOUFN9vTs7CUx68orwwZ5HQ+DQ2MiwRUIgV8cCFn6QDVrXVesSzbM8kxR4xXtruorGs37F1yyq3CDWvjpwSEqZ+bUpfRCN6gjXPTTIViplsFfnl5DHB+dF1V0EbeKAU8OjIbpOMVnk4ibUXxEDtwoZgA/GI9j7QcMGW5zcneOM7InVQeU5OO5hkI+YMp+aAXGbJLCZ8FsurOmRtHPtLDl6dHT4YS/o9wGCfqS+4RBAKl9TTi0sGwk+TtBrGinwc+rQgHnP6auMbBUuAn6ofQ/zs0ZA5Y8hCz+axAFyRpRKnKrE7KWIFW+Rp/3OTtFftgRgcLdnzQivino/zHLueVxL3+0jXBm+vA5+IafYYPPhYh3RHIgByXWPHIumq+0DUG6bq7o11fTxK2/k0WGDC/3OTfI56ZnMEJBMXhcpMd/GKh9r/mdWUn02ForPQMmCqv38NnsYamT4fPqbqJN1oozVboT2/HkXqEckUmri93ygCDGtTJRFAw95gyksF+QYSth73onSTYzN+vHgd5SCKmt4aKFnq0o1Hv69oB93W3qGE0soiIzBGkLvHvt7E/1MrtVKB43gJVk4X5jAPnF2nhiheGKkC5axcbKCBGjDvquRvGPKr1aYqHgIZNmrlMVDORFdKcpqLKEn8PdG5uOmJaX8gvmBC97VU39Yvu0DQCM/EXFgNSyv6wD755qcnPS9a7ZX+1tAeyqpSuUfuvDTHIx5USvysueemBQ4IIhMVLTqNyvqzL672M+/GsP4/6UeW+nFJEeVYHus7zIRufkeUNxqKwfsqyr2ISQvCFsD92h0iWJicHueCyjnCBl+KeXYcuFuyhJ9rWNu0sqfNNv96PG/bqf7GbDi+FbEiSHJnQHqq4I7KLQdSeZ1YlQ0hrqTciIbjuOSg6stqCaYEk0kqOU1ZX1wUxi6HuLpuW1uSckUEiYbpFi95JNCoEOKkes7UGW4BqHXX/S1xoXewKJdKhWbIuIJSI1dPt2c+54NVblOEWjeTinHaYu9YbkFDfJzrJtXriIogUDmhP49OSiK8y8yOmO8DwtrfmUls6fxt6R64ZSwXNiCowKWJSeAp4YEcWElHIaQbOP2H1nYRrqyVs7wK7VQJaDuWQGk9zeNGon0zQRk5y3m6C5C5FPqE4Gqh0PN1DK+NNf+ghyOFuDR07qZInOdTXrr92fe+whZnoVRPys07cs2KqgStAye7PgfaeBAgoDz+k4/+yN3ElCNaiJ2fs1iHk1xLFKy6RObbACagYjwS25P181I6JG8ofimS7TahICWGa3Vh788OrKjn4bUb+Io823+29ekIpjOCAwkX07JA39zWabkEpUMG7ZO1nG/GZCiZ/wTNk9FIxTX4aO5J5yqVIMPkvAaLVQ3GXmzHyUFFZgvMHqcJNUVPCaqMSbP79nHbqPzO2O6KWU3czbpghLObXog9vxn+XwR6tILMbI06I5dp59mqDES5FDL2T2lhQPPS4NvZYO9kGthR+UOfYQkx1nYT7O96fAd3KX2v9ivIt5ZD3r5xS/JpwLyNx0zvs+5/dfecet2EQyS2CUBUg0thlH62hbIPw4Ha+bOTvWNdPJkaE8a+Ptkfuy/vyw1X8HqEUwhC/eIdqaAecsaPwTXlOwQ3p2FvEUH9XMxUn85QbG+z5qLO5dL6ZDp78jvi3NyzKr/ghV7PxZwIPcbK/WyTkG/Z1iui5V/t/VO6o0MPH1FIJb8+dLbpnK+wmKDNijpYQ/b4eINCLb205MbWbUUn9h5idhNlJcDTgf0Ift+tS97uz1V092iKwITJKfOKB0s1fqwNf7Y/+5BV1bj0odo4nQpj2l4LwAckpa6Odt4mQL0lGaTdyPKiKMtx+px85jT2oczJF08LWBk/oAI0PwPB42t6p5keZ+WGd9fOYaK5NWOEexq6hAhlDfCBBtGH2cDDN1C18lmY16jUcwXUEZiV3PtLgKJmTs9q0W2OOBiGzgnVUBLjECqksSdEkPWNuge6adSHv7pmUfQFFliFqCHdnPzq0TELzs/Zg4dTMaYs72mTbqYf0oqBVOzO3uiLG7LNq0frOx/5QcqvZo245TQE8qsk5uFER0nu4gRw1frnePzWIrSSlh3DK2R8cwZ436SoipXar4Wts2V3nFf77LgXCuFP+4pFsgiSOXeMkJvkvl9O0Ml5nmh9bz6AkWxGy3i4NMHYf+BtohIwLls2EmxtA7+axIdJNwsf4OMF7dU9mls62832LeLRuUS+eSnXTabb9tFpOcngrvym+HVOFZ3KDsiHeWksujOu4vJBWCyZ59aykxYKPbfOACaafsayG55QQHgAIFsBSzXGNG1kI6NLZSFW30awJrb9ZkHAnUY2YKdL1ofgw42L3twAT2hJjc9LKA/34AasoHSa75fH8KidkRkYWeLxxIRuhjnuBjvLb8HeUj1hiBC7eiXSP/7paldAz43KpunZvtyAQIPNHEbTrXOjCUGWo+0zu5MJKSLmjhhJgYev158yhoe7zNyqKfgut/8cEhrat0E3betVjsCKdYCQt7GViJo47VFTk7jol2o1pONp15F2eX6fD7Y3JkdI7Z7dsPpo2+t7noG74QQ76saHBwzHOv8SHR2S8hOaGLeVYxVvzi9gDtEMB11sBIuRIinuNkG07jZghE5zdwplZDZq8Q5CD6s78JDSLlpfnnMSYsXP0o9YUCEYTyH85dqlX/TT/HRFh6akcu7Y4BRUa7+0q7+5NcTytOeK98DN449jalZJnXP1QjY1hJgqUdaGwlMv8CA0rALrUtOF4NxhGZJs7UATF1FasbKShJ4cRRO0Kq+kkDmg8bKmgzu9bEEHJZ3XFsV5EktitAIll7/tgHzCvuQnm145s0G+gcEmkiKROsbxGlUwqfDbI9OG4k7M192khekmBIma+oX2teYQ8XHCbMBVEjVkUZedyJL8lUestjfS+fhrhkTNdtGwKyRtj47Q395+fOeUPHXn0fLiv4cpK37kA6+4K9/6BHHuIsfupDELDfcLmp7RlY68IdgCGr0forej0tQJKKV3W2D0hUeqBETFpoWxkJPZ7JMKx8Dt30unCmTTRxq3jdwXXuOuyzqI6g5VK3mmd+tPnuEyZfCiIpMyYR0vYg/jXeylSHYjkxcdU6lwQzMB/7UhpD5JNaRA13NC2a4AriHcY8WoAcDvlajjZaD6yglbcmYisvEzCIUsNbifHOB7/JBGLyjVOp+hZ7iJuUQ0/xlkTnRigOQmdf+3PbDQ/d4/5bNkTYTsHfB58yPrhf0EzB9n45dFLebDpj/nrL9Te6ylPWArC91yWnP51Y6p24vNDd4xcdqU6ksUWHA3H+cRhuJ17qEGg7RgjWL9u67l3lRHuzi1Hc/mhJSdn+66TUWwzEONkpHdMwd8vZoxR7J1QBKFT+su2PZHyuetZFo1Xenm1CG1Nacsrq+0K9XlBb1zZb/PsrAn+T6IDSeOslKKuIi2o7fjWGDhHDaZTpeC88yk2CFcMx9nN6BcKUDG2DtLS6tHtz52PuljhtMoJgSUYj+4YO8NxWIarW+rK2VJX+OWZghbcmqb3EWLS937zyDGe0HJ8X9zL9GQOBEvV4x9J7g+HrafesCkRoRvnXBa/l+PyIa/1eO1W9ChpZfwKFD+zkeBYb9Fj9XU3ZJ1m+cF23adjnsofbuplG4faAXxPZTEobM0cgP541TSR+B57IC1EqDzyq/z6rD9QGh8rcXLEl+AOLKTuhH5r+XnqZxTqpqJlql67v9mZNaLEA/OJDzyCsNXeFNW6XTaKllF9queYJdLoz2BDGPrX3QsAE6dfNFcGr4ATqUqMLPggYqHbhsiKVp2MI2wcJ95xctf35JLanz0B7LFpeVIPiJEMusAXX5LE/uQKk0+PCpl5Nz46A2rL8e+H8bNdllFyszBF8LQANI6AyJEwH09v3bWzOGAglWCQfJYYzFYpwJbXU3gzSd82cujbl1ivASDRZ2qwC+DXSwz5Q388583M+McL/lq1TFZ8ANM9601OPbWrtizMNoYqPU1sfgoFnjhZTMuRKnKGu3sSlDhJadzSKo2VkLc2O0pOhZCUjuqqxtc4hBI5ILt50zWKUmyHiNQIzNQkhFjojTDg3PCTPv1c+EbPhx85+Mf5kV4YQqKdJXjHVKYKfmdEqFWWpo/CeFXOsGzAkO9WaLv1FACKJ6ZEqlo9nnDmV/ojw0fF0nXsh9hTtLQ5J357PsTQ9JxBPQRG8bYm95MWqqldoqaokLwYHG95wuEnJIab42QdpBVyDr1d525d7cs0Hvi5iodX8IjdkjzwPXnlNzqDz5rXvdTxV0MM3K6cudeeZGNxRXQV3tauNHWIkxgbct+IN/WGbBNM7GOoNZtMwI+fM6S94P+G2NNmuTQOFDdP6nhuKD+OHWWnHZ71f3nwQoTx1UzSPA/6TrHO/RaPXqyTd9J1eWTZjZmYCS4vhzNbtpG83Rmdx1VMCRW/is5UpihvSB6MXZDYm8sKgClJkreKcqQqaev7qN2+9NDnhCFiWG5PV5jpVagpM0o61amLSGCoyMXx1OJGaHcRZokTs/wyUXukTC3Vp4NeBDMBUMb5N2kCuIdA1t/rEqKQ53dPv8+qjdHD9pIci44QmQb3GAjwDmYlBEeJxiPnsh1jpq/a2hb9vP9tJB7v0naQYZMWMM44OqnEDd49ad7xn16CAlpr0t/pPP9qsk7aVSZhdv4QTQ77i0nP0eMQ6KFGFC6emw7wXhy1AX8fH2rHOIIbpNHQnNPKFSs4ulhwKqOWTR+9dwZWQtQWz8w7W1mK+A5QgRb0zoaR1AbkdVRjZOdzwjqcEsYh/7XJsqWdd/q+v9P+u2bw5OOOY1kJ/bD16J9CkAxopyJ29wW04GotSilhudDsWarpbFO7pZdvRwBpjIAUOaE7FEPHQdPDpHwfx42dE1rzKe/q/Buvjz1XohTgHEa/V0Kwc0Qeffegfj8bhij1DCXowwgqhaxYye1YOHnx60G2O2FusSeC+9nbNZg+1p7TqEIO+m2ZX62e7I/DHcUx3SLE+x1H8kL8RNidzzETaHoZoOx2axoyPmeulLpAdfT7uA+5VPKtDywk99Cq12/VeE3dAuJNHIgqU6+A5oZQqM6XU48et9yKhbDmlG4bh4ieBtuAy/XY7t/h0zN+2h0kzlOzo+4Xzn0xvTmbusaHbM2B1BDs9wnzdxaXsYGIfFL962T7wj6vg1NU0zVhzLITkWds7Bz5DZ0wlvYj8OUgqXatjx6ALwBRy8rPjVLJUnwxnr2uz63hdvUzP3RZD/Q8laUWTbdEMF/WGz8x6oIY3GVWUMxfiYkubUNi+ouLKbaiY9QXLTvodsY4DADXmhm1CQ9b+c+m6xPiuFXP7T8KKwpw9+Xi6PZBRIAPv+nJuUxfo4/0BG7vTzHkEj0JsmxkZDlxhV2ONxowVukIu1Tu1nU6z0XSHb9ac/2T16E2EagFOtyGcH2canhugT3tw4sSzJzkLWoWycNeXEttuJnlb4VB+tE9G65j+7f8a/E9WtRVgUGxrIgeIUFnxzibuqexSLhOQAKoyjz2nFFoH2dAWcFMmoo0WL6gOWCtRE49QA2+oR8WzG03aejreoRDFk/A0ii/2jJyBhM4BS7pqwEJxWqPZid02bSn7Pmq6kKiqKoKRhwzcEmwHt8DrWOP1JVe6R2ClLJkKhx7KoAFxVVyzw96dcr4gjyhI1WmJRVw+hkC5JGtkEICWHw4N9PqxqBs6j4s8z8PEMXbOVo8h8abSPZK+yG6UiQvQIVKIhb+CDmimJvsY7W9Jg1vErFix1TBZu/3j8SfW3FIoaIDFkCmN5PgcCrf49caw8XElqcbGB/zMqCO819/Yf8da9qbf1JvhWlywIZHBVAN5wI7aTgTn0nzmL+4LF7D5jmhXmjwMU6+rzY+tfw4g3PBpm2lJuzoN4xv+vJvWdl7s7Nv4TWgxjpGfuNWEdWUVps1YadBWV0kLm6jyV0OtzawXbpyUH7bwHcRa8VsjhrzumqRcNNGHgZCB7HUKABMjlYqQYg8jBNar6kBcHUkJrycuIfk+3CQCG3eqQYiKJOkW/vUoteyBlAkU8dl5n0oaO+ewrlj5/ccKqXeZjg//KCupWMdetDjwAa8OtTkRx1scjUzvUJmjyXE+47EMtvogOyRcj7NLPlvcZKmclZT5y6qNjz7cq8C1VyeuIA2kGJJ2yZTJUHCRtyQVC+yllX29knb8E46T7Ct1SM3lFhFfRuEIYf0EzCa4NKLs/xlmpaicJcoXecfQom1Q7pAwaGoy8GK4002acv0QLsqqRab/Ov2RmJsvc3mueeDL+P3IFH5PzkAw9Yv6GoNYA+TLBdLioeMd82YYzwptR6DywmcBpWjqaeJPfXuuI0s8yMN8RbwfIw4yxiVlOwHrbQX5uWGSu7AltG2P3faQt6AgzV6Ww5WH8psneUC4dR+CjkuSGkGYPbnaq73DSemqyk9N9da9yHz+/BcKTGBQ/qNAelHkyvG9hkshoaBvv7cxgxgu6O9GhdKF3pZEibVJJNLYLclPzDm9CSaYE0woEHF8K14b6FP6SOQQAEa7r4RTUQzl0Ebko8L07a6QC/8zpiqAJ4shap62iFQjVeK5FwAqr9CbCNcRt/Y96atQvdjM4xri0MIfifx70azsnD4T0GrtVn8JpFj1g9Y570aML88RYFxEE2hKpls5gJsmI5Gc7+YrhKr8iT2YKYrGNmLV8CwfnFYuRlvNtNM13GRgjgRgakzo7vY5rk7i4ISptICj3G+EH+3jy6LOpNOk0PdpwLzRPA8Fxuabov8jxxkdDiVEDnEfqBIh9GGfr7CQ8kyWcJVb2E0BIChAh0MVnvHe705j/QLv3OMheT2qU5PcRDQqrK9DEXE5J5yA0R+61WjbXeJIUNgThRK+qEkWk4Ji82XNnqY8XbWRh7l5ilgRWyiSij/n4mKDYXbjWT+KH+UDxDCepHrxFURW8/Fa1csOnZ9jroFOTwWHuFy06yXdrK/pj9dYUD9OgU7fE/YuGwvonH/lYkuzsd3rV9lrHmIcbB9AxtfP/8NUC2op+YsRbDm+fVTlkWV83ipPCXCyHJSbvc0yvzVfHYPxzJz374AuUUfQDnUaTH7dIUb9D8ekOXYUdDmUSkaiMK7HK5MescXM4NHwutYLvft5kBdaKLKVh+7V13mqUh+QQwxqROGFE3hGh64zZ2YEZlVccjqNag+5gDhZRgUwo/jTuNl+juHUF+eIJ//p4BWhupSwIt7d9t+VNlzJ9d1r5w3aLLI5BoOVEhfEb27vhWJiTNPWplnheNkTMWkkq+moYJ0D7xJ2UT8u+F8nzBWGq7dKP3LBLOAb61uB0JfKcd/J6Mz8zm4v15ct1H09vKIX5gDLItX7FErucsOBWlWiVVODo2Uje0muu4sovGMd1wBtCUrxXpRl//hceLuisTopAQe839zlGPp44eF2Pqs8bvmLPYAwYtd+55Xm/PHzfvaLm/IOXCaT3t4/T47ZzFH0m4lcFa4FAM8xYm6A/r6sTNKM5G159a32KsDnEEv8yQUeHRauFrLe9b6pHXha3FrmfeaqXiTChaXgxfzFs/ldfdBlShmpH4MmUye8yorqoNzCK0uciISJGdV8pN09SEPgC29XWJOwryyfZ5HiSj/yxcdFjSpmRnu/Fp0ZnVrnPNso0SLZZtiKx+WjG3KDEbpMGosPY5r8uKz5hLOIK71ogfiJQwuQ8+oTv7kb1AwnrU1qK5KBj25N3rqcI+A52nqxbr7ZMuogehvUb8Lvfs+tBvRZFug6tG/kWmN23AYGSlhMRA17ZZ58fyjtLhsm90tGqvNargFINqkcvQJLf83thGuHyFmmyTJeFYrQNzqLoNoO1JcFDXF3aLpZ76Muk5sVfX4j10SGwKhM2txt5748Ybd3Wa1BGPBPbsCrUqtPtp1OKzJa0Euz1JLB5eDENhvUF0fqknQjhvrxPz/U05DiZOew2Zw/eB21ywVZmfgRUOjVDWTrpc32NXISCAi6tSxAs3JPB0AkL320Yg5nMjxH8+0bj6IlnRIbifTc66OObxLTMamXKtJXJCd+JSbsUYIuQdBynwAy2PGIivneLq+UaX3lAkHOgnBkZ/5W1WzAebAqeb6ql0gL8y056jJoaZJzCqog1z1XeecMdv6geUEXf/YC0RHJbAmWtu3+DYfMqTDSI+053lqXSv3sYcrJ5B88xNzO3KRwC9uWWCIinzYNhdYld3JZr5Ik/ZyKv5Pvm5lx6SMvn3I3Kn8ry6D2bzv8z+RLuXVdpW0r/98PG/SJtI6WHYwNI4YgJSZeeqSEIqj3njRleBWhSL3aLqUHUlEGvY7XOUXCLBanPdXs0ysYjYFAPxMOp5xyCDgkslD2/rCmanfZkplhtmKZ8yVsPNjQyP+5sLvtu06HwTbPc0qyJeQ5VbR0nyvs5k2isl99VA9Bit66OVaV7IPvLxTp3yRwFCysxnDAwJOToYjimtNl372w+NrJTUR/HbLfx8aAzpWzs+MDtCOtzg11EkzktCCJeS3xB9aoADeCbXQkqnyN5akVz0PAexnt+rlYeYo7o7s6dC01xIYhO9m28MU/WZM3bQ64RYX3SArq0P2OA5ZHxhPicdGghN91GXJHByRYk7n6RGjr5aGNCdhv1d2mpmC7K8V8ukcnmbmRNz7CEc1NBHJnejYVsZR2Q+FmpRvbTX6vLo0QW1djWlegzizm9S7XEmV6mlLnVQ/svRrddJQ/g1z5vm2k/ibSu/XG3/5l/IAqfkmt7SYbeUQ8ZiVUSl6fAFgHF/+aM3CfsyHwjE74oMIY2WyZ87cDXUAOSL8piXcZUG3uxQEGX0WdfyrGrwBI6EXd5ZSxkZPaJlO+b+BUdgc1U0oRGRtBa1we/yeR/YwUq7quEOnByjmhvwYnKWBMiG+yUXKQv7aau+Ayupp/lCLI6gNv9EMM/rBczVSxASRh2zNmW1M7EFraxPkMjlVokX2kKrJg7xnEUUjw/hzqSKXbp5caocW68FwgFrQJDWNS3slRwD3tZdKqTc+Z/vjxLN9z2JLNVPqadkpks8boPRj2oRFvLyxER5T9a9wSlHdNoHccDZ4Vna7Y1VBxgTtxWQgitF+TE03MLvUqh4lagd2mwuVeiEo5jIACmhuC+ThIXcKFDi5XTBrciB9DZG0BUE6xOlQc+WJyEWNCOBA1VNe9l0HqxEOLLvcC79iq8R3v+cLEbZOqWUmzyN5QylssH0yCKiy8rqDgM3hIVMzWXqeupU7Q2IPirSzAwfHTgTJqmwNvGjODa2I/i+65HnChxilVq9ta8KE6ecFs7L34Uc+Z/qEk8ofmzMiDku3pXaDi0NggoIGtA35EE4fNiaejPzab2I/J6DvS8fK/yfQTaAUVzW7VNAKGi2SmHlyBDgFJ4wEMSGgXnowLxbu6jVmq8eYDVfv1kyDXqSZ99TTWLSQGDRn7Y4RI9k2weiEL5XABn14CjjQ5Y2EQsp6dNVDdC72ZIhaW7MkJ7nRlrb++c8ngvPHUgEyKkj2zwj+R+K9ol6lDJF+xDHtPN2IgHBIjPQRg08Be/kUItLwz9fyHMmuWdG8gt5/c9djRLgUK/fy3HtXnznJ3BKmpowK8dc9TJB8xl3C6sox6K4+TOFXR03Kz0xVhB4kqHkheBeks0PiUNrZXLS2dMOOsat/lRitgFGEwrjg+ttTJ5nrwAZ99nOW3X2MW7dAEB09VTfbKa46lRfS+nuqfinoNmg1lFhkktCadFvOwF3bD8Kj4rRgyXypse9FOb4LaE76g///+PrendhtnGkpM8ysrSanqqSkj7X3hhoNQKuWfmSrb47bksFEWnm8WaWwyqF8URGIKPMJT+mBhI/02z7FivwhsN9SUE3RJeHJPsYhpkmSmpjzFiQsMUtRdeq1NQahMwTiir7Abzu2cwHCMkj7K+CFs06MjCoNjBPh+KJkhrfQVrRq2/IJu2sV91V0WR6ssYiUXPY14gVPaz7sOEycH1P34U0reQQ1jHfZtJKxWJ37pJr05u8v/DeyRXZxFfa0vC24pd5a0BhC+QmcHFApAhjtagUR5EW+lidLO2ieVrEsGTutRtMhNIK44zpAXN67kfXYtDMKR+Is6DmqvTeXFUVF3WZj8HqUfpzzdJMDUWyD+URr8mwy8ixWURRl+BFp373b6BWgA476T7KG+a12Y2BUa8PTaaIIaln3+ASPpiJ5yoGQhTz2GtambcAa3YdRVlwGDuW/Pk2mOwccaoVtHe6zK1tdvvDDz0S8eiCQSWhER7OnSsDPDQZuiklDGawed6kR6myIecb1rnJRL8ikuikWlLVZbUIZP1NHfVpNbmN5m22xnz1FMlmy7ntj0wHr58tL131DJneDgEip65KXY9L6Tt6pOvd+H9qgvtMoT4HbIr6yrnq5/dCW+Pn6E/aYZIXrVBFiAJ2F65S1GafK/3XbVXeUHR6nGnpZxzgX5I1CqBv3VV+bgeQ8naCRXfJf02J364cZ3Cp6Qyc2R9hfNKHLUvsgNZdILhyU1PlQcqHUKM2yFOHISD3aaDuEDE2JNQhTBthyZ7neiaO0s8x6lXHln14meYo7tSRxvEu9nz4Uu1g/Ahx9rM6T2qVWI8qyMa9IH1nq8uaGErAaUPSFd8gQn/PSb48R/HCuZbnHvcR5/f9Ysm/GbdmrtD5Fwmm1pIIhob06aAP/FD4GybpOnk84wrxARDcJrahShGiQMEr82/h94EiPlpPnW0CxeC3NN7T2ciKefKTecqah6sM/RAf5RcYpTv2kwlFYT9Ryi9cDM4ZrhGI+k7xngacaRjffjECsjEKojTqrBGPxFN16rDRnQa9kGi7Y635llfRAyaHflUp9W+IE/1oorZ+URkvSbTbrXQzXKErm0vsXBi1RETM8uNtM1Obrv4ZnnEZHl9l+zoNzg9NMn8jcphVYcWWzPVm8EmdkvznR9mq7wXONcXkM3b2b+pqhmJWcMOHFjQn5KgjB1HNykzcDFYYLEZfygu+++vmDH+4ghQYyEXNBPg3AbH7Y73O3kynlQQzj+RH0Q2AvfJHQ0ogf05c+QIbc0NZXB12jfEapR2oyiMSCmiuRSauE5uzD02QQgD4q8mwMqykGZabLRPq3LUJqqLKRslsOQG1LzVR/cl+JmNXStIRbaGcm0e4KMdchjm9RqlXrDHjOJEqixXd20u9TrwQ9McH0fU4n/oUsR5Ql8ecy6tQ92K/rQIjWNr8QTde8fCK9Y78WkkkgIG201eTAJvoUa0JZYQA6vFBoea4par2mw7l53TJvq6QBOih41BLx7d8EgyL64iB21ySlipCMgxF4UBuUJg3K7qrTKEF0w5FW5zjmJcywi/eql6UL/fRzR/WnL6F1EdIxJbPhhUckDLnABQnAN3/MFCdomnZIApuM5kOzdvZUZqlN5pYopbA/G+AyBNxuMKNQ1ZHDS2XC5huvLU/CgP+vzy1+OoiqQ25QYoGlAqs2R7yp/1eEG8cMwWBzR3xtRHioygmE8soRJQY7O0SQ1/xHMsDWqH8prf+RsaRofiteHBnNym778QhKs/FFLJZxIlZu9qY3X6vmExTEAXmievN+3voj7BVVDhmFHpSoFNTzZ3J/mk/4UgoVvarE9KHomlxRky4PU4JBYwWgU76aTUPHpOJqnJXdrmJWHNMo0fhWIZhvbI1En1+Dy9Xng8atvl4cXdxAnzwmX0k8JdCkY2RbneiHOGH5O6LAHd1XQG2nscn0+b+ziAjxiUFxlhreZMl4AuB4QRafysXqxUisEx2D1BCx/QoW+uGaz5YnkOORgcITL2SidlxMYj/bcm6qHROfHaMG1IYW2OjTHl4A+mg77DL40FdalKGmbf6adSWV0v8eS/jtvfKIUq/Jbd79GbZVXiYAj0GBoVi2/7TZhETULJ0tEmrsIpI5tanlmiWyffPlKRbiuOPG/GhlZ/hbIbis5f8m+hZsLCXdmfpkZo4soZ7uLl4IWtNZebrtf0KHUT5P6qnHqRVj6yfAKhfkmWiVpt/df6HcqMEYL8xm+R/I4XV3ITYMU58keMDJrzCbhapb3dmvBOxmx5dKaMF7GjzL3Dhb7xGpiCsuwNA5exk08cMeI9XPgBOYGrlu/3i2bUjLtQsAuQ+Jk7v53MHZYjqjaWWDRSjEddV6ABk2uDqoLSUGtMJRnJVZvUtMYoYQBHwbeW1yxr4unIEzv32EGGYOFuqk62Iv18nHUofZ/pNRal5+GG9b68T/CBnz/WmZkj06podOPDPaO1UQdaxL94iY+uKG+nVFckbd4PuRwPR5pcQciSu+IgXQXNh4pNcwxzQ6l5oju+PE5QVJY6LWgt7l+HpIv+nn9bNZRAsK6ze4YEQNAFNJUvFUN4WfTWNaomV8a9LRoFswVaoELHL5TBMqhTwBIbUnbPeEnXmef5D/zXoiOHhP7HqfcJCjW7Z89BMFD+bGT7aOusgycBGdDTmSb6oOOe7ibR449TeL2WqYofNj70dLtr04HZ534rPdxHxr9EHZJHyUONei6xyX7W+762OEYRsS0CFKqpu6rBfYhqVQBGoACaGYsVe1VyzQmiHwVJMbV6FqycBVa0RL5JIemQuotPtirEXn45ychAUcBn4ff04P643esNXOXxQ5ztzpEMBuUmdZbpr651kro8tMw96BJBP12Iv8tgVCeRZ8lB9WaX8vlK7Csu+to303R4RTxvMibvriwIGD7FKfPUUdHyxrHXjk8FTCPx6boohW3rLnzruxzZaPPjybs1EDuXsJ2RXwaZLBLiFhfy6FL7mRZZunbCYlqF1varErpuETgTzgUT1nPq9F9JP57SdcTlsp+p+SEfGmSVF98rRw4ITf2lw6kXwiVBCqT5DageN/OXSAQbtkNAqE5fYel7JEukeVGfxf0gKgNiONQgCyEAWdzzdXq4qg2zDv3reX8kNQHod6hEPmSyKqznvSNRY90fo0vzwcOxlOc9rv902x7+42RHhUtu5udAQrBjxY1PxTV61MBZT/YB83OxfVyw6sSfilC2pQTkqBlRjFRTr0tASOxzmzY+CTvX2YTXpAAGa9UEETbBgDwTTZD1en6v11UCv18WpYMyR87+9G/YYLbo6y608deI+2/eCqZFtnnUXudw40TMkBASh/B9IorL86wGgZp5KyK9XL1HTebjk1waKFgVQ5YzrrL9GkPrm0OtTqbo7es3m/LUKu/AMN9627YGFhTuyr6TVXdDFa/ngh1J+mLLdlAJg5hDpT0Di70cECNUSP5GNTnDru5br7vXlV9ZPATgbtSa+Us+kD6DzdqxvuAFBmX5WRLtwIaX5WgXUym9NSKdhdy2/zXk0x19/5sEm9n5uKFM/uXcdvSo9FafXQFyKK5sQvz+ocaK4nAtL9cvEN3/n689AivlSX57dyblVdu9wyCzeRmGXAENlZS5FXUqU3gkqPi/yAhxtE8sXAflAbsjOi4//xsCt6fZ3RE9Dt6YZNVgoA5JSfT097+VtpNBSX6ivDrIgciKBNn8kBIJ6WKgdPJ1ic2W4SmPrPwiDi80AKDEup4cdgKPG89zbynwPPtRh9v3GVwWroG1hSmx2gLg5qK1luFBIY6C1BeUFyAZbRQI0dmKeyAUYB2odS49MgF0XME743pa09CEhKM+5XyazC1x1Sq5pVzXNdjBZN8o+PoVlPgr36sNuAVDWY6SCgWHdpxomIxq3yt+kTzO8xTpLeBRVQA9sHCMlHHff0fsgzZonGYKRIfguQD+28CQumnoDQBPeXA5/JnS06jAEMwKRe82L97NGL7RmG/CYpGOIiVFjRgB0am6RVGT/bP/eYFe5K59WjgwitbQnqkx5x06czRb31wiUkQQGcl27PcD42f4FpTez0vRXZ29nQSbJ8oq06yTOP9paUp5K6Dlew6HrPzOClmjkSesnLQv0E4//SHZMrYuuVz6BmoqWZ3LentO8OSC6jrmOOebLMH0RJ2JUseglz4d+OzaUjywhSOBsgPalc//txgkbnJFktOjjcArdevWVqgiBHcKdM37KXhdUe2O8Nt5reuD/wo/mzlcKLz+GcJW7H74IaGKqLL67oFJnJuOrjohiOHGcr/7pf5kYnjgcdvY+CpuEfiGwaYGI39zWNkyEXC93hS6Y4AYQTx7FBIBmI4DWdAF13JQlNeFClJRdJWoPWeEyCGIjJp8e2McEXGSEXRQpRDnUckhjQGwf3o3EvgtKkVjYG7nYyMtTmsumlZMi8MCLnstQ8yRztX78HijoC5Ton7j+8Rj1pp0uH7CqkfbBeUlMpQkHyypytF3WaQl9Zolz4gldD8WeRNgQx2xNsJfkk6Jh3oSoBuNYLmrI0sRxlC/1dlBt5/bCOFPXDi5B4wU5NkiEsVpyeoKBsLCDfbXf53hq+26Hgp9YSuoFEEc8yTjmYpUGlvRWGSc7Pn4PiFqSLxKV1BKlcK5DqcWj9mHoWFzlJ+E9bxDb2FjiCl+OF8bRB9NMFP5Cg2MbypEAqTo2+DUKhYZr+aTpQ3LrrbIM2ggANdv5eEVVoqICG2ClkUt5NlRiYJ/IkfMSYzKo2//WWWe2OahY6YZVbpK70gsyy1pXT8s5SdMehlchMjzh2rWGSoz81KXLGZTGwiXFK/4m5fBazYptxHmV84YsIgk2mIJNbFbFRjttUi8czibFksDP9Zg6XnjOlEEs6VeuykRoxhlr17bT/1JYm82mo357DSyi0qoXTtxWF8fVyw5RMz+1rvY4fSV6vn6KaO6cNv63C2MpvaTLdyuLhBu9shPZ5bQMytasM/MGsBMGJeUrAq1wkvdu/SFLzRIqFReYG7p49CVTiXGEs0VVTuO+5Jmn1eJRM4DfvxlGtaZdBkPmpgGPBR4CuNlfLLxl7FQ52Daz5kh5ngoGsH8k9MLO/6H2WNYk/Vi3iNIj+9F+yp0jAhwdK7dylbzPx+I01rgEN/k8t4f2tF7CV5tQtHDPxg3+PoQ/XNaYO2b2XdrqW2BoJ3gntKxvSxctlN3BXFWfsM4FcsamvzRhXkq50a8JB/4zWE53ejXbwrafCd4nlXRky6xJwRZ+7M6wEk+sZvULcC0bKmVUv1WgQI4gUWnCDFHkYtjwR/T5CErJB1yqlMZADprz+9+mv8CuMZhS4GIKJEPZ4uIxiYbBLPZQocqmqxhbZpbdL26J6V8Kp52IMAO7TXdz9KGo1s2ZPfiWwp9hZUPwupqcGHSz6VGseoB7UXcPemaqnQJFv1UKiURKJbcNp3wSf4pVGtIQnyEn67KpW1KE0RoFzYiYX9fOM7ZDEC7BVoMpVhApDXZcBiTvGRtYnoL5+8sQALeTAGS8OI/Amos3n0KPfotfAjjq0oX4HmkkOncxcyTDYixRsplFITHnRWuWM1IlVX6LUPLge5AOZ3K+fFmS5L7gk6frE++dqkeAv5j/UVkxUFZtUSoTMTLxhQEfyL69zbDvT7YuvkSlhob5BoVDLuD3dwgUCQnts3V1b05Y1sVsd5/yYK3UzqUlFN0DhcyWlMZEGtSiv8Q/Wd/OFntr5Q/mFPOm2gTHm18yVhqM6qeZKdkHyJoVtynNm++xQCvez2fZbEoCCa4XE9tUEcV9u7cbqz6XZYhYbxwhKGOjiaaw8MP0ufPjKydU/LtWu8e4oa6ABHoLyun8uSOFz9tUWf66v+a1CXHxQtYI3Ut90ZB6AL+FlcA03ipw68zKGb/reLj4BHIo6gp9wW5nrXWJi7xPZrS1lUUzdbLli9C7SJJfVaPAMSdoyylvWZwALkF3PK2oveVLGieMGf7yFmcK4LbCqU1Y2AHZjR4FcqFzQ3fFpnxZrfe1T5376pfbhTxSvAhBwV5HMVscw45C2BBKpsTkjtTKrhQujNrLkffmrfjiDNXVeXIdYlzROhnMXjnZy4ufkphhM2W/rO6g9aywibewOhU2tQtnV37AIRbRAj5pScf3bcdx19L7vQyARUMwR5KXd60IOJ7NIuhnDJDKkG3o6q1tSVXO3XyLzUHGCdw94mkydVgf6nyGJrng/noIwQ8VpMihyWOxgiWHHq1F+KuYeYnlLkG5WqnGT/anoFy9Rm+zg5OF8MWmzwn3dtt+lYHzztJ7p439/bqSR3G1iiOAohokL/26gmQy+AdDuNbJyN0vZJ5t+vXil/GBloqeAVPg3rEWBTFnicIK+EnImiUi5Q/9BlveFJ7kxXEsAs2RKoLdLU2sh/p0+3iPtICOKd+W93q5q+RThYgyMqBfIr63iZli9rG7tXyYPXjxpkhK0vsCrdl/jOQ96oaqA9IFXtu8m/p9Sx03qvThxSnW8YgkEt7a3Z9qMmM7GtaHcq5rpyJkt6CXrUTxmtl8RNEXM4uj+/H3YnkxpBLLFnYFtnx/qW0rw/07fqbHF0Btqhcoz2Ktnaw5SvXDkmwTNzKZLKItf+lDYqAxtaL+3t3qtByb5rIYOs4ubNI7D524zEC5iBvFDDa5Jq7kgRRp1DTB2e3Xtu14XwZmoN7bR+I4Wqb9/mMSqnf2bWzJ5zwpRQD8VPkGaTrJXWVI45gWsKoJkcFtNpJt+Bcwlu/LEZkbVGqcNTS0A8/KgZ8XSAbKhsmuKW0r5vzhqDwQDAjiLHU0eUgIAQHQhFoKN/Bigncw5p6KZ/kO4JsILOMFUDqF0t6PhQ9uW9KWjJs2SQe0pOclpNRmxgvsT7uZ1HRmIw8/FvbiFk6fulp08gySn74TFXwYMZKcwr2KZ9dUhfiMN4gLTtOrtFf+7XgMbab5+cgFE16SGQOAsXywf5Ygv/3lF/vw9uV3qcKCWrbt0IuawEJhiykJV2fRuiEZ8pcrwHG73MRKRrA/GzDk0cv9I1P9/OeuVmWFGiaTjKhrKduTpPTll7KM8N8DtnvLbd+idGeKIpdnTMjxwS5iM90JJktmOhq9c1uyS1E5OmbCypwje97YMmEF6ZUGJcwbgZXotJq+4IWcFbxpKveLE+3ltlNmjgYhclOGvCibogwcw09xoZYcIeVXNB9cj5MkeUgpXOp+MXikuGOGP6BalJmr4KLWxs6Y6VyxnGoSW9Omq7wiutE6+PUrWBJt7bGjrWMWFt1OmDxSCsYEmcQPMH61+ofWzUQYrhRmVx03QfJZ7Bl8LYBEsdypVo4TunLkIuqciQQZJsAveT7de4CpB2dsmA33+qhCOByXZQa6ksSrQCxR5YSu3edIHcKkRyHDycrsLs6YSjiaKskws8iPVN15AGKyjtqz6RySsr8IJLFIlXqCJ1Mn0v2583aIDGwihL6BjHEoVlJd1mMqBE+oiNw5iNqvFnXrJzYre7szbcfy4JZStrvK0TGdSBKZJmxRUZtNElIp3Uu5hzn8RBX/mumvuiXjU/vtJ4KquIav1jMUiHu6c5K0v6qtuLAep/ZutfvFsozykyZjDcVAyV3f+tNyAcgPfMIN0dMKR9E37JMxIBkXCXe6f03n53Gzf1ZEOuxTtqODIjirmYqAVechHsZOGAySCtOOiUFAqFNpm214s7DHEkF2NXoYEdBhPfV/HcFk6/gkgPlHZmY+1IjRpZj/1Oc91iWd+rdM+dlRkozFgizDRAvC0GpGHFU/W/KhUYZnwxfmRuL1BlL6XTlPM9CKzlLtnDN5Dod10r5lNrwPGm+caoAb0Kg98kaFhzxKm1JRCt6+r6KluQq9ae1NnmSngaWh1v2asKrjUU6EIMU7C9vERGG4CDiLjHsSOJN0luTsLLixOVg+fR0TAFuvzZAKzRjWNf/qC7RkcfWdylD4wu5ap8WUis1DrnwtxzxAgvG5Y9tqu/8yj3jN+EvDBxrd8Bv5W5T1lEmfiZp/HcD/cQT+rBz1Jyc8BNsVx/pTTS77RKCXwJEIhdf22EPNwrDPYB1nTCLzg+5d+FaxZyMfM8v5p7LVRARc+OyngctmWtaajla+WUcn9sXu6G+ybMziyn0D05NUxgq8YMNA1Trwm64JM3Vbpi+q21xRXZ9PF8t3eTiI0Em5uygDRsO8tOxAvCRZjUGD7fjb71NrokjBghD50PqHIfNDk28iwUNLe6W0YiFAe0tB4dukjN3YArYhRcQ6TCl6qwrdB2j3n1InWLIFKZVktcbXatryDEQgwZJFDirIH5/V2rxd5p3dPefpCH159v0NPpAMQKNuPaG9Lyx99ruiA+rQmnt9fLiJCqRS9jTf6jVdIOPSbI2znkvyMoCFWGxsP3jM776rGJ/L5q9DL8C6ixFg6TzNLTUjtjwsJfnoZ2e2fRDHAm42fnhqZJ2gcbVVrDYNo7vmg/5+9DoOAtiqOwDPYZdaDhzj30AH3O8tZJO4ceN4FgbHaLApbpyEolwXTvqsW2FRa6Ku0ac33Df5788qhPWehe20E3Z+CsyNy9gIKkwggEtD8oBMrOxsjiqhcvBmf+mdqnva8E06aPyttKz1AgYDpr2NXavurtYZ9VyMiILUJv5z9gLfClBE6WVI/8bAFO8mdjE0OMyVIJ5r+nCKXsV0thrG99Kf0qp0IQSctuLd8M1W9EcdGFJDuNKXb+l7nC+a7C0TQzk2RtPN/rJss8GW3vovU4DU6kl7IMRVQYUQzXZoGsVM6I5aaGXNJGbRAKYN9TKRm7qZNC4/naPGTFZywA+p7xuSIi7/d6GVdmhBBbRMNLZkBuLj8b6ve/T1TirqF0E2fXvDAQ8xzqlDeAsIgXYUYewEHycj2/23vyw1u7wye75k5Q+HIyHB5hcGQxMJL8je9bKDs27fqUiUIsOzDmEHH5m2+9gur7LjJKt7t0ThfFri3+xc7kXW+BX0pha85+bdYxhy3oCrbF0NwjTSopQtcxpOgeOXdCYPKLOgdBvuK6+3IUWVdu219I1OVGjsk7RfrPTMRn6XBRL6F2zLr8dHc1adMePhIY+Zu2ivbTTdOumKTsyooZjpAYVrSg4VbRuEChdtZoEPjzrtCS3Rz/NdP2A9OC3jt2g2rH/jktv+0hJUQ7Nb+XGMPmJ+wdzeoH+sbRefLCKojZuNgtXf84UrifhRkBIblqOg28zMiPpEYHQiKpExvuO5lsLQZyKrC4S1bOXPpWSyuwcLylCTwqQvCMBW+so7/qgtWScq5nfdyLWPdemsc7ENRCys6LtD4hLqFSqwe5TdVU1ZawJDIf75I595XrnbqgmVGViqbSH1jYfb62bucIOMLBpN5Jg4Zg5YLFmm6LoZDsGaKRP3UqjOpdzoQxZsd44JPcAsPqBt/JUlQRFhuXPEJF/zVcH3sqoouAZApa1/YuB9wpEMpyCxwAp5srtLhBDoYzkZbzkWRyhSmSAgWmDJeKBsBnLszBjpto/8yeL6g+uAvppItwiwD4Bh2Me9ZH9zLrTZI639xKgdXG8kk3RRUXhNftm3LeBVkS0yGXHFc7yUSmorgQPLcyf2PsoXqK0I3E1VqB01lifDInBYCOzHzYrQAVStprRO4xNFZH9EyycQGMTjVQebAtftjgd3ZR/gWg+KXmBHE+scNnNW/c7BpnCd7hPRLF0sJqPcoLOom2byDoNF1ZANaxzUGB/eSd9qSqLbUr9QmsfOiI3UTkDd0hpthWJjhV/BamRM7bRzBrdYWDh78TQKLj983SgLJrS7TXLnWJPzMMYgbuf4CEw9PfsifL/W7dkGkNguCqtVehb86XFCan2Bs9v61mxb/A/yUglZfFZcDxSdwP+sgAw46CcLIX0vRwCE7HA1a5mnXrDV0jwPBMGyOrWAP9/zSp50uD8U9lpF5FbBGGf5cgRkrI/pW7wAeYSbRT5deLMEsPoecZ47R7PXiXRelupB4F5g7kgwgiPdboI4XMFgInuYs3uHUrFsFwH6wygUNwz8hJBXDrCV2yyKIypOqJihVF9s3J73G53Oncm9eXJAY1CCy34cqupbHb8cFcn+CbZGry2nOUn+k0o2qQBRcrJaRO23flEuka/veVaxyPOhtcznHfRB+HCToWGEwHSzE4LBBYxkIhQCwNKXK7Nfz47D5e2ldjk3RF8Cy7KJU1FClF3jmGcMOlNBJt2LruApL7eU4xY65kI+E3q2O44v+NMt3gUZSTYRaVnJlVIHkLmz4P2p25x6GAznIXc3a2tUZQSpFAgU55AVouvZmLk0rciLiv4gvnXDof5VEsU4WBYfKxvshmJ9+E8gBwFZX8RiHu3TEy7mwaPk82JAHd0dcp2E9G95XaPzKAXIbbz+NneEEebtEDTXZq72ZwGkQbA2Gj3mMCmFpv5uXXQ25vtcFXgm7QaeGmzPubzBzn4uFp3iEIXwsXIitlbM2nANzt4mi8FIno8I7V29v/O46eQM/X0j3abyY22zAXKLyhzVpl06cjs6cwHr9JWNaWTzMsllkbSAbS/ANhpFIIvDy65FbXZZLw2o9WbzPVyhteNEOQ18wz99a+RO3CJOHJvPH4mRGd3kivTRTCwEF/MkfmDumzCbseyQLBstgCMUbDGyhrwS7VCIASjE5qSafKDl9Cb04aTZLYn8Pvpt56e/+PgLkhlkLa5HiCKHlNlhmcxJjQWyfiEd3kyuzoDeZ5Z1Q6YIBSVtQb/N1qLhLOLzaU5F8+rglVfqbQYIxIaxSDioHJ8lxG1ff5VNhaNc8HGq7Nlr9mv9yscJBktkG2COFU+BYjGmwABHgQIzOPkQMoJps6owRU2AwQr6XVx2vP1gObkX71W+rDVG1z81V3cK3iHW2OsPKAZoES64Pa9oQ5g+p+miCJazEH1gIEgWqJWxKcqexHGLMcuQUIu75u12meTeiipGLY0n6JlFpDPdC3weDezAstpvYjCyz72ORt2RgrXXMz6PN1BLgzboJf2OtPt9hkuyFwM2KovfolqCSs4fTxWODLYDXpYSwOJpcQZRB0onAfz65oaylL7aLwkHI7X9C8Oblstjiw1ngD0KcCt6UcW6VtUVV2oh6n8QocB/pd5mm/axoKMXkrSJ6hGVgPPYJjWCkoO/oukY49vffgELEXvu3Lk4vnFjgYQHXm7XItAwqObexfOln1MFZafzwYZ7HaPTJDNFSBhZMTaYhlJpFshh490+rAR8f4oJPle7BsBt9rzdETGTv4U2yoGNTbsi9GvVglJn0hbmdhyFrApciaAnW7XsM0jajHk4bLOB3Zbxl/XtWnEf4gpGtG169oKS+sHgFTt7hzZ7dlp0Q1WlkSPkjr/KqLgHw+yexXrVByOgSpOq20VZiAg0ndY0bytArCzpppQtDsUqYPbTLluXISs6bXG2Zd6zHIr9TGXBbIOmQ6Lc72wYl+Xg5+CTvlzutrELReSlcwalPfBtK8UgBmDHoCOIombRixZ65aHgekeuuvpTAtZunkwCJNN9WTt/SoqLkGTMx6sTacUx6HVzxCZz2S5txBdeUKs426LYXMGaR4ZVFvZL2zyXsTm6X4xo8/5nz+rYTB6Z0GWO7wH8NMjfwXZECR9pbRBXb5vDsRUodFp8VXyAY5I7Ypytfl7gZ7kdoosHspf6g/ouqBeYoBSXuEwgpOV5S7qiEMOfsWULHSPjxLVsu3MdnTSLZ8QcYaIA6NNQ6s0j28ck+b6Ob+NZFI6iYrwtQVb2X5wXxz3rBBA2dtuQXiqywINaraXQIW5eZCkiFjIvDRKZV8AJb2dEMi4mm1MmBwFgkU1JgoGiI/lzGUNnAwOYtm7k5MaLRozLpciN1KBVQd+8VWR9lRjhUpUGrNO8ClHASvAzckiRxpU1fmY7nl88Ybc2wd4gzOto5g4aWaFard+gS+o2n0EvqTn9W94MVsRatudBDBySUjL7SJgyf0Oj1ON/OvLQj6dp7UNnDIzw+hHDHXLWdU0ETt4FmnK59OJy39k9PwXUVPCFX8hCQJpKK3Sf/CdcHPVUF8lLZiz/usDBr8EWZLX6HaJ5JL4r6gyTt1Wdau74Qwpd/6mMpfMIsB/5J+hw/uaeE/nObAlgVDsUa/z4NZZ6q7epgYsK4cuWsoO8Nq1gLHeSRTo+3M0rhHNmD/cscjWpFcig+FxgIH9upcHz9FddOP9JtgAnPPETO9Du854PLTbZZFVkOp0W45WRJ3qwHvY33kJQfYmm7fHHl93zDTCYQKSb43QJtzOMxmX7OoJPMF7RJattnMeMybFzJobbKYUZpC6Jmrxs7hQbTHSv37gzhVHPy6O1mXi/h23Gld7oIUzuGzeWboS2s964Odim84/PzonVb4ywn0HYkCMkQi7ora2h5UuU9p19Q5y5wnEfXBGFz0PiOyG0KjSaWBogRAoGhJSHcAaqJayRRBvBO31lRTZDOolMvXqdiqG4ZIfWHUJMzIYzm2+GVwnNmCruE7t1mqJ7uiXPFTHsAbmiDT4PwTO94s5BWYM1FyjSFzbTe47eoPr/nuxilyQ0l3loIVdw87zo7AFbhkPZhuP5z4TtNhZ/fG3af/nde0Z2AHbEfxIijmfIUGSZR3f6hS1UxpzQJKVQcYBztIUe4Tlx32sgfzt0KiZrVvVAEzwP/A3DW/k2FS2oHfnMWtYpN+JTBNhgV11e88YFj5S/bFlCpcJAFXSDyi/YdYBReFnFhAxmtUSOjeEqPq8jALtCRZZPB5UiVRDzz31MjLQ4biQo/lJIw0dfdU2wiotf3Oy3dIJLBzPHhehr5oOhBSM/m6zl9fCr4JTAxnDHV8hnfNu9Mf5cJy7cckNTvm/aLLRakC8pPEz4PDg+CcQ2K6ByAUkGsmW0Z7hjugN16JkSzMY0FPlySSsWXSIV3bvkfyPP+AzRQdmmCst8bi9xZDEm/CDUuiPAwUQ6uC/WgJa0CJFo3w1eEMTYNcnLbnE0KlQsKfPE8WVI3Wv0w7rWtVAY02VUgQto5Meg5U59n4s5924ZlHr1NFiABh2IUQ/qwlwWQ+hxQMS2j7cv8U4xMr22vUk3Xujjmjo1xmBavCjAMTWhz37oE6SbrSD9Jh2/UOb3zy0z61Ga/Tnsezy/jXhUXJaGzlFvUaRoy30fTWDUZsTREi8Lgab4445mfM31BpKl36wnfpNfT4jNDTyXgH+rp0ZYqY4GY0YWUXswo1TVIv/jLXaovBdoKxhnhxUy+eSacgLWk5q0kp0Cq+XmrkGbr84OO+yT9UEMwnu+ZBJv0DD9OytdOeEHsfvDolb8NjDlZVf1solvNDs4HPlDFm2Ypc+DF2f2CBCuvh5bQUsXsrcshovc0v1nSTH1lK19XG0W5pFPOz8rcjicOTkCkRlcn4BGoW3AQCHU0JQjEeGnL3/KO85N2lMYx+xUkJYEfSp3SdRsir/rXvvwEp1fuY6aImcnFt4ffkRhHpm02YifOneOF4xI6Wjn6sVGxxEhz70wIrkSVaLm6KV/4WlnstTOrBvW2PM6CcWrlUtovGvGi4PXaKR+PyoMoXdaWFHE7eRrp+h6onYsgSCbI0Kz2O3L2pAw+RolEdFxwLX7m0PfO+rfOHLn/iSwIbZdoXzcrzhKFbVrS4mSBDZfDXuecDfCQduLfyd6d0y2QKqgM5fV+6fpz0AM00iZhiaPL5nm3iD1v5/g6W1AbhEnDN4HcioAZwL8l9PebgZNzkL8NV3wiP3XpbrcpW45M2Itu5DnM0zTPg6aiV1iXuznQieOxyPMdoWt2rD4qiBzuq+HRXmDLn+7VOGYNegr0i20/3dlDs0ioiPBffE4mH0ZXyq+VzK52mqDfiZYHprDlHKExOPs3YsdZYPqqxN5d3TrCMWJnk22cXECJnVHnvsHAsYfQ3JxKfIiMiL3vFWCUKkvG14SC80YmWpO+3iFYCsEHAdYxs+8oAUVKqCPfWBXhow7xo9YUB6F87aBgS5curJTaFoGZlq4ZlIX328O8nDEDvpq7NsPBRdaw7sn/pqwtghuDusUF1TKZ9SAYQM6JMIwpHOXO6wcLZBzRgbBeXp0k9ttNbIMOacfbdi4ldC58rEUsF4BsvCZtev76o7gEPCRPO/1MBKaiPixfkUPL3hvn4VAjAhBzg1ZblliTf9dw0CPGkiopAxxI6AeIfDo5Y4HhvywaPCr6M1CZ7NbJvJM8L7afxh4A3EDAlQM0HONz//EcyxLua+25qxU1mc2EydINuOjH3a+uh7MkjS8fRCvhqVYP8FlFTD7AWXQxIxlYUTPfBcWQ7lMIrtIFN2F2Mxfd8eY6YxkOiXXAXfoSCBVhtwJYzskJY515PPx4fd0AQEa1vADTjGXDVT92gbXkFDU5mYjDNhI03IoKji7D6VGOIGf/gT50fAdW0uMjEudZ7XQzQYCtWYVlMdUNrR0CEAdb5fNUq+dQd7n8CZwOyqnBbMS0MSdTk72RcgRfVjb6k9QDGIO/syAxcfdaJ9c3DwD6puCXlc0M1oS9MRWcSIBDCNTxiFyLAAL4rIW+DDWKtIeFFamrV5HKxmSfhFBBODcyVnOHz7IOI3MYE4oG145wMiaqum/9v8Ue+2QeWMjL0QyAbv8E9fOKF1wJBpa37cP8rYUkDqikmTs+a1gjs//wSqyND5HWo8NsNXs3RPi+j7Km85eStyxe/zoAdkYeaYGB/jgYPG7ZS6T0fNY9b4MUQrFIFxvHrPLRophXJULnGCmpBPbcVjfcseTS8Qd8XFyNFmDfnS2GNRHgoQNm8kO2maqAHnoDFLBXpFemdgz6DRK1xpNKUDNLAxAlMIIRQRg7gDq24PcArpC7G8jG8axEqYMVtld92r7rzgQ3YMyU/WPLuov/OyPtpOLtifwuODzRLPfjYPegcTupMFt4KCfgwY6jR2KWMXfN9os0RRug4ZCHq5mEpzFPVWAeP9CWlbcLiSNg5az1zEBmjkJZscn7uvWQiRXt9WlqsPq0e3W1xXiii+8YqVRd0hlUiLWFYHhgFd3lvwLVdONos4SioPH0f482DR9B9pOgqmhrhsBMGpm435FtZ9axE7axvIMXtG33wKvmCfSe8zGnHSKskRujU8WWq0EwgtwSVqSX0wdI5IxEgWqWBV2lh4aMFWqrZEHIAVXrCQ85EnIeb0aUQIW0A+djY/VYYtY8JQqkkF4TUIb56G9sixhwXue8IBWf1Tk2YobsUlA1/yYLAtFdDuCKl6984w2pklvCF8hc1qKbHBEtrl9Un1gy2uUzMpQJa9jdzWAvCzYXmQBYl/M6IX7VyEczlWXoqGdo0tibYAZhgtsyy6k2pgo551+IaAjlx7HLKbu5vamKC37bZnZfEhb2QiVW/cenjP2xLCe7L3OgP6+wg2G3ovnvYHzIBQ2mNMdG2G0z3soBB8zosfUNGUPQrwvpnBbldDnGT7AoGNe/s/bIFieHOvqxOXQoF0BvVlEK2vjAuGa7hf9nxd7ISzR5XzjwJSMhEtU1366ZRDs6c6D1cHwCfgYM31p8gSPk3yOhVW763vaMtfiVI9/WRoYhKiPiIQu/1GaqQosvNSB2LTJOiPq+DHStStAaKujNQoN3IpifHEDKAWUmxjIGwPgeDvKpECUs1xnLW4kkFsZog9ZeWOdRVWEv62qhb7/YemXfU62Qw++wU3S38+CKi11nd1AhNcsyJpymOJCJdoKlPI7xQTjeEFy0MdYa3QuV6JH4N9eYlvyy1W9m6yOOE0M3yWA+dFRw+zp1OMXoYElsaMcTs0yQOWGwbFMnNhmzjBXWfAcKvvb9VJ0QIRyxaRgX1GyLo6kUOo0uOhCA6UUcpYL0uo7XWQvb7eNZCQHGjn5IFyjze0lcSpOQaMTSw5rNKXatw5fJTLcAEBWm5TquTYqdwyUwdLX/+mkL4XYEHIwPftur5Vv9ZL2vROmBso4ttn/apfJL+ieJe0BajzAaJJIxFIL9Pw2fk64Rl/Maess5AepxpNRGJ1VeH3HDrArTZH3MSv+jrAlN5s84+NxfRP9RwwCB2WUD4XeN0nVDtsOWbwMSfbbrBf024n0++aRQ3nYQKWQXNPActCR5g4xTmF39SR5R+gF9fIlg/Y6u8kXbGv5/6DSh98KzAmisSuRgyqQA5WRgb12XEQzzfr9J0keyg8OwpDSF0PFfv9/OpHnhPs0d1J/Pjwvq4ovOxYBzRv0FLgwqyk47kNU0sAeO48mZXxt6U9uTg+oHLEsDEIwOn+4PG0LbTKQDdsx/I32pco7Lv6FlERjT5le/zHTdWNxpbfC+B9RqdRb3xYkBnSmnNmUdnzgN5SmGinUhs1B2HLbHae/KRHv7kcsmug6uegR575iGNEpYquqHLaeUz3OdVbTBxV0Nx5f8KWW909fgHsbaJHCVNsLQV3UwfOW8mZqT4soe1puRfRlzBQhjryfD6s2AzAZPRPbIVClTbStqdnXp1toQdeKb35Ha1lPMchyjpVGJq1DhKMEAcsISjTXayt0/tbVAqrjLagrBH0ZeuMQvKui6hLHt1DUSdTyVNN0oSnOdByt3DtlsjDEF0Sgi2QV9jsx4M7iUg7QR3SV/st03QjL8K86KAbbkUIl2yIOmfOPYyjSLFOhhoDU/3TnzER6E0aaHusHqLEYyh37Bb6q21Pt2cXgeBshBWmYBP4eQ7k7de6JEIUFoi6leB9SVzLSy/eXWS5yoCnxzcKHRI4UXvxzTSyiuPQVQlWFZaIcZy3AqnJPApu4JIe4IQQu2skCRQGEhuQsJqyTAQBYaNvgh9fTfBirekygaSYybiPrhrWZ59HCvt/6q5cllQ5G7hXn548lkdIY6Sw3D6+xTkMlK2PoqU9HFEheDlGr8a8zEuWiva24OInwWylEbDbgCTlZcSpuF27S6/K78f00okLI9k7/Otzs8DlKjcy1IOQpkFFOfQCLIe+Ef4g5Wht25Zx7lCvfekPbwDpQqStyQDUhHFrL+RVsBBt7ur4SOCLQ/O5xVTmh56l7iPVuyUzVy5AEPtsg0tdTMleXzH2yXXvIbLDDD2bj4q+HTEQy9dkFf5MDfUk+lmbFbc7vm8YmfadoFUTZokBet+9Iw1OdcN51fpcIKXmLsRDmQ6XtLZi/Xa4q/iTxEG5OFwOILfEU55cYVrUIZDG7OK8JoZO91Lr+xc4PwubqJKbAc5ftHJiVttqVD96QEjuRM+t4y7B6vVPZ1xHKaTIE3w8kFwA22Kr1Kv+ivokHHm0TjL5+tooLYMK+lnIXbQ3d8imraPTVNRuVhrscTBRTzBNIkVQxXyJX1uqIQisr1zpFvuxwP4k4HXjwkhwAzSaHgls2xm/amMe6tknXJbaGslnv4HCr/b0wmQ+jQZs40t0zsPaaZyZ2hVXgYN2inUDh8Kb8BMGxnlutep+LmQLpBMB733+fyWVAaKbrvWtQXFSP1TZvyzHHRC4eElv1H+alr4KWfkklhT7wqukn636jWHL4faWJdQj4PMrIVxVIoMek0nG9Mnrc+yEXDCqqlXL3/mh3V6UtMtD6aPRw+ERlz1xEnA7kDWhewq6O60NHblZjBUrEc/fZVprXqavzmQYVUW9g0zzVr785tyPsFLOm5a74NM2RvWlr0o2ZcwEitnpiyKFnUpssLxo+ct0LDMHJMMA4yI6he5AkGSYTa0hsAFYZwevhqceNiFy8cShicUSahvKmEYuNWSbrpqKXSQj821A9RwRDLqjazswrDXH75eOJGBLA/ThK6/7X2PVBsvBfMbmg98JLwpA/Knm3OJTfB8Hvnm/L4gU5RkUWPTiJJRwcO7k82NJgRpUgoJutZp4hYG+Ciy340dxo6xGAt1/j6hJlwsa2LRpAtIrblakvvuxal2YNhGZQcRuKRY3f/cn+vil86rhPEF0SHq7w5bgOUblKSJ+Zjm1g9evSboMpqM+rljb89uZ6iBxSnVh5AMiQhWzzbiJvFtzikRfawlpi92Y/rACi0KrZtdCG/PQTu62fYzF4eHEQ2kXtYizVlUvrZoOhzRDyEoF0uuX7GUseloYQBpzx408sNtUzprorvOxvPytXhbeJKetA1XKzS7VvvkFOc798Fhlj1Bq36VUravsvcGuua4TSyIEBaUko9fSF3FKC1WEDOxdRI57RDUs0oxbECX4Q0tIsXf1+CxuhUxaCUj4mqUN1NuQrJOABTKreoiuWGFAijgqP2giTBX09n/mgqOv4ABaFrPnDGVQX8G+lM6E5ZrTPTLa+vwJmRsAXhV7DjARnp+3TUGOj7Q4sWJP66SNICDJV4IGwDx3Z/A0WwFFFsAKBKerod075YGHBQLcQXrs0u00PNIPPRxvh1OsX9eThHnmz59cg1mkv8VqTQdlif0W6XT8oK1ownOAXsZkaIHZsKVI1L/w3XhTwTdZz6mzJv8BC/b0OuCyhHOrOh8UfEdburXlvgqIG4gBrKTSCg4SXT0pEVif9WLL66fpOVNOpm7lv15OJR1l9yveHJElYwBgxVfRL/oZrjyIWW4u1wCcWvIwaDPNlVHDIH4q62QaLxbrxr28reWrngvZg1Z5ZJ9aY0Eja3LpQNZWuwLXW9RE5hdId24MZYFPoGU4+e6i4mu6AEBnG1W97HEcZzkq4LxeQLMV0elFXIis+DIkM2mtsPNJ2ukaDmisivVyI3eF50say/3p50mqXCIGbypJZkktXA4GVx3x7Lu7/yiWP2TVW9rGqjZW4xnW8qCgdf3N0i3P/j99hCgz1UPntGe4w7bZNo5EVnxLCNlHA3mr7hvGSwyBZGrCYnhmO0WOEkeOXkmcvXGHeYnvXZRVmgoDtx3BIhGcAOdTmqCi5iI1ULQ5n63+LUMONzkRj04RtyLUSwO9StIA7T0acwU2h5SDGH+OnOoiGBk/16SekYdMwOqlEB53P6GnAkxT/GVEZn9evxOVF8zU9BG41iYHzLmXMgOMpNdIfICY3cZocqmHWvexu6SyVTwyY/FEkZi3P+LekvR3lTnrnB5LJ/lxk3PeL7KwHtaFdKtshvh+nEIGKiF55VmEoO36C1yv1DLMR3zWE/lC4Oq7DoGb2TYBTK0rlfzV8roTReunvDQjzitm7Jgz5yUkZQsWiKZkSvChBgkI2jeU9SEX1V2yyg17KSzaeqCUTSktDFSCPpGKhSqFwm3+92bcJKFXnMt4PrJKg+5iOjl3qF6Sd1QwF8N6xZROLLuL/Z63lg0ZPqKj+H83PiLltYqYcvua28Wz6JPWH89d3NgOe4+dhStKr65wGyTaBIcxvhDltORu/r450T5T7/6s1c5qQnAOzwXAxfv66FrINSVJ23JIMC7GAk01k0p3EkjrIZi8MWmo9vagLQ2OZpVHss43cbvVw5qmIZYibzEI2tlGslJTDUB3rkffChWfKeqOvjSPkPXXU/ofbINBxQmoRMJ/8fHbQg8r4CFsn6ssy0HWhmIHizKEhnPRa1lvwmKWVmcQ2V+H5+8M0AZT48ejJ+GNb28SVGaoZY/c9Gb4xZY3S0ooC4ApMjSvHWEH8HenHAuI0DTj+ynAImY6jRRsNwYw/aQDEyjPZuiia0wHjGaVqUZAgbf61NoXdCSQSoKoJsNswAro1ZdWq960w0QTRB6db1G3C9juChBhemg3GrcWMEkSmZNpU5X1bPg5micqCuq3bdF5o9e4TMI0RtJOBK5Jpyi48hnItZXFFsyFc+JrnBcgaPL4pT/pCsTK03Ltvib5060uvxOnXfn2l4cnBpjeDEbtNDCmiyU/lVp5irNZP+2qNLpDynCsUfNvWMmpIKT8E9eyOhPbbXtkMAsULT4PHoAp1Oj9G766iHFIC5B7aN7mHUZdbO9DeAIjBZbIE+C6GYKfYKbtwM6T+rZWTT2gOkBe9MNG73aFHq9epKDiq7utmz4dLVYrq8NhuH8z9GVxsQLAoMe/BwzVs12uY5LiV9O0NXfHcGCO4mniIzQesrUAKdS3L2+/v4/lJc5lX/Zz4Qp85VEreQSLZ6N77SUFJmfS+OLARSiusdUwFSMtFuX3kOOXbP73LuNOeOn3TaeTUEq9S+G/v4tHQJ0uEqi+Rv1UVQdBgylwu0LqQ7B62C9GiMPFfGw4i0QpUGE2fTMVR4/iAf7xMH9E1ZEny6PWwqN3Et9kOlfFRn00NxzPfo+l8RkG0mU8plkGRT/yy9uR7qQc78CgiyF/R6UQ/a6lUIC4CTbfJU1zuu2riVA5jzHnCPJ4zn8zKUee4Hq9sWfK56J2KSI9XouE39Ge2BfddF/tQv1duLNuzPkZt/b67RdSs4PTU9rAT7/YBRIlbtEEG4gMHHjNzt0S7yhl9DK+TDVHG0dstir7VGyYXWDUjZifPIQ2iDQPMyXupyKofVtiCKbgk3kfDcelT6Vfi+QfHqBsV/iO+TL9kw+fPMNLR10SNZtmfukfF8GF8rLivkyDP+VIoeFwhP0aQRveJvMAKCb4U7/hGTzIbyYOShFSl3oavNZweNaedrw+jMzbkli+5irFeWrTJy2n8o+9chhUY8XWXPrwG72Jm+hYSfiGnFeupZe7inftfQLe35JQB8mE5vimw2ktqGXTRl1w6KsQC7iwMtRoDQGFfiffdJzBFewTTsN6bsXI/YWAj0AVFbp2cIFQAgUZ+C/d2tHpjJYCQL6pTOJfMrzMt2JUGey+M6ErQiCUWWXLNai6h8zp1iktzM1c8wbCLrb4RhOPu6d8Cnpy/jdi0gv1n8CnESdHHryHAyyUWxPK1hZ7FovI62ehpxQ0YtF/xv7sfqTmQC7zu9D2b7H8nL3QdwX0JAUouvZpbcl5lXuF8UsznN+yhsSBu1RTXO82HslkV21INIH6Y0wHxqIWq6xWgVqlXFRnZUX6Jr6lIZvA9CSbxKwE4pkavOlvPH/Ef9Kr0OI2b8dDBELGDl5CYNornTRYhGL5zsEqVBDOo1q8e7vX4FYPAZR5wIgSCI3Zuk+w4qS0iBVOcmiuEelC9XktzFzN0YerfTAqb413v5XPiC7U2vAihxMecS0o6UagRq+CP/cP40KJUhtw5PE8zIA0DKLX1yNVZ3rKKa3uTo9SgtG91swdK3Jw2RlL9H5mj2U5kjtvGGScoCspNY9atU4EFE7jqxMSOXEOXQIbgwTpmZkGWXgX1FVJ6HPKs2xhzoTUBDiaQoRo87BzWVL9e9Diu9q+l4hgw+IadSxZ3wwjy7k9HQjrmBVRHFgNNcsspr4QjCtLstyTbV8sekcaIogjp05y+ScTebi2BfjHsJVUgutBGR5u54wNu27ift2vdrbr3aivBlJfKjX4HaQRW+dqtNkW0uLcIRf3Z53yz79zMG/oguc/HbjpQV8UIeitqztlLfSTT2+94uOrzVQZ3xl+q/vFx4FMe2DvHmi8EmbhEis7bRZQ+7QniLYjOGfXZ5az2zaL/2ekCG444bkvvCaC+19f0mQk31uSLL66NxYtHIRhzVCDXlF40TafL6c0p6ZO+K0IzSQJaprcZGfWeW7+A+Of9I9fIvxCHyp6bkubb3RrvIuFEsG1e7HWkklWtGdPLyuLuprjMn6u/QrPtiIuFmSXyThtw2WVjv1KAFXqcAhR2Kmx0VyDX3GuD0IRZknn1ujqeu3AgLk/vOMUtZdPHD+n22Ydtmwi+xChg5GcoPX2fjGWGqZSc2Q/ndL+YZjb2Jy5L+X4oyOjGRs8TdSEWg5h9gxGNbr4wOfshloCnhCSr9eY4x72Og7xwkDYqPnHSlT1An1bqFjonxMRU99Rax9QGrWMuHqLMQIKiEm1aUCNgKdI4maovlX3Gfk5TKgciL+UzKhrqG77b2/Fn+fP22HO8+4E8QP1SV6QlRpoBdjU91eZFVn4+Cqtrk+tZKtN6Xu4mcdy2SQ1P+87PDzPItScleAleW+44vhEsoXMMITbiOn13PN9b79zKHCe47x1eOEOJArsRONfr0WsQfbx+JPHxCi+qOdH7XhPhYAO21sltnf5AZTyAdT/2tmtqBD9ikAilzxHZ5YKAZ04R5UCaTH0a2L4D+qjkfChuB9+1e7nHlbl+f7KSwd/GCUAYFbvGHMTa0coBtF1Y8N2yBcZirzlkx7x5O5GQUTdj8BlUhwJIaz4KKU5Y7UEdVUm7ZRETopArDKSMAFRqx/qmthjY4aIcupInPKJP5zaRL8orwFDKotm9CTo/wmphLn2rCR3OoNcR6hEn8h2T4GNYMDdhNL7mW1RtUvBwK3vikbd8ZqRH/sbB+OzDiJugpl718MNtgNKmIgEAVM1i3TKiqyMnmYmPku6G2Q336MEPD4RIyTB2mZaEDCqmjLFhQvE53CopI4jY83nJucCfVeYLJdVWqgOAGwknpjTmUUnrowkhAjU1uRdYyyp0kZQtkvc+R9oOs+tTum3rzI3TroG52MgoFkCB2IaoVcpYGEmnQHXgqjtQH+ctIa4h2fyq6m6Qf6lsJ4MG4XF+7lXIqNbmztGM1XgsxX7RVWWobxl3JJyx4okmpGrTMhCSTwIQz6uBROcky5c+2+YBYvg5l0MziYU3bGwFE9ujs7SidOlQspkz/qjyJERyit8Bv6vYL7t+jr5mA8lqXdhbiCKv5wdMdbo8CVHx/zIGoKOWzsHigQjEt5ca5+Dv+OWY5YVe4fMuqJLv/ty6O9UhynNsWmz5m93zRbWTMO1TAmLDTs3vaM+/6G6HjqQTbHaQpq3Z6adCxmcydO0y6t3z+YAF3YTcKzMo/Vhp8soa/jpYVz3Ax6NADJLhPHhfQf7VKBvRaIJCWalg1omLAb7yAcza6y0+wzdVvZaxHt59lM2rssyh6XjJf8zuwVHLmSgTglNupRRZJ3JTJWzFNtL5RvRLsbHaVkNcm2QKpg/h35If/KDqX+1VRPBUaH8BhA9WsqwiIO/n0JYjZCaZc+oDUmflh++CbaUDY7wcpdMZjJasrbdsGKtIW1HxExD31d/ZkyloUhvshAV2nT7k7jtmSeO17kU5VJFpjIm7Cgt42B1jFaQYoOIMT8YFS+OrndecAyPmzdWITIkK8X4zdzISYieZKjoM064rAfVkYQOaLcPfqG6Pb3p8bSHijCfUnVcTLBLPMyU+icbjj9D1EnMfNZs6zn0/Sgfb4f+c9JqVUmO+m1tHe3jKyHoNClkhjdTNnKmasSVnasMxlyVxN9ici4e4aFDmL8tgYb4H75OH6BT7170N6ulqlgzGHNh/zW51wRzTLGJh0wndO7Dk8a5GABr1uDStBKhWwP0FPrAbejVdS2cKY88CHgP7LGcrgTEkN5v1rIoqfCMdKEkABoZ61ee34VeKvcgUvEpHLl6Jbkpam6jdlZ/D0knhiAa0aXM13RsdzPwb9qU6VyQ3ObvvDLO6muorQsBUotz/uzKhTj9zgs+OfAD4U0FmDatkZQbADTlt+GkyNppYX+Y+B80iJ3GWGzQ2R3gWJcdErgdVEBSC+id7hmIwNARXt3B4iVpdLc1Qsap5qymG1QCMbzhQHg+pPijgOLiD/G9zItn1D9k8nyzT7zEVJ47FKfSow3tuu32d1aX4xKXfbHJhHQfGqyzhYLSMILx/l2sawa18sH0mvu+ILFr3X5d1MIF5TtD8iszNWYNJqRHeE5Spj40Mb2AOe9DL0gEZgikvYKXQtgF9VTdxorJbDyxx2izX2RQ1rdMvwAJRhT7lhWb8Jtk5C1AXjwM1hY66YfhRMHgdUNI5fB7Q78ExquYa7aSEz0QjlbPkZhun7fEd0kc+bPQ9gjBOmpLx9GGHDjygSILT3eI5sYVc7OaWPGPz5KtQJArStoNU1ACzMS1gsjVg8Jx1aHtVqENv4GyBNbzpz2VU6huGpjnm7Jv8pqYxncTn6ruYGuyOKEzwwkeC0q5Q+v9mmjDEu26J5/yZ4GZ8I7ZNYSkU+vc1v02Q57+SckZXiwtfSfilAc+WwSe8JNUCLrv4JSVujOlPKplJ+OzaSF21HWB/G/QCb6LbFfZejXhxESiAyuFaZa+3QQankU1h8xv1taGiehfxRdAY0s8eIxE1eYPbaGIu7OpAQKu8Ys30l1VIHc6kiaMJVb0+tqsWSdXOigpeSG/mnlCd/M2lycuFSszeilOyoD6w+D3zOXB5oejJNkOThaBaYaVZxFK9vn4MNVJIjBxgRkSUhqUW7nV4cwUxut/5SUOnEKDt9jslOUShlGooRFdzPL5CmdXaRbXhNRgrx2tZl17bpABtGdKScOZyL0ZkmGu6whiKclLjp3f2HalYY/dnYYSrOsAIcQPcpcNTyFN9UPRnpQTIv+B+nCO5c7pZ/TF7CVetSVNGwh7QMhC9vevd5PSFJXCyYr3MMBS17UQdFiJnvIkIqSKJr+WiparsrnJcU+aSuM5ri1toRTvwHWp/4BbSKqTxY9N361uDqAFFeKqZR79tExExOKp8bxL1r80+x9D7ZPSVNlOkMTkO0Sr27xAEmFjnhrk1VpV48I103hkqJEfNbbtgj/5vcPrHb0KKIFQzQ1UbnKSq55hF+N1368D9MyUm7mbTXWyyVi8nmgzQ0959Fa85/qje7jO8KqxcXZ24d52qirr29JHVc5v8oZ4eBFJNKqBYZtHo7kvJW2TwxX1xQQ9io578/htCwnebJYIlj5RHRIEhme6vTh3nKrpCft7cF+208/ueXShPmHfk4KtKuPgiJWGH5+ChIRNHOtSgIwRB5KakUDxr8pVrc8NSBx9hSxEu80C2ngUvJmBihVgweqVxNXH0uBDs5c2fWEd8pQMGSzhSy5t+kk/l9Q/PHfDUy0EOua8w+pM7ZBaoJilhvCKSR+Adb1vl6B6i7+AMnXwhcu5ej0wTPbbsPtLBMmYZCAPjysyXtBhuYDzRmGUjZJOmpEKmJfbl+Qwcgv2U5M6cDeuU75W3VCTP+1XrIrvcruMk7e7KG8AjZpyJOoIqwWJTWkl9WMx6uZL6Cjs6DIMjoKlrQSVvtE3RDZtPYKgh0/6wqjonet2wDjz/zVGS7pQrROaIGm+ix0ilHVBZ1P90rqdevJJHnspSCKhzonE2gwiTBAKtChXfCbD7hihUOjDOdCsNPCJ17s3MbtUxNt+8596Z2nWJHJn6LVwyF0y7C37UXTBVy9QJaTLu5EeUGaJ9MsZjz96rDGb55vWAXMw5XfircYkgFqYTxiNiJt4laAB9SS2o6ejwyUpuC7znqvakZh84h0TSqLrNQaRznyIotkVmXSlE40CMUARTH7Vi9ZD+7QgSbPQqz8SBywpjmwJ9MiSvLz+1PQ0/E96wojiMUjkFl4p2Vb8QYDm3R0pQGDccDulUqiOzQs+mAC25rf+OxslFeF8mCpZfWJXKgbtrHEQW6XLsX0HxMxn38dpfVvZ2NEHmixu0TcwV6pbdI205sjTszFoXI8OQV2dDkT/0QE0818XlJIdHVnDwDLf7aAxO7hd7EVPVIWAsmnTWNAdPnIDZv0igOeKfmwKMW7rzKppNWu4E30Rakgy+GJON9AWIcRgv3qFJVGVonlY7rlEHucZWMp6cZzr43V2HhE5rq8yQt5SK5I6n1GIv8sqn48ocg0Oyh7gEz3A4lAXohO2uzITUQyjKvQJb5WXqPcDKjaCMM/tj11nqogsRjVYgZtzqrmxxqzgvmLXHFzddGdQm6YmMmgPC9P7eSw/iUMY8ooilSERXH3lYzYHAvbFDb4O4vBOFc45Xvd5wHK/2LPFd5iBg611DSFregfma8nFBFkhs+psPLsQhk9dwWV8r53dlMEnrbXEGF1WhcZgguwewed3+UBTcGEU/j5Hv8+FZMZmneVQHmHZsqEygRG/pG7BInrGbONQp/vTLUN12Cunze1LL4AEytTHYxGoC3vvrPBszO1DvT2xXd9BLWI5IEsYu+TJyyAftVhrY8UBTOpbdJavylN9Uj7JEUJ893r4ka7oWGRrnoRqS5LLAlxq7srjq0xfSeNrUsTRZtbwz2E3hL2JFJjdIDEWvPR9GdV6B05MII+8CQyW0lIO1OWCdJS6uTBsuNtKZSE4qwVfv6gAjXg2SnE9YonUb31Jgx2rYwiGmHjR6IyxQRUXBgnCbrfx9e4hIIMcK+1D2eEQdtePSra1wEH23w/3kxCTJ9padlABYgG4xtbreX1CqiyAFVOMS1aZGjN/Q2hM58Sm1aPPj4M5dt91WCM29ZwgiLzCZE/4koBlzPIw5q2r65THcqPDM8WDFgdO2ZYDckSXDSxRM1thgGXFobvgDOY/UEg2MUwoyxzoLK8XwRyPdTH9+082VvW+8klsbSLPaCvkjm/bOdNImmK3QL0IRkQ4feJ2l3BkA7jjPDRdlLiaRwn7tb9iw+aHaVhbO1ASr1minJxNvon69zTJO3EPFvaF1JAsvlBdV313bm77WqcihYZWtUCck73l3Nh8+YfYf6L1FjTPOVgJv7WBwSmk7KxBtLvxtJHdeeOf4sv43N1vXUrSYBrU3oYqbLVbC6RauXoM2JObHwvNGsPQ7sOzP3yYYQFM0vzwpMTy3zlfjzaX8v4vDx4zjIzZAjRPRT2evEPmFsoeIQUHxLmWU9CCnY3BpNxCYOZyE9XMbF1oA0+kPFi43cqf1qu+Ccfi6ZQ2XN7anTzJxBAp4P4aLteQtdrzTjuv0EUATvUosgCkGHJ/FN0MwQu1yKZnrPf+/u57ZZ9t7XcsI73JwGgUYKaehC9K5J8+JdySnOXhazPdMQyyRMSmK1E2MLLRwp6qjBnE3GnXC+uVJGgbhxOjTvwPS64qUrXUb9NhCW8BA18FIiE9b30VbSlM3Muqp2k5IVvY0BI4Yt8t1YdomVQ50tRGJdW3GYpiz14pRYHcTWQni+8uGey438o+B0HSaKQhttSUaGq9ZIKZcu07eoTYeJT53NZq11py/so3nU2ld7mHvfGoUFHi7hk0PXRv/ygQfSlfvSud7U2ISWWgNJQ0Gxy2wgmogyQMDlL6b62cqRXCYMQHhrk8PVMA/YX3UzhAwc47ejBk7MBcEPetwf10PGBDOIf+WEHI5UwIave8x9Gr4LDURd/oKZ5nKhblcIcMsWRG7KfkootfQ0/X2XaEoSiCNnqhUbn9uEuQKHs9pItbF7Uh69wsDXC9sF0Fsc+ZUNzAxVW1UKAaHwjNVL6xTcH6VXiL5Hkc+RglCBVrgnBTTXEF7soJj0CKgu1MFdluhGDWMKQOdc/GD8XM05XjN0b88HKAJrNT/qqE6hnD828Q4qzyOBw3W02uqHFPzYANXS3TOLLbTRuJ9XHyuFF3QtDXzfxC45ph6ndtUJzjAQ7iOFKuKCzhN0xtjbPyV0GI0pEOQZAHUzMKtyO/zvxoCN71hV2iCAgeH0soXE4P+aoubT1PyaxVcsmcSTHKzY/Z7xqHGa/CFF/ZmxFTkgfuIOj6bY20ZEv/+elarDhckJwQxS0NiUTG7yFEzZcGUmRek2qEK9qdBmxOO2AK/fRBe+OSYfCDvJc3EQEVp6Vxhg6hHcLDiscXatIApsou+KIeSiM8mFcU+LgtBNCidR0dbVwzMo0XmyV6X2p3RkR8HuRUkSEzgHPufhFp0g2I9Fk7oBSRb49B2xnZvS/Tl7EmzekcFdxf8j1AnBZwd/ls8cKrcyhsxPXIW40L+zIVabVqJke5orNDdiVY+AbFhn38xeLj72d7gzPjIyTeLzpAWRRaHB863/qfLA7Jed6W95U6n05hftsfA7SoeD6BL8Z1UiD/D/Qukq+mTzqkM9WHrSk1PmcHUSo8ZvCWaab5+GYFVGareeiGoRpNlMnIWXrzZwOGnfhO6uIduCuzh/Qj3PTSD+CAiUfJtqecnppZ8nryt8QO60UDMUfjtkzVleXVetE+4bXdxCn67TmwN0VNBvIMYplzsTlmxDrbLDt/8lacyXjO9tyAsj/zGwAkmTkJa3on8C3tl1jaTpBf42k3fyQTbkd9cjAJSH193GyhU+eqO6UMhZSGdwYl1nqbiT4nLR8jHrOiaOE/m/aemli9kua2e1zvm6KPyphJ+dg2hFoshBk8ydk+gAieKF79OLx8HRvho7WfMTztEd3Xvrd2f5/NYrugtErSiKrG/ilvguQRDR9MsTErllHXovXXPeBLZkitm+AX5ILW7DkFlXIsdqnT+RFS1Dx6euNdaXzhTXxPResH1mBkO/WJznJtW1c2RG4HDSmC6cQcaAMo6urIbozWA/pcwQ+cUdPusbpIJy+MBXXFlsHJKLAacFz72q9mgA/mnq9hQ3UJ03FPcBZHraX2v8ha7CGFLfnBl9eoDqnYrCCZL2qBbpRxvBjiI5mtwm29Ls6FLAwHI2OutSvfl2HAaPn9Ydq19/z6gTdCY/LQbo+4gF4kki9raw1zEtGs0d5x1s+ImP9pl/LOU9ICeFHlpbssqEqwqiVRNb2Jvxgi+jqtyS3KpSMbw2JlXd9O95bYMniI+f9TAygwJPhuiiScIdyDslajOZSoO2w1+ZUxROwqysKw7tA07zOycNuhH8i8mapFMnKhwbREHnlMgmXkCVM0W9oOA0peoi481FYtq7AWxGPKtCoyaAFlW6VScQ/LdP0/PFctOU/yc/BxtxqjAqHRmvuC3nvzPWVhPkb6ZL/KjD08dBKSvjegygsXdIHOm0fGVA5Qb7lV3u5naRR5pcSvVhF6LylJvJxGzXExbcEn5luXgjx3zJZDn2992ZCLCNfFoH/I9vwar9YpyRSy7uFC1XLImRZN254d6WwVgGHPtFe/ywfasiYAlP9ii+qa4Y6YdcxNL4O0L6+9ekQ9CHSUq1Dt4/opcCfIfmFYBtn+COK9VTlYHRq/6lrsysSHQPqsPrhEOsJW6hzco/iSxspVvj8yJLWOo6jwRhI0wzUKbeJUY5ik8CiT8Hp0VjBlYE4sTpKZp4Zz13BnPczqgmB6TjNrGgmWZjMQH3udxAKW5ji6DlLggPq9Pm3qzkCG8obwOf39wCjrv/1lrpyy+SEJRlvqaC9TZAcPtKPXU6GX5gdH8IMxIbgmL8cLk96bheuRDwbOc0gcuf3pxF2WxFzymNG30/miGmFu2ZEtcd0ad9PEn8nx4SFu9oMeSnjR3uHTrBPBkS7p3dse+Rwxm3OKpBTj66PpujSLXP+67au7G2vSN3CSlhZq3x4xYNX7ScOilL+oPxSt92ZjSQ6PXwnS7J+DZdmGIq57GXT1klH2UAhg2BP/TcAS7B8e+MWXBxQ915lN3E7UhEGfu4G3Ps6Uw0Jx3xNfjkuI6Pg79UlfocCi1ry/NtMvFjhcApn6KT+Huc1mHhjZuNl4d0ldAQGg3T+xTCrZIasR3AxRbpgl5+PFNOEFLyYXlbaxX5DuvQwdw5eE+zWXx+FJOIC83LVC61iNg9hQTwuEz8kRaDjQ8QylRfnCPQKstQwaX1tVC6nQJcHRXrlVHQ0MqhoAX2xuIqXLNMap9WBtQY2pLvxynFZsUD1pW5oj1u4QryzngMyXK53RWfnzczo+hrC9ZraZk7lj00PGJI72MuBsacWCpBDP+FJKhq5mJOe4v9S6zbpUmjKBpo9HYSH2FFA8WDG1pPb0kt9qP/jD9pbbOtVYoMk695ez0EcnPAsYUC1q/X5O+hsC4tZpDYaWVAQvV+T56pH5gFh3y6IM+r/WZ+Kvpb02IFSNT9pN22OOydFhq+LTaYlnkukeJXecF3IvsAsLJuKSUiADHZqUwd4RJ74jzaXFgi+Qjm5QP7zLh8ablgZ8veXoBG12rNkSLC6L08zIDM5277L62iTghX9xi8HZp+y+S80C06kHcrSplnHop6fh2rBYvtyQjjFgigCnfZN753TRuFQ36nuhegbbw3bW5MrrEpZdhMLeyj3m9VFx23UaHnVxEEJiXvUArdv4NtQufKo5sBeXQ+vGCCIjQ+7LsOK5+2ghka1BKwY5DWkX0twlNSvZ422/FRObOeUkLRL/MO7mBfQRZzGjBGtqkpFyT9Gj3mt3jeSEMKU6BFJYecEb/0QHP+H88ik5MgfzdYAq+FdN/wNLeRAIubm1UVMka1ZRmsjl6DBUn7uv/7D44NT0XjJg1xfvGDjJW1fOK/9tZ31c0WJeuoQMtBomLp4T+2o+2E7WwHShtg8D+ZXfeG9zXnDbJlBRK6teItYP86xWTkfe5wWNlK1A/Vu3RbmYnl/eIT3n5lbZYDYtiUtG2k2wmEuEb5nYA4dErip6FIYduAdpZoGlZh2zQNnHk/PMHpIvue2NAaML1QgRqUs9t+tMoF+croxsCAoGNMN6UaIafDXcL+tMbYLo73Ys/Zm7dJM0qo2TxGirQhMBL/qeGdZG1PgzCAY9ub1SmAE0Ep43RUtMXOYeqBy8mO+xzOLZaIv/RmgOrJq4WZgUCy6H1DCQJWAIh/VItc8KBm1HeLItLfjz5YDOODvgqiXirEkQwpK7ykf3sjtQMSBh1Upw7OIKVHTR+v9sDkA8mkYCLx6Hi21AswVBctVbWbhEBFSo5iVF7gO4HQrRx5uqvbJa6y1Oxpm2QoMMpvZLK5t7DPA+f7ZoYE8Bc06vfJ01EpSUj92tDNptaGM4A/gg9XVVdpXKfu31S7BJnkh6M4HPnF3FoFqAPmKaRGILbXtDQl9pQ6QpmYhiXWLU2wyGzrkMFL3ZaheNgxfUpbdtWF1SJlsLsd+YSP1XOAtEmYHHNlaV5nA8mkWbMJL2kf0pO8LISTgxT2tfUeY9tSaneoRvPdokkM0tskPT1rZdgWEmmeG2MHtRLOf9rEAjD+upkH5PSsFOltJVVbIOPpbn+9+pY01CUnjx8Y1mszTb2QJCwHtcDKmykuvR162iLtawKfRcv91VZvjkHM/84+3A+fpO5wHmbRzBtaQrJOE2l7rUy4D54NxeVa6p4OC5kjdQjcYfbaP5bRkVTxzqXkiomK9HryuhxB3bx3qwAqo2YCxZo/I5Cxvyy2gmRwHTGQ8BQEMCIYgk6kmaNI8yuNQaQOdgAbrFhp/ud1Yfcf7fx9IhjInj7jXHdH3ebD9xg35M3rZFljaF42dCqRm0kwdB2/h5NtAL8J4rV8OvmerGPhlM8TNYvVrSVqwsEgicq/V7PO+VWw2fdiuuMvz3hKUSxAAO0Jpoq5cdS1UOOVHAyM1pvkZE/Z1KUCQ4qeMp9l4zCNINZ68B/PhXVQs73hECoKhx58QtM88GO3e3MzJ1RVnpLFWPpqRsQO6FjeYVrzc19O6CkLdPpvNfNbZ7qKRCkRpH4BUVDUCScjiizmF74dQqamc+UqWwQxApHWCmFRzhPhtYRUfrF+l+EwB7kcZJaf2WY/5hQt4STDR+e3+p//drNtYvj8A/ExwAcbCviSRmpx/HvFI0Dzh/knl4vcI9jXE2CeBzuIFI4S4QSGhJZGO7TPFxVc4m3jcKCZXYbbl+hQVN0KdA6JccBwlYVm20aLhd9bTlgaQ4AkQyJcCTEtS9wzYwPtyxe+f4zkNU1bjMR4lF3/Ch+GXvL6RBMWekZx8pPyM7DXZr9gUR1PjGPdoOrEryWCdyqhr0/6l155Xmm2/9lQ1/eT0iXui1qPPkVH1TL5jF9aKAeQoLYqwcjZUDoruGEXrb5JYMYeKD0MZV1baUXVJY55O7Ct3fDhDcZpTJR2QUvgKAzTzlfNd6a8bOsNMlSdqr7oSZeMhtjV01Ia1R/VsTWDcdPrupiA/Etjjr1oturDGteEvfMKvFzrMhBpzjDZobCojDK6J8e2WKLTuJCSyw8oCAPeLuBO/+Qc/SdUctqlJXL8MUXs7FbMv9LKXJQVgNXD2zrRWOJThhplK26PPtiR/ifqqEuDX2Y6uK2CAfNeR3awmoqGopz08cthmrGdJqkLJLumOZaQIQ9APxOVSXjui51jytMiTmk92wZRbSPGGc6kZFQKoMlr1atvpTOlZS4g/vQ871U7gSnouh5okpaPfJQ1pyaK+3tEfMW+hwp13l95CoXZgyNBOTzQ4gOE0aRM5RxgtmA78M2/6Q5AGIiH1taEm62vl86i3/IgtDl95Y4IX7sA0vjA8Cz3zU/z8FwVYM1JfZgcLknoKdzys8BtRwIR9YI1QUbcIDEunTT+Y1sAT5gvBE+p4KyEr9YtIEZnYKb8pGjHOlI/PDGeGNJ9BoyU6Ln1EqTrCTMa+LkXt3ozqTiSY692RjKfWo0oZ62XffN6iQdp6y+qrjji/TsLp+9+pOpCt7Na1VRo5SezT92UVIIuz0lR/7GpoCgeHnmsrAqYJNHn+RNd8eONQzunvaZfoYQ++f3o224IPs7tDTTvM1SFgTTEsPnls2qtMsnKDP51NUAx7gAHn4/qL9a3OmF9fKkizUC+SnENTPslmMT85hP62uuYkTS26hqat7VdUo3mLhf6BGIeCqyWkG6sH1XyaZiWcI2Pk21eakWzo9nnfZz5kuMOGL/hhP9b95vD0wJb7k1MnaulmchiMsT1KPhy9STdi3M4ZVHd09c8H6bH37VuTXTyfjwyRfvUF5xBWwgscH22L0opvS0DIC0OyghrZD44z7/XHcS94nNVSdKIJyy5MYdOD0AW+urDgppDFulxbtTm0ZBRdRSKIfgqVlNGrX6IbkMsWYHDJIUuZcrbMayDctD0VEP6rD/KFaBUo5KS/ngwalOErvjQdBViq7E5ZK2jvXwyu/s2m48u4dEjiSnPEVM9oKnncGkczS18MYlnXmB8sOHQesGdfODx2lXa218iJNn6Umf4MIxggmv6cDTkyfqlbG05sd10NL+JtudEmznbyOEFeZOpMirm84UO964oniQliHCDwjTFXZnOak0yjfhBJ7GVvM4gh18zlU92OMxpBxOiQNZuTbh84ZVtOiMMXFdp2MJ4PpugJHmHa7BTRnyPqME0t62lIcFs+2hISlkINn0iVepyQw6TaVwcvyCF+6+UUxyWuVgi0axtz9lOGvKnIeKiMS926Xa4GNKQSeBMYczxxN7WZ8SoQy6qC7C8bL9SU2K984smlGHKbRnwqpuAqns0wL07T+l4hKl7okJJcFqRVQFST5EytAUo+Is1Pi8DlvzzYcTOh3Gu+uDCOS4BdofItTkHsUoVuO76expQmxP0VD8Q4iv8O6FIgWDUv/XhTO8H/Tf4QoO3B+v"/>
  <p:tag name="MEKKOXMLTAGS" val="1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dGaCoojY4qc7BV7QmMX7IdiSRGfRpneBB4JEjMYr/bJeMKqRUlCNsiTFY9PEUk3fUrTb1TRVBwS3saMl0RIEbogICTMyjy5UKz/EbD4pM1/ZcXJTkpqeoN0OB5N6iH97cmAmQq52lFD1Bw83kZNuagTSWLlS63PoHiI1qTFpPWev04RXK8dAKc4ct0dfRlqXr2w0QfrwxUNwnWIXx3u+vaAdN3L+rJayOz2ohq+rvskHI0ah4hrGpC8vvyulSNef/Z8fLWpajABBAugIvjzB6ZXbKJgAaBGldzPEkbmjJCzcFHTDgZBShMMRuv6A7jJv3hsrziC6qHtGf1bSGoW3kh7Dtj1motY+Gl3GT5djsfOpq43lIztpNz1XuC7MgRfW/wNk8wqPsw0LzTb6AYzyFInuGJuFprCiLXkTBbgstJ6CX+8tlQS3q/kT3DXJQ9+hhxcTUA1LXyPLNAq+LlWqGcJSp/cLUkC+c623+ZUHLTX6elBxjGSyd942Bd3NlarSXiZMysJHOTCtD7d4aGnoc7YW5gb4oK40+cCncDanSwWb8cTOQ2jaMqc90HlAJieQ3xkEeynG4fepF4hYs5+uc9eMLB/1kxnNbE1uGbOw2/NRB9Zbf2mPNur2hCYWHK3KKyvC0pJuIRWHNpXOHCUSV0zXh4WV2JCDH8gyaja7yCAOejk5szDqAq/UhaEuR4u2LvCsKtSrMnf72v08EmmtVkrxkCcZgZxTqD6Dkenl9AEDqWrpD/qKPayYP9jelwj+hn8emN/MPhkkHZ2g6BCO3yvrKsCz11f7WKjy6Ak7WXBQrleKa8hnGffmSVsQ2e1SMb8g/ku5QrbM7ixfAbt8zFGnJ3YW2X5k9wuOsLl7Vy+O3e4wpND47mHGFh27714GK6pGuJroT7CqG5u/O3wvxNKVuIV25eFJvksNWicxxExrurefrOhbgzy8Mjcc4z9e/D7pJg+t14WIEieTOkuxWkGIOLR9gh2T7Kl7KrfGnFcYbMgzXaHtpNFeIXAV3o9YbVj7xMdf+QToCbOSv9mU0XmpJ/Ej8Y2B4bwvw3e/JpadUxbh97d4nXER/lgB0GQ3Ax7NPp9mukyo9MmBYmQ/8Y8r94Lo5GoDwrlS7rRR9VxOxPVZCh8DyYuHfda5uFSYEEuyuFWKWX9OPWw4XuEn+ITo2OqVZEkNt03byRG2FS4uDeeHR8vVaFmyA31oI7UmMFuaUJsRswmKqrZvYNfm2DjcfVkpkNEwqCtl39nDJEFs0naIVQ6C8XYfvANhBx/jJ8G9NHLsTPyo8NotXlvLCnbu0GfevzH+xVdFsStPcduvS/fUOfHIgeO384V9LDmVjcT82T3ELTsIf2Vs2EECDQwdoJl/jQCoFsWq9IEb1rqbuCgPtLudj2WgYwJH5QKMpPkx0x/t9r+geJc9r3I7HtwLLrdRYQPum/gfFoQvt4fPJQE8GI3jO5U/kYVaw/x1XHre+x/quik62YBN9ZDsSJQxhXu0co4ZXxVZITT0nLigUdu33LcCRcPXg2pgfbacaTN3T7uPJW+x3H6HYw0/gtgtouEjOMk4LplhgipZyQTAmJXGgLMW5f289tmNLHzbM4HRpi6qVG/a1RxXG79xY8RhdNxQF2C+ll32o5vBStF8CFd6G8aLO3fY8btAL8HMYtXNMNrtYtR5t5IMP1sMpHWv5ntodbhctrWhS/XudivfvOXA52wG6DqrIYyqaUeiIRxd/9V7uUw8Plb2v3ZzpgVmqmEJVMjSsU0RJdzZ59oGIfLrY47aQcWWrLz2MnwjdvwIqO2TOJiTQn+8MZsSbCQmnRO0OBajVqKnb0wOAFvTw1ZTSdPoN8Kgp23L5Dz8bgmvvQaKTnwa1rZf7QcxgbUgGfHhowiSrrtzDYR+PvF2HJVP0Gh3u4GG6fFlhPk3LFbHO786w0F4td75O3y8wEa1pTGCUIxMBr1FhbD/ss7eM04z9hMORfBqK+KSSRhMfnh+ZD8qv3kmwpJ3dMq1Wa+UucgGuAKxhHbTsuHuB2vK7Yeeva5E4eDUTMp184ADd0navcFR8J8JToEd5ChxU7eeSJSglHjr8nhWKd48WSpU6ROvE6njsEcuVgfd04USC0KTCiCNd9oLI1c2GDkq2i0UmOgDulTZjxHCXIg+PCqd7v29j0Ag2fNOlG4XyUmYwQq5h5wy8FdhdJn7rhR+hckp76lfajRmG1nGfOcCKhfpxjZnQ5QB0Qe0yax0GTPYpSCYNR/2TN8/pE5BF1z2GeWx7fvUSQpCdYmLzMqjxZWsbebX9RHH5I6zOiB8iaTNAg9RAICjUlhLSGqH8url+HGg5jrKZy4vK87Mlw5E4VMfPHc8WzYVsHASeyJtSWKFXf3bxe5y+aLY18nOXNPlBgQkYOATqkcN8YmQks71JXyr6gY0F3C6Kihff6SrWP20T79UdHcZMzAuNWAqEpyvOhegRUM5hbomMEUoFdwRZXItdxFLUqvX3AkdFc+5+vHamEa2tDovlVNttmHdNLd20B+5YdjjqS8FO2JGGGht0hedG9UiYQuO/PjwENsqJlhIhKqQ8vJ69lCLdKK69qMNhw18eEdS5V6P749q0GSBWEOWI2N+j/zEvivJSVZ/v0csHdy3k4lqyvo7WmqZPfJlCMWG8xE2jIwFBTD4g4xG0QhdrRe0bYD0W6ZMKfeKZXqOZcuiDFWYWklu+qSlDH22CUxosKIjmI9fZzA6EcNPBPBh9iFwdt+uAPaquMIIu7pms/kDdku30pJwQtLsDRhGSWnrlHyy/HoIVqdty7QGdGhZGdaxR3HMsvpbCx9kyS9M70hMOB7kWMAmMGAvHXm/8B2kUz4s0+Xqj3dXbx/20PbtumDlIMGv+IpKAF6zGc5Dt9pFPhnyWcn5lUMd547/xyUMBuQrOt9BYXHxf9AvAOU4DGtdnIZzFiSfD5+xarsVgAmcmZF7+kd3de9yM/sc/0fv0u92rMJjgLjo6j8ztRGy3fVG86DtfPxnLQmBNTF8y5t/SYhlSK8wHW9FyWaZizMqbkg22u1W1sLCbdSqgBAvL7IjYxMAJHo7bvMafzIADHY7ZZq1oEvxz/Ds+HXL/q93G76VpSvJ7ciHXFvjD3PrzmURdWQcsOmY5f1NulX9QF2io0kCoqsuofP9UwsxSWY392oAu5AwtKpD/3bZPJ6BRQW73uMrGGuOJX2iNGM1JMAB+KQclrj2E4bQTZNCbZ9JvleFfRxgKYnwUjLsNwwwMZe7pnEUlRymXiYnyOp3mln10BQGANq5rky1+uM5hGjGxxxwcp9XhMbaoDKeBlxPVg/RuNLLaB87XtWll0RlDuz8H2ogjLjUdiY4Yc2La9L2GWBi03rToSpmNlNe5BU2A1QoDeqMBWPEz2JXWor1WAz3pqQIFN2lLteJRFYsAiwiqVkTzpBlNCNuwADQ1+wee363MMuILlHDRZ83kcdmrAQZg9cbvrCCG+PzqpzIEpnRojPIiwlpeN2qxH228knc0at0pFxIJpDrLbVxgm9vOwfLUmsPyU4EIihcDmUSRgpmug4zT1jonGIul0PfCoAsbfw8I2W6+kB4L/jm04UV3676RnL7BjTiIVHR9j0VglUQMd7RjcI64pf1CyxHeVRbnLghnPUqQbv/edRpNgShPLCpDpsw1YUEzi7WXS/lohtPVZD4jrwp39Ps3k3IbJgFvHKkmFvABIE2xxAUeRzhzFJ2haTJG53Fk0rj8eWWzKB00C0d+lfTkz/iHi2LV0vljKPdUGTsYnXbcsfiRdMyzSqeOr3gUoVpbH35Ab8eXKhRxBrckr7k4uerFhxHmeLyU8Hg+LGWCdn/yjf/hIcG9VncDHW4xrn+6BBc3GqQNWcN6UwuSgG83gI54tNOfMS/jWb2HrifyP5+2mEvnq2mk95GUoMExzZgOsoSUZ/n5aQgzO/x2Q/5rLs0RxcMFehMuq/hLaqNpvAhUN+kJzA6CFWQpA2RVylKfI9FiDIBHOGiIq6lz4H0vWdocWTSgcfpBIWSk5W+byy+OPn2tDmOQ8daUXWXL7IRJvoU8x4liCjBaFTPdbJCUmmfhOWc/o1ClDaE4OvmUS8uhD7wTw2A0uO69s0AgADKSAwf1aSrZALglHKiuZkDBLV2t3NWkw7MTrHGz57W+VVsFPeEQDJCIlUm2mfXIz/qpMIcMk7Bivi5ya2+rl76ckRMqUW4ErCLRl3GrQGdlLe5nLiBv4Ixj5hNBsAI9C58IZT3x0+8S3RWNRI4KHJ2kMk9cacFq1+xeWip2QCqsUiZPJwi6mUtK8KtbaLu3lflrPDk4bGvXukxZJjCBA8GcRPQRY0p+JCIyRTfGpRA3fHuRCDjjuMlJXlyHgVrMHFS775y25y4HvOkRtRTyK2YJNl+xAyHTd/6dZh9f/+jWnJhyS48V96Yaa2LfHnVZoz24iuoLyJQivHiABrdVrMROrD2ukL7vKBw3dk4kioB8SQhfztyT58KxvdHBzH337SXaFlspqm+mgMP3aQATvKh1j0jYA50/im1Whtj2E9BWoo9PvUoFJIAV3m0TPQnPsMCgY6YYFfO5Tei37SutBdSl/GZWOxWbdkOXvykajReGz5h2ZdOYmjPl0uFlYGSReC9CJWdzJ7BxVi/PtbS9mmJRwWllt49YNHyc5V7jR9zQZ77Rd4Wl3KEBZ78gv4+YxweNoJVd6n2qHFoEsNuAuCOtdOM7ldNBTc6qN7WN7BHPAfjYS0R/73jtY8VhFQ0Vn/3ci35omyCMNw7i605OPFJhaKRo/IyB9ZjsoQPCiDTtL1Xoebr5HA1uxuHUrsJF0XWnXFZU4UWHn4sve5XkzxjR/JcXh2FWRENUIYBkese5Gug3Rx8yqRj8I/BiJhstyNmQzeO3ogBynGbqdvYKSUGqcFrfn3GlWQBiBNAl0GitNbziQy9Ur8uOUFboN6YvJvS9pG+AGpswMa5zin+wQhyiw2p7cQi3uVFpZJRW/UQJOkYwHPAyuY/Vs00ANM/3b1p2PalhhonjFl634dxD67Prp1CPrlv+R2nlqcUkg2+LXK11cJDKHH1bh7RiD1P/F9xNvhUmfBO3ZiZG6171piA1fKJw7Sun5e1se7tpe66ajaMimpO3EG1f7r9mbq6HXv1k8E8+w4ALwatIiJf35rxy7a4EYAgBhBJBm9VF1IalcyNBxAYGvUvGiPuj0rVR9eHe4qPRKQTcEtFkI3rUxhj44pW/vptUrFDCQmTU7rTuZlP/liF0XszBp0zST52kiNGva87Bm8xRYw2AdgqZ/iqrmu1R3py7e6jFvsb7hW70MSX6SkcVFa/6qH5N3gYK/5LnhutbXwjtX60qR4xW6Ere32JeUXLk6ytVO5t0NzYwXDvqBZhvIcvOEhcOmtlr1bF/NFV99/H5JEJwJbnIYGI/xMucCBF4fZG9Bwju3dwZKGxZJMSfPori3Ta+CNdR1hcOEOsuu37ZjHikfRz/CL49NCyJxfcp5AwZXR1PF7QPwxEXbXkZtk+xn8dmuNBdMLd2/72DzoFPRU+PpK0A/kdTVFD0Trw9SW/PNbk/47GHmRuN4imcLpaLYVK6Tyvorh8PuLv3IAriL2BrHWFWL/SOcB3sFF7Ou1zRg4dusroqi2nwu00PzJy/k8ASnsqYlIf4jWRqQO+Jsa7TpXvlwnRKgvP9mL9Ztv7zr2TMWBVGzFn0fAq71ySaNm3v7vzL+ObJO8IRawNSmFi2oCb1BLy6RQh5i5ytATAHsS/BR37Tt1XhRCdfllDqmUh5VGKUddmykosOrvafEYgJqJG77nbmDG1EpLMQaMwUWFB+qrRX0guAWdXiGf8gE5KaUSfB27qQ6xAgeqVIG85SJaECIK+9riMu44dy1Ybm3FAlZk2rm9hfkGSWSNgpp1+SXSGZsiZ0NgjihOUCAlp1nt7z1zqtDS3s3LwU+3v0OU15WRHkusIaL1HOhQcrlH+ghYA5n9LaHjCG28jOtkSIOF0UVsbhEvS0vwQXvAEzWv0LXwDkG+PrZ3uRWAhDnjUsPMVJ0G3tcmdfiQlfVapELVPqKfvsg/DYh9syP9nBG89JZelhbUpclBhxWKqLIKNmheqy4nJm8RP98pl0kFJDssCr0kPRBCF6N7FrDEOJTwKhbKsm62EnyuvVHbG8vma1aYnrFTsNo5fDLi31O01Q+UDTJBbQ8yRDt2qx6EfVs85qHQkHxUjYdM2SlzoRYn5E2q7KBJUW12IqvAARVaiumAXu2+o4cNG8BRzsZcSmo6Bk5LtpCKnwY931McpWm2yqtpLQxmELX2M80wXv9Io1xzDBjn78ja2eq6CI5I/5SdnqEE7ftPgzmn7D2/uu7SPiTmg92saAwiTWGPrnT8Ol2tBdXkJK+pzmy8h/RAT+ElP1wxmWsgX1Tnw+1nBiC/7M8dj4YXQsnc7cS2BnCo9SquS5blStWO/NyTtrelnPsZVLn6McLKhw2z1ltnNN/Ikdzc5LaAEbBfu7zqfrtyEh8bri7pF1+7N6zEobYWSbO3AutWbt1r/x0oDu0zKjMBt7+sTlPL0ozWyDy8wi7mfN+VAcfalHM9DYTz45ZNdFGknW1gdlEpT20wn0ysjxzZnA9BWTqG2rr76yMdPxgoUGPO5PGb4md66r1crdE9etACWVzMykVVTPh6hoQBWKH4yRLHf06PazXDRdJFpk5EEuG9URxgM0qN9ouGS4rb2vOfuUzuIcnnRtXbgwisMqWjWXzO6EDcZEOrvUFmxMOeHldjubSM2CIbuWUCOEbUjfOlJFTsaFpE7oY5PVWV8Snv+/NaPwBewDzRPY3FBMvDxxVb4YzLEXOsjRHQHmByp+G2YwtBykNikfzODq5TD1yBoaI2mK9GXtF7E1iyakLi6BAcPCJ2qd6dUofz6AaIG6mqs9xdvDKACnC3Bcaj3h6bhgNl7C8+eYaYpA3urno9rcQ6AMY9KtSYGc58fz0l2R5n40DRyFX/b7lc62x8uP8tDDgEbvEqf4hhJr2M/8DaeUHKmrb1QEYPnwHQjF6CJ7suKdEs5Ou4CoIBQ5sq1Twe0t+99pcBxM6i/YYE8tHAJ0GVn8OZxIrO8sKR+O7nCzWKdD5P2lkkzJi6fcDKKIh+cI0pDHOOY657K131WMSFBYWl9q5EJM4eDNglXWYD3FEuexWuygwjFYtgb9Q4rbqTNwearRSioshZjfwjYQ3JXIAa8PoE1LDHg3rs3+7Uec99JmCLWJx4ShqOui/SgJu1Zhe7qlEtZWQGY8cnHo91fKdO6okbJfVr8fWcGCW7X1s6vHnHKDOSlOFyWBBJgmXBR4VXVxnxA2shn9LhkxKrY0p3ffX0OHTALLe3GWOTLPStpoILAkqcVsDB2T79j3e68SItz0AvvFRBrkpkcfPA4+oG1Rt6md5ZCsQpwdGD53s3D5d3Pv8z9DQTIt+5VFxbdhsOQp/e7vnEcDtDwSWGwX88EhmTIk7HR8QJDat46BCVMrRjbxGFY5mvc5wzUGBMv9LAqUJXl0PFDcVGFfs8eCYVnZc7EGRq6tA6iEoAjnacT7PmG6J3pGdaRuG4z1XOJ1jAUAjQr3mfLBEReIW+lzzfJT6LKiSrq3gkJAu70DAYXFvUG7hHYBmYDXV/jAIAKyUBJQ46pyIvSXFraXLqavGrJyJl7TbYwuaBWGZstCZvyzXzG1ixPNRiT1D++vuA/c46B7rNO94ZLP53qlv04WS6PppP+/zQRaMjOd65OMK+4/L7RDq5ALtN0liutGjyoPLZo7+Myllbhy3oGiID5oVci6ZpuQn6oa46vFTdXGhYLil5fBmVjDN9A1hsTrHkmn7tTQpu70+6nyJHb+pPZFPKKe4czRL5pkVbGAwYEDAFh9NarIKvecewUHZ7YwkKMyHrlaoisMg2JpG9+44RaBPA8ldlz0vFEXlaeZsdNPQPBR/GULmcnAaPgpA+KEZxQ/wLvkZ+kKukQHBpwjUNa1OcP4TJ4SR9CO67vOO+3/KNVZVp4H7fgInx0847AYbciFsQ1BLkp3FZv6iNID1oIHlDdEVjuSN7bzgm0NFR7PvGrLz9lXWqnWSUiuu4gTyEzHx1SYtU/x9Z9t9LsotFPy2lwc/8q1vhY092HUQgIlR7s59FjJtEzUHLcT9RY4QTwsZkeU10/3ZZ1JsWbwshoPqYPmqbkIfsAeq8Tm4kvEhaFWJSKfh2WYHrhOBCRmWb9WIRJrRwpebQQZ40jxFh4qDHGXUtGdkFHYm2kReS8lzMVSi3chvBhpfkXOqreZtbOSdiMvOiND5ti9Kvp9uru8hbDBBVo0cC0MYSWdJRvyBohQ4x3Wiuxyjp+NTBgOfT+1HiEziVJrrKsSjzOeXnaFE/ro4tQx+fig+KYeJiRL20vwiGYK7Uc7VMpMwsNdRu0GZjwkwjnuzjet1KrDgkqP7Tj9N6W/alDS4x54xEaE8GbtnNU6pJEszUUh8mDDeptxrj0DhNntKaTanFHTyYg3Pz3aYxk2ASpGvxsIyjJhm5eEGOc+WAUvF+Jmd/ebpzu7bI1Lb6sxOtVENl9mrpQToCr26lv3n5QAD5990bdveVnI4G9PSsFNMV1yma+170q6p6XgzbzYMEoLC1Y+6kE93HKdSJk0H0+Kq9UoWluFy++CJLDlhtLhiNqaOdmsYO3canVdFEe9Lut+n/o2iA8lP9vSxBrhfcmL0cxAGJguBoFG+Ybw0GJUHoPe0cOMcYmvyxp96aav11B5yOpl4bwjtPE/UxiUeV1Sd62HoJYExNF2+Hd1cmdw7csxVPBao8zbusBJxH1x9cepAEerX8lx16nzjoz0BTvipNn47U3QKHH0e/hd49q6X/fHA0NOmKUogycGC/GcyuU0HqXWM5xARUt35tegthMV1/2/dtU9arXLWd46l4ixR3RZz099hJjA/No0pAyPuDeepZjkNVSjyb9rlp+yV5hHiK12lil4yGZ33bkf23bBogtwCrdkWZoID2r3zYlPFdc6zbKm8WNG+BFABdvghayV5839jw84o1E5plbzMB24lR18BysHNYNRXTqj8buLZ+dikxc4LlEVIrpgPdFjMyPvNn6iGeBbFmtTUbIvaihomN92YQrE7QwSnj/KwzvQqjnn4ja3oBOnn/rhOXubb7nnzN7L54rIIsAi423fXgdV59d9mKEsKajYuk2hF8OC+bnf4JBDGJjjws9kUf9LA14jwUfD5bzkg0jpdIADy62DOY3LRoonkvc/aEe+FUE9rB3vEfPA4NYiSXhf6HaRsaJS8og1DbeHFuDmV0hDxwoB8TgpQIAs+L7pk56RZ2ocm0CEsmffOf3xd2PgGpy7XlIRJuICD1LEAMveTyXnLXJSCnx4MTM530Tpu5hMZNr48WwEWLRDC+POpr1gxZ4n86gAPRrJM2lfLkgS967cgWGNl2G4cAybRcGZUUMmgRbPOpB2mTtU9GbAAqgKB1Vbf7DqrWNmJa3CQfq72WqVjz/AFn+XWFkPukqLZu7t1SHu1Mv2gg2/E2gQNGtZQg/ORcFGxYGtl7l7nvyhlStWZgGFlgStEMJZRB1a4EsSFmZX0fnLn7/KuqmLnwKvxoFaXVhR3Z0a7lllw2H4w7siaD0omZxVuwPPW3Dcc2NGHDUiuNre5yyb0KyK3i15Do1Oa8QEsoei+zZAQX9QiEUjaa5JZpUtWnCS21R/ZUt0uDOhbuMk3r+E5ueoOvPovRW5P9XkUEXtenT920xrXelBpICmR8lS4XWimPeW/lbNNAlDSj0aH6qMkVREA8fHyO3ahx8C7kaHnxtxIf2f6rBhQzNO+nALWzWzCBx3MA+TlUSxlTW57hCUttDw6UYk/OVbgWmPr2VMiAT/LEPGdIREZxAK2elkJrTnSk1kp1RgzoT/SKvenQTGhhVl7DG6vIRPztnIy5nnkcAw9yQwezS8BLjadXcC9prLGz5pEHCKX6FQIzc4w4RIhw649XQ7qtA02gHPyDf+61F31usVptGUdQEdC/Q6rv1LfY3sRk4DUK2ERok/ZXCCJQNoQh9Y6K1VnqO7oG8Rtmys0vnCgptSXdGiD17jTOB5LK3lzBAXiGpuIjNKCIN6MormF5mEiPi33apUgqMKnH6bp4k3Bhoaa2cLh3QjNkG6hO7yfAsoc43/d8bOJ7b0H8NesqxxxxC1jv3IteQ41XCBzMD+u7Kn13iWFfsse7atF7olNiNZcMIP0PqdPY3RLfHXFDUK6WGD9ZZdwRWmKQ83JhDr6aUHS8BV1OxrpTbe4ZINPetjdbUzXX4xnjcfkDQTQy7uY9mGzxYgGGc+u1pn2oDSEpxLNsl3Op0DHgpzBz7B9KLlmHmlgVMHRb/yqmECtDnJQoRvoyPeY1X7qAa2HhFTDhdQQE63tfULwO49f3asPM1duDpyUmxMnp7Yp/vVG2kSJTX1gfjgrm5kU5IazO2C3x3ptrR7RXpOgA6GlAvAaZ2Ui0FVI9rLh49UFpJCl90a5PQd5A7QPp92Dg+aafaODM+18DdTCf46zyTHGTYY/QkGjJn2+DETYZSKWUIf/Of8ZiELqmoiAjFny2zrtaCzd7+iCnf06jdAfka6yWVw7Hdj/DQZmNYG2p+euyiCv6xPOw0n+GHieqoTdCnw/4hIj7mdIiijPeQ3eCmITEHajlN5LGcU57GWKGKg0fPqLW56WRzFBEFDdOa+11fJNMbM8z5d2I6s1YOiAugl+csG2fXA1F3wzZnZoEiveJVpSIjceqDUe4deElYtnDZOj9cBB/QJLnoeHybEfwS5rjEv0tSy7g09lfpc/4i6TXr/KbHCS09yjklwFX8zYhL1fSgUegHf9g5Pfs2LPMvmpo2tQAgwY03d1HEtO4mUFCmpiT1804qB3lHdhLkd7eZNvDeYEyxMpwrz8ZQiZ0jsZGlO+4sRXeiAvVxQTEkEhv0JGgGRVqC3zQgpzeEoRM/qhibZlkOlVVJT1tKG+qgKS9qAhneZtS2MOaHLe4zgWuyfeEfNf2NmcN7ZlGA6XtZ+ZMX5at0OTetReISwo3ok1nkzFOSznNeC1UfC0KnAgFHfeIBCg90T2OuELqZ3qitQ/67sJusygKCMFjOA2kf9hjetuuJH7byMlwUcDDakD9YUocveeEHJGL+UlUfL0TPrL7y3JKrRVZVVu3epTsoeP1OQx98hZSZJkLykWKx15MwGpU+PCCSP8kfKfHG6DOe5ompfGXNb2b/WAFj5tpnfVMnQ6vaW7uAp7c/KOMZVAgv9To03TIXeQqfLfBvgU8i1VNO0pT0Mst3HLmncrOXqv8LVhEOAdVbDFpIg0iqPbxR/Xvrz1hTojrSgiuPYVHs4wFU/bTY5t032VYjaHY2ORkXzUr4DDQF4IERZMp7BsHHNRvKhY7md0N+HWOCsHQlNKtVIllGAw7F5dE0G8vEX9UgAO7BRnBr5DTXtsHdshEgb5ilFZDtQrYwroycav8m0+AH+Ld5yEkQ5UVspVTO+XKf2kUH+95FNGYd/rFzHPIRpzNPB9LMeIgSpF+6uqz0WcqpS/Ukzs3nO2siBP6OulnoIXKCoNqBgWHQBw6+eW6MqfDhpYjMH/R2hMFXUyMRIFpXAkNwjSB/POSBX4S0csLQJ/CGNtzjzP0GiCN4s0tau8a+UwLhkMmyNcQD76oUVAc2ptC1G8NqBgC8oR059o2ycZ6SMVG2A2mJgYbuOhfm6c+e1TYmjYX3HozCTSXidpWdiImeA5udNP/iCWxrNs7OXmzAVA+IVu8KAEpcx25pEY4lkERUXa5j7xuov+AJKw/6GW5PBOVbiL1kmDqkalHG86RQ6/QAB0IViF/RiTgzSPCT8hVgSlFp6AqVM839YOppCcUEqqMBO9tUWHfg8GdFlMKwyk1+wQHHIKLF70Oa8G3eZTco1TU1/BFTtzjS4fgeO81IK8H+6kifPYs5QeuyMolM0sTPEn0+LqKQLcWnddtlVlL4ogC/ZjPE80vxsdYE9Gv+go+mAYS21GZ3XYYVXR+cuvp1dmc9HorLJyjWtANjqx0nZt5oQdfNnkcQxznY8LFGDLE81h5cQUXWKgOSIdVF3mCxFRz2fR5B+2Xaw/glral9LQx72EhizEDHh6qD+CxrPQtsk/vRy6yfKKNpxHg570hlwQPz35XLuvQ31C6hWuR6KGaVAt2SCuqYD4Vyl9OwbbUhR5nd8mkiKZGRIqzAjsqFlSbuR19p9x/183uVrtlElSyZ5igtQelu5KK3b7dqbzTW/f2pY6VuPsBzsaZznEtG5z6qvxwhPDRRwUzabdkrDtbSGM4D+DgtfRk8utu323kpnKygh27MXjLKm/5VTor6EfoVJkZhHG7/ZIgrOaIdhS4r3neWPAqaXyTMrE4b4HkR1ixnQpvOYZu6ZpIHW/X7HLlCj44Mi9ucuWNlzpsm6awzJycqUvK8pOLMJ46fCeCetEixtTZFyrqtGJZ7CGoc4D65HQNqx87+5yB8t42JGxtAMJwrIQPKfTC5kdY8/hn2esiJZ8uMxgn97xFa/iU60KCp7wddk2ohwR/b+dKWfeXDr9nB8Ixod+b3bvI/UHsd4TJ6FCyeMkSzj2DcU1lA5izUqQvfs0bnSzzqrYVk3IT1D5RLVXESa2ShmSxT8c7v09GwZvfZ23TBpfv4WNuNuaPIk0ZZ0GQ0MOy3IaqKIq/vSgaD0TB+h5eLkkoH/vHx28inimHyDIauRdZZXIvo0rRHNn7vu4bvFsTXcILPk91D9cl7Ix4TJ2kQOLIdHv+NU7tRQHqy0GiXpdKrcyvnMokfuJPGpaONSRoo1PMzsv2V64N7vmPuHMDLJCYla0i+LuacT+54ocTh+5DHoP6J+kCjT5zNsP+nGj5FWtG9a5pXxwB3wGAYNcSRKZBAmAD5uaDFmZKcGVPoczRgPjQeh7owjaLZ1x2xR6y/oq2VSvdB9nzDfS2ABZ8/bUUBl0/g13TYjNxV62bL934BjJzDmXkUymMQDvd3u1COrKZgCqe0D7WjyrQ/dmpZoQh5Wh485+JM2duAcOOY7boKVFKrPDAGeAi0GCSMesKV5+7RogemnNfUWGcIDnyR7/FOSuOiDLaRS4+M7vcekTRBNsPMDfG/j1GqLjq/iXNhNDru3PVrlvM5CbFADPgZrc2PQvSh/G1xh14RdbABq+ImSYK1u/YeQHR/06JZUzEw1+QSIWB+YajUYjGELu9a4GEJSlhtsooK8iRdRtiX/lms3CuZg6xYJHcw4Y3gy+gLhxIcCno1ea05YmjDRixxDDPx0qim4Nbe5UKAFTygBP7EjBuywFaEzwvlnS+0KqLxaeMwPW7kwTa8/uEFCCuS4AWTgCQBa+gSq5TV9QnrwG9AiOxjWryluTCar+yz7xKbsYaC7xuw7Cu0y2F5hyqQBr1lgwbAihyT6qUJEIYB0TUjdxSxuSFrwRmiPqo+ETbuOpb2Dn+A/F3GPjFGMOstoJONmjVPzPCqhi+k530rBtqQI0lvpbTep/OE9c4yH3edjIVjNJlAkO7e8xvNc+F7tO1uLqTY1YiiRk1032EXPnA8czYs4fq84IJuPEz9qzCQFCua+4ZYy/ijCW8T9hd2EA8703p5si70D/yd77USO7oamZ/r6JElcqQ9qVBwo6Y25wq2xvM9opTTwD+SpnMfpbiNPBFsTXHORvbMtyOHt1mnynsdssJM8HEfhi4Zotbwra6Ah3Ey/dsEizmYecNR6Xytaow68wUm+IrgdvTXyFrCpUqQ2VHlbYCoDqhwXoErW0HHiVEvxK3Wdkk/tTMiysNlIYnjB7Xbh4KmFp6pIoq0hcmgFKF/7cTKROET/49XdZHXFQ1YUiwJyFf+FRlI/nw/iKFJFrB9pOjWpqARrKcgX/9o41YWPeUjYLeFuVcDR6fknZXO7yLg1FfRn7V5ejp75tISkPxYK/4x0t0NM3B8mUvifu4sddf6Bjy8UOTAXDfyKUKIG/KbdgS3PruhQ/gTXDdpdjpTp4LFGY1NlmCTQN5DmMniFhAXZLnFEZac7gH56W1trZhXYVfeIIWUlk/XoYVzhb8ry1PwOvcxLchIkqr0xUmEbK5rRS98GeVM4HIsh2uW0N6D8IkK0YqFRde++XbIUQUQ75rjgNPTcmBUEV48NTlRtIulCHmED5Vh5gvyPZpm2ZRlF+RomknAUbZLABfKnMfzb/hP8nBpotyme0rgU5TYNwvFCFLNgvGh3NmkQV3+oaVNf9mHbCZKXWGpVL1wpEWE5YKmLTWLJSBiX2nqSOJHaSRUOwwoAsARRgVc3lw9S2i7W2ySIos5sgNlSHjLV7IYiYvtfHHzorfJdEX14kxiiMyvprEMoIaWSLvNNF81tTtD1HfqnjmI0Gn/77yAIkA7/IeAtrd9P2RPK6PlIvMrDMFGZUKRAd3ShB9OmFl4w6pS3fOOFW0goCx9XgnKCCK7DnBnwu1Mqgs5kV8Xud0gxzpTlYjNVdHvbsuRNfMmmZg1K2+XyJnp9fsfSrjWZ/ISjTW54ujLMYsQHWkpsmYcaTAS+aprjrLv07uBnWMFKc3uW8dXIaHVGq+WSaF00RYtyCMWcyodyrEMw20eLxeuhMSHr6LFo7x1MOVUPp+pzyFJX4PXtsP17+a4ipr4lFdZgDktJDK1tIRdiri7jo5enNrZAyw4noVGLVv4jJxtlDBkSgsKTV4wQKStvzAee5Pb4cx2B7SHd/ZRt9c3VuslEtbrzw5mRR8cKz1m5KdaCnaoDpsgA5M6Xg/TH0zyLtuhtAuttVWT0Oh/VbwVH994KBK5knzfQ18mn0UFIaxmlEqemoO12IxZ1k6aH/uA0AyvbPmW+17rfFVo3aDI9gjo26F+1Le9RMIv4+u6HJVyr6ZJMuLFcKbq0I1646DYGjxCWS8yOiRNzMlKM4ddscZlDVDEnZYCXb4bSf8LNJoNJMoB/p01rArmPMTrAfIe7cXIbTvzdSEm1WqgWKT2xQ6X36r+ZB0ChZqClkz6MamCn3PKjyreI9pANuAv8SWMCtHSWKQ8wc1Wef53wMgT9lQN2/F60Kj48PYKT9gpX4+VdyIAPWafqCQJ/LEuYNFG6B97vJiC4CkCzEsM1KSDRquZT2tNq1uB3cH7yyJHDJeY1XCOVzn9M/DDPtgzBOuRl6e0m1jYFtoiGL4DKvjSzixUXmColi1qz6d8UVFBr3Nvbe37xzCAl9QV4LqFZjBNqWws9/kvJSPmrXYRWtLNshQYCFzdkLsdVHkUDXcV8mLH+CQICT6f+LunZQo6ZcUfdthxkrIoCnZ5ZkEGZmR/L8d7ErkWq4B0YrFKL5l0X/lovm+NtVw6Z28hEZLNbQyo83Yr+J8OyshuLk34fLW+/qJowOz5+y6kl1SaY8bhKGnSIKkRZ2xK9DZvA4ZI45c+yq2jAhd9QWlXd5IF3fDedGbUAZIIB8O5XbRnGmKbqGTZzbGAbeM5LdFrF90oXTdsVbOEEyLD9bTh9ce1IecJSvsEsAh3RaE4DoBJRVhyQAQl4K1ZVZXxdQlA9EJY9YJBi1X9PN7S/ZjXeqB3SgXAHOURS98De07fjDwv2LSoK5m0tQkzv9akyN8LNoZ7knRh6vkKU8Bj2hL9ejjnjo13/okO3/7nC4BT/dRSKgnQZhgXd4rOFRV/+khzfPqxiszJAB1X3+swVM+ussZ04DFnclzFrYpOttJ9UjiJlGKSWN/KBqopmiQ3vrabKsH8x2inIkYj7F+QfFtHgkVSAM3NxA8hDLBoD+D6COSPzZFVetZDkKm/XHl3bOXXy6R6wmiUGORYNtONc92u4vt3GchtkMSmMPKfWdLMpbesAFnqn6K/Y1kRBpn5INM3MkFgr2eRVS5U9esdjdDtIzoq5XdwwS5pnjRR+s/TmULGrYtKVSMUbFBhti/fxlTCXXEwzn24CL8iyRuUUtHQX7BOhhz8TI9MDLBj7656d3tmVQN9NygB98DQDocJv0WgNjF4qtXfpXLF09Bd7hOqT7j56P+ilJxMeXpnHvSGRxiKd5+BVkvtsge/XcxSf1Gp94pcHqy2yn51ARPF7t2RCeoGink3PHu3IWYQ5fJ/Y1C4FcQ+cTLAl+RmXjhXTdFIzWLcW2rP5+lxnjFZ6kOluBdXGXDCRRP9DkP3sJt66W1w1VENr7E9IBl0DH1eI1ANuWL7lOjfEbXzK0eQ27lm/RF2GxvaV9DNWCndhOPUvXPa4KK0qH+t8Apdl4X1jlsgFtUD+LBz5B32fyaQK6bTpdMHX9gttItxkCf17ydh5h7T+MhUzFFED0nkT6SpppqN0oY41PR6jDFtEeR+mPEL0DLHcixEhwVEocQ22u5nEUREwqGBgf612UiPCmna/rIggbH9SM8V6ifV1aX0V/PCqMgrg+9RinLzq7w/1r/kLUDbAd5MKybLvCBZrqAzm4COSV3C/LGuw/9h9sHXkrIUGxR8I5IoerGyW3PnPE/2/nirNh8miAOTYz7ef4ARYbtfptU5MNx3yhsybVnKI4RKv7N9EUBAhifpNH6ImT5knIVJVizh06F8YHXKBl632TmytEfkpIi6ntSohSWwyA7Qljb/nI93Cr4c+olGPX2frrE4yhcCOPR43Q1oe7HwR/Weurz+biBmFkTkXW4PP0u1MWIMo3PObYLF9OZzlNstGklQBayDuETYVdY1s76RE2gFYZQpxKU+DNr1NQZ2Y1wpFI+6NHurDOPv64eDR/Xzg8hG5dNUa58+o/p4gueozoWTLhycxSmLQGUSaNHxoFeluGEIoyhxOVMAvj3MjKMRpcmVX8E2V2MUMALYmZ5SzjyCCDOkvuzGqAHRENYinAzFFdc74jvHY7qTBgJb3aOzKJr68hpMLG8r8WnY5ctbFsExnoJGyVNX/sqwoqhBzzAOBhcqjTsHLkBBEFJtuOLfKZp0x8sVrxQcDcTQHo0eVODVpNrEwY2qh9AplQn64O+qfSxGRvMKptquJDzJej9kRrh4dmgGe+5+J9FrfhY8Pa70l9qs6Owp5Z2cpXw9l+UhNiUiqczoLfyniIJMer8RPmZzSZ7Sl2SKtEberxQM3E1/B9zL5B4jwXkaxK54qNF39088BMAVvHCXErmTqO/H2g0GYMA2vPKMWgdeJUDKyWyW3tvGWFUZ0yHoksVbYxXzuTu6XIwwYKWaGZ5V96y4E0T06Yx83qbb+B+LHbB9TZCM9kj5UzshUofjckvvmK4uHHeHj3o+4QkiUqsccKeWl8xdlgKZjlSR3Tc91AEnwlcHjffkxvmTXkgW3jHcO6yjreorSWbXKa4b1YQRvnb+faOIGVZsBInra9xUkIhf8F+KX6IFVjjq2VZnssGd3M2wn0Xn5qwgIbs5aawKO8yUeOcNTpAc3GZTlL8upGpgAQmYusVXrAx8g1EymICERdzk1ZRb+CZXn4wJMblYbxsD/WSWC6sfRV3J7vofDLn0aQt+587frWeb58aMswODamrHoPlARZq9x11Nxe7/5insWdibHQ9xs8VqmB50hdj7hJcKbhD/Z52UE07JbB+JKzsDVjm8HbJTJxvne/w2dP2E4ZlsAQLPgoxbTS10ORVSXaTF/Y7eZLt0WhpLuqMA5OoNC9DpaeenCB3GG4wxn1hwKdbsSfV+p9O9vp07rjU7wE4EaPQVSSHX2VlpwViIAy/Jvm2r+56gW87OjcuvOAzkad/L/vHBo6X3lEl6QZsFWvx2N2O/1Hvyt9EmVqkzR5slz5imhfSdRnnXrET09vj++xDEn/nzgMwKEn7vM8Cnm/dI8/RLylK/btcK1YbVELJ29eIEqILnJxBXrEg/Rqpj0+MrUIrXYxeUT65tqn5IDi3onNrkam6tdtXdbMuJbm4bC8AGYC7C8seFV3G6ackAWVaJLNZeKCoXPqfI0vGx3cjNNKkkIxfG62t/JDMzEoWVsOBywCTuKRalmi6Mp/jTE/p07dt/0LStdibv/u+WeuZBx5zdZKGOGs+1dKkt8rYTgttcMEQkPEhIpnzDwZAoImwnxzne1qwuUoyEPtIh4psjjGlVWZalUF03zzk6u0kpNTugR+E2xPNpm623iuwhtuKmLNoHzH680tBSAvfkFAEpaE3FZIIqYh6lc8RC72rBAUG4G0Yb59PCh8+dKiEdoN598MPbrTFhfXyl89HN4XTK/a8rOm79zUHWyB7Vx5ZaXwQ7uBvs8mhjS/IDsMI4u4HPSKY3d9dYSgFLgcUNMbzxYwcJKzzYrrNmF42Z8z9/PlWUanUDIZf3hH4p+FbGI4WI3zkKRstXQgOfGPzGpLgFt1TQAIs/fjNkcKfpWMlHHgR+T/JkvicSFSPyzlDbVcFtz7DsP4OtTP4FtOe1sBPtcPSVEJ6yD3tOo5DOYDZyT1C5HxvvaUjcAMgftMtOKr9oPxowNgnvNxy1o+fX3XwA7H8zSh9P3E4ZmNALbKZLqFy15NrhJhLlFvUP6ZpQa9Mdt8bNpfLQm3X3Tj25G/XJBNpUXApK42HCHLw0psfrY+STN6o/77ca/uHIOCdPfpRosOKoof2NqG0Ou32gW6pLnaSrY+tpvzcN21PiBPrRElbDCW6+RL2U91HWUEDwe7gcd3xkRAVwTkv6co9JMC6w6t9dBQangcoQSUirqjFrz4XrFIdD/UFbr8VJfvNMUxZZ9q43hQbPKKq6C3Bj2aXOjGjAVzj/sPzXlJNu6Dd5ZBz7yIkYLLuEdbw+i/OXekoO83kBSjnq2VIwngoPGML5dstc9rzUKwvgwi/0TO9yUz5u5PgJviAHjgENOq0/g40iJLAALjd2/8B+nZnu5XHbgmyZx+CWr/RpqtVdQWNN4q+X0s8l2pW6NOLJKgCFd4PUiNu4SVlqc7P2zGJ3YAz2xZUpFAZ0tB6oigxuLSobqdecD7Tp7n4wqYSAPjgGUT3sqTvB5XXWprxRU3dR9A2hJo8YknBGfqplBqYYdlpda7hLT+kQ5qd5XBiF/iIC5F3T6+Q2cho28kzSXKOacn1VNa1rR6N4jRaidsWWSyfZh/o4tWPHCd8J0Rd7WlWLl0kQb7tKFxwk6siPqgaBUwGYFxZtKgn78THgZLQAH4XzcAhaW7GsVT7sXMDmj5c0X2VDTgeBmMG+mXLprvw9y2UxuzIbxXt8u6vGbZutTnfVqZ6+F7WN5mwcCkXbnBK3cDYCBozyukOqXQF68nrzIwy9P80Iuwkpm/bvxv18KXm8imiFhIxmF7cIPVHUWqnost/FUy+L4utzvlixmXy1lGBYQw/HfUWKp1PWm5DzSnIrTt0am/EtvHUZxlT2hDEGdrWm8jKQsYnRrnPo3uk/cyT4p/F8gsWSjDmRVDZqJk+P9ktzaCcYK2OuKHmGdwDpXIVc6W8xxFgZHKTNybXFov3P31a+4NqFudFVpl3h7JgaHqLOITPvoBY0LnzWDhRy2Hl6jZEXGbpaTqtbEcGBfHg/nr+FOox3grn9ZzcZ2e63ZslcAFk2HkFi13uvnxH1x9LxJqFi+dRg6ppDaMBHI8Uzy0OHp3WiluPAdjh+1Thzp26kc3jatdHFG42mi/YoprOGI9RhcECfIZsK1Rz0QSuLavLY1yOjCpw33wPBXucd4DeDrtrOE/kI6OdOCUr1W283dOmj8V3nq077mRVywk6M48jYWlGr0i/uJqjaAUnPAgtz0VvF8ZbUKh4YVJmVdoEtBJimlH8uCJXxLTKp64LXxKUaNKcb+pmmKa0gWZKHu+l2ku/PfquXhGC2f0e0aWxAsOW2GUZtREvHsDQzxcyVlUjD9G+Ybi8dzeR2pviidJKteea5M0N4sWxypSV10t1kSWhHQp5QZEelRNNkSnqLjyOaqXjPiUZpqW8Q/C2Pk3Ks5QyLRUL3fzXZtqpJDOeNOLJpMMk0Uj4JRtmU8XZBoIacvM170r0X6OycsGMKrXARKHN7GFPV/id+KvHI+gAurtyI1M2GF/lA5zEjugIC9ffE1w/PKoSsi4+oGQDFslj9q51LNmFhPQyHfLSvcGY3xTtHuJICV7Nrj786ck1nt4M8HprqkxN0ceLetCeoBWcR+/Frb39M7T0x3j/mOkxB+S3PQFBTBzMG4hAzp677Z6hkynNQB5FLf6Z4T+MEK0fCsEGCFKMdVSJm+B1LmE80B5wFMo8hUJoFXJiedsOVrKkf58vqrOtxbUactHILRw9DVvSS6rVrpKw9CP+yYOdi4uCLscNdzUU0DBLqx1dA0W7xGGFugQZuH0s4M4jJY4PbzJ3qGDsEbg1fhAKqRANRKVR/x+N7ixhGhUKURTipnN5O8JjGyHwnG5bkBF5+3v/GC+vOndLIA/6cN8VNwRNgLwY4Ak2DG25p9hqyogyyEWRWQw2ingnBBXfLJEQsiBj4Iy6w1fRHBFlSJcTxEdZtZUIDJPNw17dBguXICtpAl6z8/rGe90fEFlNWKw4Db09LCHJLsr9p1BYePVjVu+tFf5zmfLFatU71e1J3FW8z9rPwFcLwsGlDszRmBfzF8sntzwklBrsbd0FevtVvq01QHx3IJENljvFmOF3FMMuEG3aV4Ck+YbisTXSdndpOqRv8U3wDbKPzGuox8Sf/Lt5plEr7lKFsDrNd51Rbx3liJC3cHsYSx8LG5W7t47xj4OTRKnYfvQCHj4MJgUu66aM1zKV+6ZpQe7R5OvrTUmCk5B3j5HgwbW1MUng39LVk3HCd7N26SpIRJ/NCascq8b9nvwSasX/irJLlj5hc3ssQ0kLunn6bUkwBS+5Tuj65KTZvgY3dmXOCivosJISP0xj8q3Md+nPOQOGsd+g/t3RQ+cM+DdWtXMeVCPfqRD0PvIEbxQZiMRgUs/2rFxBtm0cuDIZo1/DjqOhgwFNUqadzCmlpkM2uGuX5i2l2q702/+1LZuWsf/pEgXgUQ62GjLLj+wyF9wUmnBOHx2hY26M7CQb5v5fWz4X0fqOq//d4H+9teExmkzA8AAQBdSbTbUbOllPOR2mKLY/PfHt4JnrIswKGJSKAEqhzuLz+3sPnvKfeogDdGu89H4//DNb/A19KH49aZLhD9sJQCWJCdAXPtdZZigtbh55yPeEmpnwc5yyDSrRtGIJ1z0+DI4+nXcps+RiwAgYV40+3iTtnh97yHQOVGM1LBbJgHsZXbrDCzhzpiyyqfpZzm9PGzsWma4R9FTIpB2hPVVllJoh9hCQm/qIktQ9lEIteeTTH9cOaAK1wsjamQHwfuDuy7ji1t8qrMFOd9+YWhdx5nfdunlHzaBmMy3serPlVN7+wKS8LZTI/BtzceQno0PMLKEMZoad9EagV+U6GjlDZtrDHq5gzDCYXNXs5OOuLKCjiS1M8koLegA8kA9FXHuCKM3KXJzemc/1itpurIs0R9ceISw7lnoRpOvj/kqmxJaF58lAZEr4lFk7VkURUg9nQLX5L64tr3E3pbQjh6EYslK2+Kqglo+0QHuc8lBbKfm4oWDuF6h32p2185ftVuHGa4qCCuJkt6fDWITUGy2vPrUw44noFbMTH6lQGd3hxZRMndd5Ep82C3DtXcVSyVCW1fo+nrZ2jGJNh6fLxzU1TNic8sluzujSNOJs1guYnYG6y3EngHbdz98KR6Dv5VD++AYdnibXmZfzTlmGAMyZx5VUu/1DZpusINB1mpeoVi9PCWlFzg9yU53TDTOVrrhNWFUhMOCAwdlcaudKTYqXxK4de1lFh6wrjpxNZDhSJyVGGQDN1EEnd8rHUGKIvJXmeDunEc6LQBOIDMnzNUK4s6RAX75JJSvHhgt0Kx5viWUpOR5fDubH2MKQ5FOSKB7IZek8EaOFb1f9NgQ59YY8ah7tTkrcgaap99+uM5qvhB3DjnEtL/iuiL6qUVXL5t/pakeVpBK8MdxlDO45xS7PjIGU0pnqoAfTMoGT3yqRTBxfGG/egCi6en0WHvyZcd+1UoZVDjcRHmwSXObtsYcpwkEeSdExUMWDh0XB1cQqeQXe8WR8yJW8xfP4ilo71fC5gJHG6vAaza7GDfAyZ/m83XYIVLOk+ilgJ4o2+CydgBsQcy9k75KuyqSLXsuhVZWaA6mRkp5ZTS2DjSte0mJ4JbgQCtlu2Nf6LhhoNzRHdf8btRS72u6nYmPpTrwEgvqefkVdZq26iwHwIiDpUv8kypiZrAsrBurod6E9Sa4eR55FrWA+xgxDGK+5CiONEn4KJcBgkPK/eNIQ0Eat+5cEXZhwCm+aRHaptt0tNTzvZ7OxJjM+Hjgn7nIZVFXlFkyB7u50WTbwEqI9d//1YtifT4tLyvZg059yvd+4iLVnvDVSBWUo5i7uenZIsCvB/lbfSu8dAjEcWCNxX2XOjTwLZCQk2RsrwF0Kfh7+8HIytAptj8yB/gwKbOPrJ7TPHt2zhUHpHYAEgmV3yF7x3wdfiTbyWkZETUKOOGwqazgA7TKtzfb+RO7CPGMOFvTikr3HtZ014qGEWrqWcUxTQUaLgKJ7/xDRIhAkKWgEzglMEmmbNGJcBg40TIsdhn7ImiuTB2tFOg7VPx9laHLZSimYgl071r87d+CgqMHBFVoc0AW/hDwOYivHirbUWFIXc2KRjjcz9bSgpfIcy3rdbgKDtiotIdixQHojH2WXJZMsSB3n03ugkVCmtWUDzv24nd78J+qgT4unu7L+UKzMuoDMa0e8mDaQ+T7Euy8+zOy319kjBxGqzh+2m2wm/C46rcxWZwZmYR0axRK3DLwXh1Rd14ytrKjwkMopxoCC4REYbvULs9BCxZMi81QScEk68tXmYdpcdvSuCvBZ6rWfK+M3a2E4l/RILJAIymSgeiRkaE8NS3dYRYj35ZDqovAPsgnjrtSVWlgJzIgolTL6z7n8dFgxClPRoXHv6IBY2KdtcwhkHgiSoJtG0PO/SlyN6fM3LeuJ1ceAA+pdFAb6m0qEnSS99cAwxRgh/BvUMeYDBJxGhwOQU8RpLVYqYCWfpJeqR2LgUnRHNoEeXzeAOCbtuUWQ1GsZSlK0NTQPGskb3TDU1SxAxx9znqv0QJputrsl6XsHOyRrG1wtacRxUhg8wBxUX5EWaSgkX/t+CSoUN4jQEvMJKCsBZvoNQdgy3mcMQIfA1hjYooTVntq7FLUpaxNhJihN3DmMvrzmjUE9czUdQD/Fb3xqvimcZJEhOM0FLncaf/MBOPefTbXrQ4GoqURsv0ZvM8jXgyM8x98D4dkngqThRWJ+3CHiHPL+BpjS4x14TKkG1unMotHg1tk3WyARTSm7xJHEM3Ve9SqjG90Slt8hVFsALaZ/wuC0Tfhr2BmcMskl817XtpBo99eEQhGdnxRVKcABa0jI4WH+dk9m7rMcRgL/vg0Hm13NCqJXBt4pAZNh526owKfcRU0mwcyD5KSm++uV/s5Ta34XV9r1dnm9K0tEc/4MXKIZSisKTor5F9uqvwjCZzChvItbb9WAa2eY6/RzQgmYigcRjPVfs+ubFiQseU5uEbsjP5Sj7nNu7U+p60qym9MkdseMCaGcyx1Rn9p/EIMWRi2OsBLQMG1zCIdUPyljuRYXvauOrDOHbyXlnnlF3askYRwzmI4uFznLSPI2TBnpyP0LfT2rDZPz3SZQDU0p755E6RYwb8ABBO6SI6Al7IUGDwoj3V9Y1sp2UWyd4c9a9hMndBtdx8UnAnYBXtGbZeolrenhxB1x40DeXR44ClrdtxroOlF33oCZ9P7jkPNUrLFYUHXabsoTlsuhuDv2X4MXshgRKCMo4A7LnoCnVdDaZKGkKW5bBo/tdFXpa7mR7H3MGGNiosazTlpa31NeGulbneRnW5WwvE6Y0Ghtrm/Z9rPsoiXhkihQOaNEDhYr3lSi1BxCI9wZbKuI4aRIcd/jeAVYyphv2ymytGi9gANWe7YAW2vfuFmWkGE/pzA4USoYiQpFlkHmJC01mtiJ4sVZaE4uy4H3eIrseaUccjR+mM6y3vYHQGaj4PeWAzyt8gGCNDXv37Qb3fStVZGz7c4nJ4R123sy2XPtgWR2x+6UYZaIiM9ZteUUg0FlFXpcRumf6p8WTPGIkB0kpwX+SayhX57eR1+EmdZLYwA5nXCPxiy16LlvvqfSwwP0dP6+/CXAyZuHB82NZf6os2JBG1ZdJbFZGmFncSVo2bLC7mniH1Th/P2ruGhjBmYA2FxBDoJ31bcU+kPZt3pCR/9m35S5krKfg9Je097HN25qCr9R3MJ0QG60T36gAPhaS8g9fmOOjFeH9aWE5Qjywx9jyTbHOB0BTesiYik4zYXdNfnDhGWrLlaTkCnMRl0/0xY6MYBrQx53p8fn9cWUsG146HTcyUlVDDQ3IRCnkEHxL/2i3ifar7E2g5x80P3CBWum0TRF4L1Ylfp/1B5odqnDlUKyshJ9BDi806QKqmWIQXVHiMtopj0CyL/AW+kvrY3hSzQqy/N4QOlHKab7Moy07WPajlpoeeBP9vBI1R6ZtJNs+OuMH+qN4q7CEjLLsRpQUVJa9Li/nUbKBFi2ty3K0nNke5mfFZF9ijiYnmeWSTSQ2F+aNEQTySmdl584SRkUH0goQdv+8BDTebXefl8IIf4Okw8IYVdBuqg7Wu+jO5EPkK2xK+qIsl6c5ERuPVM5Bmu5hoSAnR3HSaKYnGugJs8kgotD3urSEknuwJK9Kw5YMvXB02YtxLytOP2DCd2mXs/k+Grxnu7YqYL7H6Jx2CXQ76o25yAhs1h+RSQRlZbDolqR/u8iQ4i0P83oN2RINClAxqbtc3U4DDIjj2i5knPGs5TLjmmm+sWyuZ1usob6a5fkVjYYGCGZfc9k1Y3jIIzw3ui7Y/BVOe5PhXPTLUtcUSWAKG4ixGwTCvCYZeXkFpgoYh1HLYIybeUqbsLcWRuIkV4vhT6VmrhquQgM1wczQOblQ1xjElgIeFM61DOgJa5fZhKbQ+Qjbqw4JSaztIy7HmB0uxFKQlMtD0QBJexmfMhV3Ld8df992dI/2XMS4VJpEDSLfatGoZqLbyYoR8HNcVR7Ca9UzsANxrO6+VRqoenANN7wTvCCDl772fi9uxoyKQkvCQv3DOgGk2RJil148LYb8PHfyxReNDu+tgarUDcrMGS1Qizb8zU8FhqqNlWiyNVTRAyE5bH+bRW8OcOgXWTdn9NOZLbEaIGdDcDIdnLu3JsL072WFPhZSqVtV6wZfFTXJwYuJb7RAbl78yelpYRk9/ko0a9PAwJvkg1MbrMdPJ4l2K19c4jEuSj2HI2cReuxn2H6EPj26pWNjm7uHaugGaTdz4Y9FIda+K0iwK9dg0ybD4JPdA2/5pIi/DlSJGLU0pwF7QawXCz9jmq321dTw+PAGtGYVXAWCZCj6ki12ToZtk3Ftwyy4qn8gS3ifmgF1nr8QK9iZ+ScFovr7M52thp8ucwuoUT0egnJw3AAs9Hek+np3sQ0ayGfolbrWd+bHIZWwIAX2moP0QZK0Id3HmpWfGcRtgEuQU/sDZzXTBJ8rkw6qK8TGlkeGxNOwcr/cnFzu3Otit0pEH/3HaiZeC5zYMW2x7mmvEMcEDq5COfEsgxormpmTrmFlQDh6kqhWx97eCeSG0As0+8nEhLmvKw6nCufmmH7f5/RznCayFqH1iiWZgIo1z5zRyhRZbz+9ibiFZj1IvLCeF9iy2hxPiD3SYXb07/kSvuSfoJLZIE/zv+gVm+Yf4lnejGviv1ZQXWk2a+JabhZG+fQ9F8H1zfErKNVriXexRz8RLX9Os/KIxPEibWiMMcgMA2BkCuZf6VlL7SAWA/xOkA/NmfRKgGdtRtCi1xJs5AUiQNBs2eSLdn5nnWseqcA17FTmqC6Mlx0p/nqAIN+LZAQ6tI0UR80MI3eX1mY8uTGbG2ep+YR0N7S84ixjMRoeemchJwuBWGkEvr8j+OIqXgxkBpj8yf6ozBGu4SUSxFMEbMBMnP8hA/q3uTbMVkzcUeERWllfGlo577ZC2vsQfMGqBFy3w8Sikjn3DP9ndbM3OKI/Kyrb/IokQPNDMDNzCZqu3m7oqhgF1Y50/fuFrBFT6pwc4RGzCm753G639qAg2pRSo2AigHA9X7pQWoZjzoc2atfkc8xPdWPt7JO+NXq5zvMxGAcl/CMLxvDDamODVt/iHatD5GKoTPcOEzCfPHqU6DK3uKVx3Z3PxT0b8/y0d1sdBbli/34nSewqZXV9AG3W8h3dbDildlRmW5URSBv4fsGe8HcILskJ3ZK8g7KdDQD/MjEfrf132HFFT0W739uscMb2DEhVbGYblu7A4ZJ9ZJejMgGm5rKFVfJsxt+8cncQ0XI3kDhV1W6NTZgGT8KyiTR4CSOrv2fu2ffvV2orsJbz1V348oV9Qg3ONVuH8S8GV4FapgUU8Fe8htBZw50pxjw5dpeQojmZ2RSk/4/ZA0WRHYcdSJFnwlNRV0NuEIiukUFv9NgSkAPxZKRc8eFUp0a6nCvR7dyhirHWNpNx0+8MhvMr2Iqs7tHshJEn7yqAdjYUD00Vz+uQ+lUpbDRDWbR6Yx7/LNs1oTHu6gACveu4wTudQxW+h6Kcy2p+lLnbywCKLz3hAbsdMGsaw18HShA5ILxld8mwgszWhey9bAa793vbhVlbF+b+pTrBUEFOZy86m9JEKV7BDo6GqBef2sCf0SURMgDZnj5OnLJa6azJH75vr6jj8sR4CNldGC5tXRSEl7kOSkB2ifF+5oJAgspwJ3K4z76/34TfMD90tcN4LN2+Z6t/Ah+JzsbcXjHz2MUVDvclUTVNVgnc96TYa3M3Qe0VR452fwmp3SKb5qhZ5xKaEO1hplPQ2pGj+0pB6K5XS7il5khcU8m8TzSEdD5N6HOjXGuwKXbRdZSegF3ouSUJQ2rHCOCinZWMRMAa7UaXZs1jXtjRdnBNO2XWB0U/b9zmjaFhYRStUpE3i+PhII5tIr8Dwo/r2EEYefusq+V7TuP3b/3TETGeseoh/sebbhLCJDvnSRJSCY0f7AL5KhQa5l1rNLumH5mHI3yZ1WwkBEjkRDdKgjswD4zJbZ9g3SNBKK/5lljbAsx6I/QP6H3tRVjybIq3877RP0JflxY1p4sgHw8BABLyZd0/mtzRQIvFqh497bB1aCaw8u8YHsVya3vZG0EF3KxaUwz+A7Ns4vtJqxTTWZJzXkZjD8oXIVmquhFMbIylbwZzjR3I5jBrGjkjLhcROgq2rZ/dGThHNweYI7sMZO8bCxAx5IuO9lCgvnedGV7ehc1sX6dRRah58WyhhkDoogArLWjeDxfONddosYDm2qbLswYFu1gUAV5HBidoyqSauIinIR/IR0KcwNxSCuy8o1uvNLCpD73FCvMOaf3ElxWFakU9+92dRRtcs5xkUvlSIajhy3yoAGUZkA9o9Wpa1bwnYzNItd4KzAG4wROrXMoaVM0hQEFwQ6sHXAZ+eXWAQbp4ai1Q4gjVaHAqTW9kb4NzWaaiMomKQR//PuLdH9oglSqIVISuHD7GCML5cN+KFIKyaIPUPNA/OkBrCohVO32jJi/0MCCD9GQ+8IwyUl3o7wu9SbGl9vUU8QR8Xjd+kE0HxcxstNsg7pvOnHGju4AhkCUrhT0kIF30SRBfY/WDYmQSmg9gifS/TxiMZZW0SIwJ1NBig06d4oH2Dlhsz1qVJvn2PMRHpPajzfMiHhFpb3eC5JoUf9RvyZdD5ovgfZMPhqTUhgJucfpZR118xhLxsWfKbCS4Uieq5eXia/g1DDL0C/Eahu9MfngEhrVrXp7OQsApYRUeo2JDDXQhAd42NY3v0g22ReGv9Qlweax/RGn0CRRZZ2PDwSV74CNs5yWGnzjj6Q0o1F+w0E9rbSYZAH9xWgwKzmVl6vF9UGxEx8ktLUegTJ5n/NGu8lDm6oNavk/ykqBVSB6I+3gW09xpZoYGheSesl5VxARksTYHUeGyT6hmOt5eJur5VSRHrfOAzv3lq+qrA1VTMgyOhDyeOpQhgGwxTt1aSKR68eUr/v9zCJ9o9UPuE1S37DLGWhXMF5wdnvxQ7J2hi2SzDwsPyZMulivydvX+7gFYsDiPi942j8rFmm86G/d5tBLAJJ6j1Y1FQwHrJd8wqBejAvcj19nimw6iTszmiBlNze/3qGsk06sRpzfL6A+lygsAUjdUgGW6CnDU1B7wNiBgPXGENFA+ea1QTGIl24bb3pDv1/kwADHlZ0Y52KuJcjgrZC/gyzRjrdoouUqG59DJs+912czi/10yUd4KrxA9eR43MRkRFUhnz+9jvtn3MYUBiySwsVBY6RGchDRNWgtz313JI8s3++4uRGYRNC6qGf1JODuuo22eo4CEbH8WGavNKbNqJd1V75ZjHETQEkNru8/jlvbbGq+b0ziyLVR5fSlL7gQ5ft2pyjI3NSYU5rP+ZI1Ib8Zmd2pPk3J23/TuJD8lZrP8MiZUCy3NsE7LefNrbyMhYJoi82EH2QEP/jdEIZ9rM2w4aBWogZPOideIjPR5Lva45PHHHxqllpgbtSXiZUUTS54Zz6MnL556GPF4qRGnbr19P1bVTCO4OninhyRdfTs1QPm+bXsVaAD1aRFHyPxh1Qo6mZma9VBdTblOfQyeZo6IABowR8Mek6Wpm9mWOyrp+QtVZZpcbFuBXSlLvaV+pf3hbLDBRkTmoiPOnyL8VLgEj2+iE6SYrfW1rTKTTKbR+XdvfvCyWK6k5IXx5bmc5sxXcjIJHGnhpP63DXjZrdAU5sxFhCd/eychnar8WdQ1RgYTVUVtrdBnMMvitnFvIuLQwnx8RVfq8UdS1e6IThpq4sTmrPRBQ7/adFQUaS5hS4LjlbrRBHK9l0zQ47rjTLqZx+9C/WKlUpnVatHYpz6wXiquIyFBIKlvy3M/g1JDZDMiEAG9pKMd3kWse9huNE+HPvEAdQSXL2lOlaWIoJQLScZHvWLUXVPsrw2qe2oLEqsTsIlCxJcKYItEcIlltypEserOwYtXN4vlHilqPKUQobSZZxMqxk5ADOKieHz6K9FNIF0ZQzGKn8ppM+B19iCumLQ8/qsoLCl5zz8wf0juVyWXXjJ/H/i9oh7prcZ5bGaSeXZIvQNMtiwJgPdHR9+BRFdOIC56CR6xXUG0URdxD0znwNGhNkb0ogtKCAF+CtjtjousDt+SDfOWnojBNtducnfhbuXANMnKtIT7hRGO14kzOrJaS8cvJLjBy1msiU1ROmQ/3X95og2jMmWFmyqBeqLPlq8TknM9LJtCcki1zWaDIXbTlODfhzVmlzmsV/di9NyFFfW2mmLAXx3hGh2kOYbMmLV/aQChhuuo9Z0qGVl7iSQOrnvugSfmIJ4sQmipKRnbdxzsoMTs3dcOD+P7yLnMaSD7Q/uhdl3c0+Gm8SzmfTx5BFEZ6g6+8MboJPALxee5r1ND5rNByCIeAWEJ+561eCwHMjcuGu5dnTJS54uYJ00tHBsyTyM8GF8Phv7I/+dsAraNaOfNrXNmRl04biKokmP+fI/VnRHbVTDtwnTbFoH8AZrANJnbNRbPMqia0yDb9WYCjxs1h4/G8cMsANwOSO4RTgKJk3j4H5+mpCLEeGsgj9WS/eoTIpHtqxK/eywLM0k7EFtGJmXaiThixa1okK+RlFimPhxzB3EeJrVeDg2CojHrkEtkZzZbEcOtUQSvFkJXccKwWcls60RFOpCgZ+c38cbqvbDMXwxk6HAEv4eAWFp+iReUjfVq/Ueujq5QPzUv9xi2V0J5gZHEBbIPiW80SognFm7+vquLJ6nUIdOP8bhqqR6q4XA3OuyADMEBm4m0PdEvqnZsH0R3O8Ke6Q+vkPm3Ss7a2rYO+cgpSt9m8sHDXo4i/dZAVqx9WJsFTFQa429p4XM8oeziOBCe/DLN3XBTiXlWlxR7W29PcLK2E/+ZBhtYnanzrP0/jxk1hAzWfhhKc25AYeT0bQpl5tL12JgsH78/S3hMiMkiShpMtW1qncw+IdsRuZpgpyEDd4q/wf/LbjulIcD493ZivfYYdIIUZDb67Q7tBAXYTTZufCCZ/pIGEy1sykiL9kFG/0GEGW62IzHePunTFMod6EONMSbS4IWmkRclY+/2LvofGUA3hsOd3FQgcDnse61MfIVMp9X+4VhhfCnxtHzPk+Sy9F0/hPINSfKTAm7AUtWfTc4k2dwdKAAT2fskafHLt0FYsH2wafX7U0saOISku13mFcaeFltF8oRiWC/tMDwVssZyyn+z0v4T7kbx7g3qd96gWYjRn5wWNmWMAVxW2AT9NWjT08Cgc4EO0mJ1M0YAUhhYWsc2WoaKpbwAV1hY09hyqLjzjYN0edfF+JGvVVpE9040q8TNcvyEKRft8kaFyrI8Oy3I31fqMke8W/SSiTTXopXULQOvstGvvRtfaz/mW4xlOSyLnaf4Thah4OlXF4csRKJPlFy4eS/Qu/M5UGGxWQTP/ahxgLtXTMdbHVrPtHFd6xqjDSdFJX2NpuGj7QrwGJMtJ8jtJr/jykL2nuokiPIU6U97uz1H/GV+UaHry+GtwoMW40Q+5ouc0Hn9JtFV/i2oYHvvkQ945J1m8xFb+jP7FiTRUCKsNo1o3WLIF/RW5ibd3umbJLJm5FWcv5wj+FUt5FM8wr8GAQ/I7P+5tz/siapdhSiH1bDXJ8LgbZCQYSmyeMfAjIuGRHOjSqZN/eoGVf/FRAyWUEiMemawovwPe9PqPoAeraUPTq6O6SvaYHKgZFmoMl9s2spHXHdoyk1lI+CjljYy4nFwvpmTCYqUSy/hSqWNkBMKfwMsoUFQM8Uwd49gTEcvgMlsphPb4q+7lfWomxQjgstb/e/6xzMLrOqLznMeolDUeTNz2P3iuDYcbrGliPzbhOF0UqFUjjHIiHryuFQSlKe0LatkDNrFFHHTSqiN2DXjsjTdKzyduFyhgROK1N4LaeGHn1TFqYDLA/uCIPjRd97K4zXVwXKFoCq99BtWsEzRu9iLeNxYoBzJxjjJV46YSnNBkfGtXyBLU2l0mSKYMMSKUxFin+/XfmaLTGaihsmYPgJn4DqgKso7pB0Vy1mv/2QFGgNfgJxD8vBzGy55HwG1yIm13pQJHknmZJvigoBROmwNReONXkYKWsF0HIN9LaQNlTSkWEmv51pH3ksopw0dQs/lhmZzsIWwSvKE82YwM8BpqPgfv0WKeGPgGa8rR3U7Cgk4oJTxDNJR44QYw/24E+wHAaGqePlGWhvPYpTYa2NdsH1vnimO4bixzLLhTPGkz3h5kWrqR1cTyFMp4RytKbcZtRadKOnGuAQaDc9ba8Ur1HLJKRJOeO0Hp9z0SIwvE2PMpInefR+63Q7QyM09f91FQM/MtlYdhzHFoIjmno9zcuJVSINdO5PLuyJ6esDyrDCqudrW3NI+IBfH4kT1pZ65xMPDqbEuHHL4R/9GtrggY4XToEwYiWW5JuFwIH9YQcje8Az7VhRbskJ4PDLFgIuD3hXLZnmGvI1S48Dtgjpi4C9RDC48seaO2W9mSsIXX5RzIo+OwFCgyyfjPt/Yi/JBLyxVzkOv8YC4qB0RrVQxoya+ItRaOEZkyXq6msQlNfEhnLYEWYRBg5U3DY+PbOe6byLGgQIAc8PYdl1Z11Cvm8K4+KlnJMMiKmSO6U23d2YNe0N8jvt9ACS0r4oUKueIn2BogqS1gS2hmMpOUVGnybtv6GzIf3WdFItw/E+uA2fmb6GImWNI8NxOE0IZMETDW7WU6hP02Unzt95eloEzMimPjq1u9mfUO+UXSZ/lsbTxYwTx+l8WTpBHld2DG7OHuSfkjK9L2L+uT8i2odyAqiWlr4q/MND9CXpOmXX2foakPBHWKKsSZP2StH9rfmduwItz2DGYXdAnjH9RNrN3Rr1Wq4T45NY0Ee74GD242StJ9buwPyAdzrtZAXR5f/IKgFy6bVv/xLdT/ju8yQSNI3sZ0V1fAc3TtxJqqECjIt1m0RPXsFMG/Q3s85jJe3A8HTj//SyqB2he9ahFVwVVK6zXfhbuVkbaSxHgXCxRGJARlr/4FHneKgyrEFrg6Yu1QfUbLr1Qo7+WH4vb5cSsXzPyBk2t+YdqFLkYViIoFMQZzE0lOb7ZHCZo07nCfH5EzzlcEwQP8Sptu9WyLVxfLB4Ztt3UrQ5VhCiN7bEg+vtby1PocWxjyyvFekIWMH6ogPQ2dROzMbLh/zcS2rvaPe/skcH3Rlpza/5aq/chQxhus1y8b56woqGych98uL34hWCKsrk0i30kMXOFG+QfZNrGEHvNnAgnBoKWocPK3bIpnEh7beM+xqQepnjUcdnnLa9erwa6IDB47/DAJEAZDErApDC6dcw9Pzz00si01vJFNlVucl+lZTHyDzzlS09JxRXVf7imdU7J+y9Fy9IUqtxfm7tYVu2SXPvI4pZAg8OCsmnWbahxZVPtelqpmT7t2ggnbqqtu4TGFPZfXUX9fojHwOUaoW4uP6/2UhSW05vbJCJmSoa1iKp2XYHzANKBEMwcgMldWkgPmPuwfVqSKCFddPYjbchIF7CUBtgOCnplOj0EurnLotNEm5f8mw/Mkf+MBMQTnisdqwQ9KaGN59J9x+i2pgYbZJbAEL4roB1mzhR9LWBLxvp0NCbI4V6QWhK2U+XnSlMrINkIvqEYEnl2kTqCKMpTyKqUFfyt3JlwFEAlmikNRBWLKAl5xEd4jaHW2hTN+4vKQL0vOVHV+Nl5xeUazfYC1h4YVqPY5A1e0ZNdwVf+4p7b0MGlazxlgxAgt7/SzqrGZC46uT67in/1CNFjvgwiGXNqd49x53K0S+Z6tqCAXkz29XG7gbkcDzX2u9ygmUMlKudvsXK2kQB70V6ZNGCc+sDn7G05vKmuzMjAcXkzqum5kzEY3IeHmVRILgyltpauF9h3wHBPNm8cGSkDWR5u3WID4uaJBlINgxtcoKioeWefn2xMtiSsWbClC2ASINJ4G780MT2/M9pDcAjMX4fj8EFIQyYAVx+oVQvMApgPvyA7iT6W2nByCnGEMujHHdRd/dMsywly5twPW7VIAMzpPklhXbKOGvn7/X8Kyap9r0ms5v+k2QCF6l2SeeN7hYLYGQ9jbTu1hoamySvAz9r5zrKFIrKdCyhKBfGWum3wL/27s9IHmqiAXBmZ7sgvDyWK+C74ilxQuqPkwag81QZxD39BDAx4SyR8+L+ioZmnr5uzSlj1F8ECq2khDoorfwLeh1hnDNqgVTxxDCG1q4kfWlhJI0rzC6hgC8y5VF6JWJ5LtHqL7UUNP2G0V/T5JIyZtFwpbjN6GxxWGPk/71/0SPdBGsqhk3iEdSDmp50CtCmM32nZnfEUAbpUKKTmWWVp7T675hatVbXbfKu5bGJ5an8KPvYZXzQGutpVH6R7qpiyJ00fINFDSZjU3qmGJJ0zlyTDyGk7ide1z5zhFHYR37rDv38x3Ds9mCfZt2h2HMT9exfj//X2j7W2u6Ml93i63Q4oHXhLlrYcRXgmEevJzedOFiePdGmTMJqq1r+u9ZXwyGd2lLNutybPVYq8ybq337pIpTY0E0ljJrM8Ud/KmVLxo4g8iNUZ3XzUlk5ypCJxqxdOsqW6AST92M7vL+UMnp7NeWm74AR+s0JY2hxCHBTD51VCaznFUCgseiWhGB4X8StCxRzDNJ7ycjoORf9ETADRzCUV2LaXSZaprvgWTD5rEYPRQkTBxPynLV4vi7Ozpk703gGP1eobLRzB1IXRbWEqylxFUWsODXdSyBYzeYSTlKHSb6ZVngJo2LbAv0hAb0w31U9vbVftOYzj6x0gBjy5geGmIwo1KnuKWNRCcpT3ROC91aFvek21aywtcqXkmYWzo9bQvWHabFeiTqxydKBB2jbhNoUr7nT/Z9djRflF0IJrMV+QvUvpmGsUOVt4bS5ZbabWUhqOXRnRARyf2o5YAjtOzXztGNkWs8M0hXbAbuE5CS/+r+ilfDG4Jrbwmtx4jceYriIYWa4aKd0f1X8U+HVMEw7R/fYSD6EfudAgEw9TW7dE8SQKOZkvTcLIK1mJAxTTvOvJqfbTJuqVxgKNano5RO71zfCR/+9WtXi+b45avU7Io7jISFfFr7hvRuijiBVtpk2kxa6xO9RPR6YfhNQxONc5oyz1w2dzig29vq9wBlx56m9DW3lSxjgF3ycTX4sYeuE++VOx4e2D150A2Eq2U/cMAFawxjjlgS1CcI5BFZi3QdUyzxoDrvITTTs/Lz24G2VMQB2zAoyfA0Itubagw6dOXZ9JSXSn7nAszewBHgMylE7tb3j+PBLmvx/Rul38PIqhONNTHOlld9fmv2sccxBd9mdI/gI8QtoMnPqxI3rPQvHGmbD12RHUaYymiHulVcGqhlqYGMRYCK6COTw1FeFK0Y2pEV1Nx1FdlYECJPH+frbhxqFMGPRlikxNNz8oZfCivDbiuIekm27rUmnXJS3HSA1YIH1damn4VT6EwRcpLK29+/g1G4FeVAvu+wxURrlTZxMBdWPncuv7M/aU2Ji3tza46lWR5vKFbqhlqXmKPqknno8I8jCAgFDpreffr7B+eJn93cekCJfICLrdLmAb7+j0crBYU+RIriq6lw/P8CYIWVzHVbKC6/prdC++GAnMyOD7NqMZjqRRwweaZG0s5ke0F128KK95mNW60H3bTVPvGdYNyS+lwoNM4QfNaBDAe2LfRpSIZ3zSUegieMy/b+UcuOjlZ8zi9wGYShJlfHPF3oIzxaUpX7PawzGRjEfi8FhhSlvmJRNaT6QJtp05gR/ehdK30NRlLzBzT7vviwkXVO1cSGMMAN3ImYct945MUx9FaxwY7r5Ej+P8UmEzQa95853xlZBzedhJZNJwvZ5BoQR2b6o0+3+sXTlYnaZIlqba8HzepSmubWGhxSEBTpjq+ecIMATdEfZTbRjGmg5amI7VtDZ2SI8CX7GBSuEVt7Crme8wDJ5PdU0/ndSm00tUZb2mtfXjSBn93cbzYK6yrXPzQOwpMv9BmaYfE8V1/lLN4w5HlP0vHi2s4PkiYIxTb7/ymhA5G3j9r9QHc7jbERdj5M/U/6QCXXv5Xlc5EBB3SMAILgr7Wrt0TqdN9B/4E3kBzRW1jjrp1tpkAz91wq/nhHrY/pO/uy2XzljMs4uf2aSoFJ3HVkWUdiAP/dEbZhi84yrmgk8WEdYLjqKKtAh4aJSl5KldrjbW8HUqtfrnoWbJgBx9bHgnJgkJwppFI0VC6fSdw/ipZdwtE2afYILt23NouqDPznxGNYau90hhaIlMyrB45iZCYySfkkaU3+EFKauKWUvq57XJp2f7zsjzqkgX4gUlw3pNrqBqY59R9WbZeAheR7RhhXIQy+a8yGjuXfbOJ944K4yxob+9jmrIj289L847O9hrejS7pgCkxjEWxY3I9G4rHpaNS3Apod8eIhNh7Gg+FuKAF4AZc7TLfHvb0rGLAYimjTRmU42mPuoTSnLxWzuN0hNgK/b+v6pHo4/VKaCsXPZi4ZSoNptMqEcdnYFefc2KHcGrI6kTCHhYwfFbWIWYDHD1z9ljHmkdLLWvmRtkzTLB0j9y/Hed4zL7hP/a6+WRK77geCG4uCxZuKRdz3WChMKi2WH3wKvjYbzC6Y76+qglfB2XHcBOf2ARiAEuRE4Vw/pKDJzkqnJNa7kRZsS5v6YEUG85Yr1/GHil927zJas2gRi1AqfpR4/dA2QHi901Ryj+BH3wsIerguqm5y/HCKaKufyHa/dxvMywZMDqbTt8nhAoFfi5DktBGw6vNSk/zSVSiHrqLucelqnslTI8arHehlWXBc62MHlcs8/ChoMVGzAJVGxgNeEsDAnZlm+yc1k5eyY2XVgNiSfDyavf1GwrNN8mq3L4fTjWdbVGG5P5mUyR+VxVxO9QbE4XPoEfZGxy7eH/wDqre6wZ9JmOLRguC9bG2Np1/w4lpZjFpih2PwSyZW4qGne/evL/v6NfkD+zsEhkOlLUyYamyk0U8vvGczpNm9Yv4mpUN7mUhZedh0g5ZfnbqRSeZBkd/BYQDLL4L7++RCVQAX+1cnp+EIULTYk7MLq3yrbMJMMSlV2wT8uxfXASfQJjbX5maldQPtYllXBFXGcqzJ54lhveB6hQER/1fUtjnHs/ng8cMeaO7CU1ZIX2B1ywM76J/9qWCt7jg8c7+uhUXmFrnaipPcIc4Goi1BNuGGMJLi0tsGQaZt59UIdERepIBm8NhH5yjO5sew1LJuesAzEW1zWOd8CN+tliZb4Z/kw4zVbrkQvgdikMHrM8paqzVEuKr5OICJcZNFWhrnaY1Ae3/0/rGNdz1bA+05CoeJNKaKpStYpSSgR87qwsCJ3hamyTv5Dw+sNp9M5wQ7gda4dY/B/DrAI6KI6eZ5JPMOXHIpnUIhttFRaSsfr+KhwZ5AWsFRUPoQJNkakb11p6WSQ7c33c1UCLPCN/V599Rj/TOkVGR9gd2UcWfyFIY9wfYn9fBIJqTPT+h9WnuhejmWlwWkISGh+JsT6Zs0lQy/pyLrvtIFB7RW0YBhZsQXOmR7D5aiFOsv/wvMyZAYrxIyZGhSsK52V202LpP/ZcWFrAT8mnOmIKd9V61dqZhYYBRW5X9JBkl0HsIjI/iOTE0q2c+OPoab6jsyqnEcOJWGsWqTCTy3kJSiDupGwaDf+0CyO48Dv9i55cUQTSQ54hCKfvg0KhID+f9+rw+2Dw4n8+sifmDFlNSd6mJAwJ651fcyMMj1ocjGSkgw2Jey0txcii5zQrKvr7K547M8o9Eu5dAyq3aUoLeM6/gheTJmfV8lgRxH6iSKaEy+2GJFa/Ap3GQFvUbZA8fTRxOB5uFQgFfufiPPE8NWAG1WdDk2e3rECREW8HoS0xLrRf1V90Y4+kIS2U98BE0yaU/vkG/2o6DvaMgkHSzx886UCaiLBGL/NA2jaE4fi1xlmx5/S+GgspgF03TYm3O4JS+det5dvoZwWMrWke1HpMi8GdhbMGFKcOz9hbC/bo+xu+G4jQKjC0p2gmFmhAk7W7v9qjDe/CrfdmlIM6p8xc4VVdfsuMnV+XLwqgVvzs5UHd4vL9tqqEmn/N5kXXqNArYFmMsAiWwe0E4DphsRLMZvRkTl4K4GUiikTMUHDUNIgQpaR/wj3FwaIkhr3Wa/WilImxc9O5+BvAdjW1IiNbRgajcUqKviFQ9rB3Guia/FYCCtewYa4ScBD91kJuL5aS6fO3OqaGFE2GiZVuHbeRu8yl2q2iSRbY2rIWMez+nlZ/S2RMxj68rjsJXmp3ES4FqGHQpn4aVponSXrK5d2sMBgkIa7JsXZUoieIsP1pIhU6B8GZ5wPQeIEeTVfhEgE34IkvYifLZsHkZ6pSfxqimUjXUJaDyN24VGCy4HWJts1UhHEMWbQg0ReQo7Zrou9hoyrPEbTVhDJYX/pOlGwGoMuui7hmIaEtS1b/kxePMVMDLcVANZaQ2V7c3sHAoF5vfwPz/WAxIYxuOI2vgCXzrPLfgdY/IGjvkg1gj4psTOFeeSqb9I6fezGu0dIafbYporEBKIKkQeU1rT4WVroYs1S9BBBJA/G95wE9NeOg64TNa9VcmYv31Ybnx+DMJY609LqDBjonYJu76nhb6U+vl02sJLSJY+PDQ9Adh6J6VSH14U4Dsv1JUnMrKvutyFEcLqq4LWO5UZ2FYcdl2B1QwjVWwjUD1mARAcHhXViPzaOMYDTNA2fVI9OyhbCoRoRYvCSBNIp3OXZPl3EzG/S6qM4Eh4XPqDwF8bdnSjRq+a9OCrjmmzy3yJkh8doSQ3SB/JBTQG2UanIp/MLzLuVdyftGlAR/1tN3vCgbAvbrY9xYpFcRUwql7rg2zH5zQwbvtr9n4XEkZOjU2++z6Xi5PL3XqfzCL733u0oEDzrOLSjCoy/6WpRWvm15g1x3Nc5hwuGkX7DVYm2C/Dd1hZ9tcDyRLdbydCa3OUpGso/S+W/Nxh7yaJ6mW4C791ZhTQJt8dUr95faTim7XJSCnQAst7w+XTa+WjKiN4zpGNzMku7xAYvnB2UcI2LAdTETmQ/gZoKVuLeRcj/HLfuV+D6QKdCdewsB2kVIuqnCTMGl/9r9kTC0wrBAEzTO/CWKFfBdeWA/1IajPE6LpBUk5t8aynmDB6kRrVXYgPox0KDrrKz/NT6CgPFy8FxgKdYgLAeTFNHTeYV3C7+59UUhZVP4CM9aGh5kwwwic0Jd0ODIpUTYqg7g9kSnWPE3iANvi+Y7METqB3wb7f3fwFV+ZRqM0bZMsq4cucKDlfQMh4wTM9eFimW7ZSa8aVBIkHcAjx8r5NNYBBGvtlrrfPv2sFWHddJWN6JUPTNGYpepZo0E2EjnO376LQ6PR26j4hmiGUFvpXtCv8NrGTrmTxW/InklX+BWy07THFldWUS+Xej4z+D3cgoM/Q6exDeVaE+t6R86+crwDctKxerrVrkKvMq9MD/1y/l2Qxgcm825SIlRkPbyixpodH8yq7hi09WFkCyhjFLm/EXepNTtkHHnUWIDY+FqeQKxPaiTPkmYWHvONpdovw6GqI50FdfkpjwAk4h9kGKJiguzqs8buETfxbux+FpECO70RIE/Cnwc25zbQgNib0A9lajSTMSibwdXwW50NyMv6RI8o2UOf5scrEsbpjuQ6M95Z4hdIvFp4pK4qcyu9fzpfkwgoznY9Kh3PAxzETjlfMgzV+VI8ifOf34H4vLsE/n20rZwtq4Zy369N591fCcnFZ8i1T0IM6Duvnsy6jU7/OsxjjW3o/8u1snrKeCAe+EDErjbDillgNZPNOzfzr9UCa1cz70vIQcI34GlJHDM/UggZ+Bux4GfCCwpML6J0XcWYv7P3Y6/E1h/OpBtQy75n1dddZDnJIgXwCIsAaJSrMCGeNwHoQdghCmHeTES/kFxKDYqXDpv2wp6ZUXuaScWw/FaUIweOcHKT/NJLJnILv3Yp/s+ZyrJxwm8Rh9n/Bvn8eo5JNv2TZfmtiZIWq6odbYrs/G/wrDvm0DntVUo3VCv6jDT87hAAEHXeQpue7hI75OXH8dtMtU10IYsz3kCbZA0FWBAr1CAnS4Ch5oNuwDARuTc4nFM9se1wKz9bnYe/bsWAO6EO/e8M6U5Zbg9e9sLyB1Q9x5iWYpsnywuz9oo0+lgR0dScLig/Ru5BohKG8ZFNy8nMW9Kd8CiJRgXr7vFgc52QXfb3I1xDgYtLRPRSyV+FaM4V7rVPpw39gtDI6GKEoIc1VV1d5Iw4U1BvSWmss0U+DdR2kECYyWYWk12jjAyhsv4IDeusG54PT/l+Zq/e9bNRR+nHvHVH6hoQOhUI5l4CUbM7whFJ4D6iP3c/WHVAS0xPQ2kys+wn1UuN73KXB8RIxHPG/WFzF/QPKrUgAwf8bnJ3vlhkocvRK25ePT3UaRIiNQDQi/6rzWd6g54cTPvtc8nNOLm9dCFiPQHxfya1oGYUU6+ylccb+HRfehMlwdhCypH1VvfDsCRT/PF5zNd5DUBDYCyCk9FM+/+xywa3gUeS1t2NOSGo9LfGQFXh407sLljc7Mm8dkEfq2MbQZneLSRLoUbZuvlcRWPxEf7VX5p2Rl5ZEmbsiecAM/ZbNEcmYLal7BB3Wzg8eUjofUxvovT+IQ1s/izsAOIcjb52822ZhdauEwMxrOpztL0udYIyHSt7XNJDMrmx/V6x/MqPyiQMoZVlJ1pNnXRZC9tn1ST51KCvByixzGeoIwn0toA1J5K1htyiuA00iac6Of8ttiPHZbwIkHSVuEQzqw5VvkHLqv6aNU1fCfcjP/mPbxMCHYqQ99eWlu15WU2EzZNnSK+RdHwvWuXZGCadayOIXrqy9WDd9tcFwj/GswYiZ77I9g8ipsPf+M4GOlJkrtxog0w1EdXP3BXJ7SgOdpaflCa3FD8bBxqA/mBdJF91UtxHMAhBV7ec0eC4K5rLK9B4CpHSWSui2+t8vyReQMlyDYDQIQIqDtz0a9u86OfDo/+Aph49IRz2Qy0/27Qkr+bCSlC3xGqtN87/Sa1Y9i0yapVXSDp7tcRM4ZkSaF/8JFHz0p10Ydrp1ynINM2Fwaupa1QtKOwX3LeuB0r1vxHZU1m8eHrNi6+S7xfCTeSNmf+McEB/NVvTvo5/3b9Lh5aex32uqp1cg8ZposKTQZpVIawMMKvxFTacyjU9dT9WwQMKNZmm2uZH7kwbeb0NXvcZ5+pGICWNtxDiDZyTSGQsmsd/ZovJKfBF0w5Teo52ZEMC2MB5OIRPk/Ycwvbv+jZvziufnd5vuelH3aUr+pjpq7dePEsWLdE6MkdY0Fy1eAZj3WpO9P+QIuFSAdG7/PDMwubHV14oVdkoIXMgSjwv+4vMWtzkV+YI3p/xEEkZiiyqb5S82QwOR9QO9SCQjHwCtqGbSzEV0/M7SEaI3nahz5p7Qo0aL3daOR9CxSvtjXbR+U5OrYHRA7vz8YQWthS1CvX07oaTEqVJjn2VQWTakWVngnrBa07fxcpTw1mjjTRKh2HrETTg9RYyTzp7kqT5JgDqTiifcOzg+5IwLrH/0Je7Sfu63eJZg/HtC/oSKIUgZby60PtAU/2OTG1uZ0OH3f5SKZ1HU1ws4uLdEcPfwt6qaubkkNMOwZgWuRNBBPdXjktVV5Ot5trkqMCDktGmtEBxXZ6AoCx5jAep8s15fHQ5DYXqGVPAiPQ6zVhoRZ81ox6DS2QF+1WCxM1AdlSEgEsmYe7g++a6MUz9IUd+OPVcpe5qyEl0qE6rZTdZRE/wwrWxjo0W+oiwDk0ptvmWV49NJ4JhFhBXq8VxLYh4irkdNouE4iIG77tFST4QfbaxmWbkMP89mP2Xux1DLEbUNawzImEqMy6zF08oZLBqOCru73HWmk6cTD5qBBN/gi0HuFHZ5CWCZMZHQxv58ZZIQ7EwZm8Bfk/7YTLYXHMe2PhYB1qn963LCqFdvnReMMdJgBJJBLvGCGbw89hw77XiIFGJyLJXHwIdE0on82r2qanYDlPTAoUYWCLBioxKkH/LJplqZEh0Wstpb8B8VX+VPY0sbjwGx3aQ7R8TPwu58UnS20zuwaJf+faF6P58ifBvdIVcspcSTCRIFHjUhqSzUWdn7SZMrp92QoAibBQQYn28xy98e8roEqAiBUR/bZqr/Zy5S3It6jS2xrtEkwoRSF+TGoyNccGE9odmS3KgcsMr1ZiQPBv3g91e2lsChGXuFnCbdIxGOmU30UFsJZao1jEENECVoF1xCqHmm+MpXLxGV7ckdAP5QiWLCsPcrskeJXUjC5wkgDIGkpytMekmFcxaq94DZJVtJavTDfi99/WJj3hOXtk4ooiT9n76cZZ+g764V3DXH9wTYW5VabalSTQoMlrKdp8nA/o15o91ZMmG5YbMsdAYvIATN1+cEms5XPEjiKGaiMMVeCj4E6mug4TxJPeOp4GZy9i2upEFfbEtV1Rtdy74WdQbuXa1oMnzRbNg0zBfJedzLyKtPPlgT6fW3jnHMEAgp3rDoN69TQWCXpJJq3FDR9lgjtwyNWh9RfW4Jtr1ZpNPUrcOjySxtF7r99hB0DM4dFSJjC92szFnc/O9NbacD2SK/T2t4crhlJahx3suTo1bLT2YB/Yh11083Gr/7InNtgvNtKVZMUEroKURCdlMulQpFAy8oVhXI56or9eCtPg4sUKUvFPQ9f0cqT6se4aqcl6q4eKBI5IyMo45YnjXNXf/nzO9/3cbRW+tZSGTFYx+Fk9ilAsltu9BafLDJzjR9vnNzQIuZzyafCT8zt39NDRN2UaNPLruUNuR4p6pLFGIuVSbGFH1NLZTdLQEevfYbWLV1awunsEknABjWolP/WdAooWZ3ZatKsvztPxS/JiZ8vEqRZj8hoGYyumQo4BF7mkRAok5U2BbchOWM2lJecSsddvBUwI4Utum1RRGk/gt68Kx5ieW4FnWXOaCIxiu2PeZnSiYD9WbGImy2dAYEt5f/+FpOcODmf57IZqhDQvhfnS/w1b16vulGc9Dym/zIsRv5LCXVaTl3BOstt7U4dmd7Cm1WOru1i50KON2Pf9AyXjLnoloKQYfMagp+94dmVIV/zf/Vezl9buD0q1YK5XjXmzSrUYh8w7sPrCAzk+04G1g76l7MJwr4oBVgIgnJjsVc8k9SVSurSEdV6szew//YeQNDLXei+URQJz53rb8Fpc4nVBVysuQbvsHkqDVviKbFQFqivqPw2GurQLA4BzalPA1lKfR3wfI7JxIt8f88bc5ajiFlZ670V8QpTSjRNEMELZTkr3C4aINHl1dM9NnZVMJ7dFFC6Kw+/bSmcdYmDw8zphUmtlDYagAmN0W7GLnNnpiWtnNT98dVC27zqRTAivvvvQy3sbArrGxWj9qJa2wIIsE0qExfdCSxoT3Iv4sywsxhDkXjs0DbSbuQyQE+kMIaETE92c2h5uxgeSllF5iDp+tbaP43vMcvqHgKAVsI4fAr/ahf4xExoAl5FOurqwlTHXWzSct8Bu+qssEk46y2a3UuGNJsjThChLqFL+5wuqcvDLqjMzATLwkC4PfABRrkgioC2L7j5esftjRlGmYbpGjDBDfzgUhEV9MUzQ9J4HfzBWjpZB6tIu0qr2qPbGC3MgUlky9qqDAlbAZ1fO8cQ4goN2J8l5AkmBjItjqPcdHzIrVlTdQr3MqdP4aWwPNnE1p/+lg9tDcAGucaH7mahUtPVBeY4COfyQ1eBb2Fqh4KuhneNsLLskjACyHr2GD+W9/bsHdRiConTNVkvWdOjrY9tWpiQMMSLZBVsnea6FSLQtJ27jMR8="/>
  <p:tag name="MEKKOXMLTAGS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MEKKOXMLTAGS" val="1"/>
  <p:tag name="MEKKOEXCEL8" val="False"/>
  <p:tag name="MEKKOEXCEL7" val="False"/>
  <p:tag name="MEKKOEXCEL6" val="False"/>
  <p:tag name="MEKKOSAVED" val="1"/>
  <p:tag name="MEKKO" val="MekkoChart"/>
  <p:tag name="MEKKOCHARTIMAGE" val="FILL"/>
  <p:tag name="MEKKOXML1" val="4HooU0THZk28POP9trq+pbTvvzd/gcV8t56cq85kb3NDTsUhojRA0EsgEHHMH7oYP1SYpn09ysXVivguJdhTvfyVMsBLTGvcX7WPTor/CmWiWcfk2RmY+GE6Q6T90sFUr0lg9IPP9y8umrse/9AoLT5R0GKq+XM9pr/aTyOTf0wptcuHbHxeyqBm9svU01qeeEM1v0hpSHUgirOnAK/wusIis/Dw562/ylZarflkzpXsotLVJSCrZYtF7RsGG1e5iqe9MG7z60qZK3vpZqzyZtFVBi094pZscNmYtOyJ+gEByA1xH7Bj2c36EiWyuokqXstVhKAMzqEl3qnbW21iw6HU3tn9ZxBpH4S8SEaZhu0QvZFzEZXIgJrA6kzdz3gNSncoJE/L52VYKaKFV4mp/9oA6bISWP+1mS85QsPrOJND+rsTsHH3+7slVdxGvf3GMwTXlTPSPRcG7+87yoOrmULjv+CVsAXyV6wo6m+2vx48IUjehHx7OA5QoHuQL5/vT5pfdkbUOnkYudNyNyLWTdO329Fgmbo5A4RIDT9h9LeoFbbclESC61DGvLg/AQmW4KVVZDApKFL51Ia/XAyW4c5NTiwP7Uk+2mykSLcaAPfooXnlnka+mn6Ryv8SG93zUg6Uw7PHNOPy5XDpQinAFBnz0SVXJiFLiR731H6PFhSVD1PXtgNhIJ27zEi1h/NLYwVQ7RCnUk1UNQXcxJw/VERl6oeyfxwwUoJA04jdqKUIpg/tqkP/oj0bL1VUR3yrqrpOwoe8fYtiLfdU/RXE2z9Sztjt6iIk3Al+g7aCNMaWhuOHOJob5zias4VB5q4Nu4XVs8b0fhJGwlMOX/Enz6ICPVwaLWw31dnYhEqVfsRa0A5CzyfeAYp+V2OdbZXAPzbtMTx5dLYwBOATmy9xDL+MUy1w5OwnU2HF7ArG0LjgDD4TljiVbAxrtET6MGgYQd2Dv2nEC4nzYeQVw6KkNDU8lEkpxfaurucxztKubixDsntyo6NvmSyhV8wbRRRG2IfclxuAv66K6dfZcPMv6vwVu1na2IqkI2ttBDQYlZuEAx7pcfNakf4rPERhHPL5u9Yl/SEUmToGguYl9Pd3cL6ituE9Z0ggnCQwfdo4hA4yJJMSS2q4RCzYLzdKvDYLBnIivV1WPGpCpssUp5WvOJF1r+0Eh4jbzVRjxmlwCXQozmmLrjWCRtnmLRZWBwoC812mBT92wWnmjtIQ78TgOpdx8wjaDVG66DtsA4+CWTR+s2KHVESjKgLyjEUb84K1TiAmHcYu/aoPmq5lwn0hTWaFfPixOBXKAjuogvMECnMLHeLmdoLcBgQuqcDjn6PzEDvnjW+VUOddgSQlkY3OLDln7Blh4pnhFOYrzrTMQZWU3WVDTZJYIdrU/Em26aSSYPAKdBrgc02KPxxPo7Dvu+3aqFalCLZ4e6Q97atSkGPw958Ej+2AXtW+2SYmtRZustBfv+6VOkGu3W9ikiFc1+GkiSsqSN+EbcThm18i/vlNc09xCkv3geVCoee0IU7mr8qN7ep0haFbBe9LkfobCAllxIqsSFAUozKZP09i/jBTrgAabb19U+FrnkyjTD44yAYKVTBrrtdMSgeGcOu28IjmEnr9u+RA+18J/cDJDNn+RTKjn292/gv1WAnVfj/BLLm+EgHHI3GaAxc6nQXrgzLVM9OJsVt9wPkzfVG0wyRsdyga+55/vpJWkvy57jk0FDN4Oxgcf7txc+5iHV7SCw8wddBUcdigxggQY/hlNanCs+OljwurFavkzxla4BGP+LsD6/UCiQoKyUpYx1unth5Kke5GIG+5p7nDxmC6Nng221X49dRT038VpwIM071VTQWR3RgGsLMG3GmykY0DInG5ING/64qgsNWk5g4ykKbRx47L3dt5jRen+3XM8TIzAWbjCRv+4YyQ8PHBcOmN+ga9jzP9O5Y6FTkV4bmn/5CccrcEOioyOBzwobXwK5dL78izsu0rbDEx5KKBpjuMNhZE7E0y1pGufrC5Q6tA+0eKPXWFXk3Qa69uKp6guZ5JfQ1igwi4QgI5E481ifpt8h2qwXQwqgWYvh5AcrWmPArgxtBbYeTyuQPiv3bP83OSx9B+KymxkUk+rpFkASyi5l6c2Up0nNIe63CQcLJNL7+f81cIJvT8vPgRei49REoqJBGSGvs3coTu0MvbEMVTGON8yK83KB+r30xMdCs9RetREiC82JGnKsDtEgXxu9MlYHN6HbgxMeJF+5gV/tYiWM40yqvPSDX9l5thNaK7bZpxompj5X6anEf9+gFTUrEnGb1v7KOs6UFPp73IqNGCl/J9DdoYlTQqbNxhdRtl0hPLBceZOWfvCbjG/J/fURcThabLKeXBhsKv/gGQqPCUaAB8bIcLXf4N/mmRqus90UiAu4VXTybp8gmVXUUhVrizEt85XNGQi7LL4Dlo3aY6k2kBBqYTirsnEvqqwt7BqnpoYLN8QlONMzMHAKBXA7eHpBCghfDO+XKxpyB7ct8MMRRMdMhvvJStA5WKOaeDmOy0O7/LLXPPWWsPN7ctRe0wJ71Fudr29OnLN7qdSQTdafzt1pA15qux5JT9Xlg0Hn3SfFWERNbUHz9X5wMZjX0LxCcc6obUJ+fEiIIdTR2A1zCjEZQNZdZ91ZXblEQXkFKFsdt8Q4Vdloo8FBLFnNAMJBE1muaKp0bYyVu1SosYfHt/repFdwgM4fqiJW+4JUsYUNxmAzLalRMgeXayEVpN1uQ766tgNGdAc2Ox8MmYdrv7gb5Brrwtc+/cPNK265pA6jjoqgor5JfRWXla2xEpAnM2m6pGRnMiI0qPwmd8O2Vdrh1t2ugC0DrR2EHlofAy9v2/aXISkDp2Gvx/uI1X8K3KvN4Rtbjm+FQOg75nYBMvMPAA5wx+wjGGXE0CgNuN5Rjhlc5f9ApACoh/LJXaIhfe9iWrjTppF21q20udHFEHsDpmoESrHQGAOkjZ3qyMBgpXKsNFqLM/f+H3EPKbgzbjc8i1SA9MuhWn3q8O+rsOrz0SmUvxmMaGH2MJmw6llrLD44sKaqcZm/efl4Eg1dVOJcoOFO6jT/e3yVCqvdmoSnErpG6ZZ1/lz4Bczibfvbmoss8ZQdaqJPygbbWHs4FcvfTfe5qfNTIJujdYbq0eilNJFZgmCkSzkcqxoetxhuS6He3rfjrB1Y7N1BVs7G6GVlw1UoGn9eTGWmryoTCHrCh8dQBkWGgAhMu6RhjyXu4+w7bXRUTdm5kvCncJ4RJ/AE9NbO93kKVbTw+zmE0urWoagUkV2Wyl/6msbLuIgpa9wPuVejvQH/SWBCYaWCm6WszQ4JbMzUNqqgx0xJi8kE03xep/VbAxHB2LUzdZz6uMAtWZ9lXdpAGDpGmINXlE990rcXjSpC0FUjhgGOsYzFUtIJ+5+nX6asTlhg8sN7x1MUxt3QLhc0NPa9KEZc3H1WxEmun30LriZbSijnHCZq88whjeR3c2QJX/ygJ1B0t7qrWWzuITLFX7HGaeen3TLlFbVaUDq2rntkZw/YiI2Sa3ytyvYQrBmQb2gRUikp3TdVbDfoYGteni6PvQQSB4kyum9FSsgCY5ixcyackT6trLjXpaLNcVNHyyRXijPaMRT29Q62XHhi60gCQYElzwbI7cdhejtwpOqtE4OFfnbHtGUuFoKClyC4MnNKiZkeES9ije/5VAEXL8eIMCihX1zWYcC3vy7te7+gQYqoMNatzwjBVHjiGByqKVTcFCVtESmdwUKgVLv0WtAMlREBakD8q/Rzf6z5Hpw/oX1O635l/MJtfqmKjDu2qgHCQ3eOrPfjEZUG8vAYMeUT7zJoNSpsGBSwXmORfLLUxIx7sah6tlbr8hqAmAFFfvDIhIlRpmRNrnhp4cO4Wrno8yl8NIYnBHjO1LqEKFQNn7eNVTESb2DPM+tGygQexK/MWYDVVUZiKEbvJPAhBpomxYNorm6UpdoxoxtWwcLnm7ipMxuWFCiEIsxz3ducExEYpap4Leudh15J+P8Hvqq9FqgNqJpo9RmmxbdfqfR0Ahe8G5Xm+Z4AqKmP+aNSlU/Lltuk7Z8bKBa+fsItzEWiNjO6v+Zi/b0MQQX6Rlt8sf9SxLpFO5fKkEugO3Y3AwVmWYfLbNnbDqoffNVbpKLbqgIisP74UcJTqxOmrffiN3umJbHPXEob1Zn9CFDPCoXF6yXRX1DgwbgaBDv6sodOYYsDGDb3Z2M+4vPlNJawqLNIPZ2wfG3bXHAZeBC9BQzjWmwcj17poEaPaf8gTc2mPKr/ypOPA59bcXNlnmw+lbal79FPWct4VboRL4LavJA4UnsMpad8JYKOVDu63wGp8oYyEbtJ8ALnl7IBwx33mJN8zGlYcd06O7b2eponwms1PL3b/mA39ZWp76uMw4WUSzDnCjIhpyAL2Q+76d9n+UrYn/j8GLq59+QCEr7iqjvYhbYXGUrDSL0qPGZlmM31DfGyPNdy9+Tsv8K2EMrqHdQcKql2a0JfF+v3s5BPxH8B7ndtm4YG2c9M+i9aUcDvc1o+MonbEMyrR/XtvVKEt5cMli+NNERmqskju1vaUiIKjoWjClarb+x/XpcXOK2KwM4WEqkCO2ptSzWQIdjUHyn/AKrOHXkuvs/Dn+PyvDi+YfPpuNMqkHMM41c/IUX+gH4yS2lYkY13pZZLK4U1SDpJP6EQNksVfWFvoDBOsVdDNhXpKtth75ZjQ5O51yhjkynzu+7nmKeVXTIbQ/hRj4NOm8qnN2CjHiuccLuU0/PM1h7f0+8NVnrmSoaLOQkP9kLHDnmvet2IRQWoAH+N3MDtQ//i7iv5ot8EkA1Htw0VQqGGKteqNsh8D0+ELU7BVS6ed1zD1DuFMxi1+RY6CV6Jca24kHCxu3m+QCS+T3t95mBIGSxxte7/y7+kEVFNepWdbcscyEO0g2h4CzXJth9cdZOzQx6TIEVqkWjEuOqtJdMmbhzSiwt30SZKZP8p21ToEmQRITEvn4p9RWNvXo70xeoA7S+TiMr5k7oFFVEIoe88NSZwKD+F8AJz84WZ0npXijQrRCKeCTFgEXP1vnyfrkKjLeewzVXnVOusk4dD+LGBKteoXPFr93YuqIVYzsvzRTmfi4dyV6IAqjYY9CQOtrwsOBdo2jMsxQLnNWgM0AdHZt21bklgoWnHn0wNckjJeE1Ig1I+yU0EUJcQngaZI/bN2kJveRLRo/ukRr8X7DTC2+Mu2sBp82ua0dc7+vndpudrvYMcitYy5xz8GgUVzEoJST7Cyam3+kuoYDVvLmhY7hIbREUcw1uZ6zw0j1aYZ3U7i5zZVCmwp2y7lywHv7eJBEVNveg75z+V3zYVVsSlhgfl18Uplmn5d1NUtQyrjyU5C+It5ZDxrBB/NmxiaGbtp7b9Fg+GibanuaMQGZ1FJNl9MvZRsiIkRiKP2dYcKuub2MLEOLp2aqycvyu1YqPSKWU0kc+wVt0Y2eLyGVS/z8DrhjnHzBQx3lBFc6U/IkNkbFGtQwuoPCPLaBvGNGLW8T4raJnTX/HQ7vtrA074PVa8GrndXUtK7bhUD5yOYLCczMcpIusY1Rle0mo69e3Msk60KkdsLdmxwq0rPP8s0r7dpPo/LY/Xcyz4L+9rHDy7urfPMR3Obr0wraJA8vkg6BZWXnRlTxZrQdI4YCluMMHW0EKglIzCOv8rYQkesd/Dpyx4ACzgfFWdXqo3NLuZTPv3lARQrvqUoxc1UTzsHAzjVD4dXsAfRMor5f820OWJhKIQ1dEasLWyekX0dvdRJ9/NVysC9c6NGs/bQSgMZ41SMSIkKf5SKWYgVWKlIBF3r3isSTWwX4GJpoml/3Hr1/HVOO4tzwNdAQxvzJq2rwC7RZCT+qpK4QPmQsNqkCQJlpEj1OGRJrxVxLs3uvpZECVVBJkClN928Ic7aQzkPv8jwC55oZzDGjwof8rZvIOW7uwpazkzf/Dt7+c5Dl2jl2bP926g0Jo/QZPkliKrbZ6OFPcE/Qb8D4zxbTRbgjKrjKlNxb1T3mpibifHcqmrPhvdBPDA6p1AhU/VYlUT/DJ9TeQ6IwIcF5Ayd7vJt7EnEakpy3CHgct5vHH4W//jteVmWmi+QnFPSgubt3kJOdQgTYZv5sz+MJYLaXgNA41ZzJBENbp8pAdPVLyTEPBah9K6HbPVSTcN6qTyCONcKgMfaRp5LbkKzgVekvR+CjAc1hX+HQBA2ScK2hRV+4aa+mYzlPGa45aD35qerJ/qDdy3fvtiZKwmzNITq1q0TphoDXwq59G/T9Q69/yiQQYnsweAj8I/c4bNtlIa6Ummy3vg4wziKH9yilE/HDFyfwqc0hpg/CYirmzUCzmkrpOcROY/2ygvh2aGF1ET4nj/vsFYe8YON5dSgw34TktHFmSSinLymaWMo4SnXDCcbI8gzMf32ZyXwiDPa6wxlrA/PumGEOdr8Ub22oVx9+TuNaT6poRdzTOEgdJH5FR8JICo7GQKh8Hhtf2w/pGSWK5x0DUV/pkz8e0xs+p6OWciBDZvul1LpPoJVGyg5b+qGPq12NeY8ui1Plhbxo0znO1wThLy/K3qMojBgwAqXfUW/UJU7ghqXrsWJnD4MsdtzDwj8sVio0++vLQOSc6ZPcV6XgvQ+reVIo2+8OHIhO/qiQYu7ChTLOU9ZLJ20xcNux0T6D8Vg3xjdcAI7bD3Jo4ACzaInlIxikHwSYfoZGh3aNmxmrx/8c6Bkabpd8NTUO0DxVJsc+ouu3OcizhazF8WX/4c0I2IhcNoBaxevn8Diy0WJv3YeIPmhMN/3HZBbnrJNoO8RnzX+ndVmS9VENl2fIde3QwD6SlJC5r8dmQl3GgAMZoVwD2E5IKXngcqyMPDPcE6E7jBz859bPBFSIgvpL5UJ21hvNj+4EOw5Z0RjRMV37z35KMU9QaIFfzeAD25jWeXOviZmtJ1+gQHgeg5A2CgZZwUkyux/keYQv34eX7CGwJfOiA73ThLla/qNe9VHo1eATEgakfA2ipKG0uhBvrxxmbWCMbd2286OwXoPPNH8Nfls27G2hmr5fqhIg7k5y/f9o1oMcwq/I7USemPnVzNBk5h6MlVz/wCYdPg4kvTBwP4rGI80ZbLQ2Vt44RjwTP760+EYxgbFOqYpc9v8w7W8O9qi/mM3n47gHgbxm+I50HIXI9Ue5sBXfH32ObbIVOVM28XV7+3xfxhYq5/OoHD85sR2Z4Ud2StnJmleuaVk8l0g47CKm1HKJPshWb9lTogXh9hkm8wNZg8TFI03ESN5pMfFaMXB2Bth7H6Pr0BDK4k9wvlPTsztBs1YZ2+ZUvLru2BAHW0/UemFP1xMXAwJvsAS7a5CWphdw+en0P8nnZT3pqrdoYKTmpqudOPtVehAnSmr+18r5i86w5V99MprS0I+BdS+SoD4Ljv/F50sOghdbUP1ZY7VHgAb1KMH5SQgRCMl5xVn66divvuVxGpiG272zBG4clKOQuCeQmcyQP2DccKd6QeibjNXg8JbBMB5/lSk1Ga0Xe7mATKo3vZ7sY/h0SFgJOwK1gADSTZNwRGKGhXq3KmTa9T5KaIP1K2sUAerWZC5oeH2bqt+w5BMKNxpiS2GHwZVfoyg5buyDMvWh8FOqsnTUXTmWb1Co5bX4vfVmwJW1GLQBoPLG4L+ecIx07iJsJ/k2+a/+I+ZBFEW2bQwn81mgxknkFb6BcjSgk0n+9wMchKnELjTvQ3uTfZoz1Ol9RK9TP6e6Zi7MCscmcYovpiXWAmiS7XNMsIgkJkOZyU6EvV+OIP/ubZhQjKo/6w3L7HVCjkfPsnthiE+HtW5wZ1I2w29bU2uMvp4tmuVSgErixIrEeA8/9ls+UzJs+tZvkMbGeaQ681JAeUmz+NmJCbGYGeRDOzbRBgkryF/jat0jkKr0DUj9iuzqceGs9gCr9P5wj222vMQkGa/4nVXKEICec4k8VlzUxGyh04zXRo+4eGICj7qxQFUvuGoOOrW4n54AN6C68+6lrJIVVoK81ZZwsuocaBOJR/VhXbRaqN6uGJ6nXzUPji8YpMXKr6kdmCqqEd/mdREzqkfdE280vc9E1qqStLpZWyhcgsCe6q/IjRResAwasM91Zq+4/41TJ7OHAO7AeYU6XXbGGuYxkOdSOlYph4Xfxpn+f140FYzlQILhglZzPYm+/ahrOY3KTHJGB8J/8s4BoEpum4onP26BeMI7UWCD+GwxCMBRA7GVXL74TWmcS402hwQcJDpAy3IyOgp5SgrtDQfW72l3yyswWG/ei+sttrgv8oFUjqkJSF2u0gemJNCMfoZTzDz9XhgTz6V6nYZ2S+bckbiKCio3cb+RKTFVtlzSQqQWZLs8fRwHd/3YDdpYbMZYKo0U03GFCz4ZF07z81glcgb+ewuTRelnPPxOqcInrCSBQ5xwK++DOYYRDFyFGHLAcroheFJbAQLVkAopw6mG1VhydABsThh/IOuuZiw73d674FDOKID6drzpG0S0Zjvy7BwZUm2XoamMgfWz4292EYk6afp+RGRY4qilrsR9Hmvm8slhbOlRsJitfaKtpoZoYN6AY3yyv/TInEYUMQ16dqLoUfT5+JlZW0RWPmNHf40Q8QEYAA0Q4kR4WAzLLN1Q0BTKAkQN7stKbryH8ybNxxrVOtNhGtix3nx6tJVPNNfEfdSnsQo8zNsc8pi/9V7QNOPeJIS1wWqhqfvsYWZgC4owRS9KBAPascp5KKp02oaDJN/nDXy+E/Cst9SfHAH6GQoO2bM+rR1VlkVth2r7zL/temHoTDbPAw61wz+OrJ3NbtFWQs0KJq9sGtK5dMj43rSnP00Cqs5sitpJDvWuQ7j9W22zDzBeSBudlQ1rMtYv2lwyb2UgVKr40Q9EZNqNnjB7OW9Igs6puZtBV0OyeVMiZ2JBSOwTFlN6iWvVtxw1BvkpF0Kx4FLOWkbhbGWtOtbjoKCpAi8XrA/+2XQBe15hfkZZ2mng4TalBX2eZvblrew0fYShtkFP5wR7GYMzrp2ZgxiDXqRjllz4wyJedQ4rDvT4jp1/krmJQWSNDiMCztSlanc+TZBKcq0qNacLYw3Tv7mHc6aMZGxe0C+XGV0VKcEo6lp0p+yH0duhwNGn0gvk+34Lkv5sxSt4YhGqmV6d+ktxLGn+I+sZw1+zklzAVxtVVTYVXsovcPzPXHPSetOf1NT8m7/B/Cmmla/GeY48MaPBC4Ddr8WHjWnx7bYQkfw2DjyR4RvEy3Qt/ZVju/AaAaUg8ILxopb30bZqK3X2t9Q8k8DdJ9XMi3J4JP0jnrjeTFBUeCseomsfuzQP1dn9njqhUP0P+8xHDS/49lhTKVWf+tewFardCIo3nyZXw+zClmXQ5ykoK53jn68SfJSxqk86hmnfO6evaZDz1fH4h8md4liskpLJi4bwp2UHs3G8IFPjC2IUeMiUmDoRMe6AN0aqmXT969fwxLXzmPJOLIgc7oCj3A31Y//V8ug8DRdt+CGMoRLGElYEO3XXQHp+IUsAiMOypp8nOkJ3Yj8JQAq8NpQJpcx9+l6o0839GUrCa4x+sW5HWRIdIIeQ+DPTnW0HWPfcGHr8E5BPPIDugaINEnUro8VOCBBmhJj3Ket2bL6x7sBWvoMsBAIrugvJfFOK4CcCvxzaFv0iang7sCFlMgzdnfHysf4N/MlSb+iYvLoMDoBzJOa/aUmp1dkF7sobhZfjfjDeZkTuPRJiSBPi2FI9YHfIoAgMwpP56C9Y/K/gPVeaWI8U0dQxJ2Xj+6zwrc3K7ZfR8nj9as/St+L/9/+crm1DgV9wAigxHIXNceQmh/fVPOcRyM2jufmi4j8Wp4HwJ73HjHZroN5yMViJ0raHoEABgUu0DawAqDj9wt83PZwXN7AC+53f5ldql59BrUEViY31o1DUtrC9u0/kGOXjIev2oVRpyZ/zLCVe8a/UvLM+tzC/Bb5lEQriJTO66Xx1MmehtoukcrwH7sevCrwwXNEeTxHlvcG3ieYRBAvk8sEsnTDm6RORdfgBdlsNkADA2kwHXQ8L4ai4tmIYzGIWPYoQagEvRH0XPJilBpbZreuPJOHbM8r0+nNyCExBA0obmRp7In18TVtiMk3sVRAiA0okqoyt7nWYYuO5TQmLGkr39SiW6XxzM4h7LOgcADJl89C7gtxRmPL344MVSMqbG6ClJ/1HOJvnNsvZlQMBDeMSHtuwptvrRMiN+eQexhy81Q9MsOS2wwoz+wwr42oJhRBsb2zrNsMJH/19lfWbqQlWX7YdteWP/x8UJKC1xkl4FbA7zkUKbFtbfr36nuNoZ4+3tGOjh8Aejxd28OpdfqF7QqzYo8tW7cB47OgVW+sHxIIBggSywvNLmO2jYvStVKTt3B6iFefXUReXNalxjotfti0mL4K96/TMHB+DcCuf6J9YmxbJ/y4xKFuyDingCogR2xpgXO2orQYP9eljaxy9iHnuCCHvm8+LXXYar6ErFSWNlAR79ZlmZpxxvzEEZAJab26aUR60edBLC6YsFDdQeIUoE8tiudHwOFyZn5kCn4pAe4Lzwruc+GIxiEEs0FKb2hADgDTBvZ/03pcl+TI4VyN0T9pjs3+Afc//IziH8DPIRQOZKojp2eeyV7sf87nVWMGHN0CEpGRHD4Xz+7judxB66VYNl2sKa5ULzVcexmqx1s2xZEO7ca3E6SVA4Zbf8hlrey9I1HiwfZ+hOtm1YHAsCmkji4sBHcm6kMULXXuFoqk1AXgUV12sqMkr9a6U7YAFVtB32Y5yZrvAX7t4jUekgsKCWqb6nLDZBa+9qG5BKzDN2ka92ykCdMpaGB2yNC/j2olBYOi306PSjWgzPRBJQdCf4GxmGWdh6irRneiQc8kdGkFmaso9HeS23sdu+R3mX8LwcKyL1/cTdogG1pK2+vicQTq6NokZSAU//2fo5Qzx0e3utxuNogYN2s+CeVkxtS09/V4J1XATtQRCpvw1cJOxL/tAk4OKxgSpGL6OMRQGxtDKENCI2Obdh3UlwTv/No0of697t9Ja2qn/8hkxobkEFChrvjifPjx+ji8sMCfIp3xZ8YApWK+pxngOfbY2Ph0UIeezqKAYqgOcX36MKWhky+LkrTVtdlC7STiOYHItxIRmvLwhVuImLUBqPqb9x0uEftK4olTOy9l6d0m3+qMBYEKOFUJeiNTdyPFdoGRwJkWPjGu4Msj4Uyo/pA7XauJQmjaLANJ88rXUTdwaAst6kdqLB+0tPZUAiQwGFBEIBy/7SwZao9GHOIwJ7bXFzL3jJyZVO/VRWhz6gES6lj8yiLZ2KjjlbMEWRWy8whINfKEUhL/eeF/n1DHCbhKs2uHUBQ1+BVTSwtSDvGK0r82iYRkbtJo8+Kzm5zFe9ECtj/MbV9CIYgcpUjmq/KffsDFIUTv7FTMZZF3fXRD3uYTkHL7DGqTByX3HS3KRgOlOvGWEOZr1DBqATZCCUEI2m0n8vEdl3zPNI84f+nunyClyxrBElHZicpDmXQmht+W0yYTaIH7zgcN0IpWu9DqSY36THjaFrmicutqOrAdxkOSc4jrJQ37ZYN53avrAuyoU9OBcav7jug/3R7r4u6y5JEKHQCkC0+6/jX0cFT9ygRWUEiv1Cv1/74nmZfX4EN8ACHjHA3S/S+FaDZ/eR2xLCPan28x0g1eapMBrP2lMQYEPB7CtSYP0xpdOLs/cohL2qxqGM0QzT/CZ65Hb0EJw0I4G/4u/lMp46nCcoYPMbHefwXnAfojP3ha5yA9uGNjbsK7FicdE8nQK7LPDEFr3e6pNTt1hvHOMokJhpGobZ6cWFh+3tr1D0gcWt0JH57SjhIp347+u7SM8wfR9UdBGtLZ+DBZP8DkPahir9EPzPFlUqjsGmh4TIUDfqHCzTBD1PW8o4KchO4ntclgiEED0CdLpZEGzy3UEgJOCSUTwZjg4LIJZAcgKi48FybjdsRkNj0C+UnZ4sJnr/z8Fq7y544861wKs4YVIuaG8Ch9m/8zrJ+B+8sTWT9KGdfVda/Mj8diXWLhFEgUpHMW08Rw+Cx2HTfiACcPI+Yhv1X4mzVswxniq9LyD7vULorvvixHscSfD8wLDkoZtz4AkMCm2ZocCkiGqbFpCLI1fxo9R6KRFYi5lzIGHwGs1OaLd8/kw3wTmJYxWVcEtMXfsgIIYBNZcNoPc9/EE3Z//sSv5ln767oIOj3w/IRKehzEGJG89c8oiSYLN5tsdDHPuSx8BmhoeFGg74lEEDI1bBqRmBCCh9gksZJgcfaGVOfuWvPeWDEIIbnHizsfo/lv2eOAgNppgLFNFxdWXrEnrTZxTEPQnmBICGc8Oj/5As97ZfWsIrhlFxKv9vxPbxEuooVz2OUyjIqBZM0gQ1Ek/ZUfhWwkswKmstP3oAvbnGd1PooLxBboy7vDWRilhNT8lAakin/nNaWPwjatdaIB5mJg1iclIq2CeRCaESggfZRhGBa1UmhYEUmcKIBmjjnnAjMlhzLZzmfKs4g+FYWwzttUEpDk0l8eo5ZsqTvKRI0SNnjkvYOuukNM7t45ks1McYRNsOnupULSXvasD07ZoLTFisVbPemkYhxHyRtcxC5rsk2MuC/pgFnEteJ+Uu6HWPZhoCf3F6pvAiDQUZIp037my402+RG767CIYfRcKR4LO/txuu1nbBtWVPWtlswQ1PuEUiXSirag7+VHnV7z8Ot9GcSwxHiPbGxyIVtPLNPNutQLRNzCHtYTxFHxNKCgiXKnz/Ew6x8GLbpx0bZ9PVrklO7GAHUkyRLpMt9+yMZzdTXeApy5uBtSZz0khOboXGg47AnxqSCls07bkLlRnikwKpeGiAJraiCDtqn1NyTWp8Eq6SsZ5KlUhDHtobOtjwRhUxJBBDO9CvreU1NcGZKDK2DDbk9z/K+XgejhsV1bVfSUjiWHr70ZWcobcMPDrwrsS4Mc7bSO3ku7WwINbGkHtI8UcrzoJ6Vr78NcCqM4OqqS94Nw/yy8S+pY6+X8u6/nDeXGvgkXQV/QJsx+qSkL3wX2VTcYo6cdbTzU6mtKB8nYxr7FGg88nYvpUM+V0iyjMn6Phczuv3zTVU2eoecr20Wjq4+el9W47G5oo64UWjJ4XmDwQSaqltUTGuhl9Co6vEAxDLl7aVymoagrznhInISa9oJ+56orRnsQrFbCuNNLKQ38SJ1JvNteDS4ENxTcwsBcpTwJbnIoXMUDqt+ZZS8G9TB7+aynnRRoP4zrzfCacd+zsjFUAYJKjIlmAnE2MMRru4RC5aNFh08zJBsTWkWf6v0mRW7ICnyTvaSvLjI/Y9TMk5pWW6t1jnrFVJrqsMN/2/TQ5MNbMEWcmpePk8RLdkWAlaEAeFrkTXHlQ3z9KLkwYu/gpLgmJFq6yWgF2jOj4ogoI6FydfIwhtu+zNS2Meqz1NFqHX2hSM8Ljnip6EGAWvuJafb0Ibw+Qy6vueK2aUXENMH7AT+D6Qjoj3z5Jl2BQvjuu9CJfyHcUBFGh5Z8qCOLTGDlT7PbI48aFaOpQ9kCQWeWbGRkrR3cKL9z4AiA1F//R1tEAnX2YSzQr4LM3uvvwCC5s/tvvyicViHCx3TcpvBipkZNDAMGXvlrhwwIsd2xHw1Ac0EfqDvN82dKoCSGeAho6zThyVFCvxSTOiFU3iZJRm7j9Uf+AAMQFL2ikFjBHK2w+Loqi4bN58k0LdMIpeQ3ksLnLhcAp25E4oTdxA7IeXx6MZbjkUNd5D9wj9XAmtbJSvX24bV4nOlS2BQj5LSHtm3WyMW0guk49GAmqgEpHBI2p1GUUrfPMMsUP9Q63oF4JUqsXnmCrXvbTAom9EHHLwuAnJtDv6G5qKf094AB8iZj5K8Wc+N+N98sA4NHEY2YpBii7lUboxOH6GSCbDciOSmsqWBXsfhcgwiqUpVuZUqFXw27wwsWvuKJ6x394o6II9PHUmh/Ew/m39WDY3xJ3lyLTnPdT+oZ3xMrlROU5fLNLIwUl3FT+aeGPMj9b68RoqC7rZJhEQvfq9q0ZVg/V23qgGej9Sd/oIvO94hmdG3P53KQfk5iNWar8iOUs+6sU0gOSnYQ4Gb0wX3hJyT1RyY9SUbLO3m2bRXosDrDx8NWHYWJ3mAcsvnhTicV4QwpooZDMjqrhDpa9Nmi//uqNVVxQCLqr3sQpmrlSuPSggZDb7OzVybQ/U2UzCijcd16Jju4AND1CAtsMtm39nRMCv1C0s6h3J2yg1HOZ8/zf5oDL+MLLi2AkzX0uv2+27rivJbb4A/xitz4XxCv3yo2LPh3zxUzu7xowjstlPrK0vVv1gaLiSiQWg9QE4lB3T9hDHVmaySFf0l2NV3NYQvJpaW6xAy3NhPNhjft4R0psh/ztxhMH0sFu6I5y5lNeLQ6Ul2R9b9HjVhzJ/ZlQ24D4UPm+QH5qaU0tDyN3nRknmfNcEjMH3QrUCLTXI2121efNWBf0GW0qy6i9ucSKvUQnDpSJXCIPoduvyidSP03X/2IO8derIVOzfjuOjATsuvE1/8TaGK/536UQ9r+aYVvNOi2490fLJHDkKxaT380ZYpWa6nhTxT7xXuWeDkMT0o6ceHisKqybCXAoyeackMr/bDxxU43hWZeDFKwFKfm7F6e4Qwg69F5g239Z85QEWUkqcemOjTxCGtMcbOauqybR6Xjs1/I3dtBromo2P2U2n5sc/t5jumuGgmSzIP4ZRHEokAxu8spBrf70VJ/GGHIaQ7BPn8Kp8be1UzLz4w0NtaSBGTo9jYNuZtaVA/JNkDvRpSL2NpXbrmPjgHZRrvAMPLWb49stV1QF2sM+MmxJj1U1VrWCShlGimofk6aZV2L6zhoBh3SOvGkvJ88u7+Od/nud0dKwPlSeBFDbB6dttmGK6BUcXvhB7IbIv/oVMYgWG5Yay0GIm9QJTo+HYiUcnqe9Llgabo/joQ6ZB9Ujjm0KWHMIxlXVLfia4gtRA6GWmsvWuqxI5oHsAsp0Wc/stRouqRHOLhq1yOvH+eQ26qGQfB9S+JxY4uSUCVO6UkLj0xpGzpLjvmLvMERS12EN6/0TqZLwwvuc8YzOWKxh8zEoONytlmcovJCGrAtXGbI4LNMFuWon29ZgVR+Wfym5jq8tQmuKsHK4+BK1zTD8NGo0dsuoZX8Ur7W4Rworq+wXctFYj8HcjMHKLtENcOhBcz/4j0lXXU11NdrZD4JAApy8vSUSVerqMuV4MCAU3gYkuAAl9gG5sQGnOEy0jSchWRft8ajXokvsoFipwz6TB02h/ud4ep8fIzoZCzAF99yucn6PDZ5oZ10uSbvNgRJTjehv05FS9i1Emgtiflmw35uu3CgnJKhQCBKeOKL89MPLvZh1ITE18XJck8Ht+WETUSdhgUZHV8E1HWWc7j35U5IbuKuB33hGwmRUcJtw1TqgAtWTPueI1mg+hVuO+VIafMVlaoAnQW9eXNURiL2pPB0d7u0CNCefBrcFkz9yGz1jv2zpHBUkqo8F30b5YoK5YJMUIVXuTKu4TswFTRQz9IQAJOmzxauQOuf+mnkjg1JsjwPHRmRvq/UIJ2BP73CURuDnqUbkRClbujLu6NfIrPjr2HosPQzkTEWlagV9jcOAZ66tZ5NCV2BoeV8aV7jsQ2s9SggymqKLfXCOGERzHmyJAQNiSVGSeGhsE0NZnqe7Z8xSMdSlVo8893HaeX7z2DtkuYz0xZYEQOeebWblY/TglTMFJGdOkJPQBAqOr7K/W0Q2tY57YWfPL8mWGYT+CfMqzO+6IvN2Qp0ZbjcuiGFYc593GpzmnYw07EWmzPzGTplzrrWtGoyrMtuBHIBZMQiVTF+STqaJ010ChDK6Jdy+QFxjQQw6DHLdwO5Pzg/LadmLPKg3zwYhGQCSNDfz3265OoLIRyEDGib1ctSAUO/ela7sTnb7L4o3esP12Te53VYEwGaK40kcPwL6weKcupdEXF1OdGJuJqF7dz4Rt353PWCjWh+d4ISSPCSd23tM8iGYPnJvgXUg+dcpLUDLixkMimmnetT3CHzYVP+2spghe+zhAP+JG2QSHZTbMOYiZCkSp4MM3gEtaVkAFP7VztO4tUe9/dFrYnmNEBWvgsp+IkGhOoyzVeNzy/8QrUSLxglJtXfwCWYA/ykuHQ7NxMQrcYsVjJyZKbK3fuJ1ogVa6DMHgTZLfUdDwoZSq7Nroy5SvLwecVT+lnUy0vcqrbtAxJ4Yv8zv0vFqafU7i4Co+dAohP20+Hw/QY/JsLTDeGx362+uENagMG1MOcP3ItKqgxOu3VWOPKNz6CWwKBQOrgfmK6fBI5lgfLBW174A0KTb7nYoFjGTjXqZ5alDNqNlRuInXMBfD8MCb5/nPGgPYrL1ETbs1LgJjVaXPCX8hL8Tuq5U+4rzFs4209H6hCR4t8foYkRUwgz4U9DakcqzrDi8IkATyMspNDE2jLhwdefWsE7oHnZkowlRBY9FEFP/FbrFV/Gh1vhcAOJ+ts+GdKRFz7G76FnHoAPuAcYekXZqAqEXxwbKOa1uX8hxTNlvppuvwa69f+muVghRHIciHu+eWUt/uyjTpARKrrIiqQefwpGnTfCSWqd5xGOS1PbArbWh9pjFPcX0hyREeiawrwtmRc3x82vKIcesPoR+kxfiqBe7Z/Pk/3zsr8672JRczR7LB19effY6TxUC2+VfaI5D+L0zwk2VrSQz16qXym/YophYM0AkIL03uBfYcqEGaKwEEDqsOKD6XqscLjD/oZ7GKMqyZ3ww1Ro4CdqzhHGzGcsXhLKVnMwSKvdPvyx1UA3fw/aooCgs5ROSRj6aIZdKx0+EsQV8rVNf1MTo9Ns5Ct7XdGH6M8QI/3lhbjmQwz80bV6tyPiJlMdiahjL6+5jchUllNWSn4rbyoAt76oMu8gcW3PrMRM2D3zjgpSsYh6mLxLN8ggUDvK+pcwqD3QBarrx4/Cyj/ntpVZ1XOflQNeYKdPEcoqTvN4GYUB/MzTqVbnNK+Z/uZSGLFKV+H3jpLi2L0xvlYDt97b0CadBSjgXNqdOkzBatP0I+mckHDJX0v7GobgCrwpj5Qggf23fl53Zi2tu46D/nPUaeu8REmepOByJPZz2lN6Kd5FT6GS00JBFlF8F4ZDWUc5YhQqcVskJHFJnr/xeQLn8gX+n6roMmY5Hg0bBP5ZBeqMTRd66dFPwZyXCRWH+1QSBjoWB1lnDV7tCdOaOb2IZxg5BiAWC2TQaG41gvbmfSRlB281DddpKkJEXfXT2c7qprxlYTWutn1LvVpsZi9K4V4riht/muMfh6LY4AxH8CxA81UJy2LkQk7RWoFoP05kuKtE4moqFjtlrHuLq2Qv5NmWF0RdFYjbBzoAFQ0nkfB/9icV6HM4SmOGcKJsaUF9sUJBcfck/47wv3IV7CxatA5KnP3rtzQrc1eirPVqo6Svouj9NSvOBuPM3egQQgcodAG9sVrJcoqZql8iMxB5193qI0BiL1YTAkGlqBNBlQpiDiKh6xco/Omeo8CK42Ib7HkeOiaXr+iha3UU9X4NUCfxorraLcjjZdemklxO+Q6m1qyuQesQQ28gfIf7sAT1Jri4g+28W9ELZ+oVXpp+Quf/iH5GS4oTVtZVy1vXATy3N/suHt7G+nq4EHEq5reQmjSF9uKKVMOxG86CKUvhbziRO5wh40r2tdsNHxpeaZT6ElMLfs7zelLwW6O8YYc5Osfp4bbSr6bmgVdDZ8neSTB/fIKD9wn6WoOKSljZAB47ZX2aKH7XWLish/2lNlPbGkphTT2vPbz4AtH/ULGkhB178G4owTjINBZIZ5Zbi8eOCA+KOuXXhEqAGo5FKay259tbFaEg/ugMBjsiMWbQ9MGrbBVQTvkm9YWg12TWavsocFteOsmxX1eJyl4kHG3Tn4aFOdB/pgoP+TZ/GYatwPiMybLP1fA6qM+5uh8uyQ7S55E9X8uT2oXqG4KfCPzk7SECz3ppbDYB1s6sd3voFtbQsyPZS6B0NQk5069MtEmA1Ssatjiwap8N5WjjawfljCVhg+Dws9sYrYyqYy4zh9vm3dM0fMjTvmD+VRBOq9FkVvoT96tSCYE6kz6tywwamkUzfkz6Y//XUUOvig7kU0aNsvZkSrrql4uRAHxijHIHM6Tjl0ZNR7UIj1y8ILdxAzePjtdYz3936903JGY1FJ1xPQlGTuROoW9KVCS7ZDoLxUuJQwaODsMKY36eRxZKhh5wcHE27HEqHElFW9IjYoKuVU3Pe98Py6qEUFPkRqQrRRKCzZ9NL7xYtmG4/n3d+yeXjPpgE4HW83i42VGaspT2OH4xeY23ym+hcnYQw7i+38rxRtVZRxorXux1MGXyNGu/rhw6IhCDO1FcwVRUEK/kM7Pv28EqEYmdIqhiS9Tr78S0cdXJRPS15MEuLYLVKID6iFxYUWVCCjEMNrlrwW7eJ+2ERSL7KIoTCnumK/+g3wPJhtSCNWaY8NC1GK2te/gOetyTHyMU/mewNk8QmwQ6/DypL6vPfKP87a3jOeIpwl8n4qNeJyUV+wryx11P9KXDDbt/U+mHpx4ni7eILCaarjK9+i8fWVPMKytl+vxrMmiOdoux9anTW2S15ktU9sUZNEqSyKfTLuvBiYHvJ7+Fx+if+wMtPlOtE7l5vwK5f3pNR4a/1MQ6+kfHrCQzWMMH+e88X55HWMK2MtcwhhVoJAhpFSrUVbuY822+Rhp9MAbzCnhcIT6PVL75zSwT+WJ3ImrydiR37lfpTy5j8A1rLzU44aqVEecGIEmO3vHw8Lf6on8b8ymoTRGJC/wIfj0XCVZxi1E3SV/tkFbkZU1IDmwJoLdPx+1ez8yNGbUsWq7cAij4vot+Au+M+i4tRbT5yF4/1Mz+Gk1vvqNA/drLZ7iIZlOGJVQezTJCCfasfX65DL7pBldf0x7e7r5WCeOX+GD3ks4XJjhZkN/jCeoREj1Mf3Vkuz2vUGapTCgYzvh0D7arpi8nc1f0FCF4EjdLYr+zqBAdl3BZsw6X5iZWmogPLh7EwRoCqd/VQlChVwjBG/TOtvtc0d2qCoHN4ba2lgw/m53TaHIMvDjRSEyKzvfJStENsWD+PaW+tYmOfDKv0gIihpcI2iP552rqFEjlXqfF+zDR84C55lVlVg5/VqzNw9D7mb910sQj73vj4MqNLpqC3Rvqrk5frddRp9IF+0ne0k4AZehS1+Gc2pcVa4lHV1t8XhhMYYDFMtiSDjkdixpBMoEYbCQ4uidd29pDktILLFnKAd/MgIhy+sfXFIlAQ2NIAZDdiaJYzzjX1m/VOwJKUr/QJsFcrvduDMhx2C3vWOAHi8/kWhi3vPDsWeaAmVthp5pF9FsSEr1RY6uCXOC0/R2Liicy0JDXzMMqIo/NNFksi2prEZFR4sUux+nTk0Ut+OocYN52VgUpogR78rja/ShZEuuGF0spg/sakiJXFuWGUFq6Zm69EVsuC+DWIE4K8M4Omc/+kKRMQkqtoDSBbhXSP7zsBhD+0QZZibYwhV4smTVTjSIP4D4YaJIvp0wRCt6LV54fK2rnHf60nNzdIWApFFlsBTwo3cF0gmZRO3S2iGj5p1YY3UXTGYzlnvoQx2jq4mK6w0QEA6loIj4ewOl0EwMgSzAXc8JkQFJXrASMhUpQ2P2fYLqhxUhHXB5y2d5dLHgtn9rFZITuMkGCWKpyRJ8Tb4x4als/DFZEYlu3cW2kSssrGCCs0L3FcKco3wC3Woo7cAAmBXWd9FawNRl9ynvg6xHi5qtTgWpinxxV3Ab3ggZ9F1QBSyV9r8iKD8yIacTscUD45a4zFaCCqvJUbTpsg5tmxq24injSnXDTfnwkfM5D3c3Jdzx1lhDiCStCABOJenJ4t50fgO1TMnGCAKUtkKmdwCs8ve51uTyOAQSb9F8hS8fUB6t5BiAd9PKNtQNxbtaSOwciv0oZEyEMggJzQCCBdwPO2pO8fYVoxq8wGKeLFWpAipeM6LEGEz2bwrUl1RtkmcGuAdvJYsHBseuykABCxPbXQke5pTgcrtT+j4QdLZYuQyQ1K/AW29vFOzeTRfaIZ3GWGTH6kmVhakWsattvE4HA1VP6hPV3pUXrhcOC6lJ/yBebAueg/CM6D2SW+YgyW9Af/Cc5Qt/Czcv8+jvJlBeoFbPQESqgLH4zh7sGZpLlbWAup/3kafbI4GW6vsqHqFs9EPW3b8hbHIe8CjgY9wFM29rnYK9xGDN54tNf4Jx1kkdFdAFHKDRv/YyvHGimEIwQ+OA7mJfGt3jWh6mdUO5dgfD+DZOHSSZaN+RbdsKzx4C3mwucCQz2aoGZtggOAVFtRIFwZZ3vDQojdU7D8i+B7taU3fhW7ViFxaX/fFquoe9HsHvbBv5hD8lpkhinsCzJlr+4hyp2D5gMwV76XF16375BOBW90B3JzN719jzcjpxCehreNckMhGfx2vAkDYCycRGSO0TK69cDeTNHdz4xESLJF00naTx6JtYZuXzSu8en3DKmxn2ao6+ukgaAkpBvhPsmOTwqvefjNguCWFKP2XPTnUcBUZe5MPgUm4V+CIJU7a67ws1mARnhjfc/3eMh6P3SLW9YhPuonfyxMUdh5Qot8JrqHF7L6qgis7+s6tRuzq+v+5mg2PLCaPrglvs+CgcSPYofivdakg9Utve6nn0wAZ98j96i5Ap3NVIWD6qN91XDsfy6LM/aVoHfwr+bxnu26hZkEuj02Hz8grWJ69vg1iCS+/RLEL+Glm6zcs5bo07jlBDwAOmKQzCquchk4WEgcwW/xWmLeQihV1gqYlZJCpIR4s87TTHwp5VcNL0mjpnCGVLFVPnKKBbmkwG3BeLwU3ggK8WwfglIooRLaWpnO6pUJjEKsDCETHjNxEqbu9aTmkiuGywH4XixlTq0IqvVz8RziB0/rpSrOnrZk1MCX/N3uf0c14YUED+ggGxaoSt0BijM8WGbSDlx+iBxy5qhEFtspoWXxORzDPMu3qax1+N3ARJnsbR9J8RRxstwwPxZ7KAMs+KsOXGgeKdlhv+QFRK7n8av8G8iNurGJIP3Uh19d7I/lNP/lpOB0k29wLGrruWoGLjTT35/kN8lzcKvo/w85xCvVcxBbj2F1ZeJKvwS0CqJKy3FIjWYjMNffR3/OIPmXOktBfORhJwSNq5U6HpTIcneapEsZZA349KdRgGS8EILRbUj8xW83CiLc7u9JYYwzX1LQcS3vSLTBbcyGTdX02XuvlS67PjGkwHiwO8oLc+vwAMCdcLMw+4SWWpIoB7J1QPTTbgGtVpULn+S2FPbC16jvffX0m6IoFIH8yBl4o/9HFC6ShCPgcDd039w7b7k5Ur3r5hZLTowyVdwxSEZJQ22X5lckAy7t87Uol+ZmotIxwLVMMgnfOPPp7GfU2LNgaOAyVScIeCaIUO/edHopr2F+nm7wWQ0y0ilpPhZMS5xvSYGhq7i85lx0fceo5X98Jh7ThkeUqANTbWGhh9wOvOSZ5M+RML+giJA/5wLjtQy1vIbd/+7nmWiO+yvfSovFFeeDp6SITkx+nH1o5p8qXSaIEf12on8akJdKwBKPRaIDULTUL5ClHAzJ+fHliTwR2H5NyRNLU96gGCsmf5k5npW5tyZq1q4wLA9JnGTzl/prn07uOWm74csXaR4PSmz4r7QBTQBzQBCkfAFcKPKyLUzb106mdAu6iMBovRbPiMIuva12p4BBzrFmlGgqVgGqBugJwN1H/K9zx3+ZVqGuPxpNJ1KAU98sTvhMwgJMhBrFdCDNWGrM25Yegi08YMhsHqcwMVSRHkA5PBtbQ/O9IfZKTya+dJecuHTDn3ApKily7uBn4lww6hmcfnJY5FDothErK106RKzELukl82VtL45y1TI3XfDc/aBlh0JgXxSgntt4tyi02ploIo1CDo/sJX/UR6kPFspVHbQ14unCKx7LTKHgxms42Q2/wMywYcxBiGYpQQ28E3tLfPrj4I2kGipVb2B5AZ/b667bxgUMg1HBC42wEtxKYGREB5syor5jB130lxWbjTnNYsosRQ8GuhwkZNW/hqSoBhIyEhTEH6uVuMlRbXAoWJsWq8W9WEZOM5nOo0S9JIJsIXQVvfOlxxEXZch5zEYAuPJUnQka2xd//9mEAu7lQKhdGvdrq+PE2j3y5rtYVzaYEdUSoeMQZkCZe6BifG452N9e4ie1AR7ZFgIGnY08/c9Mk/J8Sa2Y0IXytuA4LLO0PJyHMApO1JJqOul+JoZyIljztTSa7VgYR8vhp5wxxm1yPU9FZQNlz2e7CNj8oRsAT5l6a/BcEokv3cjPHmlJ4O4Msmb+hPiVorvLkjxSsYDVSMWy669p3rhBbpcBuS9ywWUIM6wGSLynR3phzPFQ48sdZBWGewVgq0FnMy5Z9sq7QyJDxrzWEu0s3GHdEgODLG0QBz5z6JpLVR931HpO24ZJMzb5m1um7e2UbZvvj0vOK+OPnQWOnvwOQ6wRlcZNV6TyzE/ZRDV06xRhbUU0nr8P8NDhn7UCMxHJcsp8kOiMiB5vlhkzgyCmUPDFeKpjVzbf6w77IBvBbLeg0mbwKTJrCH+4WN2P7Yx0tdb2uhgiVL/gNN4pKe2oKYSID+ptRf5lHhx3HQO1DY6vrorX0ToJCy9VpyANIcUDsu8Pp5Gw+w3wnz25ghkR+VrIRyuhb+dL2BDCfnw/o+ylNXkaqgRi/H1v/IQ8Sor5HR3rQwb0vc40r7lbTIHW1DDRdg/hJSXU7wHac6aHCotA4dYUz3jWH45eECkMf4aiky20gbOxIbjSpEn1z85zKlSjHyMKK7q/PABsYNBQcMyZkqs55oOCRXy0j9jz8GXkW8mTJ0g24zC4jlELAsv5vAVM8pm8PzcP/ocnDZFRkobpZUsJJMOqEc9YGh+GN89zme1iGgk429IZNXy/Ips9kaSiDiAP5tLjER7bxf2FjzDF2Rz33n7uxNF663IXjQhAjqjL0NekCJFFW8MYDKTeZQXj0wxJ0Yy7SBtE8q5kLjRpFXz0D4iewEp2O+7BlGVulQpLhcf+qZbZBPrLhcxQXHk/PWagADqXOFDig1IH2dsERRSnTZkwiI/ElEAeCrbALyFS7zP3N8cy+diOv9me5aunHDzMKC7rgBwEL4nmJFzGyEzhKAr1NWzAuxOXlOtiEdHGe1qK6o2KMP3eCjMas7kiQLvDHL0znryrIJ/QV5omBkJ04jrhtqS7xZQe6qa6yYTVYjTLRHuh4SQ6m1EjaTCXbgzDM148jeDp/TGaE4R70p8D5LopLZtjKJgH+M/tlOAJwLTQQq4xX9fCgnF0kiob0KCnMSdOhGox1udXAYxMdisPhoJFyJQPeHKAi+hjbtsNiWL/rrfdLVfw9lsveo3R2GdLRq3PcKs/hpfrziqx2f07zkjXqvDv0LWd0Dj0iWs1w7uty6R7VVxZ3XPxelpdPvx7oH02YP48yu/gNGR6C9CumQSOALS2Ld5gE/VRd48tDIiLVdkyXsclnV+gq8pNY3Q1BXUb6L4VY0hQyC8CCAmA3+Gro8g3lmuhH3N0/0xW7bgjdkUmo9k7slHKyz24QU7G4K2SOj/RfXKeZDnvcj3YDG8+yiDCi6CRDrGtq6ptKmLgA4oola68voGYslr1oFP4w4uZd2dSXv09ncA3Vz+L0Wqk4V60/TfeiP8Biis8dHnUcXDFXy3A+9Z8dppwQIvj2L/jEgR5Kc+r94kMddwSHysdx8tO2Uvv8o9gozDOOHnPDrKRssB2+r0RULn6NwVeE6rU2rGnSxAw2LIAvEELRRw/e1UBnA5XPpeoGunjAyfTI/FPllmEJnLZM1GmJnDN98DLhWB20wbDRYTVAhwe7c3w1rxaoCAZDs3LFBtZPujOF6Fes8w+VFDvx2AjBXVhSrIukg+0GW5+kC3iWNlAw2O7m4GFdz8XSolREgQlqOxwSEncfVW9SbxcnhcJzZ0w0E+VjKmREXWmEzVskIxZpORur9GxJt6ieEwKy4e99srrPMUwI4PzjjsjwP/YrMA8jpR1WJot03Lu7cU8hM7j0/QizLGNWGHbqCc3pS1fSl6V+T7pg2tdGJZiBQcUPOszFu2vSrVzltBh1SJUKZEj9PFHn6DH/sE/c1HGP3yARUgX3yP40BNOOTRUOHWhfAi+oR1brZDigpvefAqyDvf/W6POy43blQJHK4GK6JQyLBzVf9bBLM2cnt49sOUCdaM8rp58rk0p3lrH1CsW7E+mYzloecwisSbRjEeT6rrvrx1ZfDXirOyHBhP/KZUGt+5vDtolGrcq2xG3YmRAdJMqAbjxeCCBgTIvr+OpDiiE3Yq3dWhTzJQ7vL646WSNhcJI29FCVDLCENnJ8b9CdYT6lJrT5m1FuNnZJYtVE1x/6+Wcse8hKTmX6Cx5LLbIgvZNLsdGdk1XPrTSkC79G/E+BbJUm1hl20wWdEYrcgpvp5kuDgSVuRIJ3gnmgDvUvBbXpr21oYoMUo7GzACjVrQwGn3EwJTk+6NM9iB0CtjgfKT+GNT9rf8pTKbgOMG45JQk5kjRCDElLMl34/S0ZsWX2826Ehv31WuwiLYAMFD5vGLjl6L6VD3G/XjzPmsU0amW1vt9Uh8WsZ5d2APgCK/0WI8/rhxcCyyMVB7xhsfhbrkgSaFcfaWNGLQf3+yrDggUNTZ1ShAycSgeco0yE7DoDluJUlj01pfTcvYlGPqkEaACpw7nV8ykCiuyOaSWcenkVHJWNQMAcky0RDhVSRfQJL1AHX0/pgfiMsjmze6Q6OLtZ0/DZ/Lw6TwOGUP33qo1kzKXXDyrPun0s5/X8m3KatI7E/DSJxXT4DrAaz1zz+f3e+mRPMZ6HIWn8jYbEKOV7Z2J7K3HWEa6s2f69BFhX1hfpkBept/cql07U6a+wdXGQkiED86PfYorH8LbHBPJ4kiotFMUyM9/Vbjw2IBcdy1erbaDd+aZ73ZuVC2PcKdm+w1P/40MU4swPN8ik0c3weW+ur6tplTP2qtSwSxqPYVs3uQK6SFjXecdtYkN/CKG+cTrRwRs38EtzkZ5/zRTkqIz1I545Amzgo5/UW/HbU9jy2s34psmohq7GIYyNtpQTUCmSeWOZ4JMqdA2TjljQNdis1mFcDo6T4SAe2fH1XpjoUJydJUG/3eTK5TVNpRSoih6+Wt5cHu1YfsSCau0qIS0mKuyDdiEFsx84XzESwXXcOyCxfHN0fxOSp3mA7cwK3FlEE6avXyISqJLA6/FoKurKZ631ATauRVWyX0JKhJfa+BLKnKg+AGn3Hj/L4HFGmP/t6ZAHwL2UtjUSL5BqGkHGdjBss538X3ba9/fs0NtTzzQYqm9CDzzrRrSR67Lddsg0E9jPNscNuNtgsM9Z43SOCP67JFYlvTdZsXNKLcA1xu8M96KryENu5RlcC/87HjezhKzT3kcjgoH0wfgQPFAurv/L/tWxFNb/jX39NDUmKqn7Yk2+BuvqOTUb/s7/lJcBA67M8IXJUFyXCqS4sly1+oyHtpYHATMf5M1LF8hbLtyKJifU1O5/ErHVUTDEaFClncKbA70ctBLi7EgAFLlwRnVTdagmwXT5+bn1XhQlkl/Kz636ajx/CFvfoj+G8cmd4grESsi5gM4mqIV4I02709dBRO04zHrnwsXCmFl2kOpjthESZsNhRsnDiU8u53FQXPNRsXmofSQhD6sbch5IgBy1OO5nmiFFRTxW6zizR40m6YrAWEYpd1okAmjBuK4a3j0+7Ly55NBRhCZZ/MG3zB2WgtJH3o4icjF6Ebnpf95QDW17D3AQC8B9Otboe5zLUJrSYr3kljzqAWB3X1JLKz6xc2Q+hxDBDJ/crn86LdLCWoRngND0NJDA9qF+Q5L+iHgLIgdKU5t31At8EcPjGMpHdlJFg7gWf7oaA5/LH319XQZc8wpZKwwScMHZ3Saekpeiu028DE6WyxPvLCft4aNUNX4K1dePMVOmZiIq3cRkTxaFTDFlYuHKfGVM3kdvy3cqWjrcjbHwdOXC+xJHp1KZ9bkdij3Rg2yrz+UJsvzZ8vojQXc1ze/VDV0zjU3TQLc3eNW6PxcksAo3EhnOZ9r4Spdg8yKWeLd3CvMJzup8lIGx8PTgQ6yfNg37yGCuA7V+j13/Ucs7Npdj4Oj7GENDPVNIE7lomzYYhAbkxBrGmdB2C8sy+6/K6qbp41iMwq7mQ5zuVcwonAvqSprpTeHj392+l2IO5tQ3HvWIeDEYMDIrxsLm5pHaTVTwbbhvC6WV0W+E/MrkQPBFztDK3uCcqnOVS8xBeoynsoSdQbiZUXSyJ4qTyAoA+Bpfc/sZ0en+qKid+6Vty+KAm3m5oPNS2osa5opIxqAWecfoU1cfbIQ/LDu5sXdlK7w0+i9sYMA6esGYHQUGApd/PA/n1RPRXfNTU+MPGGq317Cb8ESbYiDnaGzEJchTeOWqTAfbWIWQWMaDoJ6CA3P5LvKgHLaDwuZ/0yeYuS4sx/Md1D6t7LQA67TOTv7UPXmnSYyCbJ+QQfzgbXRfG/kEUyNhcALDgYrSxJZAMZZk7GKmAwt6o+wg8oYxJVxL4RG1uauZFoT24f8P57VkKKSPiV7IZopSNqgPfDHLJjU/a5MpcvV/EIW5h0LDJlNqSbp1NF4hTTY9V7LdKcBV/OTbd4jC3o0DgtaUGKDVhk6l8SmJ6DCmg13SdhxGKQbdZeLEuTndIyLlA2e1VFkmKd3J4AJSkJR3A8KQdlPAq9CE1K0BY1IyAtxsQUWVHlReMquxUv/l3/m+s2I9pISGam5NPLMvwNcP6EYFcqpPMB4KuP54zD5MRknV0ifURIRAVEXzTaS2+NArPrL80KktlrAw95t/gRg1UmEjdR0Phvk8w+BfXgitq/Nawz7i9PDgsNXCCu6PbmNSrp4wDU8DZTjRBmJ7LonnFMf7WrUreNjd14PmQbgdNuLg6q0evyGVCXiou+kFWWnFeEIdotoHq2lR7T8fPmNN8jLkhdhwrU0frmbhrU/GmYLuty++kMzS7m0XISw4FZ3c9Wh7BP0k2Nquzntq4qA8q8CL2Y5E9KaFSGPGu8M0PuOVCiJDoMXH/lolA/tl4vai38jaPcZ3u00uVHeTP9wJAE5Rli+z2htTeDLJ3UBrjvcCooxq/xzkeNVjQAAetBBNUvpYsR+UNL8CTmMeSkBnmbvMF3w0m3hW6OKlYcWKU1AHnmkUygEwU+qkV6oixFRpxBjp7KL6kiLnd+OjLoePrmtZefqKDF+2vLzmZLBtmtAD7rN/q7elLuGcDU6P/qehJosSrfT/PWPwxrhQX2MHAIJRZout48ZYd5avjK4Pg5bTYkxiZFGUMXVJXkt9h9/zFKrO+smSTDf3tzSeWjYAFl9O9vuvTNQVsu5AjFUpJactbbxhKpzyiGWnoxFxaZdocyVN0oTCNcrEawfRZRQLtyfNgPJRiLXuo7ZL8lbS/Sy3VXKFzWOfZSYdwDcH5jr+IJ29WcEQJ/COsaKIVH8Br+3FT+w1kql/mD8QaqXdx07JF0XYrchK8KS7dtp6/10ETy116a4sTkR6eNSqO3bHjbG4Qan58bq0Fujg5EsgwWpgKInBYSUAZVovpYGAulpdDZdlP3Ax/1YDPFPGhKeD5Aqp0pSG1zNCeAYdS00zn+qWDYLNwrDRrfQ81XpQ9Zw9m3C3XAnru6sgMbkJUbIlHxWsg957KrupFKbq37OhGoWzVC5Zxz7cKTwVvExF/aO/KHODFcTm1INe0T4yvYKX1/xtRbIaNYSmzJpdzvQSOdli0BFckufVwjJCEOSJxCeAPfy0GM4iyCx8oLSP//PEIVq2+MBjyNVmPzT05LKao3u00rV5TJnlzCs5eeJK+jtkjbN+wawsc85sKztyJ+/h7Sqec9HRYZnU6T2QLsXvFhmqjqM9FcF2qfOD4/zqV889CwXgAP13xWVTth7tbArRPiDgRScTEcJ3F3MZX9dsut0HP7d6Rv7P//QASeiQ9rW6GNWsrmo5IfT5tl093F8RIPMIUgimg+In5CVTxpdbYU5t9ds1CqDzIiQVzbGgVpDgr1pY5i7NlZOx1vkDDwdtOdjAWQLc73ybRRD0EW0gpvj/iiE9VWUxbETABSDmo3yXoDqYfbWSFdX2+Fvc4aE5hs7faKTHpKYnqeTkoZuyqweRlsUn3WYTmsvcLbs/8JGY5DNtcZ/oYzEl6ka1C62qKa8KZcyHUUPrlsbaEb/U//O+jFkPV+B/4gPASngvyjrOjLptNheElRLWcc/CTX/AdahmMwkhXfGgFYQKRRbR7OLIWDGTq0KFcoB0IxrN5tccr83ugq5+NmILX+Wj0U0QE1M4wlQhXpXP2HrMOi0QbLv8/aUAYBkeHTtT5b8v3dWxewNqygH8AmCrNG2TbRr3HD+Yw0o3PvgpdJyPi67TGJrXwbQG6cDwqjByVd6BLMU7zqV4Nwziz/SV+qscmGYyVd3HXedTFRstWaH1dBt6RKg6m8tqKonYPoAeC1L+wSiBSYEhebz+KmhSxg7AeWI758wrilVVBLNt3abpTbxd8q5LrcYJDu7W4yDyHsO+ONOWZBhol0LVbPYhxykrd9+k9An7Uezf/Gws1ca5Ze9JzBbiQnv77ELD16J11y7S+EqzpEXK+Cr4jcfLQPTr33NOgUGa3gcwpYg2bRYVNaNS5rJYwkdepFHE6YqdYeSkvqM3080/74HayXGjPYbKYLNdbOS4gaHApjk1RPhIsYuhk1Ju9zmNf28DSj+4gTca8kM0wxIPvsZ/cYfpmDXrZWxcKrQ91okfAjeNTDAPtSUEjoW7S49tYdob1ICAlgmgwXO6l4j/aO837w4VLQd2O/krJBtv5zhWtUkOo+LCJtiBxUqzn/3hQ4RaFi02/7UOIgjT43lLkyhOW89NErD0O5w1Fi4wVZzXmoi3TCb1btw7udexTihLqLov+Hbh7yirvTmcbA226bFg/DNV5hPcx0tj7+Z6vhrfltT/M9ifhvg/NmCzX7OEShZtw7vFjQ28DCamPoAkEtQHbBeHzrnLn90wde3Y7fNHbCQr72JA3TPv/8/zTnB+O/8wQ8J6kFoRVSoGhhrSQxdUWrYb80rsxCQwfvFbgsykI5q02LwlopLrkBDfYB1Milr/o0QyAp2YwaETHPT//0fQPLmVMNFX43Gayo7SLuGBKWB/LHe+Qy8SihfEWd+hoR1CWfI3phHecm+axtcwBcLw0N7PPHvPI7lEglbLKvX07teDPIUJMo3q0oLEWhYy88s22o1LK4iDlpQaBO554wAUWt8sjvQbgmUiyAcVkK2yHMT0fkANu4agrT1ZA3VJiNKtvtRMZy9hKDJ3f2UOketKtp6oTqSMhVpJHOI1E5Q+8CMIOvgalbOREmghJAKYR2/YyE5CbuVaO7jukaay73r+eCRJQgFgx/GhIRteXPERRICdHUG7lrHpovy9AFc1po3ldj1tiR2WW6LQPwh04jGEHTGkIqn0UrHot12F72doQl0Vqn4+lQcojIuCdKoqGj98Twkn88tUBmxRbJI49lmwjQPMbx+qXWaAGh4Kzb0Kfa7N7iTXkmgRLnkzKJXu7LRrUBYuSmfymyNV60sGr5L2pdbFKpUUzR7peIV/bhzHjt08K4ktyIroGljM9EulcjFo+IT+xX1gCddQz2W7koS6qLJNdWu3X5X1t942hut5a46aRVwpDykjeeuCHTC8avdZOqZMHIEtCcgYSqtE5ofia91gLVN/YD+Y5rOIzmevSQ3f0MRl7MDa1aLJNljTOD9S7Z2EQjscfpnEqRw7b3Zo548gAs34WSf8lXL+hRiznCavcRu7lACruqvBa2luVWyUfwTyYAvF6QHvnKgoXtJ+IXjan5LXs6qdUgIWR3k4O38zQrpnWlEMfKC7Wn5zMp/eLlxauP0CVt12Vh9I4L7wBzyyXhTlqfucdom/0liwrQf1nbL+pV2NrWBKSw87tnkRDtMPZdwn/XlhPXyf5Lal9kYqphFFXkPeOPlAU1T9w424psiqxokl7a2P5yIZJ84u3kYT4MG8tAU5C/yPFOkSYCeHi7N/71kCx9lwPBNvj9648SoM9VTe4cl1Ofs3lX0tBRZsxizHB9UtfS4DBT0RtHl0nxwqHJIaDNNwfN+iDPbVvkOLgWeJXklr6/M/LINV4PC4bnPgjMHzCfrZEXebGtYHPrLCI5weFRYgJwiZnIs4PX2TgFpv5E45J5Wm1BXsaAcRjRMP4+G3D073DPGYOM+zTuSQETqYeCM7cmwWwQm5EavJZv6q8ult7kKyPZaiVvU8W60dCz8ZR8h1G8bgPDr+QvcVgYX2vQxtQKDjX7GZSaczNmlcyJiT0R8Y8JLtR6HQnII9j+OsU1artvmz1qGLo0QNJ4vDFRgeTA6SnkyQITuKTcWHdZn9g/xJ+nUkheNZBW6a4OvevKUVLBoTxzAknCFG0V5a/XfrNlwHaUwUadbOtqtdpgdvGlQPc4eVdGLudJgn4/RCKBy6r60qew86AiTN1pt95q4NUqAnRhHBGz/pcHggZZrdVOPhrWVwgBt90w1ue2kEpvckO4N2C8iJGZefxFq0y3KFsGT8Y1sF+2ja5A4H2otZPXQJ0xyuKu9aqoZREGNnKCrddQws8LIA2iXyyB+IwtiADwp5JTxL/Zo9kUXbmkwffcyJhoyBzXPDYMzjCgPOfLSZSW6+bOsMP0jfkf0SzHNPHnfxSFdBF0jKNQqSc4m/aOwwTH3yLIWxLD/VaWMYuzMER9Fkrw6M1lGbjUnp2hbzNPOK0YX1u6h9h1qZZXi31T3mlcwgZHt+EhogE0dFdsrnF0f8X5ydf5/yAE0W4j20gBxO+h2LeAAXOXMc8rMGQakWQ5x+5uiwkC28b8K3kPk4R5bIUN7oDpMKNV5fuINd8/RSXqVg8EblwtFm3mVsF3EqEPv0EkGGwhbfOWAFO1JPd7seA/BL0zbwblrphrihKJMioxJcMQgcU69KG7+rrB7tCJWe4YDjdax1+HstUJcNCgJ7PUU7fpTGeBD8uL1tL4j9yJ8sZRPoFVFAtbYKlI1Q64lW577oqaeKA0EZfPVdyYOYuVcbqKj6zk7zksnAnoI4tlAsdrAgyU7V8pUTVRye8JIeBNXMEXX46QKqFfgn2hYI5wxk9ujkTP2ppoHKCU/nnKy0pb7aprEM/CL3kgYv65m21G4VDHo6bLdTxNo3vyObX0idTp1SyZfcFwKgMUljgAPGcWJKuCXmqvWz3vrEjHPmszRmoJBLDVdNPCPEab/sYvp/HFXzVkegwPCEKGD5C4iAvMruM7EKSuBndPF5cWkCpoUIjOiceFMsrU9KQGEV0g/uEav/EnRFLnqtZN6/gT2WnZr2H6M/UCSpi2vdTNdJCkvJhP4QtT1N1nOEkQ3QixNPE/38+9C8FjV1B8bTIUoTtfT/AAp7EZQomayKqges+M5ZvhhMT1Nw+ZIWiaID0crBbETq4VHl9Hd6iXs6mH4xIucdte8X2RE7ArwyUyZyTS8dn1ZiI/Q26TdzuuZdvR7WFKPHmRsfEh2rExEnExmuHZfjG0q5vdZiV5wS5GIPwETuxipGaTRS1aWWxqM5ZCw0as3m2nQqZD0UItEiQUzphud/+wVRT5Aws5w6N56wcg9xX8xBSIqiTXaNwnNyvx03l8POsZgeeXatZMQaz2mvIG4P49V+hLPdrxU8HaVcg2+wuJHqfBQv7bOqCHbUNxOuei1Kr73B5tB2CK+9kJ/ZVnZqVlsYzler4pXM66CriK/4v8CU8+QYbKU0BHH1Xx8QCbd/8cxnRh0jPZ6CU3a+85ZyVEsTp+EdDZFHi8rJrDngMNxM9wYPIvozGqjyEcc4VMZ58QGRKY3ZXsIXdclV30GYtwaJpMooOEX3FldasQPM9Ilx7/XFgfiKu9iOvTpz9CCCH7filo7q5G71eDb+Txg8PKnVsL57JKSWTtXG3QbQ3l0/P4gJyWI17zsU6qbch2EBf1hlvbTeXG/wYuB57+EQYkxQ2bLFxsLihWrYJRM9HGjk+VCSwOhsGhqESyqemix4h6rhLnfhIwhE2sIVNvqVHTsZ3LSOBGxOoX/+frF9vHapaCmk63c59ZvsOnd6icGwRtux13jg9s4VpShwMvxZ/xB8GectqGu0p8PS+hzyXzgmquROA6Ap+mKNyTHZCXGCtbmHUajCe9UIPOW3yvjFcq/CDM7msieyyp+eujwnLQ+aB4OyVYSqzsXS5xoGiFgG65+72tQHTeXyGC/zPEAwDlxwgwksvgZyDKni6ma9vWvVYiXEWBksZD+gu2IugGN5eMRSLwrKnt7tn/YAs3Ls3hQPomEeDZcIsXtf3C7REYt43UIxwrDAh4DOM/osukrbXVwOpqfCg88/yCwGNRx5vDUU47HduIk2z5ttSOVMNLWoqgWS9wAfXoE7nL0Xz7lq5oP8XZJAD5VCSOTYKwuJvy+NX8SKBXI1KrDeXrwcOWInd9Pent//s6wGyq9o7aPR4kNW7GjITu6M4sKuxWCmULT/5VPr5hCIk5V7tYmXFR7wLdJSuY7pwZWQN8UXgAWgpFXCePxty44lP25b9TQ2qS8nLkXvMBqBCh/rZkWwitL9YRWWhPRkb5MWWMNibtOYazvEeAE0TPKzZCqeqw2RoyTBLFDuEt3aXVYUMYrwI5rT6dK/7kF/juu8YcTMPxLrpRtIuIfY9LUuwoW3CB7grLd+lU1RAVxSs8Ne5ublgJHn2rdDZDCKz7Bg/MVUhjX0+Pzy0vuOOLHqtjQPoFb2tZ4uA2IPS3OnlMWkCDGI+/ojVJCNhn6RnTjeEOJ5j2tbjA3DsNwpwUBfPCVVTalXKjefj7CLYDNpW+8acP2w3H8Ui9l6Y0Mv934rGOtpwSRqFvp5qcI+F4o+3wdO8df2EoBLwip3YLDgh+ZGLcbEV4mAljfGHVcQ27h9+Xvu4mqmCRA3Wj6aoFnvgNqFhpwTk/ZQrI21xtGVUB//5UrC6zKQIOFm9bW3+KY4P1Fn7/QSwleqspud5maRoEc0yGR+taAcRFUR/MGZfLfMA/ivUpWB+ryMXaNRPLtPq7uPiglefzQPgrsB9KH34VcP/tMfihv6U+8EQLCnYbQSvGBaSeSXXTH4jv9GvYOhBgQVqwaXWKKPrvrMjZ6tDMtlkUdR1ADivKHshxirBCzrrfZ7I9tYlIczZ+Ok5VMjd3fxxJo/qITSrpRxz9qM64wl8wL1qLpAvoGGl4Hxv4bnVbKRNnAqGI7s4YWlA33vScPxeAxgbS/igcrkpDSwanuCKo/a2pkD/N4ICWnbehC6RUmHPZgGBCWWRCcBubA8PUVG9iDGkiMax3hwZMoIBSmQAUi4SLM6OETwMoIKL7nAP43NHK/Rnr3zq8d/aZREvyZBrraU8M9k2JVG51rVcpPkSOhSpcn6jq/sLJj/bxJYQcNic/j7/LWycjXcAazpGH+Gg4V/KOlTrfplBTKBwMdNVE8GjSKAa1QIDH81VWqZCxNFsv1LwPNsOn3lA72SkbsoQS5PzCQI1GtMym346BoDpEaP6RTBtikI+khITe0+zxu/33+EQiDfDqnzezhuyruvFJ44O0VKlkPKLWXTf7UYZTWmMujUI1tb9Zu6rjEIlhgK/IW7k3o/cSSyC8O5SMYKaNJD0tja0ouYNkL6+PbtOCdCGbvA/tay7a1KjGSlQg/g/NLHfAh6s9MhW5ia4B30UAi1I0JD/ZYUi+C4VU0iqEDhCRu1gdVZKcgX5UWiWYhOlnd+gwlJ04ab7H1s/8NEUtS854bGFSl61/JiPA0MXozGKt5dbtxCMNBO4aaHFoalmA4eNY68fRVNC8eUMP4hUWqcjfSH+Y2PR9AZXmiaQLvHK7yWm74rWCEG9L0xPMwrCP+E/RE9RN1GUgRaOk8iaOGwMoKjKO8T9/24XCxK1Vgu4aqTCtG6bCVtadiSLBgEjjRg7q8yCDF74AsmMPgNS/8+l10KfMz0Q32uyLu5VJH71VDvzwI52j7vyVMFwy4ESe8F1KmuF2BplhS8AKdIs1ASK0+EZuF2/1ft0IrVlXE5J/InDDozlSe4wUUl/e10BCdxizBhVIr7fMKVJDyy7iIxTAV4CqyaqwDAFXxUywzO8+12za2BZhnaxSiVVncsrfRWEgbDKLfISTO+Ie7YhRsXaS7GWicc1P/g8Qz2t8Av4BKgI2+28k+7JraeDmwxLUdGgo9y7JGHgKEW/arrYNOwBHbBae5CgnOKnTK6oXK4mgZjIp39ywWqHOjCW06VzNAX39mM7j9g9zFBiIllJMwmSi7/hoPwA6xydnuPER5pvXCVAQUnjZ2A5KujaU0REbtvJWlGKoV0omAzRxM789qKI4h7arBdjAy9NCsYGGhOH9WqKu73HTg/ozIgSaOavxotAIpyBTfRB7tsuaVIoGpCDYvvCl09gx25S4xrdi1lUPW5xEu4RBxQTzDs/5Ki+uqfTsjIi+GnHJvfU9RgRdp0k/grxTggTP0l+W64b3lPp41/rokqj9kwMPqhhz78z1fDTg+tTTdOduLsOdgQxhOwg+xCK/U/PUdePZ89mJD/rNq1fcQyQMxoRCQubpTrEfbhqkIPm6wEK1A5uvD7DgHjJnqlbBVdmWeAaEg8hyICgInK+pSJtYfrgDSv5RWYprh8yNtoZ1c+yRgCnnStgfvDf6EogeROZsTD1PSPlZ+WKDCC2meTi/E4Hcgb0gk51kwwm41zaSdiD9Er+35atrFyf/2TQIcA4hNU7r8MOC4pZH43Cly7NVNJt+aq9kYte8wTVltBTxZF9sBYCqQR5c2Lh2P2xECeDKfTBzd2cgZgXK9i8nsN3tjKbGB4Xp2c6wQEOegCofQ3xcVo1oDkImEayQv+0gm045D0+XzaDNtSG/v1DqOCXVMzEI7gEeBVcdleKRdTb0xPZT9oGDCxAeArNJwbRXLNAfDA+oTCT7Nd82jn7VDwjvdOSSBPAoquRMC2mbuugJQfi9Gl+x3yve10DmJUvuGDmSowd6RsiXFpwG6vROVa3v/8lKGCPhd+MamZrG/RMungBzwPJCidZ/lbXENczaAPC5voGzkn9qxcSBera9VGByRPSVbBv7iv4B6MLOoj5I4EQDZvCmhYW6mWRvGkMKIegjZdjdVOdRHYwHgT1u9O/qgh7FFs+IsEaB9S+k55YfT7pSdjXbXg2+DeFS96Zp1j6e+4FJobwtyPMhGuuhys5TO5lMX39jDRWgeGiFsabE/gopEyG0MZnVBdZVgGe62tjvHv/ePU62X712rZmqrykMHSPDcK4rYUVMtqlgERuR7pSpV32hEKDwveD2ZHgFZ3V475rqTd2mJzpvGHPk1xQRDedFBBHXmoqYva1kNWpmrwPm391GCgTovvUqiUBRtZ4P8sDCKhzMBytNYRZZMH6tPpGq9Sz21dMKZ4orK2PomU1DEUkIeGIJdp6u0CMNp9/OxW5+7LdRQGWCzDFD/vJAWdR1DgVI3hwPm1TOoIXL5UTuLeZj1BaIddMEaCCnO97pTHmEcvquisblkXH8RM0bDp1XMh94QzDzpCOEL2y/JIVbE8B+VnQS9c+KTt1JnUBzD1CHztvhSdZnHJvSFBAQryuQIXlPMwMF7YcYtw1eddp7Qier9axUnzPjkXOPL7sjBSDTzm5b9AaRxhqfyXLK2C7ijMF6N0Jj9yWrHLolTLgx/LCndqKRpqLNIoMQFKlk/a02Jn9ng4uVcm6jBF5ksekHQ/VRbUSvUG0M=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MEKKOCHARTIMAGE" val="FILL"/>
  <p:tag name="MEKKO" val="MekkoChart"/>
  <p:tag name="MEKKOSAVED" val="1"/>
  <p:tag name="MEKKOEXCEL6" val="False"/>
  <p:tag name="MEKKOEXCEL7" val="False"/>
  <p:tag name="MEKKOEXCEL8" val="False"/>
  <p:tag name="MEKKOXMLTAGS" val="1"/>
  <p:tag name="MEKKOXML1" val="4HooU0THZk28POP9trq+pbTvvzd/gcV8t56cq85kb3NDTsUhojRA0EsgEHHMH7oYP1SYpn09ysXVivguJdhTvfyVMsBLTGvcX7WPTor/CmWiWcfk2RmY+GE6Q6T90sFUr0lg9IPP9y8umrse/9AoLT5R0GKq+XM9pr/aTyOTf0wptcuHbHxeyqBm9svU01qeeEM1v0hpSHUgirOnAK/wulENV4Nd3hBen/O1kLX9k3pcNAOL+EE2V3lmD8ruQbE13g1FqVUG0VWnOCyjJJS0CFzMrRb5eXt+rpsG/92dsnLvHpo59OnndKmhsb6FgmugMZqIgyStP9ymmG4xIt5kTVQsOWym1YlgjCxvdF9ttiwvbGWZJs/wazTY0shvaOXw2lSoSTbKRSSlEk8mW6tviIgbOkaFS/aS5bpGkFypPzvadYmJ6g2uzKT3z6jxx2A7EQRSttBH4YypdEjghU5JmAJ/5G7Gpj5N7FrLjJPvhdo7weafVRvQNeRUNnu5GcRVDKIxhwECJ1HSnAqvbYbazq3NtLME6kSvnH2LPUM2gkcZhnSgdzZ04lvRPuOao8FeFP4N8HvgLeIvh7Vt3sCT3yWrQRhPCR199aku6nqPrbsCGBYqM2J1LjDEx1cKDismKeCN5xJxpcnPPNcT426YZYkw/dm5r984wAUF+jywv7bpzKBSLgz+VwafwG/SgDfamFhwycbCjaabdC0b2elt1t5o8HKEI46/G5uo+FkxD1L9JiNI7M8RAiYOfpWySCrEVm2+rg2oJjaflvD7i2Mwbw8lv7ZXBmukw6iC4DeIyBDAe+QUvvrhlwoAM0HFqP91MNvOBoxlZB6LQOgclvk8c2Tth0PXUlQtD/qSyd5hFV0ecHjimTcJBCmIuoyy/mYCbbBTlJD5YWnyZ7kQ8Oi1WDTIuei80msRjcqzrJCVO5BQGhc3f/5otAlqXluhIks3jM7iCADa9jTLGE4EaYooLmOZnNIoHYSYIwmeISqkcCHkgHtxYi58HXbWpfZqnYR6mcJ80iZPjRoZrKK7K1X3W/nXsCDyRNlozr/M8/0EJGf9T9YpZxoVfgfXOTJ74SatktDiKV94fWOHNa7uxlb94OfGUk+bSEKeux989ii4lo6+nknXZwDvn47WlnskfHes0jCVyxTE5xzLBWHlUkZ+FtWz/eEZZ8OqABL0BlWadOKVOx86bBK/rbJ5d619jkNSFf5S1Zs/BdcuvTuWgMrCLFUgfb2FBQcgGC4opO82qxCxdp8tLGke8/+KJIDk5U+uoDJh7cAn5RC/AQQtlUMUzZptGL6NomNS/4hIeYHoJBIuMFL+jvGEpSNT+dDOl1syCYYMthxJk3xgipl3GyvJM0GsQAkK3JwBc7DokOVNY694qH/hqMKW91XHTLePt3v28kAhRn/NSYCo7mUdE+6e6f7QcrALvvoSvtRO/o6jsjvIyPMW18qjsEhfPbbSSyeP0Jt7sdFmit8YYeIkZWNQsHxBS+8mkHrytLmXrRUrgdigW89lBH+ixjam/aKacqcxVa2x3MCjye5FC/hw4Kc9ULZIYi6Rvbm6NCg+JTB+hOPi0PqyEYv86O4SNUwXEYhZKmJhRZabWzU4DtKY73Zf+G4MSRlZK00yEcgWEBbpoySyZuIPYlQU2EE/cbss8EAMYPANdM+/aA03tLvQq3Utx97sSs3BTaKV5HHbKxEaFsf9cGX15Hr72MJS4ci/BWkaMYmL0sg2i17J5ZWX4ED2gRsO9lwRlh97ZB6S/mfMiDQc33sAORS2MZGmEZ3E+dr+kM8zEIF5rSikQrWrxpmSDIbczyo0VLtA1WYlyFnYGk1G9l0JMS5i713dr4u4PZTGOly9wgWQgOIjmR6Y4BdkFlOZXP8sV4iBL8pxil4QoGu68Q3kl6hN6i+CDRbb3XA1PeOrqIgP1K3RDDZb4HQZqBNM9YFZlZflAKsYgD/+/V82mCnzD5hKg5lmwGFmBJFHYwFTuCzYIZVV5kVjSKsxArGC333J7z3vF5TkY6uefL/lPWQN9KKZ2hBKlGNkUaEN0N+lcBlCuN7LVKITgo20aBCPuVO1qsYKOeixSDZk0M72RtHATUb+24tCmwYYm19aO3A0fL0PwrDC6ecaO4XQVI0Y/qhnHCjldieKJW8KZ8SjdnVk7D1B7L+QlMXXhq95jaI+Bwu+Kjt/78MsgJbpqLD9b800VwWNyxCr0kKpKUcKCbhT55zrvH2BI9INPirLF8RPUGVYyPGBfrTBj+4rcjAZC7qKcvGz6ka4VgvEN5b/qbdP7FRIyaHBNrfJjxw8d/wgffNg30smS41FBLZjs+UnjyiIY3CY1X3c5ScRT9DMAGxQv1lNNLV2lowA6CJhZpMyQ7TPhOG4K3XN6rMAgwCEyCsTH3pYUPVsfC/tR7FBu/C60MTpInzEKaaYS69yFXTFlpE0gsIGbrDz0mV8P/gL5gCUA+gaBy0oPoXW3zATfZ4CpOethR/T68wuME/XBn2o1+PutnLXvHdpZfkpnc8ihL4Imlf8Gud/aIKN44XCME+Ntd8fVLDW+ox16tFRav4MUI0WE1dEsH8S1gxBrdM0DddaKM/kjwPGI3tH1WsH5PP/JdzP0D0recrY+vFUCnzowS40IcwGJ4wAONZaYptQ2SuX2qE5QdVORhsfmSWjUoHAve4qZpU5VAm5bXlCnP+QEtcklJl/bnXm79FlLOgBI2vQ9NSxFSSABoCbg/Xu0oI4scqUOYV3ZJrsSnOlrHx4BaUh968d2GtyKqXeuBAwIL6Ka+TlKDAIb6uB98YShDcxXiR1JCkia6eexHMqQDhqwh+Mkbx7vY/jcsmnc8oP8OA4kfWmQpCvJg+WBZrSJsA6Kaj4djCDW18srLx3PZV0z7t7h5R0IxYQPgm7pc/1Zae4t0YqtSAKemdE+BxyCQ4HcXgYWOJPw8U4kuhC6Clho1BalcUOyEy17jjUFoCkBoG/L5Kq08Sr1X5xAjt/55mWRR6xPhPmFH25cUft/2MlzGJeyKLLGnHrPhK+7hrTBYGO+3fKRX2ISV93MOOeEy5rvXUTqRVqSqpQXy48SROPEqzAXYVnKKF2lwrHQg5lMekCbx83bvFefY1t9Kch/E/m3J6DRq7Nqj+u9Z7kYc/JWgQaTcSxdyH43nOb3XKHu5Vg9XnEY7LzqxpgCVjYjt6YeLe0v13uRqzfd5U+wVt6ZQ4tOfvuA/bAPzplN2hP/+AQPaEM/P3+VCQ8dhtgUYLF+cftgZy97naRtJxOeKTUcfNLZqgPvi1F2GTjJkXVnMcjRoBXp6bwgF1l+t5954PjgtBURjcdPL3cyHN0cAYpmELCQrtVvpiFXQQMUcr4tPTIBjP5jGvgJTPxggalouNbMAe0Rl3gUNf92mWh+Or8sMOezJjUFxSmIIpRCaygxnNAfZ24SdkCcW0i1RnBnxGRiuLkKMEnWfzr3066ziPeuLWB9zJtTOxj6zo/uUNkw0ZW+BmEB6BEshnd20ZqCmg8LV2RfBopomPI4TwI0lS8kUw8qN6+QS5o22UZ5WSSKHi++Th4gHb82G30h81NvJ7W1bpwqfmYieHf1/9YoUVVSOxw4NclufH3GveTyMtbsxTlLCt7c9RzPdNE3C/ep+JSNaEAoSMfgw7mX9Cww4AmOnbrCHjvcsV/JiPr45Ae/hiS9I5TunNqb6qfOLN7cJEp82xgD8mRY49OOlWkVYVOowf87c0mEPevJo8iAJzTkbWfXUuki/na5hyT+G/ZjAdajB79ZCiPnYVrczKs2RzZWMA6+Tem469HWq/gDKIy8K40cSt39OAaoz5L+KLrjOIVVnv1Lfi9+ts9wnHEwSgXMB8I2AmOKBXiGSNNqq9i5flKBUmOcsfYRs+JGwGAkK1Am2h1a0LZBDirT7ZDKVy4GAAd8R6wT9q6VsgwWoTiqV6rSAcx0Y0BGMQwWeRm4b9R0hRp9FwycKl8HciM277/TdvewOUNhF543DarqwMjZfiydQm1v4B3PFA/As5UC6ndpvMNXruP8avwahQqP9v5CDzi9Ysk5EXXz3TShE7tGCI8q5oCNJknOgpL62kU2EyXgAottfNXP6sqlBkAtmPnICpu3KwPQs7RKWHpijt0g135xFNG+tWG4mzSwgAprq9vn+IKZQ6HDZKjST3Vu93kFQBpf98UfruecrOG63/DLitNqAeWePixV8ywD23DOqizWLn/1b6CW6x4ajLdkJyRlAgIpPmtDUyv1s0eaJt56ThkkCuW4suoz+SbZT6G7vpsDtwbGXPudfrcoN9inySHWLwSyAFGl19SuAq5wwvOFd7vm1uzwwZsf6QmQTYagiNUB7Ko2LPWDwBtqt8X/hU/nvQ+myBexoyeXHLQ3QhEMPTpESLLk916MkddBbClBmMGRvtORGB4H4PgUOV48Iq/+eg74Sfxz1hG8obl6f9a+pPoayguqcQGVQgkLRvBGgmH4Yq+uqmQDdLnxNDfg7q5GazjutbFxEoB6RNBkANjJvoVRh8ZRJiGhpki65hEUHmfIPXx+BbaMwKNohA33p2l+WSabK4J/Iv3b7i5xI3HPpsJ+uhoIW/3vhEzg3fSCRYwxIHSE7cWh9+CRL5yXNoh7K4YBRLNvLWkc4zReUS2hosrxSFVY0eN1oS7rWbiWGaTfCmFKIgYfCbfjq1+c4lMcHRz48lSTkA22Sjc0wkf1r2k8ZWh0wZQQW/H6X/TKDRlnrXwFNz0uFQOrMifp/ogGXAPPuDBcwwREZTCT1wsSXtZhz8JC1U2UupItYeolCCiK1F030mwAiOXwREvmwd/QxUq22CpZlSsFtGi65BEOI6/a8MUKMY59gkX9NRT4pgndnyho2Ty1Ql4km49ftuPDM3XmPIibApodZNAszHkICFwcskOYpZXypdzj874Et1GsaUDko8OE2AlHpvfRtTAYHSyooFyDmMM1z9ATmw8jqPZ3enlmbc1WOGLmF3msIpiqne+/GqbQfbqWzK4j725axQqQFpvqCJO1VowqLWjExDKUfa16dCuarpwec0iysAida/uMkGaY4B6ZRhAPCiHb0UezGc+s9YWUmjKgJoEGXR/M3Mv1pTNtVOhKx+T8aNZ0C7lBxlyEew1FsHGQ4NaMcym1TnMnC1CZ8+bcpbcuwiF7pBQ9tKgRotllpnDUNIqeZW2o3J9cYNEmqz2hTl5hbPKpiywlA0QCB/Nl86eavoBoLu+Euvtzmujfku9PABEdihnJKJ+k4IkljYkZPn93VVavJaizSmm5I//dnNqEDbIWipjhMeZqoNPy6gh/Edv5ckKgKLMgzttlhk/jKULAYRdJIkgdO5psSA2ebcWmjTGhxbg0qPf/gWv7IV7Tnzxo9z9RAvfVzBnDiaFXxzOy+jPZsU+8WN5PgOeyJI/c+v6BXdojOQQ/Qw2AVSWdwGXwm9Cd9NWN/GNKp0XmiyC1eY2cexmj7+J8GRlOYlLNa8hS1pJbHApa3zlurfch6BpC9UbkgwhTkpSKjzTbcXfD37IyU3UPF6S58GR8rjIvJJiyWvDvFYdp/Lf2atab/9CgEJca0lILJxsrPqWyfyA6l7Om3l6VoVMNxU17OIZwTuDvVtnCCumgJkQ2BXQiIjwx8ENqtkrbhKYbtEM+nPLrTfNM4d9Tf4evkEzcMDxvZRy8MipgdWacq9/sRnYJOkJ6FIuprBb6Oeknv0lyf3fOvWQpgDeqyCRCa7DfhwvW8apkEALyvv+oows6mrSp7eGMr3MGQPcvS9UaCogdnkOf3qnF77xH9Z4y7CspMVj5zCnV666/Tt1vK0jGp1njZqZFbLf+yV9tI7GuBXyE2s83O9MIQInKBkMhOlQNCNtKJ7isi7ITX5Hh6OkdK5dYS1kKiN7aALTcGMvnZ6JPeCPXxsZTpoqbGss9+8YKdcf0tLfjdQtLsIYwH1NCX3y2tM2N0qobwBhERrPHp0kDR5J93P2keughquB7jbP+zC/bv0CIs/bR9mA2d0MpPPd67kn1Diy1jj0TXY/vBu+3xgfAb6U8ESXpQ6GA1utJN2hmZotyOeLJC5u++bvUyPyA9NBIZDqqouJGbIFT5kdoxeK32bVcPIYTO6Cvm5HZo5lKajjlPluP7SUSXAb2bPeQ0BUDDDeDGJiylcUNlQ1lsFIet39/M3HSoxWz0y1p7R4cPx9/1x/1ISlG7ab1JUEyHPCrfXUjHinsKrDXNmLDi4RaOHRXQvWpKYxW3DxzT2qTRo2J1+zm8eSDgU5F4Sa0WXSJvmIeHRyfhJ+btXXmMxNdg3Xc/iVWRMlu+E3KQ8vySJqh1WxVkIyVb44yVXmlKlbxVeZHZPImKPWteIAvXauOR7LtH0QGid4RVdyxorT6+U1PBw2j0255eDzoegbKbY8j9sWcnWn5Kbk+US9Wn0stGAB6EKrVMimPEPnuLX5XLDMqpTalD1Tgn7uFc7TlbnYvhwywq/XjFxN731g50xCMEkt6C4XXdm2FR80VF9jQ9FiJXsKGun6k8craV+4jrf7a09UZkp7xNyJpgWHDWgH1YvdC8msqQRL/lnSXcrGJkFtthZmAZORud9wfHY93S4sGiTBffyFogPvBd5BCXWUmGH7K9ruAMh7MC0+SgWBnHHUpH07F8yIkBugsxbfMClcGAC98cB1N6EH1p1uQosli9IjoqA1ed0/DD2o2qoklrN3fPwX14iFFrr677Z3uJoHbzdyNz60N8d5j1J0kuFvkd1K5yTg0kLcppfzoYLP+hv7M02KeNXjaUEuucpro8yachYcyMTZJXNUHBQDFMpar877M52MaA7tvFjIXljhuhdNYq5cier7T4AguMNneGpTxS4F/ZuomlTcw/EAtLisxd0/mjqgVH8Ks1GxyMbz5owXadFgzNOPjqxuDYbtPjuun7q9AleEeRb68yHkVDEk/kdqyDU9WpKi3B3/WTJeW4KGof69nJZGFJAmQv+6Z9V7e7BglUyMVlSoQm+HtJ9Q85eLM750o9oqsic2TL8D8VhExyKoOt13dNNB940krSrCrkNifcGKGB3BM+vddHDprY8neCq3Mn1zj4ohe6xOlS7LwvtrXAwim1xrqKt1zKo373jU+80xBfOeIO9LbUGUwiz3YUtzv27sFr8e5ZT1ZcEGae7uuTI0c9fnEgy9ZNjcQGdOuz8zWcZAwqCSCJ3SQSras0DEVWYbkdBchunV4DZcook4nknIYmJX7KEl0uJmS5Db0Q7RZ/yYcADfvXKs6SUzLpweqTzj8HEu8VasVj/tQg3FtYf2dSzXswb9gLvs/jA5f7p9Xn6HRT8Kvrmc2S1i6n4+AH9fjSI4Y5Ly4mYyzrMAkh/2c8wGHdge3DL7lFuemp08oTVa7Bec6ry+mQEmfqmShYYRWiSvLGJKLc6Kd4qZ7B/Ruu46ueDUpWS9P/NUP69iXsyi6ZwuVhW8rihlpEvwzLlHE2MvflSwjZbNF/ko56QaO4HadElfVepzjo3vS2dBN9mM0n6fPQLsx+GOaz2/eut7oH4nd3Fj2e2TQVHdiFuxE+kw5cfXwmNBzQPVNSssYHO/qfxweNr3kWYaEwLhu2uBTrfkDYY5y0mkZrulcc1G6cvyYMXtqIhs9PmtCjtZ71OR2VRoZ0Oq6zcsD+2OVe5VWefadE5I/Ih/6hEH17SqLbW1DZAk1z3yy04jS9ryXQqU0a1c4UJpwgtKi7I5tj28KsQSx2xaMtdAv9owwiO1jpjL0V9PQ0JiVN6vhsJ5JDy8xy9Wg3ImgIfTHJXQQ5PtCQ2nDu++QrhVJF/m7QUT45h3N/iKGace8vpEGtyKAt/8qDVxEn6ytMCTwEmjdzQeCBY9WXK/Yx7Y7URrbNuFd1dkuHd01d2Y3ywpOYP2vuO8oCqH3ICrhcztDFOu41dsWQjLcS0fWds8OVURARA08lXfHsjI9uwcy0MNewWsfjURk70HHchdKEf/NHY7HQMN24mDFYbBSyJTYqNzZRLEfhBsLjRJJyhlP/GmhBhGa6YD/eh7cCd5+liZOTHXmSomDKRntdH5UQlrki2d6eDMmbVPLdW44n/UT/DGOQ2gR3vaNsgW8BnJ/IRHfcCMhetbAnsYKqskpdxyCmgMhNMabPK987qalWir+BO4fvYALDnrPrAHLKtIgTy9ZQ7cEG7csSe9BcpJHR3DScMuiKqvgY99DfY2VdPrRdJKKF1laB9R3mIzAKxsc8JVqo94DE+dPJ/GSW7tfPWDMDzO97qzqniy4AOrT+AffnOZO+glqlIgL9tl3y/vnzGpGu2Qe7fpN9/+Xa1ID0xzpGRf0K9a0ksVyt9bqUY4AceVii9k+FJenZOysGYlLW1M3XXMvkTkbOxENXhFk7Bj2nTnLksLNAl//49ZB5DsXf0qQV0+OGjpN6Fv+4OX/5/jMNI2BLih8BipXiVMBmZ97eD6wuyat0BMTUqIvR6THqrJnPJl4962PLw2n1sWUakw2ffKKtARFWnyFd+R32qEdH0EHqVODBKbzhDW0VdFuhk9o2pV+mzdzyNsb760x02m7FnY3Nxbi2PUSHFaiySEnquuZjlplJ4e7cQhrsGe7aVFqrVCkrkjbTZUG1GgPLqRXcFjhMlWB5SNksj94KwidmJJI43BLNcIK7fsd86DG/j9iIBM2ITl7AxvI4fThuxns11zveISV+37VwrRygXIg6ANycrQjZ/RhUUo98J9Nt1U0XYv+81E6s2XfUZtACE5uOdAF+NkB3f2YtqxMfvxb9WbNtA78D4VHhmYE9EVdeThS05EyRsoKmYr7/TbvMkTA1eUy30wxzGxNyr8kmEdEYonk8xXgqVv2fZ3h3DtIYoBfii9SabZi4z4raCgGmjib0xvoaOR20vMJMNQ8VGEPHoKUQZZb222MNc9UVwE/CZMYz/JzmKg4VokZry7HJOHKbneWqHS/KT3QZm4jDmie+D58iL+yTrxA7FpZO+IPCD7pisTn9TQdmMCP/C1QVju9mkV/MbcID+RImlvWJG8XKJMps5JP4tgbAROGGYecoogKLZYWn+j0hLQjmlHZfCOyHdN4kQpIEqFYuIgwI/84PYr3YIpfJizMcbU949Ih/99K3+519L3j5fRPvcHZm16a9w/jHUvSx3ZdlCd9P7WOvDGLGapPVICCIErFTP9uCf8GEZciUjUWtFGI+DuOEXNN4ubsxQAIkcI8Dvma6lsEpPMK7jFF6hI3PUiuMbjrdGh5g+veXozOEFVRSaNGgS/5y6W0Yljk+G29fellVhZtVKEd3s23Tm2fQq+tpjTwFO8BzC2XLm0CDbEmlMNN1GYXn+pW++6LKm/G+9GP1wr8aA2rPyVeXQBZJTiZHtWRNbs1SisUMyMQe/ADEYYj21KECm3i4SG12er+qd7CldEqfuBj/hJF154WVcxrnGixdK6/rtnTgox13CJBdDa6T39HYf6rTnsaQHEbXLQ+gx6D8e8AfMepibgvxAUzIhrLwaJcSbSmHvp8rbXxm4iSF10Tyl1+N0joYXUR+PrWVeMNuUUjReLPVGZWYXzDmjO653TXD3Ef8Jd+GOgHBLXCx6RvNd/7qvsNmSED6RnYFPbtm2t1CvWGEiB0yacr1F/7/XyL1lkqQZf8x90ep6usvA292lMCMmtL9yqXOgQDtkudkqiBW1NANihSqAPAGN3lZrbmwSIfMMZWBEeTeDjWIdvtikKTme/nhN/J8kWkILVnayqAfr+40KFbAjxku8wAVV+UU61fz5X+Bhvc3vnR1hCYugfxB0hhTKf045T+S8uZ8iL72Y1c4SecYr0P0j/R1AcV152rm2EtYQZhFjA7gN+s5vND7fEwoowZdVoN6TUUpBmCyTY/42ZAPgYa0fbu0f43ceeQxPDVmQbCaU8wXMV3LSxYh0kbIND97Efcfjc6xFfiV13tqTlo2sxtTrz2gm1xSLllNBGDkf7UQzR1ZCuULylUtJCaDmkLvoD/ZtLjf2Cq+Q+wDV+/iOQo7BbhunIWe85WcILk6xWGARXOYDa0Vrrj/u+w0kkDQAdIdOeyz27lTA15ZXOtIs1xKL/UN18ntb6QI5xS6pBdVSEsV6QmAe0bSWRiC6GsjSFZd8dj3c02VIXepAXIJEPE6ivY+EWFleS8xY7qFKfzDngW68tX688ikbfE2kDFwcTUizh5jmYs2/aJXEnl0sqo6ovBFL6RrItDRNqPF7nk7E4kxbPDPuQIPfu9hximFJipbYTD1qAxWWVVxqADxFs9da69EmcZJLSpiEyrSZqMXBudUZWhlYm0gAjBi8CUU61E9ZUtsv2Y8Agq74bYlQ0O6J2XRswrq4PxxElc3ZEhNzMq/MJHax/87zqAIZYsmo+5cgQ0tI081vcdhtJ56CQToqrhYLMeF/al8/o4mBQVnrAqB5ehW6mL89Wkx/cgbfviBXaCH3et3k7gR7DmQdmKvL8k10A/dU8BnqcszQdEn9JYEbM94V/DkoYZSbbUZeXJIF8yYneaHLPdFuFpA05gEpvqNTCCKQ+ZezZqYbkBOUJEdPTHO+3gcLHU7oq2jfq0dFlcVbPn/SXTMuRoVXbmmCS0ft2ncouVMErJXH0x45ukvegnTtBel0FdwXccHIyetKK3xAjSrARkMtGJB6K+HdFtU+KmV2cTI4BwbDUYhc5HPr5gmZtFgcDtnuzgSi6cK8GudS5jR+mOCrD8+mtMycp93DdjyK2E2iDzOh4I31keJXNZuV1paZZo6d5m0RXIz9cmoMFq75B3uUoG0Jh6C1ZFcWKHb0pR7IB79XmusNPwDRgJoJlS1ETvlsxTAYwFi2FppNYv9tTbT45MxU0DMzF3k+YiliGL+l8aDqSmbKKJtzaJycsNQIqfGlFI+hcu5dsDhAijUOod38o37bnHS0TX+ch37tS0ySmcJcDJIPsqcFrTP/I3C0y46MB3jPtollyX0l9wjQZAvG4b89Cqf2wAJx2A+R62kFUtT6qUYE8N4jHpErfFKiqm5v+uuoTqunDqKyXgraxVY2WWe0lmO3U/jk1bfyBhFpRfCrbGPAdixUU05PxWvzGY3/Liz8WoTLoC92ubCUlBy1EUx4ZVnOCk2A7tkVZlzHCMcGJuXxwHIEpjcSazNRXauEEPejOmT2qrL7s94oNI8C40Z3U3aRDnjRLhHfmPVSIh8xX8DdUelRQm5dPs8woGuODmu7I8I9uE+G2caJNVtCZF5dar1ALOejohhlVmhykiipYKGCAbPOjUEAFJj4JuF3iDoCOGfSCOlhGBdlTTw27qToZ0eQpQxuE9Ptdm+q6pNBm6tmdmCRVY9UkOSkDH8cnJlQHv2YzBmV821mjCQrnB7t4Yq1MqFrS3Tjw4jCuemohkheDbZZ2eEJjCh0MqqpiX42ft0zo6Msv2q6vqzQydxFhvbryAuKV0dDne25zyie+T5LFPXNOkOd9EAWxVpYy9QDv5JoU5K14XXqQCB59VkmmVCfky9EQqIgv2vIIEHk27YyVIKjX9u+ZdwMfKW+UICV035pZ+5ZtDFWRD8nVENHFqCbGwk3ibP7VlHNImbgFOmZ9x5YJwUb1PLsPL4M2sphxvn0/q18+a37dcVZGWSIZAzF2hRMTVXFWVLIfPqF4JluqHlfUFG/cl2qLQwFvGQeJ8yGdE+ltQb24ex6hCR+dIMaPs8GLBXfVtwDZPrxiyPSmuahLCnqNPjjv+S/FJLra2pxTjd2QtL17R9zMLtSrxlmJoq3/owKkVX2iQMNXfODsIsqylGINBczIE1reCKRLhW7qq8GG0wP+qzTmWF8AxLnYO6IP1EU9vW6ApJVw6BARZkhmiw8TqlZWGuE5ldH8IxURYPQVta811dwTSx9Yr2DaQaewFntKIonRtuMnjc/jc8zpW/BwgRjacUZybuS30KdhpqcKculg9LwCrQvd0p6vZrsHgyfwy9+vGLlUAQ3fGEmtVEQsPWcxrSdlMm92yDVHEN2UOZQ9yhjkW826/GR+MTzBTtdzW1wEHznVBe2d47vZcWmXbGKSnR34cbdqBm+rJdzFK+xX7GAGF5TWv9sFKt5/8etu9/4+xGd1rj833RP7J7nOxzmuvTLCXOMbVfG+hKqQOEEAPGgqzBSp0pS7HraGttLnr+wy3/NoVHtwCLnKMn3l8ac8PK/LnueIQihhGNJd0AoLjF3wmTBlZehgqLeYCL1WBjAtO3vGNHe2QOkz0wQxoSZw84undELKunGkZGAc7nptfuJyGYMBZHEsEdMOnLr6KimcirFW1yr1B6B4L9exCn6Qc5Yp8pAxpa30VL3zBAqH1vT7ngmVvE9Y4axDBsUxR1v5yXsvfrxIQ0zoFQtH2Gz/Mqae2Vw39i8bMKEWDR5zMZc/dT/JoHIfh0ViKfKV6C+UoyObWsnr6o/UTM2bqqigxNTuaqMyTOSyklG1jsDsMTkMAUcVi58JEtN0fa+rTRCzuxV2qNzxOddC308Geop0x+v+E52d/0jY0z/y3X6drHauDhDHiLVORqN6EbxReBiy18j3Hpqn+J1BKUjS13SoL0Wvbz5QF8EGfJRESqqCEPTXJnFUzXP3TgdJgLjRH47rxNxphBB54mYZt3g6h59TsNxWXGhsc0U+gmd4VbBRLgSL7JvPm1CoJ/L9lD1rUR1j1RN82DObwWQcPSSAVNRrgk+Aarq+bJlTBUJvkCGBEoxnbQyI+aeWN+bYc+MK/6j28P8Z1sxFRdzqC3yhKAvbXrNhW8RM3rjCznSWt8i/1yOSpL2YalUX4c0i30mRIDPyqWxxdWStU1eoIccl+jZfdMqZvWfjNKCpS2j2nwhOG76WgvICUejUCnhJuI/asUjv56H/8Cz6xSYvEUUK8EJZofOdnvDUpAtFVxFaXQjML8VP8EQj/LmmhixeLKZLph0idstba4y1zCVvDxfciBrVdAP+e5ZcRe1JrPzykcgBamRW22qL9K1825c1h9IOl8Ay68KHdX+NNRozaN9NJCJdbc/LEwKWcP7NekwpnL+CYGhDc57yQCV+R2A2u0BatIvHjLmes4pZvHrDeD2CZqbjMtaYQHAtKhI8RjEEWx2raNBMCxfn5IT/4JIO0XSo1S3nn2Z1UglG4pNBKIG1vfpbeaK0t6OReN5UZLRz4uYYyUjO6b4TO+TozQTFCs88IQHHIjnPndTyFdaICNwq6zYJ5ayzgF0MzcyqfC/4q7vxRu3CTWiX+4p7/rc9Zcvd9y4c06fvcEnbSYiFgQBxZgxd1z1fq54TdY8TLivcGWMYMnER1JWWNMuOH2WF9DJy9BDzeGbxeO2WITSgQ3AgOZIGJzdvZ/d4gAXu2HtWOXNvMhbVy5UiLhZyNNqj0MrZNasHkr4+t/asHqYMNPl26imXtH2mHCKGMGuhpzm/6LTMzW5joWFe3kKzVu4zWB1HmQV8rv9H1eUZGqXOzipvKwrIHwqJfd84dq0iCPocOCyY6rc5k6f5Sdruv9+SiaYqXrGLmPQRYPA5yjHJf7hjteqVXQ9P8S2BbwtjI6PHqGE5M7i3Gof7hFlRZwJcP66kbtqyEebFOCkLsPNElfQufivZoiyAI+unNlwAI2Nm0DbOM5gIuRr9fQ7ef7rZXpu8vAaGnpMoXPwEqLtGjccxf/56fjHCtN/kTQF0+BP+g1rvc5S9yWgb60/zHYVYTvWLpWuH1Mst9LgSfLxk00q2k3a9kkykFUN1ocSMBcWGffvRUUaXSdcZkp8/K6UzlJyv3Dwq2fJoudo25WY6KEe+s16RE/v/+hzZT2Wivy5TND3CP8cBXh4V53HBh9ql9DBm5ZJ+L+DYEnBfcKVLFfuNMm7ZZD9dCkiSzA9/QM7Bhb3vxZD+QYr0tstBkvK6PD9DwZsC4iDVawkhqOabMfs5ACMbekGzTDHuC0HK+catNUcdk+C9R0iOVDUAsz5mgU3kfTCFpW/xnWrchv0U4nVICBGfmzIIMmYO0MMSuYSXTYrmd9osdeqhzx6Bh3KCoAmDY0Mp4t6oinXXxQOZ6C3sNCbVPXlsmxn3cJviBI/is5n6m2Vk6XMYwWY24jFMuJ0u0yUmIBN7Hx/6sNyjutnPDZpByKBy3ejXFzG+L1NwjfgnVh7qrsBSsPYArhnZzebHL5+SI9fL6ziHyt8XcUbTwXy22ydPbA90GS39ANRGPF+yOpIcEL0zgjwowc334mk8Xn0HEtJ0Zhkg0d3na2dkU6e82UJWV0zQDgkZUmRUuXQOGEVrs90WtEk+Bq6BkJ3sg172EkXR6tQwI//AW7dHuDm/pIcakJm1i9BIlg2WPw2gwf++2M2AOztdS+VsjuUXuQm/ucq1VLRQYP49Fq4UVpkahS2GjmNF00nY4KGG3fhbBAVzmDAtIxTOB/SejPhM6tVQFWHErF+40Ux6rmpsb7GX1sAAmy29UZ4W2W1TcNLZR6G3QrlCzW4SMFaKIyZJyX6q9FTHjrxRoGKu8oQpv+TvdseSlLAc1Xxwb3P/gECII4DRRIAw5aFTM2vTnTzpeSkU1Rtqj+Gm0D4ocZhNGn+55oNKsp7OQCfoWUigCSPAjypaNIW7rbyoizKvuf1IzEveXDA9RBhLqh0VwWJzIJ0OXxi2tQ4oWuu8JXPRYQHgDrJbUzUlm38fMS2siyC+q1joOPapsD/NHmjguMCMliMtI509Z7DCSuU4ZSGHZsSv/o173IWgDX+M0ADEdXQK4Vrwi1tJ2NQ/NSVmNyRwfxdmGJkFNS+HMp2ALhfMVDBF54cVprDO+XTEkDS+EbmGrZB/f0XA9c5Hd/zZao+9ZDI2Wj848xrIEcOSlUuCcrnm0D382bWLEpbYpeG8pmSjZG6nQEF5I9WP5O0dwQLL+GOkgBCpB405fRvLAaNEfo/4LJdWxe/opwUOSvvvdSWPdH/VeyxNH1kYu5k/ECb+fVxVPTke9XlVDGUltqxjLeBEhgggrs/0IUts3guahHahKWs6TELkSbFsjt60BgBCYKnV7Wv+HvS/2h2/h0PlVYj7ht0lA2u3p0GFGqfATzwHN+a1dU98UIil746CO0gJ3ClsT28/RoGU1tHMW9DQBAKJoHJrt4RwDE7E1M0pGTz/j3oAsG1RB8CdzcgNl96cFI7KRZfdEs53+d7FXoF2nlsdu7OZDnIaOjnbB2NL1Xp0+X4aVjA60qHtiQSdaRScKBA584HlZqxlAtsiTj1s+5a32NxFDjGvQCey2w8KdV86VQYOEiJIbgiQhMMM3H3nWX6J5tpqaTs2GChYYZ8VhKP6z4WYUO+Lkm8n/8Rtoz3vGtJPkfTLYpnEvF5WxrB3oXWRVbuxPNznqb6hhFtsrKROVs50RJW6hOYhDrgcnrynD67vDeG4c4AJCwNqomLYyxc11dHGiJ1rRhk1z8ejzoYXN4VgcpTRPl1o45foWgZS6o9PsZA4r8/fT1591vzYPgBSUUZleoHoZtExGPFhLWYAL/hvh3Kcvtqzbr4+iR0OMPojWyWEw1Y+DKUBJ8kCAHvc3T2xknKHwPMWhxRRBf+04/rhKPyjKuTyp4zyfVFo+g/HhZtDCzL8lkydliaYT2WsB/ZP1RLGlcX61uYxKqFE2v6St/t3MsZWgDWQnGldaxGhrtKWxqtymZO/kqMx7sUZiHKBq8nIi6SWIFUUy+Xp/FdAnRcbiIfvDJE1icCh3eB5Ci1qwyl3OHIxwIiGXDXqhfcUkkMwIuCINF6xZN4l6zMI13b5SNJkZdkDS6HGpRuxKGLgu/LBKezT2uDeACDsXANlvBmbgquALdB1jmg61RGns2VnjYhy51KOtJH0JLlK47FLgdXSHUxwX5NQQfKGpnP8yeDPSm1Znx/sNLrA4x8gIb7tvF1OL5HQF1GdwxySSTuhilsUj+Nh1YisSD9jaahP5UIileOgozA177pEHEBzfyZ/jAkeOJvRjMyBlQM3aq4Vpm5FTe0m9SaFURBPXrLM0IKE83tW9E+BHImjAtxSHQrZdr38LLIqrlQj+seEKyOxtTB70fiEyIj+/4FqjOgBFyp2SdIdCpbORnFDqA+OsMqmXsVPEHmIOFKtyKNpqKZnqSGc8ps4GfyMEEDPD0GumCdkoqE/OgSlE5gjHpIc4dj/joBNEu2bOAyVAvRyOli/qU1waWxIuTQWidNx7hLkTImyJ9/F3natpuHeT5GgTvtSbabmmjWGwSReRSLRKPOT7OhNHUpAFnQRxWd8lujkkI50FnXko1tUbFRXECt1/XLyLXwpbMpw8H3youLC83XAeEtz8MXH/zZLOEygzIyXRmlMqsJCSydMIVQB89T5xpfF9tH/AnEDnrpYpc3OyLoCqtAnUIOH30/Z/eNkt6xReEknq8uFfJJauUZJDh1dIPqDMyT/myMz1ttFzcjQRz9fIgeyfVGOa1P9DAnJ0p6l1qys3c15xlfF+YZYt5Fo06d8JJv4roXPl0Xbku4xTOcFXGFrnV9dS7u8NGP4waZV7WbtFKgSuAwxW8GY4XA+OmTcunKyuJWhNzIDUvdQSgRardgzsTk6Z7w20bLdfzz9FQhidm+9wDPIOJ3aIOwpM88mhLja5WE8Z18aME1ZXKOBaH677pIH7vGYvxnNNfCsNmISBfn3O9/bc9SRE9SKmFcNn/PB4L7g2GI2BKWGHZ5rb/t0FGjt/HcA0J5tCsVg3vdOS4jiEcDKplMaltjbHH4QZNNUI0wngXCwob3PLwg0VPvPXUcf1MAwbDOLvjhi9opC0Wlg+DsHpKH6BzyJT5llu7xOb7GOYDelclkQM5yOc5n3B9CHqWrQsqOTIfIGrqWr7lEn2Kx6ke4RruVO/rzdCsEEWc1uaI4TPPOI3Y/m5Q836j2H0/P7cdPYQGCSCRAQMNIQCRmlj/Z+SZjZKJOq+fXziD5Tgl85PLs/+c1HARZlS4Z5JYjcttNiaHYfg6J1wUcAVYDbrv9XQH03Czvw+7jT4JMfUOuWIjLp3m50uEX1Fq+aFIialrDwe3zGbhjtnZG2/sVUhPHRGBNpv0/2F6i+BFXZoDlPtAJm0trWtC/cqfFDVwKrcA39EU6ysZ/rXUOxSdHU2TgaaaGkhfNlAgYHEmOqUFAYq0bKjABJpt3qlkXO5MGJkqleh3Dlz4qIiJurmhA+klvOPP+Fueo/qQ79wU7/NtteZxiBYUkANzlBizDQ11Zwiw/PMxvCFeSOjNM8UIr7UDr/nUtNSau/e/KwkPftt7TzPG5JsIIZB3lKWbVPZWmHYPlvjd5GDKQwkhJ+MTx4rVvTUcD8w3+z7AAq8Ox/lWekfCeV7NmZYaAN77Ldx6Y3Nhm0Jl5NPdpU7O+FA/EeVNSMcin3Lzi7UKDbdyagUcJzL004cWboVLC812/2gD39TdsBpsHpow2rMoxElrpIe2Vm7Ixp6HazQ0syZ86L7bHQGz58jRZJBLkQo5XVcnEGuvgrCc4og09qjH9LSTnY61Em9ZnkNBIwFVQWNPnLKBH0RSmWGj4Z3VuznBcjO+xTXjYsEzLyvbX3K7JbMTLfPkN1f3fU8cCXW2JcXwEOoosgHtcDmVojDHKRhUxbuDmc5QPJ1TuIJL9A9HfvPB23lTGOppP29fKBvnu6yAvrHZ8nkIzgGA5uUak1vcqnwhsJLsZAo56On6AIphRIB9h/whJXlU21ShOuMBiqB/p2DdJmlP2OoFYU7gk0OM4VUxZZMTvqYlVIxj5Fiu1faxYHGpELQ6mzeXnylmg9zVCOFVgQYa0JJv0rjxiSIMvSZVZdcxbeDwoMaldx3FzfxmzQvH9485IOnOoV6zS8rVqLjQ9HaY6mL33OkBGQAcWDQpXj16PiamjGsqZH729rSCg3J1XnAgL9EuiFGPavOJGE6KvnGM5pedSLxO2azzkSae0zXfNmZgdIZbDoIeDjkSmGYWLgYMdGQdbcCDyRWhHFLk/eT6TW1FZ2oi2iiNK8fNUkEbhh/utc9CR/VlUHwTCswl0EqVF2/5q3WsoxAcfKU+rByeTpzcK783dQvDru7lQ+1IlbYZ4897fy6lKPzucO3++HkFNAFkYhBxDUgR4kQyj9CY7BL2c40gLPPJupkJLXAyG7yEZAFYGoIUHHpwiJKcW62h/7xUHUt+zAGSnsu+Jpgob0vBDyuOB2n5zJoivtBPWe7yRwxXnynpSf3Sh/V12Gtupv/CKO0MmCXA9GOXRDFU6zujVTj3Ae5+T1zYZrvQjs8hjloyJKVmHPkDQ/e/S3qtuMqUW8wirxhOg4gCNZFQuf27QVmFtS7gV0ZOXndDjp2+w89lq5iLaMlvzziI1NwXXBVbDRazkvxZ/7HJ91npMNjGrsZSvk/hHCheYJuJ2Qve0RnskhmBBSpP/WkO6BEWKwgKT1TqGu9DEDB9UwccwQ1/7ZJbHGqxc7zqJy0NV2SbVk7IyH7V/pqMX9+PImMO+7AjbhRtipZZDoEgTDOD6LQ+eIm6OR2f5oo/GooTkI+0E0R0Q1uK6T3ilBKrlOAz4K7yHV47QAKkB2+wJFxGvcWftDqKGMjE+aD4lKGaLNg2AsZdkb5H07P4CjFFGiCCZPlxAFMVMv/Gyoby+v0B2s/lVsDTOYeR6jOv5xq7vTyxYDz5vJFMNqVSwDloczeioJRFdKbE3mO/CTgtt8O+pRDBGOnsgFhfybe7neCdkf8aHGqIh9oRAKF35IqpGmpboURGxdK7Wi7icbVXoRi5ELMWlrdU8Dqfm2m9683Y8gYf5u78Nj/Gy+RCCTZHXNVBJe4xzyEzRoioic0x0ACVXx+TvkC0OvJLsICOuUl4j+udgDBcy2Hdz/LKwsW+BwHiQL0LYIOvy6G8vnthayxlP7TZfOKW0/ZNO6z9AQGPjNJkWJstqakzZSNVvofNVgL/04u38z8Em2MGkHfFR8CX7WZJ+TdG3hXggJcWBTlSe4Wy+ZvOeZL8gdnqHjxIb1I9OGilyo2IyX+B1F/+T3iR3SFuBh6f9HHxlAeN0DCTyR0+5u53p9WZ/K7PQtZkg16hWtfo1uK97vl58QcWTANEojiJyLoMAB7faTgppX2QJm2cPegLKVEv5s8wsD53CW2vUBAPTu7TJ5ETdQxJ+4LmVHH3WyR284XFg/Yps/urqgLZFBzlC6Gpbyowk7FsKwaGs7/oYDxGGf/WVbzi5x12tvLzs2ddJZUtB96AwkIuiI1m+rlY2q8z0IQ4ak+eYPsOIF56ewDMKxjYNn+6zsCexyvoaCZjguIwe+Vg4sT8Ln2VudeXSBX+4GedJWvxwM59swpDRZC1Ut6o/BWi3iZ7lXT2Zz6ZcXVzrbmbedBTqllV5wRi3ch8+sCbdxbUx6eCURL0xZPaPKrwzrxj9mD2+lCLa6bkgXAfzAifQHCglpURUhLP9JirpXa/pFd9QJ8Gj5BwtLQAMCtmYSLy40xsFBIElSyn/NbFOL2VtZhnleL1bax2fZQHudCzigyPtZ9GD1rmt4I+4xfpEWNE9RNiU4H3gXQHaj7fEViPAqrsMUOyiJPiPxxTM34JhGFfMWonP4mC+1LNAdSqFUJDvZHHsD7cBgvLh4Fzke3WlpyKhKO7qX7F0aRcaNguuFTz4z11vWpYhfKwu/2VmxYsIqk7uW8gAPSuYA2evdth5vl2owwrK5SkOvmHicjlsKN0rjI0bFMJs31oD23KVtXjOa03wcw3YrR6jmbLfHIJF9msk+EF3502FEsOU42Uw7SGWiRlrQanbMXmpo5HoZ3aqEjpYxwJOm/+bSBRSZiZInIhJgfg0lAlubidqPmkDMmtopAM05/4MILXJYodYf2JddATkV86/JhgNz3BwW+EQaccBX5jRfPnAWnrbAztLO1rJYL8+vuD6gddNjSvGqDt7bKR47v+4ham2H8eO/ArIMyz4tA+oeEJ40DQOt6QsJMZG9pKrjHcFlxwG3xaHjljrEaTBDyGSW9K9cCrWhY4qm9e9SOOJaBNQ/kaDsxhPfUvxNH5FWXVdSqt5yq+c5FW8gJG4mBLTRi3FMBsZK9q0nnWAsrslD1KuG/g3eOeMx+KXdAFHBL7zEOEERu3LQ9FD4ZUJ6Otwh1yCZ1KOR4/iG6OQp5ibUkaSX8k+AdlKiJzuHZbeMVm9hWRg3tUYJOgfzPB8fwhacgb1gbRrHSjnAHBUhQozqkunOW8yWtfcKI/QpOQ4Z8gOz/KiNf1MJfiqt8wDEG38WvAMEHEf3pMeZmq/kGI0LPxV/UMVyAYRy9bNfGkLoc3q5engu2R5jYpOHyf3Y2a3lO8JOTJJSTCYX2UZQvKuB/BvNbjEKqc4BH0UOAoDSE7dy+iNqyFynKm5xhou6Y505SbpHlJa6ztGxIA6P06h0JnxvhRbHo6FCjnmOqsKoMmrHRMw6rml64mp1MDozLe5gbOIkMYzu/Kk0ZooLaDSUfiohwJbBZyNgEglhfMzLSiQ5MzBYpvyp/ld5iBhOXKTv+Eyy1m8QvLn3ZGdwtHGXLdfLi8evfP2f2EXIeNLbbLFz5/sCoWfzNgR3B08sr4LAT3SxuLZIWAAQ0tqiiWci1tdJAauaWJLBGQxZczdUA5KRqe2dnLNBmG84pjRBW7lZ08yZCSmWJAHqGnvYxfTWqJoPSI/ALeX4SawV9rqASd4noas3rn7shxndjX6X0uQTM8CcAM0K7fbIgFev5LTIGkm+7+joAU4RBZi4Nll7wclUfc5AaTTIj2Hn9K8hwRxyY9OvTRltfPEC4nKMn8EF7Xz9lLLhANyhjCYIWGThImCFtUeZ20nK3EdwFhqQFyKGXo6CUFGGW5qrLBamHTShhTwMK+kC3YQkUJDI+E47pejnPt0Z5rIKyT96r+D3XK/L4/nYqQ0HYbNuiJtbdxFSIzRIi8GouBvvsgpdpwbQvK1alFqLhML+8kEvkVsf3RI9l94V2GTsxxtA9Fl8YitZNTTgFK6+Mda2LJ7zgxlfUyLX8DtU7eKjMq/wXzjKdkA5cmw3ncjR2bG0YkurW9+yejQ0Qnj9B0a+nVGi41Cy7sgcdSH5VQp4bymmPDC29WeiHvkD1cULGX8bRI5txAigTcYLXLeSm8Dn+oXJasiTY6Ll5CkR0kJfckcBasGR5jPF60qv0QKP94Ls1LIzhcUlHLRNa67nUN0rRD9BHtQDtJ/AQJG5CESjtCP7E8JLHrKzCe5KrS5ElQEIuPtQETVlinWlpRTmIwv3Ryvxpg5Ma/OVGvLQOLxMb7piCKNFKEdf3/466mpxoQH/tvHpeJKtKmWEV7qYxCcgoN3SbjtS1BzGHB8D3uE3+0M/7+GdMB+sewMOG8uMnKdeCbOISoHPU5H9MizwyHBnCLM36h0dJc+OIU8pY08/sjm1+CNO0JNyWqcEtiODxM9r3xUaOPWbnvIX5BXUxy6eJaBzrCobJjgozFmzRxWmKjYqTN5MEcVTX9eisFg841gXtnZk6IHSg9/MZno954Kxd+ASzUr/OBm4X8uPdjK2cx7vHm8JCBNglu3Sx8MhnfuJxA4U1q1Rq9nSvnj3lweRk3HBfD+8hchfZEcemy6GWTcse/a8aKfQLbU+1Gcx5L9ltZGhVnrrUhwPaGH5AEblZJb4XO9heseL2a9fvJem1p0LPksG5kAZpIZuBsV+nnPYC5OUw7Yg6Fmk/PcXqPBtueIsVVFmFsd36AwFHKFvoRjb0k32CeejMk69EmmvhAJLRBFfEHGIYUq11cPY7m9PVQSDC65D50I7SfIOOlkX4uSParXJY6rmfv6pVOSRltxAu0EZBcbNaHr0u8hfcZy2dePPKT6zQkg3emwCQYW8hS92xlzrgUaFUyQRQbkFjCabcj5MSXuNQgIo9L+oBLmsGpHhy4xoqsJYXK0WD/XuVLe0oDEiArUBJw23I8QFiMtN3fWNpf/L2L2UouWVncowpQR8qvPDJ1OZJ0xqiU50ZlnYPELyHD74I9FVezyNO+lcueAGUXnVqFOXno+bflnFWFr49fhGZU2mmR2XMwaQURYA385JoOp0fQpttMkWrGwy67e2O3cwLXxumi3FJ/IJ2TJIZjjcZ+D6H8rZimN+U0MtLkGGL0v+S8V48JteKBm7qopjEaB+00CC4dz6GRwzAIS1ioi//hEjklkLe9vbDY3AbfK1csQQ/6oNbG5i8HNvk+RRd94Fk0WKR5qjrz8kkWWb+JQMqMDU1gHy985TFKDAJZivbm1emNzdHzWn9ZUFSYiXTHfMjQQaPU0nxWtK1elMC8G2RhYiXs0Xc36vkyWDiLq4tE8mWst2U4dzy7O8sDeA+JC2StPs8VUUVNaaMDkIpkusymtBm6NiX822334RbJ2W4jXI/TzwG9HvxvL5b8hXb3C1f30PbjhUTV31772fMcdV5l4KJ3Fu7Y2Wy3sU2fbg+BQneeZ+dhs8UYggru+FYIvugeHnMiSq4vHvT4rs1oeXX5tky4OSkHWGJeiO9qTPPpxSWT0cTwos08JxbHps0I/QqnUgT5Q5mTFBgOTbglOJA1jLbF8vFj2rjfmm+uF/aWzlEeENBD7g8UqwcV/xtgyUK1/iND2e2d6dbiNbSmuoIeeepdQDgCOJAyxXD+Mf3FsIoi5xeMzI3BOpivhrhCxVD9ZX7R5REwWlDWw2s+TnGWiJhmfwqfb4H3DSjyDeyf9J0TzWrK3XiA5EW4k/AS6maS85u6iXcLOwz0i0CwqTp9pOrwHQuqmQd3M7lU0hqxFnteOVo/Fv088B0uJHIPnqNZ8gndiZCwSNiR/5EscDshu9tjcsGWuZvhMaYQnTOQsdml9J42jleXCsJrrVsDRW9nNggYI48cZTY8+JrGcbxkVsXRPhuxm4IHGIByQzDx+kgV5lZ6RnI1lHhIDH8bDtfsAPOPxpoQMSMQFhAow1rExLougAHoWMuHZZsgNwq7fet0Go1pC/sDhikSHz+b5ORxJMflbdyGcumz5xNqiDr3cjs8hEn8M1FDgK7HK1e/KClytSR5+oC4Icnfyu45puSyrcq2SIQuvHxz4cu+lanxbXsdEPhx9WtsYOoMHZvnhS7hz9BqUjoK4SFEGsvdudATBfBiX7YkGl7uhGo4yTnq1QNrEkEeGLNbDxhdKuaTXC63NU9IjNjkcGUtRGA6PxL3tu9FNrM/xJnh+lOw7lOK4PpiOcyw0s3owsRdhEOgvaOg5BPgY7efNyf4DF5iWR8KHGpf1BUMf9oXAvkcyg/lTcBxTiwF9bHYd6804w7MU6tMBjAGtofbtTUkr/cDxo0tVaRHkSbirYnEFFJU/AVvj/8qPZk2vgLD0PkTkjwZF/PLK57PUNMcsvUaJQCzUnl3PhpkUBAPxcbtvH1BxP4/r4RejQ9BtMeHD6oBw0P32idoaXC6IT9AEW5L4nWyVWZFS/dlkSI6G7BmE0Xp3aIuMh40JGlwr+ewE409csRi6sRYI/s7AomTMBu6E9mcLNif45lhIHmelXtqi/s0o6Q4NutBtIzFqvFB8ZjGIur1roTclabvWQdcVramKLWgeaL/e1/R12JrDWkJLTZzrt5ToFsP29cbUPA8dj8H2WTN6gz3nA2U48E7T/KVLWM8Fdzq7rFJ8CCBqgEADAjBSy5GLTJakcFVAku2zO0r5fu4gxcTC4Suny02OOgxzjULYZyNS2X2QijDF1m/jzMd/SsiItYXh67Au0cuUu0Ffa9vFvs3dflSLBXZOq+4Sl+0IDHCbzjyxFpQKGjjrN8o26ReGgs9MpsaGgMj9Tl3L5RwroBAzgQCAcXuv6m0mFvUCrPKMk/Wb9gOGo69sSwrGoiSP9GsfpfjdiTEgeXUcCUQfasrLlHTQ0vSc8+iYj6TZ5ygiNNlHiMP2xj4nbKv3zqKzAfvVgG2kHONMu9waPZbck0+/wFqi9coTgyIFs7xeJNdUzDj4wBbsvVJmk6imT6zGBdgZhKmneLMlp+c0hwIgOd+JIJBc6OClmCXl4utafu+cLiAX4PSvco/Atuway92QvrK/Hldld6uIPTaXA0AX5Ko3HicQWvIp9/aKxh5SRSN8IC8/kykafna2wnl1nzjE5yv+y25rlukHAOgKBsiEN6TeXO55CuCGEJSlqCriKh9KQmpvNlOF+MSUn+07sZBWS1LBpquE74yKermG5wAp3695Ex0TWtPr5YprHrHwQ28GwsW69GIm33b6q50eqcCSb9JDZRsnGke4NwWnItGPX/OqLD73FJlZO1RXbGau3LGCW56e7bQUTxLzX5sGTFzAhqxedHy7yfLXJtsclcjwn7ubIJ6BbNyqQZN/VmIBu31GHWyr8OidMjyEiBBDaxbp1huMDg62T3MiJTWPbKD5/R7TIGU27/WUeTfVYTfZg+dHfwWz3PbErWCzmEdtDiDgg+mSaBuY/ILFWHZIo3cGIIDLRtYq5tLfJAFW49WWa+AAC98VVwbbxUkIfrJDfJoXJhcDGn9qzg67BBlFV7jzJ5V/FNeWSk4uvXqB6Q0AENhFZNgOyDtEfe8TJXaxfOxGqGY+472rol+BxY9wdC9O4+scER2DLGCStfE2n1drFZLD3ueGoyOYg9m6oCvg4jW7dmdHHpPHwG+eJgllU0aKyeNHloDfKaEXEQY9HRWJ0dl5v+HWudD1ZOr2Z3XwWY5fgsLDR9gbtI4cUAc1Q76+ZSPnXue1cKDDZAaOXn2nurvp2952mJRV/QrQJkr0AtuP9C28jsoeE5Z0IK5fPWKyGkgaliviGDrbpbbDzHmSkOffQYraMOQRP0Px65h0LlnMFXydGkeCZI/Kai4WOpPsMwPHgc0yhtWfheDYYZVwCN+qA05cOth69Xuhrd/2JQ1Qa/fcKH9D+MycoP8SmfV2AMApxloEm+Ba6jOsATcxUyVRdRo2YzlU4hdaiX8ZKXWaTG0q4mza/qlpPqEqa3gdfU13/9X9Ncp5pbFAGgh2iEMv3uQPE1Xch6N+sqmd8n3wThGfzVEVh312UD/quNwoNy4AmcCRvlqArcvgsJPZn5xLFG2H9PuZKpzzzMzzwXjWdZU38eAwyehLl6QUyTk2VT84Gpm8Ub+NmR74NPEawzR1XBrSwkHozLLYH72Fg7swk8cXj2lwDnYqxjOQWF0Or1FprpQJ7pPIJ0d2GUzmg45e/gtMLuhCliRJ5sNMP8AjU3CjcVsBApUqZK813U2a6+Dsr3V3pcW8ey4XPg9epZgTrlYGpPACtkBDG4KjfvlHAifJWVrIK0B32E+bYEyTrk+ougipyc7LLG9M2EPD1D7wNOKd69jYM2sD88T6h3ppGE9SpYOGpBqyXyYgVenEUI84/rUHcmT1J+ibbs+h05eOoche+48ExvFKUPJUdAVq/Mkh7IdlVig7hFwSmJS6486pbG08D+x9ylmOHdj4sB9qwYqmSdKtO296Do/VNeRWrj3sxnEPpQo/gfdoOViSInKgIXU4yRRPzJr04HomGynw5ZsUlgYO4FleaycbQm42h7rULs8iyRQIrvMDS9S/kSZLgfM/c83VrgSzU9pxWsI9jeDXKV73cIwcKMGH0cenq3RmocAvDfflAm/rILRC8A2LfWKBqxD6YcCe4s33EfRxIo6qnxme8nBC5efGjzshKHM2hC1HQMpa8QFFnVY7ROCoLbN4ePCDlFBqiX64vNZ9rQNN92oUXLZ887rVkbNq4iQCXlrDIbM7gpRIZsFqfWoqATNdxdF4W0l/+woBoEb0B2Mk0D+u+ZEH0+gc5+Ab0lSHF0tQLMEe3YFa7gnCgDRg6a+C5VI1xxAG0qLcubwSdXQbDdxIHs0jd6CiBoAJA5+4+F6LbVym5NcPoFiXdzRyH9mni3c4NlQ4q30g7GsMNyMaii1Qb+UXSYeYBvGPBbpfXich/w/P6bydGJRtuAA2gx8UQujAACSZ9A5WjZlBPX3gIJ0x3dUt/vC/gwCfcU6lHTCMB7VX6UVpjh+co7vkPtuy2vZ7FZOOlCQVGtyaLO6nqpRcI63PAI0RvjjLjaFjW1MvUOj445fZmg7EwFvnMj0+UrMhQVEzCNyo3vFQyEEN9E9WUu8QCfVw31IWuwmw8SGp1i+W6F/n6xqCMiw2VpriEo7fUOYWXMeOnpDL58CE7rLttBSke0rI7AAqUviNKetPCnBWvncGksQM7QemscTXYzEMYcW/oFNXNbl8AX6ulAUeXn7xMEsY0A1lHH/1RAyc+MCGv37qvc5VfSB7gXe6U+95xiwoifmg4wtoUDR9U1MHCnOlCd2VP82oKowrBqt6OofW3rX/75M7pxMsQWVh/JIOecZFEY6emnnXwVOBIf7dQ25KKu1hsdnaGu1CSseYEG+W+7kM37gr6pzWpbt2tUQi6G3D+P5FSjry8tL5gIMv3+v6+bOHpwVGB1jKj6A2Y8GNE/63gDfV4REjG3SLrFKLzfDN2T50rF+vyB8r/l5QFUrWMzg52Yvfbm5owh1puRA69L27etCJQatnz158IrG9AMKjDtKOFsih2HzfeoRGetUXMzLkVFomtOevcBzQ+Wo6Gbj4V1Ovr8gRUujG+2PjApoghSZLG2hnzBf4vtl5vtprlPJWARwufgRVk1ZEAjZreifU/YshWG+SF0958wm3tV4E2G1JzkgYHKvj1+jObJk+2vPcejKes0EX1xoLId1UnNSJOl03ikAv4Jr/w2R2huWrUoh6XfeJLlovZN2ybWIFm86SK5VaObHjuy7Xr8cyv8mOy80NcS1aA3mMOP2zV5yh32qBHMnFXmjrjYB42UsR6vlGGSM1S5swHOiQwX9TtXN6qGh+KgenwU4Yl7iHY7NMXhOt15o1pSl6rqbGP2dCUdfAdIe1W3xA7TfPSUGiZrRQKqxFsVIaiuul9effN6ts5XV6GYorBj7T2lx5fZHP/odHo38o0erInNAf6F/74roQ/U9XE1OhHhErkNb9dqxoT8f99jrPixr5cvPTp5kzEJF4OXiXGl1sdRFqpk2xNvz68fUQVkTs1+7I4IwqgKnODkn4wDhkEM0gFYTFUTSKDMcRMq2gGFP8n9/e/scAV1nWMyxw7dsii0Ru0BPXu9yYn9uhLIilmsulz6FV82OTM6E6rZxFdw8lahsmj0f53Sgut67pTDZV0k6ApgjdY4kqYw9F4aXzGHVyn4+KWOaVBhR61dgAQqqRFpjCoKSnm0TF2u1DxHSYJ83KSHITUDGxPcF9RBroVRLKxDYn/OwbzhI0NgdsUytV71pM2nn1BAB8E8gyCw7PES6NK9zOH3dbXARB3LX+ZhsYWZ0Qjfp5Gey2IkzBQyBKwiE2skkvs+HCb4elTxQlCgtF0E5AUZdJ0Yom4eA2L0imMIWJFq9OHmwqBf3UYk5VcP/Du55Ph72+/UcE1S2OMyxWXEi2T9B+cfBHjgZYhTlwdLX3TzBuvAzqOTNXvZhtd/yq5v8nTgWuGgkkrOcpme9TX0vldZWIBWRtLoPqyRvDmK/1CO17hXs/ZO114Vktc8SCHbLn/RQMeMDMNCfY2+aCgZf+I5XLp3xMsk8YphToIHeo2uVqmUK2tEFUbIMbahZqSjajERBi6yu9ufpZ2sVDYCCt6+ooMpYamDfibh5tY5qgMWLHJ6eLTCYIfLtfsByNok4/AKs30T6fZ47YGWqalaHCEB7FKTPS4HCQc8l7B6WsYucNyEoeGC5Kf8pRvaCzGBJlZCw1zAQISxPIlmudjZ71+cBI16vkOJrYhy8pFlbrii+gOefSxC4RGZADagIiwLps45Or6rCt2nuL2ZYBHUXf1v38uIhA1bN02BOjvzCLqIsvbtk3NiwEfWlCbQ5wv4vzpzZWpbb27cvx1aEGXgsDI1gSv8f7ZF0Qjq+t33RqCL8kUvXle/C6tLqFiVI1F3+HyvY2n7G/Jfs7ETOyH/vW4F6wnvZraiwF2bZaffC+EHSXOKOydQN/8I+BX7OKlA9FE+EFsS0+lBMwv5IY39IFJRBPgiZedbJv89T6Mgg9TZLIkg8qrWikaKqqv1dRPsxyg0IeOxT2YlvzonBl/I5g+pAkNdGHknE8gdgyTy/sldtESg2hYV30HNUxMSD8kScVjMDBOJnNIV5OlhJzk8sdCj75HcxfXGPVPzL4ZZFN3vsiGQN8Yq/eaWf3ercYfaMRnh+xVJRKTsTTGRs5mAMLqWL8bOUzgCupCRbcjfQEuH8rSEZ8Gol2hspFeXGLd5xuEJMbq3C9UYzc5t3hvi+FBIrasbv7cb2ClJzQU4mKM1E+zf0gv9BbfkGrF/VNXDcJ4QagIuatcB1gQ8Oaf8a6vzUaJ5CPMnCsIO0n6CKASpp1cBmhz3JyHLzKnDWXCXjmsN4W6Pg+jZjot/Ly9VIfrFHQJoZYxKeidnp6YRGz5EdybvjswY+gaqG5B8cAAxMVXRRuQQNgRC89MSlmKoNs8P2zHqX/+2O06qlFXG3Q334XV1zfvle8RqovT+0WtiueHsMyBGfxjCKFxp4tDnnkUwXAS7JyD8RJQrcXWoheNQCT0inBswmWPvaI46bKHc3yfwEMqDNJF93vyIJV5trm95WHLHGB/6wv4U/EJSY2cuSL2sckzPw1zmZR66Nr7hH5KybjQ4pdzif+970srXftnyx4y3qi02Pfeq4kuosJMRZQCTKvMcEue9FluV7moBrgsqXAYB+2xvUh1W9pZWwgB0qs0n8DGl2RpLH+dZSJnk2V77/GS9G3dws2zye4HyzdmNBNNHh7K00COyyN/zcyBw3Ux0HC200VRz4+BH+QDGoslgMjLVn62XkU+ECJDdRyv0a5dqbZqH+aVaJFFxgnzozkFjNIjYs14lcmPF0TVB9qWhIo7zV/jQZYHCGTlyfgy4HuxGrUmrelJvy+WFK/EzsiEoBjI2yyFO96wXUd7FBrrHnEToRTLTbsnFs71fQ8wgCMDCeaMKf4whuaSBdEqnU1Y+t2kH3XfhB0syBsQtAjXNBb8kfdWt803KiqcfRCM9n6dN327MJpERwMbyhdPUKs+Hqd0CVavjcy6tXOX9tXE7MHPLBp/Rzto9UvLyTKU+B7y97FhnISaxcY94ETHW683Kgs77tg8kRhbo2Q/JPyHGMrmQia0g7FVsgodKeHTg+XzuT67SWNh54rMAKQA2XNu3bFIpue0y9JCDUy0u9n8B8ymWxpbfGb10GhF0cT3LWsjOakxQykEWo1JquTTzNCZCH4fSqXYNB3lWoaaRnq/bD3ZFkpM8jaA3KCgledwgkF9G32yBbXgZyrSPmHkKJTRhJHUBx6tklDnv8KL2CmJw6BnN6NrGfN/2MyX/cxSzXFumW2RibXWSTDoMKly1L6bhxBg16b7ttT2aAIFt+S/gg2bpQg7ACaK18EhZt9LYWPnyPR/hRt9AB93lKo+lmXgDcrYANyaZZSo/YGTynJjNV8zpf6zihZUUfQaXZL5l//hrwuI95x5i1IwiJ5a3+Yc4pAREQ5zLDKXwOVPEDceTt7OxVMC+yB9N4D2W5m44fdaiWwZRHbpmrK5Ux3kBHn5SOeZvhG+sQk7dy030IFO2bif5IgFjlVGevqCWDyVCJzh0n9gUMUkJkPHO6v8+kdx2vx1GR7HWAa8GvGJOb4Q1SsK0e3wixA4QwjzQsZ1CWus3EB+yEEE4KC8d1P0CSxLHmkGCl9egiXbxObbSHYdNfT8OlXqNJW3XBZBrWcZegLP/u+9/glU1S/Ak6x0LXy4xfjD+ofs9I8waizWfyurOpHHPnGee+TBiDBVDmMGp8KUOtzBGH8igM6v9c7xZ0buR5DzE08dFnDQ1FdQxNG+A52eEfubVx3lEZLks6wv3nkaO6TbEnSQGCZtKyOHEzdHkTBvIYW8wQUy95+/3wMxkWr0Ub2MJzGPoBo7Q2wFHnLXpQcilaeB0/ZFXlfT5+hnrn3BL4e2wQxpW1g9CmYClhTcbGP77m6rb1gnkHOb6PsR666Iw6r8ONgk+0qhbo7PszAtcrWoQDu5+QsOnaapVh9kgfRSPaVXjfkJuGQTKPPqnTTre5nyJqSdltzcmC6s8JNsFdk4vUvzuwkpzyu7ajIxx3TsviocAF6w8G0m/rj/ZzVMt0nMCGJPekB8Ks+g7/AK95jL0gyFIYL6xfjvACWsidQF+59ihxkJEzEG5u0U7bMCn9mOQLmP45h6OyB7mE/AZo0tUMD7bQBZzykYsNXUJe0lVGZ2bHKPY5bO2bQ8CVN3TKAyohVK17SXF9KxpYTO9HyccICoe9LgVoMLcCabxvmscO5U6sNfiGucgoM+QiGU6c2+Nz9kgVye1yqBEWfeCKAaG+VbbRWJNsKTCc/qtm28+iFxHAhImgVZhYggXNcbkYueWp9VRBJDqatiVZ3OOy8X0QeupjttfUb/RxO24IrNnRacCQmu8RYLWAyjCL1xA9AoEVM6atONRDMkREh/KmA8BuaUSE4EI0FQBNTGB7tMaQ6XwAx+OjYyVrF88u+jvfc3bzVJmHJrszuS9ITOQFjCqVYLYg00HxFuxYxaCXTN8NceKYLkHrArM6Vsm0hc1P5zr4TC7d9JCX743t6yMJcOmMvOmPxj2IMBMQ9wFUBENA350WFuJlL9z3KCnuve8+ZHeZzrtCGLYAXkQIWEailvv7aI0vaJ70Rwf+XtZvo1POTmG8eALFbGoKyozqBsexIFXW9DdcuqKztSaNTTUTQ80slNdK4QAz/rZ7N5RNbKnRf1Q8nTdWae2dDPsR57IMm8eSp7MCpZiMyNI7qGcqXiUQ27mciXAtEkfZ986rMhLSgTupEx8rk8eRS9VMFga8A2e1pUEdTdztqXx4YdmDHNBaLm0wxDybGiLen44LXTpZnFXvNdXxYiJSxt6w6xgvDcbdnwMR4DhMBWXiYJIl3ctYuj1q8R6A035RRaUPWRr4I/dRKU2kF0mMx/FD5TCWJwJwF2u8CTKjtlmYXpOGJyMs3djmXqhTUExi/Dc82oJPhmsafDVA21V4B+/mIyVHdMCwCM/2jmBmBYKEvysnLvuJG3hdwRLY6T3+oU0MZWDfTGP5jl/eASjyWopCDqTqcYW9CnQBmjIeOsUqeY41hOumCIizEc1GCztt2yjwYdAph7CKPAGYK6dUBRye85lPFYlMpfQpuC9NUSF3fYS0po13uVACdewqMZhfQmoHZ4QAmNR5aonH8hpMqol6dTEPcs3Pev2Azun6DFjdFX4TUlSPeY1p1Q6ano8JqYD3hpvx/RArRW5qjfFkScVI8J4a/qAfceV7fnH0Q1XdaM47BAnmaXE1iRuX1a2zrzfUDXkYxvGPeFmLIdfqpwbMkCHW5Oi/cl35j8ZMJ5efcmIgb4bG9xmQ8VIB24Wf+gYw4wsWeFmVJJKtb0fWGRf9eFcnAUz1fuW+CvPgTnTgCl1dSGx+g+CUlIsV5IEcG6CfVm6U6wNkC/6w4cVIlj0MtvFzcSewyxKeFvkW8qLApbeWJHbiICED5tSzFAyCZzF1Z8mN7iGEFCEZZpGBszlbEEWxrgY8CXm6hutOxrldZ135DqO2F325liTV6yCAwREM4kKOtg286aKVYWecdYcDQQehsrDy790b+hoAVTDOAtEdIR1PTP6pkskpyWh84KenKU9gkr2TbS2fQFBGfKxnIoalKV+oKlB92H2YDclY0tTgNcofbVprONFzWGq++oET0zC1swQcv3VO4ZbjZvJWzhOlkXuJ8tbGuCeK4EtiJWBrj/IfeH9pMM6s8Xe/mNSPR1YFNhLB+3rzugNkk4sKLahM7MhGv4jM/LEdmK7X5SKmoexEWWb9mC95nUJTDXjWL+p16OFvOSFqKbVwhrZGeMFdsypsMxENuape8sb5y/ZsQfe/EimsHOUQq42iUkWj0O7frgpRpkwP4jKtUS55QXPNGw07Mmi7YhxG36kmVdCrl1dEt7VUjUCD51tMQbEx9mfYWhelElEocYmAoFI+O8Lqhf6N4Ls2j3s4C8dUesWsDxnhLouIlP7YHsHUjDQSYH4/LrYfJjrwcBSQdvYPGMgh90jjhAaLKGXvpw+4NIpXdoCnddvVQsl5l4nuNJMLt8znWcukK1kXskHXiUXUr7iu1sJTSGUqzNR5JD3x14uQV6r6ZK0FNR7IscnHrqT66rYuEg08cSg26l8chrkDnJ1O6F09ME6zlT+9L8Mm+j/QuNY6IfVYEZv8H7LfozB1ZhByJrXEOorRBpNRh8QkBTmcIzERbj1xC3aHk6H18w/DKBH8MW3MRMILmgTdKAZEy6GcmGO5tMBz8KKec2vQ76ww38hMgHjA69SCy04cq/vUUPqgzyGOuZmxS7jEeAsvFmgJmhyTRuVVVgzyXpYBccjMqPwowgF+RnU5grII4Nm1BfiWXuFtUThpkN0LTEjEUrh6vtIFQhQRw3CSicBcC/WjRd5s16dVrYae6qc5mbx5qjRLhrN9FEsHOK98L6zf/iPjB6v4hVctmKvldLbbuL+9dErHpdEgCGFmBim6YsJkSNsDBn/l+Osd9wf3xWfNhrtX12VMSJJviL2pbT4c17GT/vj0NJ9WlMB4Bkbe8yHbwCKzFI7/MZWrRnBBTiD24hyyYEN7Qrab6rgNaZXXRYvzQcjFLC/92qmFsv68SacMVmYuapNFt+TtKZHdSNJJSJ0m5eWO/D2oSAaig2CNnApmdM+06ecRt3FgLUdDYCbCntAQ2LSrpVKFWO7DCyLaK09ZO5Riz4vk2rNzR45Oqzh6yQZqtPTEIABiUN/NNMUsx7Kg9M+sgEfvdJtLZOPEGlf1E5R93kmHLN1JhS1eb2scwlW4sBM6fnZ2jZLY0Sa4PDY8yXSlVKJTzkrkgvnOVPy4Z6m8dv4wJfFKij6rK6gkQEX2ebhUwgeOrIcnUBh7YgEMwk31fMC/t+/sXvs6MX4ARgHIBG0ZQwZTkyHC4QLmJW6+F8srZEwf4qypmu8C4R9Wq9m/pEaI85231FW34ePz4ocpYV/6+ZgADlRd4X0Kksh6GqFQzB/A6DsT8F1vxZWFCj/upWuH8V0QsltSuYvMGLUSXF4RmAkqYt0Jp4NT/Q9Vz+Y7I5XBEdN/S4rgevT8NyOZ+yHQm/FxNvQ8AomwFiScc4qHabgwhBUEIFYLmPfqz6OyXEXZztoTme0ty4RMFMV2ZxlJimgp02FUfPhkv6se/FTRS0eAYYzNRlcsN/AtoI0FlR0NEUCg0zick7MXqZ7WQiSxQPS154qGMU0XLDKHVl+2kmUZlaNlyne9NImfztQO5V2hPQA5sye1EoMK6lOmwXvmpx7H1SRoytsAz8j49IYYe4Fm0meRn4VQ5AJ3s3rywhxbC9TaHPvjam2ViCDQsd4fxVecwaKnfUg2+ct25kXVWHb891jOJ/NUweKqjSgyJRv72lYt2hxtn+iU06StwwC24j26HsG/7yE+0THCCcgUwHMPOUSn4eeH9ZmuublOlB2zVVTsEhYoLklWQ8bg3j/gy2Q0McaKWm0s80lNO3Ejgb8Md6q8V4Aqj8g8ANnuN0yaqSlrnCAH96Hgqd6Mj+gqG2IryXmw2hpOAEkcRe3ftcAi7fyZuJwHgjlcqWwo4VIjaf5ZybmfSQClLujB+me5wuTCLcShEE/fXl98cs2nfLGWSyRiaI8P9mznIe5pJFWtf+XyKLzQ5B9kB8FfwxPs7Ju5xEvT1iP8oSxMLS298K2u47iV4y1OvdOcycpHanCqeW2iP61mTY5PygqMlzy1VCB0siL2Ag4wwS7Lb5ZnnKcytZLX3yEz/TcY9lfzLOvc4pfO8ePI/UZOIf5sH9V1hbStyXEZXemwCvilxJC5MzZ9aJVd/UJZZs4/35PqOgvMbfyWElNxSl2smUAXuFjqrGAvIeIi7+DTa2aNxVcN71cfZHnpN6FHw/W8rxg+TWKF7BENn1x2DTypAwBshXQlRJP4bjATfd2AMpwdTUVofiptJjVWFAHaPvXPLqFVgZebUmaJaEqJjc3gcjYGhdiZ8uCXSdBl7a5quMP21rVnt4iNGi37LGPtXVBhaH2Y0pwNWLhaUyPRPBl/7Ei43JSdY5nl+V66mrPbBfOt31AyoTyQzDHQFLqN9qOSY+fcFJaaPCyigk3a6RMhZ6LU/D0V50+rhBlr+Ygn8Nmx4Vrq0e4Ml1/SAwsrsrfWXoTSDUOi3kHV7q98KfPaIDcGyDqbnukltVckc9/wQtFIKeveDH3ThWPguz4PhA2Q+FujlyJ2nGLplScUdMBsSftEQo3rIbDzpPMmle4e49YOLRh1Wv1Y7uFPXubYR7Cm2G6Sp2zpsSOuJrHQ28xzOZQYdZ7aoPqxP1edNdtYOO70bM7VL/etDpb11L/5PYneWPm9LUn3t13kVG2u7fmXSPpXw+0cikN56XlO4fhZqvzITiy6+RtOnsd/IA7yGuto36CiNcsPE60Ebkfhm83RauX5e2RNkEzCjbqKkPzyhIvR9v6OSxD3iO/fgmFx49MvlfULbXSec1sQcztSK6skvXIwlCCQz/EHRK7AViseE0bYXh5XT93b95QZ2aEpP4keI/xh4ijvZ6cN86Ya05b+rqTVQ5jGlmd6xf9cfCw64dudMc7Fa+Dd8PlbAlLgw13IKyueitqaEIG/hT3wpnjqu+6YY/iqau1aDHY0yAXxZyJYqWsCiMlYYGG+zzIbYRPpfaNZVGc3wTj1gH3IXTs4Uu/tnnQjexvwAzVfLkIlQtAISvpxOnr9iqZ0SENOy+YoyOV246OZDkcBp6z3FqD88J0bwlPmHjF55l86qfXRg1l+OUpfnqFeLjy9qiyL5fPdFa2qM8oQhsAb2GoqEEQxZ1ZgwlNutohxJa/fjZhh6t8xRe32TguNPQu/YAU13XdAZxAhvFF9S5S/He4pThWp2jh9FdEOfFsd7R5TC0IMDoTrJcogZFq0mjcBdV+dySLgBwS6fnaCKDXIoDNTyefdvtDcIO4x3dUO3bdqe8QNaSrwjjdx+r6wScwD2RdkSMqqLxgv1I6qaIQUme7tdcbgJ1w8bOE8q3LHdoe6YNYMXLs3I2MMcP6lfgifpNMViRV3CeQhJEWbt+38BSSI4doGYc5wcs8vx7ncv5IaF6BPsQ4I/zwT69aniR4j3AsRH47ZgST3a82m1qjAZvPg5IuKwspuT2g/2ghKUNEAIV79/bEl+StosmINTHQMOxlpXIsyBiXdrvU3v14uqDACDSLCLCLtXCxJtVU1gCOMZpywepkneOb3rObjcD6crxHctbwmGfgTLwL6sxTuvLe7epsG9btLzP6nnR4JQeQXMV6HCLdpCH0FXwoOW13ptq6VrjY0dWbnmVz9N3GGIY5EL+FSPNU8N9tgFdzp3P68SlJ2xrwqOgjrlLk/RE4MHh6n2pecgdyiWxLWh/2oljbuzNAx/QCJc+xtrl8e/INMNgeR+45vaTUfnMWapbPDZMfqkzkqtFPl7PRQGbN3UiaqbpmXnAXhsRu+CCnZqeuorkKcafTsaySH6tONFMweQfUaMt+acpIpy1fRgZqLgeIV/tbU7uw1Z6D7QQZKEVXKgGlohANYwezzY27qrvsYO3u1i3Rc1pm3QNfKWWpgqoNqW9npgR1YWs47JzyLSfHkT1yGKS90Yhx8NITqwKaXV4orJfrq2CPgstcPZ7nFv66EbFJe9h7+GN9AMwNO0Fm3wt7JfvscQkIN9hJ8zUZuBwnVaGkde7seea39a/j+WHKIhGdLl1QPJV6KXKvpuzcR70mG6il8UAKNFi7y+pe0bdwn7DqDSNIep6v3dccndf6ShRbEXMJ2ThLTQw9ZsQH5YK9l2Sj+p6O5AJD8vPjgkupO4phj4Gncq0xiBYc/1QMj4R0t7pMTu6NyfU8XP2qFEsnd975mlAC+4euvqacO4hzACxCTshQJHth98PptNnKrwNpyQQ5WDVOZ+eu1sZ4EkDGwoNilOOI4odi5LPfJoLGP0KlaDCC/FATeFplYjlYoSFB9YEx0Ygmg363laqsVnf18gtmBa96N+wnYNW5Icj8pfuKPR+DLC/lQMvzY8K06tdzF6B+/2zLABREayDMel+Ch8cRyzgxFKxmwX7eFhxzu3SWBH9BlnRfmp3L/pgCL8XwBCnST94Gm0ZMnapOxJ8ZAH+vVpKPRCiSYVtQT1lV7PRZxkBWcHhWJr+cILvnbcb60WsH27b9wUuQB3YzlnVDbnm2LCKumEKNh6zouDsFGrWw1JV1XDxjhqYNWqpSCpCcITKpunbJQAs+kHXB6wet3+T2CRIn82UiuaYVh7TB1VPaxZ3j6kPh5rDlkH6XgmEUfFiDgBipgk5lEIoLumDV32N6U4EUf7BowLYfGBrxidwcTnPS4arPBCWvimEPXSxevJccNLjkRHKDP9x2tx0kgbLKlIAI9ua4No5Upmq/CsHR+BwiCKK9MvEznsd416Fj8d0GwUMXPPjb7aVp+1wpmYtvR/bhiFOV6MaKY73qlCShU9lhIOHUw52Mg3SNcLqZFQ9EjU4Y+r5ARFNn5B/Vpyui3f9vLVypz0L8+4VFsrm7Va1l/tle5vFRbgNVJ/CX33u0yeGkL1rLGCrvVcsMRBKMuP8kUMqWiraMtzwDe2dEz0O4DDPPL9Pzd9NsOdSzd3lttQspw9pS149A6FS92J2Uy7A8GElb3nPXI6+yAu9ecV0dQV/rLaBjsLmllCTb9hyVeE8bx973sc4mBt7hkL3Oe3ABh5RN6CY3v6AVPMVOEFFhu0pR8dIMLhWA8J2S9C4zrND/8or0HEeCRBxocpsbr64ynP9zzvVIRoOfhiZ7n07WVCMXHn/g21SmSpP/1C6Ly8sIiesgGfB6YfOFiqB4QrYGBIZncktLLac3t9xty2tmrHknpxGI673svb2PtlAcahou/3JH4W/NOo9TIkKpfWpQc0qFaIHyWHek6pLvQzRVeg0CL/Nc1TlQHTvEgmQ+kuURENUKMFd1yZdS7eKWloQS4FPbKhS4Wr2a8XmmsT/EUVB3qrLHXtRj3ehuFqrwNJNmeKUboCxfcu2AXwOXYdU0tC0BiUnYMTz2CG4lfv5SDIW4KASUXm+3y2CmQcCyaxPgN+8jRypGd7Se5qfRagv30btUAyWRj64VJ1IREe7/iqcXe36sW309DMX2BlZL46VvjUB7t5x6S+GhKvLhNNVMTCiUtusV5oEzgE2GrwI4RVsRCKf7m9ID1Ais+4BvoYBP0IKXkdMLjBRqukjiDnHNJbV3+o0usJP2cWwHjVq9E2cSOM7VW4QAf3vLuwM1NAiac1ND+bIWkLfgsQiQJtXt9xu4LRsRKLnMoe9oxpNsxJt+onGQgjHvomt3JnpGodqwrEFTGTafP8kpXs6aWWxrzwUPcfwossETC2xXYkEdu5jTf0AGDPV7lx/0LmXR0brTokclBQq/+xMjf01Rj6DhtIUhVgHupIL3dLPMdAgXk3pgNNohTU+l9VGnJXE5sYLJmM299RlMxwl4/CVQ7gl7d2n0O6drHL4S8qDlYO8hihkI9YhABeFDiyVcn03V0wEHBLtO7UOu40Sut6n2K2ji1i9GLChS7fhmN7VMsi+kZNiDORNS44Mue1LkMofziMm3Itn7jXSqf827J95F7LLyVESEAiQ2lLuXdb+h5NYN1mdKUjyBzX8s0VHvxyOqwYFxJoXN3OWC7E11vTyCMe2RtU4xqbb6dS055vHCQ2bux4k1uoyP3SnsGJE30cN+1MrjDrClBsdECfFEvcbnjJDcjdLX0EIxq63j65/BhONe/EwFPdWWXKliArM0tpiNgWxVv/s90+ETPnJukHVJII1uzH0xjCdQzkM+LYnIJtck2C6kl35uSkx0PvB4VBfekKDjUiQmTVhuDftnsQNqrAE4OBAQeb5n8BmDRugH6m4AfMvk8zcpQACZd+OtPFzTnFqewLv2K2if5YtMX/oSRo0nudc6tMCNel+VZeykyoP1nuhxS/ujMWgag2Wge21e4Rr/8d54wNtPfH35te30c5DWp3/dUwMotO12ydEXx1eHXvRZnjlesvPPHxa5kFBvBDEZfWEWRot7so8Jgqqe8flAzh/IHKepVAwLWwcnKihSfS3i/ipffrgLiOvuSyP2igOQ8xQD0h3bjHo5FA4F2pFWfgNzZdtOlsdPIBlRvQacrALayHtBEnZkPhrMIi3C0Pwy1uiewQav5lBRVGiIaCRZrpiRGHDjjaSbZSVIDThwNPrGMughhAAy5DB+Q8vJ967g4zgJ3JlQd/kTBkJebNS+YyigbMhLNkH8sqQz1JmpFGW9DHaR2I8yqMD9yAg6qTJ7p1Lcd5evhHo2ZgyvpZ5NoLEYesKsrYtKmIwNr93YxEXnQvArrS+8TITaEODyO+RpstTpi5BFsb9mNDgcuWm9FsLcbiSA3uzNkQjG25GkrcHTsGNaGNtgv4Z7H3C2nm4NxUYduMxpEmGT82HdGFSUUHCVClDaSE18mbNiz2zsnKeRl8ScWzyiF9n+NIpeAR9hyDrrs6NJgnoLohuhsbfqolecvxoGlrBDFJmZeavpyaTmsRC5D080EU1RED5HPwkrUnUik52C+fgN2INlAONOjwBl6hQrN8vzdLzxV0EhdkHY/XRw6mCkzJgT5bTVKEkTeT5aO9V7m0nM8/pc2xw/VxWL1W1lk8efqkIT3EhuGrq1EJtxzSpkAlxj8cnkRViJ+x37Z4oTFVi/u3LVpsIIu5MqV2v7DmS7OaLn5Tzk9AqHVOaQ/QccwxVDDaDua3j74ekyE/NWaWw+ofJfTVzjT3CzyJpKT5+bJHyPFTf/Q5I0YcobaWWl09RWSqKrRJLVl+dCGVld8ym6k+XUXZiDiOOz4wrAIhdMRlF1ktFdkHyWStt6Dtnfm+vjzY+4LqVZgzGIpvKr7LXT19cPEaYrjku9Qt+ihZbfd33Cr7ym8Ef0SM9dTKkB6BncFk6Y6RjgjHoJbjLhgTp1Nz4df9JP5TLgs3yA7YFHGtQRXUBrxXJFY6z53zJJKNWnOkGsr2z6tZtdJXqPIyYEjdFXHqXTE9utGZbORm0F1dYgrscKxrpDcJ/Wxe2Y9JfXzenLO6SyHrQHJKeNZ1u4sqQseKA6s2N4tySV9uvW2+BrrziAueqn/bEKfFV+UgmoCyt5la96YeJnLo0JtKLSiMmC4J464sVJ8RJ0+c2Pb0Xq3vjjqLpf41JGlxSNOpL452mBybC3FUQCfud1ZRgGuzPfauKwK7a6WFGv/R9Kwao0qKe0eP6qXgvWRRArlZ72ZVZe5Y+nPCSNgQlA3RIdNv4jUVmBEIS3GIQo4EmPBxuuqvydMHJaYEmVvURceo/X73xDTRUMNExZpYE2Dlk3WUVPTHY/jvsznQxQg995GzKEaSUKrKPGpZHJlYQjuYXy25x0RwL2glSZZEAo2sxumD1lvP13kRP3L/xY4jLusfegfLewNjLETUz7GGaMSKqhL88a8BO/NB1nzrYCf9AXhKYuCZRg0yh4CubcJQN4SpW+GcqiY4f6gNxIL13S6MPxkAU+N7MSuq04eyKvxIE7ftwAUCz11x71Rz0puP1X7NjcYwu0+wpLgG6W22fZXaXTbpUzbWL6X6s5I8wBb3obL7bRexbXGTMhkwDqtMR5IDDCi4hbuJT5iOd3NJ/W5evSqm8Jwr4UcPpNGGq8+RI2x4TVozFlAd2NwUG8mebZ31an9c51b7e582rWRahjcL8x1xQtLtYjH5OLCmDp12fIHd2tgZ3WUrFDjDa+tgmF4upvXgKkXYVskIoWzHwiIIr/nVzZ/isb/VPKdVbFmbPTUpapArD5CXGmjn/uwzGCLh2IVl4YTI6xBcwuyPYEmMFJpBsm3HYTLswR+im2jCdMVZeQwcoQw7e0SzPZ6WIqMB1IZLaKBR3Kx7dsterxMf9GTIGqXoPK2P4XGb5vZ/SQR5kDzGUKvzG+Sno3E93rMFUJIX6GxE6NnJHvfo3msgJEE6jBDh3b4WaPQ1jnqC7VDbQltF/HteSuldDFJJNt4x44tJDoQ/KPZH7b/bhTyIPJNPREmoNZzS29wvyTh/f84O+0pYez1GgViastH12f+N/Y4a/uIDWd1T5qBM2KkrjOFO2o5gLo+A2T2s4UOTgMF3ub6IZvyCU39lvvQVNe4BCEuDpzrCRYT8PDHV3wlOulrkTpm/p1z2L1INIGxurzoeNwv/UtM/O3e/wVvhvcTnI+FFSVBalSg46U5NBec2afYuOdi/VbAz+cjQBGxsjCWyUxI3zyp+JgYcz6HXR79T5OjL4DFpN+7ClvP1Hnv6w1Fmnu4tHZVxM3GpvvkQLIYF8PgKuavYmNKtfh43VYX42a3Ft0HPbf7qWLxT0E8d6TE46MTNuR9dVNL1aie3+FqR+wRuQZECyjg+a7X1aXp4mHYgl9nE/nDDXbYUWrDTKLaLT8N4RN6dIvzSXh1fGlKKkLHE1+PMZtDTvCaP5wcMctNYDm6nm/bzFiSBvkFeP1+goh0GuzO/t45tgqROD2UUI7dwXW0JjReo8EeHG18Ior3YYz+qPbWiuBOpHwvkkNCLt+pfuJ57e76sU+m+InogBAY0oyc5lXWaafDMofWcPCBEBB6+u94XTFWmDZNViSNjLQBr1WoJBlQNVatdbbki0KnaQbS3Pr9uFzoHz6UepMyQlojWuJSlR69RD5UQQfbvIT6UHsKw9DYoqZeW1zcYVosQ6O7+WTfUBJR2j/xEv3Di1CKlgtWRBZvAu6x6Q2Lpup9UgjNPFSPW+NoikW+5X6MSbq9zYfx3KwyFQ/UVCjP75nEo8hpsSnp1VvJFm20YlR47VhKgF9VGdoUe4ldV1CXq1QnVQUdRdxkAEFvq5W03da0XYcDEb9TyIgeryH222bwG3m9J6FLUNq5DBqBHoOKRuSD8DHywMSat2bgxgeO6fxmIByjof5qecPOOjI20c8sIFi7DKw2U3r3XJvFPBVeXErnFDrIfI96KykwLFkY3Ifl9T2YIEjTLVN5pFKQMMvaHXLmVRTeaUJwd1LBwGOUb122KQy4bpQcHWj6G7JjboGmb/95FgGciUzAxSOSs+rYsipWnUJcH9gAmMu2xIsJFA4Y/1MwKYIfcANTSFnQuvqFJmS08xIErUsw1I4k3z9aziE5qiJs8rHxRvtcQ7yWPXdHC9qacAW5ayxspP34qw+bOqgTES8+1D1xDs0XLtCc/8PHcegmJSL/CIkMmEHOwPEnWXi2x3HG+AQmdDoDxVQdYGyDwCV+DSXjsLiUfWOLHgooUf1TMKuZaPNiBisyo6zMhp1DEdiRwsunma5bic5Me4yCawGNiWcH7eC6GMyEjOb/cMupGI2oLe0f8qaV9H+uhuXOblRDC318ekOnNMAE2rnCXMCKwqcCeOSMC0J6vpCK6U29Jabvh1o9iJD8bJa0U89gqdngJ/35+fWQ9SKIB6ky5GxtkT59ZZ0nmkLFoS+E0YPc56zQTogQg1aR+yoft66a1KFmfsuPj+LLgWW1EY+fP4rtvCDw9bs3jUdHu9238lGvoeydgmg6ZeFpJLeogMdTpOdek9ev+8QkXrtknzsNvvuYMMz9ZMwqCJATgFgKnqwzOJJAJDmANhOSPm39AAu+DorQUTMO/XAOGZn4xLgcG5bNoIE4kxEEhJpYsHlDH/pjvL2CVHwVHC4WRQkD5c+GvyS+wVLqPUJh9s06OevX40QAL9qTWCifcBR9BYmz3qlN1eHEKdwx+FI2DRAgpQfV2jqOlsSv+CGNTCHPhxDeyfBdHHtXXdGMQsnDJ/INvxgI87PBE+vHieAt7WMTLq6viqx6SDPjGYEy+6uzyO6/PJ3bahYhbPGdU0rIovu380mxQFMQI+zY2Nxp5uhfKW/fWGt/kuGeWicaqAwNkp196GMz//1I1GoxJ+wxCgVoDBjCYx2q2zrXGvRbpxUd8cH7sFnxyS4NhcTZb0Bl3HrRKuRjEPWRDvnFSOnwH0aJCndYDITlYs4PHRrA6CzqHpgGmJzi+AFhsXkLYq6MqM2Wrm/ykH5oujjDkOUGj2E3GjqXCqak0kuD/tAOnNHW1HOif8R17Eo4UCNKNRhQDU3fQIjiHWCKrS5k6zJxpnkvoSSSVDwLRMiD/bXaDiZvepCg06Wc63BTHcCKtsvgdRcfEIZRql1U5mKVwskFawuPk4uFmrdCGpXwlcHOHTebcJYefXGyQamYH4sw13plbpvxfdyA9zhVgDjBtYcyn/twdScavJ3udmMuHAvWMpkQ760KKyzi+cjLWZUtIzb3NyxtnwOJWds2CpSyNXLyOJgvPhA3W0WlHdavl36y3Hq9z81pWDcKqhBQr6XWNGwkwrphMQ/Qe/gufpeaiHDlbHmH+7VpwhBncFawQJrow6kbHe9/n2M86vGD84uR5Zh3YuGH7fiQ7RH+Zd5rOZPBJAOSiRpXqzYJPgbRZ1B9Ue2zl/Qaioee5pOhYU3c5BxomMKGcv0zUvg2mqlwD4czZ0HKE5fNprjbHSHcr4lDK8mv6k/eTa3cKbv/30rYrp9Zc0nCMKckKJIFXHS30/g/MgjeAFq3CZzzZl5+sKLUGZdGiq/ArdSA3jHVaeIUhUXHOEJ34T4E8S3eWEakDiZJHnVg8klVG5fRF5Ap1+MTqjD6e9T8qDDs1kj+ghfffzz3UwIvNR3id4fZRfRV8ppAy1O9PK8JbJtClGI+l3XM7ZIGuq2dmZg81604JLTQTTxMhO8qHwUOM4N2lgti0UCINCYa3g/osvSUpntnK1STkKpw5p1trNtwPt6XnwzsbTiBh99k7idj3iT0rUnUf8oqdE5Z3a84AyLr5lT0//HT0BDeOx/meDrCrZy3/6g7a58aR9aKZHqP2KznEEM3wuuyKU4/eevNVFmAGnhQ1joDv/7Re0/Y7/4IOF2ElZJZKTmK1p5ZQWe0/wtceCFSukF+mZr7hUCfj+WwbRwJyDImOAoW4KalTEtFBoLkebhK/dpo/fZHhPyoiCMmoXUQ0taehtldXHqV3Ov36N3tfxNgML16VsaFJK8LEqaGwgNujyBfCF8T4kdenMcHZCh5ts0CIAgDS64leHDC5IMEuweJQ6u0r+qbsszP7iajDSaQL+DWZk5ji3ZdLuO24mBg4wKKpBr8oc/L3UAL3jOcWf+HCuKZWLMf+f2DJBHdfsiAnZTuroIiksZ40Hao+cyY0Q8u7OEJpfH3umwKAgDtWcA/KAXSWoagVRik/Vp0m5sgDAfOKkcDoqsQWHuhOSaa1TyfRnNQ8fghKBS6iu4iJVYbhvLny8nxYaRXx+9RSjydbenT1QSx8aLoordmLReMmg9dJXSPdsS4jNfX3qRFhmRJKWlelZ5gDBZn1rbOYBDWWUXPHro8V7dPVmVQZPMiS5wMKuucF/HyiHFXRb2aZPYO1/Qiow7fvGCg5T/HV2gfFFlovvPeQQzbWEpV+K0p3ZrnPcgXvQXPii3XK3jzDwVVhtpTBepEySUzliiZjvActdNFEmM+GdcBT0a0NUXMg/+z+OX5VppSEK72oBCb3mQ4cFJJXecRzImsyn47k9I9U2HTexgYdVhXIm2gZZmGiwJ+z0slgUMzB2SHVRXTiPlYDTdglNWHrEA6o/CLkB34r4zU2lebzIftRla8HZz+1bhrsIDbPASuwL2NjnlAJquMGV4JMaC0OdFXZ/n1Ki6nzUdVq77XsIGp+9Kd0OnV2LTraUe7MHdPdD74OgpJGEpghLFpPrBhvarLlXnlkephMoO0+Yt8N77DJOWFdlwezjA/ZEF7lDgBpGPQJoYoY8yc5GiXGAgJs1ctyQEwkcSlbAzC/KFH/rT7TB+lR8ZLSNVO5v9NI7y0n5ga+lEvI3iUdJwnGWVD30/yE81X98Sdbdc5iST0Xhyu2IgxgpG5nQa/9IWQ7r2IkABA6R4m0tZlExqSZKyjE0ztQSlt+4aUKNGNG7bQs46CbZnJMW3io/E2Xd4/sLn4CxCoDLUy5xbDjzqfHzvfFbjzVLF1bzokAmMzGh22+YiXIKoOXgPgpAP4EZpOE4+Zeq1FD67kJdOSKxLcozH/5HjY2/70ZXDkOdd1V4QQo64AwKXLenmeNn2rTAvnjFgF8kdBSoI3Lo9W3mXs3mfNugc04l0RQK81YhinSvTHQj9VIb4bgbs9j+gaeilcntpWuNtbNSB9hLIivrUTzVgBoxeKfbhquZ4nZidtiOdYjidXoaUu3ZMrwqC1OnglOaNeOuCv47Fki9K5umXrbLP7Dq2ZQbEt+KSn2UgEgbN9nfA5VOc8CRsSJy0LtsNS3Nbm5HAp7RdUbcoKg+/TtsM7GivJpkuNqKlSeYgPGc0/Kqzsr2oEKldK22hsd4Sf0Ud5XsD7Xm5lwlIij2WSggGI3Zr6Yktxp8b4pG5Gw0y/aepdJ6RWRofVgVA8Qp7r1O+Pe/0WWYH6zmeLvsGvOaC6o2hjlxILwGqQlI/6TYaVoJD01544ZfraIeTMf3+k9KEhM0BshG451hWQJ8c7M/TMnha3EPVXsB/uCQFAiUv8gUpwS0stW3vdqrIf42b6bMmMcP6ONXygAL63J4blxTBS/BcOApE6OeVDCQY8QKN6PdtDyEwOOmhlgxiwH2VatYyW8NHwiddJPrklA/EgahdjHUrzECGHDYfiEEPdS64FMqmSHnFKdFBuzomUixvVtAgiGuZdNiGkaUtxBl19fewbesuWlfjZemVzdtKThn3g10Za2tAD0nED2kJOwJAi/pTqSIJOKlJMp7SwR4h3qyglHpbrHBzxSL+Mj5EbZT3DQthfZPZ3qtl8z7KFJj/2nnC+n9SRoOfavSOEZN/39jyPdLxbBclMuny3OPk63XbLGAXgS0BtkP5eNOuBZMJKbCxP+Gw8L8DZakqXOuDzOsGGKK9KX6s34ynN6WzT6FvVnSJz3vR2VQv2cFd1EUVoXdZmoTyf/DWsoRMwvfsKzaq2qy+IUD42pjk5DGSNkcLcPKCMsuLTFBGHfMbsoB7zgEPK057qnBE67LD8inY4A0oAinvGcVtVGzC7XacbQPqrEMCKhGjPD1tvsozlPManmIRFZKzsKi5VSSPBCdS9FjxfphJmoKYZ1P2oxzht5QXUx2kOgFzquEHNVrUsxj2YrDsv9vnGBgatvC7Y0YwSMPH08cJt/LkQeDLBSmAh4r0ZDuuwdx5E+ZytaRG5cfOeIDuR4kCRBpn2RjaXT+3xQqwhOCWIXDnuWmW+8qah4KO4zMLO9q4EB76027n1IIINpv8hJPxs1bna/EbDSPu2p9KSnioNsj14ddgeFXKWjQlIgrJ9FcdpmwQCnmoG3GXlpY10pvCzSb/QHEI0c4Ei+k+OHiloKsyGmjCSRIKau8eE7z4TGPHGp7ei21rbGpu1438gsOD8/4O+6PSbuOMVJOLDVZ+EMUQ6iFEN7hEY35DggHHEArJF3xOwR0/hqom3R7dBLK8IkRznxjQalxibbo3s424jEN5FQ5Oucl9BGoCbU0853VlGw5kPFeCkGc0h7W2m7KRHYyANhAaGerPPbs7g7eyv7QGeLniGUIZESgmby9Y+EM01+82x1wkE8M7GDk6wyIcwrqz5AdQyM7uvfutySeIWnJyz6v4ZLp2tFUkoowE7GG/crNEcvXS5Jo4opLvnUPtWjE4Qt5vlSVbr5F6V7NaIokQh3tU02wCxok6dBjxz/j+fKqJXa2JVUe8DBYX0FA1W1fo83k4oP625yoWf7F5X/6eOYjqAR3bMvqcD3AD/foKuZqtO2AD4unywa5sOJpgOYgdungPSyNZwfMWh7vZC6/FwnpeHgDOrassexIGebY8bcnV+WE0B2Hkq5DKTWZe/mHO3VQOPKVnkqYRr8DM8FMbFHSEIbT6J7aFieQjSZiYhrlqriup2C8jmnFN6mtSzpujsmcjnj+Oepq1qFdeFWN17SsrtsE8m7kRqfsXaST2zoUx21Ic1D2L4LHa5zPSpF2KbKwcl2CSy2szcmDZc8zMIeE3wZ3eKmdUNR45SjbcG3gLbuacFSmHp3DVCEK94oe/FhDH1XEZAcN+O/ofqehV8oJOhzliO0ZY9S4/MWiknVoNLabrOsnt8nZrC8DbIWfOCegyWENChRJ3uYx2simfDkuKboNlJKtq6tWJUFc9favvv/W6H+1vbfgkCstWSC75rS9x86Ltlac5FMb1YsuIxhzSSAY3hTMMya5NWppShl+blBqRao/rRfokvly+Vy/1Ol1jFD+pkuDSo4RXfYFurXoGlE1DT0hWx0yp1xcrs4grbyNQjaoawqrZTonS/CMC6uM+vhM15i8X0SGz5PypQVuLVMW1I6KliEYEndR4IyHIA26bNvTLbZTVioHzRPYG0c7DJRs8Dxd+ure0Ds1saKGMZmHCjEoYN94Aq5MsWJg9KJf23B0lMGCptilwsEaZw3odZlsoTw7026XL7URAU85P7WsraLjryBnaFLXfDPwQL63W5aMVHsiLd6PqKHKveyWJAwFEOha0Msjy/2Hwb6Cwd8mCPgZeWW4wJIoRCfKc9Z99A9eyTp57tOMGNH0hFFQj0jWl01B05mnhIZeINfkEU7GegoWVxxJeoBE+EnPQ1cwJQDBn5F1Bx47Mr8gaaY6JGg81f0gAFCVHONvY53QTyyglShF3edrZrOkTupYaLm/rlcc1rw/l/Mque6u+ioQM38qOrBpdehFDSun2tXv3sx+c1jr06T7psrAJe3qUaCAYfQYqIqFkOLgpLrycel2hHuxnDbAM2hW6C8oxQJb0UvjHy/HANHzfm5H3UB3vCwtIEniQueQia2DMqsFk+cgliHJ6JIevLAs/8/co1/h5HpMnQJkhJ2e1e2ep3hk83uDpSuDWiNZL8kskW7chMktkoAR/23XoQOXzKoVr4UkgNWyaaggkR7HOQGLzQUf77z+2SMtrVW09DThbb8bbIvKtZHgc/Z2WwL52JiFHp1omjZoPD/SJ28EKe40I9+52JtkJZlar9LpNhFwmbDcXbtqRq9/0h6zsMLaVB0mM6KlUScqB3s5RJaa65a1ZLl3yrwekuofiq9s0ftPDROfi0WKxxO+pDkaZCyHbPRi8FR1L+Aa29hogzo2c3pDlUKY7wclfV+MOfbpxWH/r2An1GtUrawiTQUGZJTrEqC3FT+RIAD2nRts6+aUxyrI0jopQt0nabVvwyiTZM4vlgKBcPjn0M9qfRq+udQg9vyrhgND+q26fYkGRod7fI5D+704gWAEmNBtons2gp7TF5IMMsvriowmIyR88Y3UyuZ0BQnhoSkshDR9gOnovnY5MTtS8/O7uNOk9ZA+NoAjUDxkBe5fbO2bFrv25MlvrS03J6wi/QKZf9jCrG9dsZVs4bWRQ3aGz3FRaLrTbaPdZpdvwQs5gjevqLCCqhMRQ/LreYeeHvTFXtrHJZwH/kkIpeXTq1WpEGcCPJaYhT2VmkgizQfXaMm9I5bfHUgcIKY0AhLNpxyIBu9NM5sfMApdJEe2w6Owg6XkrOZP89P/Q/jM7OzkXk0SZqhAYYfBTN2Rum1WeOpXqXotvCCIoqEPC6mzN5Jm5Jx1p/6r+tf/OqgR9pUYuHNeIxei8w2sux2W659qAIDV7nDhpXf9BenQRx2NiYEXMlYZ8ho/jwWZFzA8ZjrVgaELxJorSrJ0n2dHXPboZu4LOPAyVdfq2w6JGvDanElz87B7pPOJAEoNqe9OMddHCdJ1HcVDMz76wG4EfJjRBK9OvO/WM4c8pxcbl7NHT+RgeTXRgISkoTjYYMxjUfnJPWIkgp3CHYzWVqWoPbGLjVV5SxutGLdiF0fq2rGbHRMnqRJNIX5jtE3uuM/aatqF/HQH0Pfc/HPqxPeQJ4nP3dCR/z1ANwnRoqlyoCF68BK1lsrzbAnp4GZuh4edU4RPVHDT6u9HF93bv9kA3vD9mr486sOTiYmMe4HUdCvnfesXKchpiKL+j8RFZWDS+jGU8bkX6js0IxT8aMrF8pfKXWNDTjBj/a1ubWrzYwIgGt8Q7QIM1NFCc3aW3QF/Jzf0yuLFXHoanRheG/TPwsOIkuEjnWmyLjdSX8Ueesps9dPe2STjri2uoPafXGWNiR27RWDkDQ1E7Mqs3Oe8zJ8shOmbw2X1kYYOjffhO6Ct319vSKxAa2+Js9KGkb9Y8xJm9wsz+RpxL/TgSq/wqjioe4Rkb+4KUcSd61MX9HcJVUV8LQoahqnavUzS2+Qv0WLnp9RO0UCssFFduAV/h9Y9dUXufQbnHLUx8AGc9uj/7ZEi0fvPZbzX1OIPTX2Us+dqKOtAWpO7hB4d9Az/5Cu2SCA+FYVQ6Wej960SbnrAm73iXwjeOUq3kIiOHoRtObhRKMbuTRh7CX9RdaCZq9SXjcdgOUvzmMldZuwoYWE3GFOjW7UGwFr0m5LsBtXs6qqxJPyCXkecoQY5iXaubvueR8Fqg7BiddxeBZjxX0WHBEwCTGp1vkUgjvvDivVPf7/IVf2942jrKSzF+DTdNHUrUMjR0PA7KLoSBHvke7ZOYjrAZv1LlIrEwDqnJhEgrDfITc6IobALKfUCNmfK9hBZAyLEnXjYv1de9Rnuc7jc0AYGZtB81S6BIeZZWVwfErSn3cVo3WYzmAKWKyOCvQJDA9q4kTRiTVe3IM/1wqn/UGwWRluosx65O1Q7MW48ciz43KUUObauChid+RqWOLgXXzHXM1y54m3HB+tl3SW4+mPytOKV2eDgkOeeAk0eCUh/99ABvYDiBx78KG1inKP2bpVNmKZ9fTWfNrSoQHkN5kPCLwUzBQyg0o5KLP1Nns8iaG2Cze/k26anKuCwkxtTfIkoFhx81bsKoyTl+GAi5QddgJzC1ObvPdAE6w01gmerrDDubZpV0W8zbrgHfrIWjkotz8KTVp+Ttr37Re4pZ+11NoPurHJ/KN8w2DjPqu0/7cD3Eepf4U5XqQIrwQhM9IfzoqlCWjPIkyEm0QzJ0TvzkqCSLidHT5aZRdXNC/H5z3oarIzzXweBC91KrKn/nxThNUSykC490OZKVq5PS6vLVXm3wfWLrlOId8NIWHiZSJ7+cEwHBwomZPuVrs6JmA2Nvdz3f2xTVUxOPcAOkESi9hQYJcTqyys5gK0SanRfbLIabNH9k4Q0tXndD8R2LDXdPbgpf5gxITkjcGObIqK3nqKWVo6vvf9Jti+W6S10eAna8EPhgyz5wMmGS0zeFwBTNgWEM0kk7nIUpIb0xO7/36C5rz43+5H6SGSj+W9XlWROw+yOE+WrkjAyAhFuU7Yvyouv5Csw5rdcRwkhH9K3DRPzltTBY+F/CTy9Hioxq3bRAUtqyIAW+wsjZxYA+LLXE1w2AuwBgtXxt8OwaPSxz0ZHmmTRSbTvINVBcYWMbK0Gfn2Xa3BTKKt3eWrQ0kovOfcMm9xcqzpTB6jEko+FKf1iq7sYS6ZrO9DJ+VRJljucraOoVafw20b38Au0+ScfMyDF10khqy2lExGUQQoTFfOzfS1W4ZC0B/KnUpIqeJ9EJPLnAk/sgnsJorD7AsVm/3UWVdzgcfHdSPIgMKLaQPcgKqPik50UmH6Erg86mg7+fZZPVONFNx376tUGXe0r3Bh53Ns5uK2rCEsBfbTUQwxCHqxykOk3dMcXKQWzQ2fPeaskOB0gzat7CE0ew47I8nWGWixsP3gHvxj64aBVi3Xzi21EKQYmL5Pkfr8Ab+k4sgi5Vs409DEFDGBHgx1hAjpTD9jjw9qJrRLerrHLa5kM8qJoAcp+XtlD2//OacZYfKnJoD8rCxLczAr9BA6XKu+6Qo6ZKb7L+sNnGDbgmmtYOOnzSlT5KdUrDM039GhgsyXCIYf/eavYXTaYqe6Zgqk1r/HJSt1KADex11e+shUnHzkP8cz8H+ClD4WEAKkmm9dTQwgfPZdc+T5iFIMtJFm5jpYVYAgCHTFsYwibXAuuGK3GdN4QbxnUdan/klrJKrrrWywI0lo60dgEJj5LlBkJ8cJrFbinISdP1WrmI7F76tcz0aBB6vE=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MEKKOCHARTIMAGE" val="FILL"/>
  <p:tag name="MEKKO" val="MekkoChart"/>
  <p:tag name="MEKKOSAVED" val="1"/>
  <p:tag name="MEKKOEXCEL6" val="False"/>
  <p:tag name="MEKKOEXCEL7" val="False"/>
  <p:tag name="MEKKOEXCEL8" val="False"/>
  <p:tag name="MEKKOXMLTAGS" val="1"/>
  <p:tag name="MEKKOXML1" val="4HooU0THZk28POP9trq+pbTvvzd/gcV8t56cq85kb3NDTsUhojRA0EsgEHHMH7oYP1SYpn09ysXVivguJdhTvfyVMsBLTGvcX7WPTor/CmWiWcfk2RmY+GE6Q6T90sFUr0lg9IPP9y8umrse/9AoLT5R0GKq+XM9pr/aTyOTf0wptcuHbHxeyqBm9svU01qeeEM1v0hpSHUgirOnAK/wuovC2SzSB9c8Os+ebp2X3ul3gVMNwoM6g/cuNn4RSRd8806Ufmbl1nJrIP4PiD9jfPGggT7TTWVQAEKv7ov0Trh2B9cdJdWT37uxAPai19pok/aXGDdPgU4kXXu2tJ9d66J8jT91wJ94LIqf4iQVaHhapMuSeDI0/wvuSjgu36uCQ6Ci1DbziZp4YBjktaGRkWK1IIDBtDNUsc4nw7EdjvOZ1MOku5l9TzF8IZv3YePdIYi4qHMcDJHAS7mHtdQlZ8gfnMSlqqaJBoATLEVz7/yacxSOgnhBAGIemqTPw3a59/x54LQbNFHzkOxWBBkmPN5BL2gCnyoICsjxIsuhdmYcmeAGARcQ+mm148jOwbizU95FMopfz6GLPifqySuEj3t4hZTazIbi5Gs9YUz6WcVxfQS4oUAbQy3R6Bq5xmp7Q3kyu6Z6U6GHXKGuyi4Qt0hyJuIH1YSucWE4+KsPd8tmcltR9WWWqD7Ra7t7VyNONHN1O1qCrtWYgd+tVh7P1p2fTO7EHV0CZLdLvfFL8TyGcibKjUxi/0Ds6hMjNJK0Ek6OlKgmAPXL5IZZP9Nbz/HNlVmJkbcRCQ7Oqp0KD+stx6oLH2VBTfXYvRp0BDpbhmfQWc5S27s2PwoW1VRvBCKQsS2I0JDfxijvUBiZojuFCnaWWCKzgP4Dp2bgUYfgITrfMYIkFugo70p9TBjlFlGrTBmyre0RkIKwr5fh0DEYUPS90/U6+zRtTTzT2ZQlOXvjme0l389xSxbgG3QF2y+AD9+L9ewUw1KD8pOUPogovJoMDBatlNye8un5+mvba8LWJsPr0g8ofxRbRBMZuYtu4tSnafHxLRB0pHbBwlvkj9yXiwhDD+3LGfLxVxptzhHs6B9Xe680FDfY0OUT17ZJWKZlg09KbAuO4vG40pmN0PDVBy3sBNOTYwAW3yFrHTHVVLUnR1TL6ePlP8RSgMYsV0Vxgq4cAesA33/dHZHxTbuhaQ3k3kQh6l/ws4uFH2wSFlajqHGfizv+9mvX4168zNqI7dokxujbL6Yykw+nXqX8VAKlPyJC78VmZfUbRICknd0hhB8QHGwX+ABU7UHsWW163wDbfwK1k9bxYuvjapjEnAr3/f9TsJxW87HPtvLLELFyoxBgnlv9j/zQa92v+77CvhXCUHH4RFVXF+MkQb+aYk1+NNsaKiROqsxJ3nv3XEEwIaT2RZwiNSbZXYN/+UDjPUAzlR6FxyrSfede4kLrBRX6/QDOm3idzbJW9upZLFLkIltnDD8FzVEfb36OUWoKjodDoSKLTKimSbboFMb0RYZe44h5tB80Sup6S4uDJjrFISKRWG0UwT4XkMJYPbKO7oLjVsHSUo2JtznrdBIonkWgeUHC7W6eCWIclVgHCK6FFdVHnxxjduQGGqGtlt+DfOlfGC6FmNpiR32ewqlH9L/cYk+neB4G76PD0gp4cfJw1t+6uXn8kNf+axJqExQGFjeCbXlml+kYBrc+kHHJDuS69aqs1elxMxrRof4jUAGLobS03ksCN1nh/CacUU1yFu4VOP0Ldb2CP8Bg7cclE64SE0SOPb+URgtL5iQQJsMoqh1HB3wYI95UnHT2p3t97thmyyoOfyXf2dr2sBmS3j/xhLBmmW9lih9nymJN+nvtXn5ppB230rM7wpdfqq5fbYHZVbAX43pBREFO/BsZtMr2LjbXNakVghgPBijhRLjRCizgTiyAEssHZ50ZOEw7/rSGrWLQfweKWrADgAu5xmwTaWTbTOH9lQsLAjOR2iGE118ytyF8jHHIa9NuBoUbNW3Jzxm1CZphhPDBt77vxVItH3+ctjkwHcLJIgwz1Gd9voosm4rUq/v/lzFnMRZydPUgGMmgLiO5cupInedFmHxuXkWSWGoCGZxgXs+nMD+jO5B/vdRuqvnUuppVmfGGZw/CzyKxXe/KVQMnKTWDJgXeQSTSeovgo+uBFh/jyHEVg5H1paI9n8QuKoRJqhrZLTjrSptoMtlP9dWO8tHqu1Oj4SgCcZKKdbYD1PzmvnlbzaczTb6b8KI7GeV5Z9x2CkcpkoCrbGgtyVVOE5PmGDBhHBwSwUWTIsiLgDhHRUjSiW9H+4CvnkxuVL0TqmexKBcKssbl1mlAIyeIpR69ANYSXWbxo7pyGR40zUugZJsape5lwHd0CA9uW7kcvl1e8Bn2g1BSj2gz0Ii4FAMDQeJ6m6oFLMfPojSAGTymU1xUvBmoK+8ANn1Z6wsefb0H5pHR283b2X90jL36gQnDsClK8JQU9WLZR3f4hovN6d7v0lem4PHaiNi6i8nb+KLMHkAzxH06oVTIFO6mej1jm/4PcTfc7dMLoQAs9lP7jxlehTnL6wOJefF79nfZxh890GhljeZdFJu29sOGUBxZhyZmcFWJzEU1ZD09Xa4VxOW4zvWhORFj7EQPxIV63I54//ZCVJdz5iQfMYGpSXV/P6pJbhM94ZdWb0xnBfxMAeevqGSTnPC3ddBpKql37hm1zCiQ5vC6qa5c0CQNkniiCqudRvGXfLqD9ISskGk3HGwgQnyfb//pA7VgKOwB5OYf8O7a+uwz5qReCSQpP4Lj3X+331x5y16wE3y3Vf/HB5H82oXLRb8mAediPPPkLFRAutxBwuavMPNpmMLSvvDjje3k38zJ1pJvAhz4oQcG66GwbrZxEikVNsv/TJ7u2vRePYhAHOvU2MsxK/1kg9nqkIUUTfRpA71o7zeVmJIddN8/9B8TXTCwisyRN6V6id0lT5uyFiZRqo80fAvfoSNSONB7UZFPlWjTNOz4BnCITkqjEhd+zztCs8/X7pdFgUF3uxpjxR5XzAhNd7pVgAXmev9X5zBcG5ec96tQhrt3TuvyyuxCw6+U4fbTQoGGYke1ugSc/+MxCxGZLl97UdCr4JwA2DnJh2l2g5W34iEi7uod+vPaqfvznjSaO2HR19suBhqwrLd8TbUtPzj1TxUYUjawWYfmUOHsd6dqJrwoDWcDX6Rx0uKdwTk/jdtxgEnw7KP3oRU9OPeyce61sslsEoyEpO+4bgDjDCFoSzbSdwLbWYttUDm6xuxVWcxiZu/GO73shil76AR89JqfNSVKgxkxBIMMK4TpW3oyopeO8M+D8fD4Z2bzEyRtQ7W9A/sZihEd/WipsA5XC5WqPvCZiEXJGZV/ajWu27P5sU4JjmLgBRQ1mmG1Kv3Cgj8Vhn1eNRbUaFbAlABYM4jJxZJBqIKa6Xg0SfG/q8ZWWh4Agj9rHXUrorUPJuLfbRZpGXDuUYdrmcbQY2SFrUTi5uEKn3T/ST+NEkOiBbdxXHEJ9tNH0pok4CHphCnO1lp7BrHfyWLctheYQZqIHedHMk5Ae/l6SrDBsXsMCtv3r0aZY33zH70mZ9nrHgV3H7zVFy15pK2IiRKhBdlpsaIZ57sLU6EMTt0vXpT1K9GpfJbRr2oxZvnm9zfrcP0vbNCO9TOc0ZNvhIE1XSKSWjaIuIQFuB4XhQVGcrKEZJcA2Mr8gFCmxWG5dSOsm8CurRS/BaL1hJvC++xtJvHlk7VBLaRgthHfxepNuXcy3WMxrTMySGmuLE6VF/xoTziNWkUjY/WKqP0XiP48wjBaawBpUAZpv0jUNNeAL+MgjwkyO4CffeMVwgKdidWO6ZV3VwdSP21dt/LeaCw8upVg5h0AByoa34CCQyPu6AlRtsIWwNqQwv2Fdh+6y5Ac92qvdxViSSa2CAcCansy9E9zS5rWYHz8nM5waS+OzigxRUegG0dadxJSdC36F08PL19wdqCLVTKPzfuRjkcnxnHjJbeZpN0g5WncByAW46G+8rokRqsDoaDzYlhjxRlp0UIP+gtfWfF/3Mn+Gv8yGXO8ggY0VZoo8YDwlA7KjCzQqAXspXAw/w72wVDZBKesdGfHVURli72C99xHgInalF61FsDGcGZKgmoVijusZgXMEunb8kF+PCmfIK4QAhvU6aPa29WfAxtyQ9/X4onUSVw8va5VgSZSzwZ4mU9n/sL6aSDjuBZtrYwuiLZnkodPLvPXgoOiL1Y5EuNbzEHzAsNVhzDbDTAPCHgMrodC/kiHyb/5xeySekE3Vx9rUDlF9q9l0r0sbw5QyI1oR9IxE1TukFgUBydoxuxjRH4Q3ImaL7EwcCzoqHvnvbOrPtqwt/nwk5pObO4WwqpG2wwmp5Zls9x8nza7D4zUt+tvSq+PGCDefuPKA/IMtqs0gWpA+S82FK0qzzuCNbiHPtGZSiFDZUDMW8jVoSM3am8GKSeW4QPhY5pXmJBVd31wXVTz6nBulomW/ZEZGbVg3UVxNyqCa7azsUmOmLweLq+IMDeFQnLIzOy2+fJuGTeqx2dMdkJ1WRDrjh62sxWtBglNLEuOrotRCon3HaIaASb6p/8jer2x8EAWlQ8PmZrzePCEy/nsaSGo9U4YZjdy4o2+eiqFR9MSFEYjzGYCnT6lqWZGTEmrW2LRMFHXe0SOOIPwbQF2qwXBVgnEUzPjWp/hph3I5SljgAlnlW1XE7S5JzY+U6Cg70tkAAQL4VHFudSObGJ7MmWvQgouLeEhX9LCRznyQHU90vb7UtfZm2UuoSFeYyXKXZ/xTC6yDSs9apzsvjUvBO4bnBVTneVSi0cemyR+DMR7yBmKENgBf1HTwQFMKmnPi57Vob1z6ilGA7P0FzsCgFLM1WUofji9YhwvT/jpyXWDaPy0MQXnp39FP2x8FywzZCRRWlpAgXGy+mKDHjWjxzsxmMv/8MpX4t5YV5QncKeRmVyh4YILnUWi12z06DLBN6QNCMy/CqbUBYOPwkbFFnjYnKxJF/7CRDU6j04dqVbkH5taaQynaYOO0lHxXpgwnvbkVzFehRH8UYB4z/kZwLsWhBqmGMgrSy1ec6Qmv2hPxM+PCf8xK+t+TmlhENyETdN/UVMTqO2/wL+CKmaRuIllYPI2K8adHMAlbOo6aH3lC42hKhKdaVyZNv7guE6pWy/HzSU+R3lPDYF2mZNLRA6tx0Auf0P+tFqrFMn2hIOsewgeCCjgBeUUomidpiz+U06IH8N9ZNjHogTV5MjMSEECLAzh3cp1QvFNF+Ph6/NOZZq8syNFZf2JjZJITrD3LbyWPUkhKQ0vkCVJlAYFB7aEShxJ7OlY5eE7/IInSxv7aMNcliIgDxh/VG5oixr3cENnV9p/MGvKnjoPrHgrqTHLqpMWsuCD54Ic4pVP686lzYDNpAHfHo2ecBOgOtE5wbu753z+ug1xCUqcQqTNr8OFIYVdLJwhfV3JOF69RQ7UZ1jcvRSoqdM2AqI35NhSxNzX377UiGOngj/Aj+f3ZuRrwiR97Gh7apgjzlLlyHz4CNoGjxEBo5cZOyGgrKlzWNxOiMeAhGdZckrE1BVJJcA/Mz1Kmfe8kJ2uZOYxjoXWnwgkW44PLyHAU939GgJDLk57xLlFS/zKjqEeSI8f4YoPTpCFTVYjsUlWFwWm1wAolRbSdf8yEMBrotpcylo4Dv3rwfo9PO79QaT4w+96oPTQoEtxaq+L5DLj8tyOT8Ei2l1pEtk1wGsYELnNQMzdhJnOptTVGoA5AeoBPs+6AxsIWGy0mcC1CXtafCYV1RyT/DUR0q5ZVLDKGhrLemNtsL5EOeVBDa1XCagUM8m73gEId1adsHl7FOdSMd3EpSFjlSjmKpNNvR1u2F/4lahL5q+Emggd1d3ZMdFliBbnX76amaKs4KBCF55Fb186kE/CS9oHpKnXHilCJgHzMZrZWK2KMgK+hNZy6OCWLVE1vlcdUIXpBar72qfyxLH4SOWM3TJ7GoWET5rZzkSRFjtl45qoYtmiBqnvpL7yoZ2lv0Aov6x9zycFg/RIhcXD8ueQl9/ukNVOavwqkJV/GaiG3yXdZqyMUOJQpy9t0gDWMvmEExZC15/pt8UDkMk1GU1sX3/fOZd6oZfmv2rQl4m59Wh3uAszn3lJgmfSz2IwD9oAKRyoTHKLjgPRrs2zhU+RH3U4qofAzE0CCJ/UJh49y2cUFnYdrkOWsXNPwjCATaTCJ2mcDlvBJiFwqOBDJRV20UxjabiBS7bukX6eXx7WZpH6nsR36zU5cFJS9YSVK44iwICTTmXYoVVf1F2idRRw68VIVXo1wUuJYeGmyktTidk02DZ8DoVYcTd2CQBmgW4i4mwveXDatUXJbGQBklsRd5RYkLaAYoRWaoVFL/zvDeKA9l06Usva8jKkirG1N5QSHf8N1+GSDlpE9LS9/uZWBQuycUcRaf+DL6yL/EGGAs+AjozDbcBrNh3XTdN2BJAwqzcdURH5Gb2AfKtdXONTqN8s8LjsKBQV2kEkLRTJh14fLbbpwZLvC4PRGdjWcW83dPGCvBIehlQQ5xH/Dyppek3cICvxhhHSHobLws2wbmDq3Cm5JBrhWlFQ9UBr8PRf6HxM4Q+TY319ftgY51Tlpw10RxqQ/vCzXKvcmfgfpwQ+WyW4FiVeKKIzEuT5GKq/SH3Eiq7FYVv57O3vE9vVqX/b1k6AMQ5GQ3cIIXqmIVjl8GGQvtMVwMFem48+BJPBWyp6T+0bwCoI1tjhQp+CQZvHT8t2b8/ohm4KO1CUkuAzec1vqdsAbKlYA61mik+wj16L3tJfGf/gME95bp+pqfDqlux/DNtiv2wM4poHvsogp2La+VzEF6FvC6bTNhPpBxEHXvBaDojL7XysaePmmlkous55ub7/pFlL7aNt3Ut9LUsIbWNE7WqOlLe99pL856SnGn8haxKlxFPe/grJXIXEWS3EfQpE/OY2q53ZIQYb3fdzNLNB335PIzu6f9zwBu27wH+Sn7XneBR86enOI04cXoGYYRRGmdnRUqpXvpqiINdyjuhLLVFNqDcRwMm4nQVnLKUTO9rfOVyO5wU8Ca9z9BrDljMw2f+coBT81TJGz7j80OWttX5+xowvkbj4NBcvkfmiT9uC2IGqQhaZ4H0S5F10ZEGDira9ezHy+QfbrDZIzJoFLJdC+KqDdgeN0EHIXVVUKqV/xaYV4Dt16xKDv0cTHz8zmjCN+qcd680rceH6TUT9ZqPy6w+nP5lGwwovLRH8hzrCJ0Ae1L3ApAqDxQL8PGsmFE+fFkMT3qQpYu+B6l4br6fDmhsjTZxlL1igMp6loGHQXejAe99yQ/kaQOYtm0HOYphEfOKKsVTGn6tJcDJLANcb4uPEDX2g0YBVs9hYqjdlaqUAFJJKqX4FkQpCuDf7RQSjoeVlsSF5VcUXMV+ujBBTARrzrqDDx6zdRSEFtPz2jXOVsC/08FKyiIo3FyHCqZ9nL2b41w90+9S7yUSrIJbAYabvBc0kEfoKEQ3zm3YX2HBZ33B2+PrQN+DzsWMKP7Hkg7Z33SzZ6cfx1qIY7LrCQ1s9nzbqFgIgt+jgkDW1rEVLviatNthrXhUz6EhxMcTUsTVNdK3ukbsyKMjBwABddrfd461xBkLb3Vuhv/i2XZLSiIeikjpUOVc6fUduwBoM6ZXopUJTLOFRWWwF0xVXeUzXfE9+WQ7Fk1ytGJ7FVV9dZeexWsgEjcYU74Fdl4bVOf6+KV1hrXAJW3H3EwTaW5TfIG//x4Su97WZG4ixjYCk4qRYpZhhL4sAux388DHeUXbSI5bQcs7LozKz/03iOC3eukzVNcYIoWEWnwwvkAkN2l23LJk+2fPbpqjYOj8CZ56CXW8o9n2V70Nhlt2URa/rxrJGKccoZwlRI6TXBgACCu8ymHsHi5Imm3IXNR/yQ+LCPsFik2VL/GBBmJAtHm8JSnExPg3ZiMGHSGE/1LY1krMc89SC1xiY1BS/Ipl5lAEYyJNTnzZcaCZmbvDIKxts7DB9jfz4UUZeCPdMohb7wzBG3FXAC53xEQtmQ9NK8Segtgr3Y6z4q1LfAsQ7FYUEFpNAhvvOgFns9V4ABbXA8Gn4WCIstR1auchdCjvphNiFwv41MRSGAbZ39pYtEwKxHLKSQsoOsPrJFjjwlY3G8qdPPXCuorhScZ3/+vHYfQ0OVtkkhhZZMmmYzPgaxe7TCUasZ1xp2mLnefzf5EfjBoZdMmy0h7tyDByOL5/TWN1jETCaXRU4uQD4fJ+6TPAcLbzSQLKwp3PqzcxaivX7/nboDYsRRNuRudP7YLtfBhP3a7TzoSWkjeKpwRJaoTcI89UW1JpYvMdf5beo7/vvkje4qUFJGR8X0p4ihzeI6etBq7UNzAhqxNuO0OUa0+/SM8RnykTYr2iW/aPo+6hvnELyguzP7gn4hhXP8LZtBMCq6FD9rcuA48pRahP4s5PPkxpfXCQFdQdbukUmjr9Xnx9akiOaqde/1doJJSu6ukD5KqlxKhDaAbVHzsBE/i+TjBzb4KZB6dzdPDMFvFUTUblk/cLeSDXGOtbNiw7v7ysqFvn0MCX2Ik6eHmQVlpz0X94E0BIarx8oAgcU0tI8wUMrS5Ig6r4+aVjOE4PitfU1OLcq1fLXLFHgbJytkaVr4sPy4BAwCLb/e2zhWkZkYC8ENSZlPbz2YCRgGTLLo041AH72rdxeKWj+xINxNgVK8VDW8I+lMnUq2xN9RtAtpK0/dRyUOnV0P9UpB6QmUQJM4rk2cRL/o6EPvWGgRUDwgnsqPTSadqLcvJ8oeRwt/avwbYuLMLE0nUqnVBxmZaVjFU+MYLQfMS0jaZUEwgMCKH3siq1KkPC6BsueQJL2taeE5V41SPfk/8qDzfyrNZmRk+mK2DLDvr6H3hbFNgJX9e2oJiADPY2ZdqTcQwzf3xdJz1ZaQQU6D1dwenmEGCMkBrrYhq7+CdD/doH2R+eRbkXn7auAV0EEPezp6pD9GNyP0QneQ7SE7Ia5m4I//ghoU4KdkX9za+6Jx98fxGo2vPOx0JMQ+idzh7+w1ZbifuWz5foza4xK2belym3W/DujD4Qe7fBxWGhwX3sMYEq3/la0MrT96htFZA2ALfNdwcU4pOPUGZD+NNCAB9N15NoMNObBs4SGPlHp7fOdnYMFuZxzgi8OtzZN2y9EoyglS4GBLFUFgnO6aOsMweoRgEz/2Ti7W/uHQmwQgKKQIRfS4vaf8C5lqcHb2Ql64dwp4/UrZlB3ehoBeRAegCfEwMYan9JtS9c+APkVr8GJoEj2zT4Eiqtzwiqt6D123HBw+6T/tyUurIVwLAk1nhlumlbELQQ8qrBSiw2jTdRPN9iEHiqfCTwm30vm5/ii8nDh5Zddr8amfSdN4sya7j5l/msfkRxxfgG04g6ff5UEkdzpbXcQR1GmbiY49XmnoBh0+RzNsGlH70R33zbFUEb5TBmz4d7ap43rb9pU5GIE9Vxlkb5yDXtSP+d1KH/pxbuw/H6vmMikgPMeM7XgrOHhkJFjHTxH2/eJfDZX7UjE7TIqV1SisI8EqtcD555u9DPfCX/mSd7kzPGUd0tJ1Qe72uF4S8NQCl+nfs7VNCOcLNEiH6e+whRrTHnID7kqg2WXJD02Il6G0hEzYoPnj6Tnsl1SjCPpurm92H4z6pGNPMuCPJf9zf5nrW0830F3BcBmxBJPUFKckuD/cP1RO1r1w1GOaBWJRwwyoihPugXfBQQMFTtx0wjPijRE6GAoFJoIJEBecdhfomYdER1FL4hi2/F1uF5Fd5At7SQZszdUzXU8vbe2vxkiWRdHP826IJiMSVcAF0dHCKzX+o9G9d5VPJvT+e2y9h4oGOC3Y54NY3Zy0Y/1kXIyUx7tkKhJ70ieanV6iAyUUalNcdm5oN775ViKWl5ttfDP3YEPun90K54PDkQwxVG+2XjkQH7EVcUAHTfmncL4ugZrFM+pEzzVks+MmrN8JDN2TDEQsonx2Puc0zSPOxTgL3qbezcZspL3StArQOMujsqLPD4qG635y9WYCghaMTKRaD4TuCraG4bnuXxSSgpbRo8/z100tgGgxVl4YSwXYHlFPFJ+Cy4AljsfKj/Cixcz4QJhIbBwXarkhuEXlxdkWL0Kbv4xLms/QhE2vjgpxk/MFo66bavYeiSqzTMGR+Ag4UFQ+QM9NMP2z4vlBS7RbI8Jg+kt8UP9cG+FFvGeLxgIW2hyueRUBfbRJ0fYnO61P06r4my7aiYgj6jo1gefhz1t8ASPoAGuTLQV0BwL51qutFjrc4ObTSGd/KGIGYRowQFUrnAEyEldGBvS6rS9rMzulwx/qpA8yEDxhB60XvOvozStWTYkRU/ffsKQV8Dk6srtplVz2QQjbr27yJgrNTfk8WybBi2tYpLoSeVRE0c1pKnN89sFvIw+ZOta40MT0J0SGjuEobZq+ClEVaa805T537/5e64j/O6xGG8WsTslZjPTsJekNWZQkmpP+xRYe3GSMMzTeMBW/LUKh6W2mq8rLLUQAM2/gtpHEjjTDNuPBc+OA4ABKK3ko9/n4JV2hqFmbPzwrA/j9oVHbJ76pzzkFCFX/e5lc8oJ19iBjSXxf1kizpttS/PfhTivT6u7clE901sKGRY8aPcUpGxg8ma7VbTFuU7jyDyL/gTqM9KIH13/ODHSh4iOvfKHp1PDU9J6VGbAfQzxgGrogkPr03/f3V3yp0lL+g9N4OPEkeeBU5f6J7pTH/IrWd1ukqsy1VyrwUgBulaKQXRYt80nNOJ8sdbFExX+qPb/A2vhYMtsOwaJDY4SJTg1hyOzgNy+l1L8RS9vtB9nzqkWlJfiOMupmisFyZueZrzOxuAj4dWSmAVdihg7NRBU+V1hnG+lqnj/HQJpUolTScz4lAtwQ5RckDnhb3cRAcfjKSp1/bc42DWbs1dturqIwDcqrJZKybEMaNkYDl7+Vk9lfbRO1lwBkJ/wjP8YJt922GPPBiDbB6BaepI1pBumKmBqkVv65xdoewsiCuOaCUeEtQ6da+nsO7X34E/pmJDvP5YKd5GBo78Uvw4jddBND2gPvrQjiK9t6TuyAHT7fUu4Yhg7H9AvXsNOVzZPFHYji2TocLFUHQ4O2H2E7jm40pG2iWF0DWgwpReZBvh3HWimQSHysCZ7UZXphoB5GKLfvgwh6cSJFSJASAQ4IJzmPu/Re9UdP0UJh9MffAkuJIykvvI9Cz2Vxcoe0vV+XrTy5RcPdPt++srUGe1goI4JMto43DEG9iImeVnSRqhn48H622gY9Xa7lOSK5XNtFVgRzodQZL8lSM7DWy0FPZiV1Zar/wIJAjhVGC97YwscJ2w+3QXJVKLAKtNisRDWecRJ5CVgJB7eYodYaKZsYXQvHBIlOg59CllrQRKLfN23zdZUF+1udm0CFBwjLOPRqBml/ZRaLsZfczy+KrVXx8m1BCTtPhWaYbI9Mzqm72pSe3egud+YLp060qsJsHaIQNXg0U6wTsQdnHrn1RQeiLMugNxjQY7c1W9QNnVuIJpwxe8QTNnLXmwUdydmWJeW9I+LCvUmYVdubXBksmGQW7esY6Z+KXk8e9IzmWBZCHOFvSnt4CNOHhWXgwE5jpG19grlEYlfV9UCoFMxhTxzrunEZCCEI75tzKIvxoI1hVi7I6TDTRPUdwKJMAMNOt78X574+OuB/hWwHWHh7JVxMnTMZbMwZmmoDNmjIcxelYxiFgo1UcGaKdnumwSxSPOFWJfhz6/JTORlvr8vhqdy0yxZYld8bW/KbQqmDzW63vA/0/346TBkgRdkAF4SZY94mcbZ4V9bc7y0v8YH3kyNg2azqjsjHZ5Ygk3Bl4WIQlRcDFUWWN65tWw3nBUT6rNC4/kFO5pg6itMRMjtuPMiiyGw5ii5nYutlK1CuHT1B3rXtEuo+60gGxrhn77WO6GVOIChQtEVrYPoc/PPCuxutoM+TFJXj2wQe9CACifdYho4HCy4fFtLbNOdWKK5+eFXfzESHZaa8LKKr5t6KIerPwPyNjGkzFgNGAa0CfplY2a5iSN2Ltx54iqj12rQ1idzVf1XPdOFM1w3yXZl54lDGuQ5PQz2+7vrMLTqZdRoifiE6GKjX1wuNnSDefsIdu8gWtBLQgxhpFKSyOf/suBoUFPurtncI9RAZCre4UFDBs5JBb6ceCl2wFuR8u4xWKUJqO618YIYXpixbGJFqDyJbTIvtWsddmAaDG1vKmPVLjzb/eG71yAeRlr0PEY8vT2aaWxuIqfJF6HgLWr7m1Nad3IJSgQoKl7VUcBWE2cByXwqysD0N8AnqZZfVU+kqaz86egRq+TaHza7bqyNwWmFuu7qWCW0jPGJ3E1LeMCw7MeYwZaJHTlygj9BBJ03iBKbxC9Syg9XCGfjSoBeSZbo1DSG0/kJEwfMkMNY8eDd2H3BFBRvBJDuZBoS0y7UtyZTNpu9eaMYPrz/BGYGNDVgmsd++t5Er3O14nX5h9UM5xSUxPcd8T6MX2xt08GPq0s1Tc6unCCuQ2c/uowvxnttkvs1Oj1FoZw1AihCOwlpHYLqu9N5oT77GSzpqZIs12ydyCZZIOqoedVeojulQv0aUHtiILjTCPygHrLZQ5zGJDhs3HCVyJkTBC/UdO40nanEqVppB9brNJH+ruwj3UePRI8ImB+flOVvixeS4C81qSNamANsBk64rhsXq26HkWRugouywKy2wRNn+dZMZT+nfjuOicE+IgXrOYM2IhJVEuVbSwwzMDFxenHmC2pYM5ohZuuK5ayfd4sqnfPIutNrMdEdh004e8h+PBiOPqjtK3yTPvA571LkP9M7uP+oNRibEs6EA44x3XN4rdklIJWyHl4pNCht/iNvFiiruSWHmbb6+0KagZteyCp5Gv2BrsnTg/WQlD+2PEgOCar8ldhlQPqO/Z6jt0nN6mKzMIlOSk9YaTy5qbDAhfwy+Q3TOYxg6Mz2NIksVBIZQ4qAwsGERwVM88G+DESsoB8+SZHWgZ20BNrSSLEEAprGdNKKgqb0wTrMqWMx2JVdytErqUZKcDyv6kDggER5x3e572Q1FCC3LV3QoHrssDYAENjo7Vpdw8vlIKU2vOg/2P1azrtkYWc7jm+1pNqpI6fAv3O5TpLPWoGbQKU7iRCAX4/+VQGrp3VLwvB7Bs8Q2IIkZWv/D4GzmAaS4PnPW5qn4SNPxpjHFzywfm+qjJnIURTmPB9ewVLN8ZT0Mg2iCUpau6FMPbDWJvqdb+W06uVAL1lhfPDeD2t98qUeZM20lGQ4zct+TMREUGg3co1jfNScB3nr6RFRmyQM0M4SnH1NE/6RRRMGTbrZ5NBBGyd1cyiISj89bp1abAotXXvyXom3H5JX0mI3w6SMgLo5jkysXB2ZhHWSLW9WkvU48vev/VGNNd4gSry+1B3KFVw+qhsM72ITjb5RueoEPllmBq+Sj6KYZ27IZBsuyI5JHEeRI/sIiSqpsNs+meJWoKTXBE3it+e62J3GdsT7NCFS7sVzZ4ZlQHFrYHwS+JuczXvRpcemxZnLytrqBKN/xFaNKHSyM/ZBuBjOyximbX7G4PyNd3zBP/hpWQWau53N83nvLthYalOuk8aoxz7Db4/Zg8sftGV2NH+0/iInvH0YO8eg912HKRh8bQVyqB3MRkRa1SKCjC0Mgf5LpWB9oYRuMD0ro6pqDiO/cRqvvkki4qpgzzliyjD+bpXle0P8MKuZgbOGBtKS2xcH5xzPMZfDTL1s7Sxj24ZGtNEm2TuXmhHRpjiyrqhu6tEDGUOXb8mrGfXj2y9bh8nAFknPaXl6Jofw4qYMFpqOjLmbyQ1FvV+QCaY36eVJUl0Ovt6mfrl+6Aml4RLILQiuzVqsUOTY6KnFhIo9Dbfb0LfZHqoBieT5ALMcv9LbPpp0SpmuW2GvFR0HH9c4n2ZB35d1hVpg48RWADfg9L8ZM3oQY0vXS/p5WEctkIRuHsJz791D3Ovgj7eA8jAhrte3lzOL6VOQVi1EufTdcYjao60/QYBMro3aCDZQZDrov8s+zC/Yt7Dp94pCj3wp7p8gn6pV1r8D5azdvju+q6bqyba78HVmNptbyrd2Ctq1xGLIO0ijldM533PoUjXvLzgUQF1kMPXkuiYsyCcjBtzBlns9S1yoSdiByeFUnK8rWTf3Isuy/0e+GDkgrKmRDFERCz2d2rktFY+jSLwhjLCDiUEFGrhWKEEC3Xaw5u0rbHZHTha/ff/xMlFXvwDY/tPZtLgmJHIG8N2qZCf2RjbFjyDmFXozsXKj8JfsQ8V3ZbaADZgJooEOSSdgsgk83NRyuLrPkVDMTQXosQsorjnP9gLicsB67nzVBiImCoitBN/nKEVJCHg3fHRyNGNYyXtB+H7hKxhKEbP8lfj44dkZ2VckRQJYnUGfDkfjvwI4Z0gg/pI8QW8rm5DhXsaYHpA+z2nLxEIKsrE5NvTWDJcbiYI4rk09fOy+9kUE7m9U5BCzsxJQVvAr6JjiSiHO8Wv1tLqE/KnGhREp7qxRxOtJ1zJJhJnHMkhXI5cX0YWhSAnGOVXsL1lNCuTTR5OMeYJ+vNHLVqVOE5myKHjynNfsaUomIsFcwEZIXavHJqWpDeFwQO5ge35hPzVArMy7SuVU18ZsWRrN2uWSVyklmI6sM05Y5itQPqhCFNy7m5v46RdjzrRxRd6cw7E64zXkkFni8hsYtLFuDMaqMyWG1hhmAZ1VEviH3lh6wJD86FZ/vr6dcD9oZ6M9LTAh1USs6j4WEk4mHV59lCPehgH8rMFP9uxb9OxlR/7F6bboqQsRfMogzsyWV/J1a9LEeskutNKRp5VsenILyF9U/46QPYn053Z6L7ZdWoOor5wZ+yt86gaywMjnodG2WqeHNURluzy6vxtCd9Tj04R+72RaMnLwgZX/LA/16W1EBltT/t1ON1R128jy+qYnunM/R65oh3U/ZctDNSChTDjwvxzRVj0JBv33MwlKeA59J0gwaHHDS/lDgGtUqI9t7eJnE1wIJ8L84hj6i+J3lTd/zVqg+r1S/jenvmmezBRFYiw+YxRNCa/z2ObarZtnHuJo9NgfJVyy63LVk5nSmhT2yWx9TYPvOGO0RK7lNaZNxKG9L+YVBIY+g1oCaLUS/1MHp5vYk9G2FWYui+Wu/UKmBygmqljFqKfOgxDGeHnu3P975KIHgda0ohPm6ItdA2oHZuRm90RZihJpsqnvGaZJPISi9wz3kKE4qDZt0VgSCtrUoPeWKi7IMHkJ6+X83NzuG2cc+gsA/5pKRf2BIkfqznCWLWmE4KSFgla4ENiY4Iz4+jy0vzDjbD8qAKAJ8Wx9OjIEnVoFTAXlOVAgYELpb89VKSa/hw4/MtdpMs6T6U5I0pK1AGM8bOmHqqO1cs2R9Im08be7TczLz8yFZLTN8i55jsRZMneG438VxZcOjHGZKW21QnRkBIuwdzl4tVckIsLZ1a4gbFlUG3c39GZymXf96Wj3MZmaShuv+sPpZAOtuh0vGT+LTFW2kn47q1mHA/mC5Lm4CQK7G0xKwHM+1QHwqDQJ8H0B8FN10xD78G/oS/PlMxX3HwbI94HdcIBljM8bKba1k9uSB8LVcRzI4jRNlcaCVi1SGQbH1jougsVsuG/YAf+qgZVTmHHooZRYu1hy6zc9D//rL/laoyexM9U0f1MIqNiPjPQLmu4TnEQgak/z0/5NB6AxHDw/y5X8u3CtCd7CwDz3r0MKPT6gS73bNKxmfytiI6srxAliUVbcTMmG8riwtVmkpZ3LcVbJbQ7TR0VmvKjzqyEx71A8DOUBaeuwgI+cqHIrAhXP99+5BtxzVeeH9zl2H0H1F5xwyHnzhpOXwg8kthTMJAnmUsFl+qgqPmyhOK7p8qOayrcRsVTX89GyR1CV7p4ZrQ/1IJEfogu7u60fGQky2W+K+++bBES+oxfUV6hKzd9GBkO8kcYQYPMF2c2+EaCO3QP87j1Y89yuObMWdf+a21IGFEJqQG2p9PB+m+07r+Wu20VZ7tdhCHzX4srD00ASVY8X1BGRhZ9kSUYhyRVTJ6kAWX4aLNYeVmdNgs6YlIb7+VsJ9S9Ybzf5yfjn7d3r0iqzUDi7kBlNL2521CbljtAmWqKcbLx2bKlUc0iuGcjiDXBg3SYplIW1rRv39hD7pRmdALrwYKIVvHTy3GCafDrvoPAm7xvFqEkPCaxeoaD2g3PxwDjkh1bl0eBr+v8dcFraIo8Q4lh8hdgykOTkxmE9xHHM/lsxV9+Y/5IlKx1BrlTgQulH8VyQLV4W6tknt9iFxGLMmWZ3dGu9OTEelJ/ARD2Xv+wYYgU2PpIXjeuSFqyiOAWzjSUWm9gHjtUf5sHoBXCGBy6i5NI7biET+a2YpTJ4YboAqGnyl+bfpWwizdv5kI++aq84RrcfTn7TKD5UW6lONQyMz57l6ofMXjHfpqwvkQmwmXhmbgzJpoccLV5yHkNFi2VlwVVvU8H7vrFZMF0DxUxY4mNUfSguo3OpYUNGvjrEDEdnVYerXsblTgk4a2bfeCnsEZTa/KawQ9L+1VSRFJ5ah1uhldXuYHirbZGoTje3u49p/gCSn8j33JcbDGwaLP7j2ZKoQQvyusBzdYRetoOZEwiueE2nn8Ncp8chq9d5ZSP2O8uX+cVe2rR7fUomUZLZ0cvBgohp78FdRaLmZfO5jqvA9UBCtHxhQAz8VmUQ5k16E54hXs5tZVxcXZTq40M4XYA5vzArQYvsKrsA5SuoV0PeEQFvc4QRLJIk7npbAbWZXU2IrKCeQx8glWM4cu9ne6vgay8+MKqCaOruxlWYoJnK5UAjlEzsAxphTAkr+tayvEYA/XuNUjwcfoEBWPcbB5p1wzELoLab3yhpcbMBc1O8zlug3ZCWFKq1tx/QcV6brtYTWSFHBnJwIliRUzMmpw5ToVNnMi13ZNFmPI5cFiWC2o0wZTqCBpfArCLCjGIPeNBUo6UODl9anWw/hwQVJ3T+xAY+JmW+E6RxGVn92SPrcUaMklP6kQj2Ux2o2RTPEDf/a7aAiQ0Ij5mQ7/wYOewAfcGr4r8EYSY9dEAAtccxT4FHdWRptO9nAjXTtH1PGaQ5nLl2s3XHcKsbiydUC/9Eb3sNOcWy77tbviTzluuzVqFvDUmrwMMcUKusfqhc6c24byH8iB8UXtPFUzaJbgt1Hf3+8T8tKse1gYe0yTHGCzLCxsJNouc0zrmEZF/biLCDV5Hao6w7A0EjFyqmoSr973LWqCM+IpnRHqpvQYXqWo1aQI0zpMC8SOD7lUOW6sWARwzuBrj0ItBjHkmOtAy21X5EXjW0LSHBygASKYBCJ1r5uPIxLTBfTi8Tj/E/5FGGIJNKwhtj91YzRO5L1i+Q5X8T/Vj/wJXrl99I0o9oj9/9BcqREXTIK5eMCn/3BFVIvvMGWsmUb23w1Ct8UaAjGJ0f9toIU1rTBM6GykPezMejKi29Gk1L842ExKTVsCZvJmOgj8MFWzlzR/f6X3HC3Pv5MTHfb5j6mGDXeuudlqoRgDFvP0+4dG3QaK3dQUh1OlhfW6cRmkmXlKbwUdnl2LqV9YcnCqD6zDoxCcUvUCuWet9lq5BWIijmEzvzsKuIezVhXzpIPyQVkNlyLKcfHQAatM+ItytMxYsB81AytRV6hroJk9FKgY0DMWo02P06v5+HqoLDRBVDw1lDPhWQQ0Gp/XRspPuWmm1g3YLvmWlqq1Y0vTT5gqribiMISKJWA0eDYNnisyC/yz1XsIRCNCEmoZcphf10NuiwUQanlBaeuE8XIyuZUedAOnabNzFsoBAKZf3kK2fg3rVQSw6FZQ0aglY+6bB2MA5qgeIm/8rcCDRkzz8afgT+De4Bpa6vSmAs7dIGsvdcUHnrvFcWy5UDWInzHxFbIfhPtE+kAKi0mZLmIjc4IKVS4ttM/Uq3w5PfelLeO8LP30N3Y6bMLGoHk5k0Aqr8hINIH58b8dxq9WGRhzTWHP85IkpxMI54z7BD2OPTN2KvKO729o5gfU/nYR/1g5hndTh47g7Re2HQHTTk2zbez1OB6ds6NSPYvAWSxTu085O0waczTc7ZdRl5u/DD9h7a+pSBulYd02jnFNGXNQJwT/Af5fOsQuCUmJWsSzWGumtMqoGGi35cw5s7EU5FUPU6gEaLLJwboixXHVPHm5Foazqyh10Jdyq8Zre6TD8gJ3Uyu5uUeQz6xVZ0t7nfrjljI2Sap16Ym8mtL4De5grB68hVG/1GPUmUuHv7KOaVU5kaIEmd3sUYS5Pwd4znuWrJHf79MeLCfEmxsjo6xqipm0ALTNJuTR0VducYWaQ321uI9pUvO75/q6xS9V5mhHru90aRirr76zi/S9X16iVhqOl7b4rMvAL34GzXIoqDYpqM0qsSK2WhvupBJVy9JL3rIe6s8PsNU/gBQa3HiwubtStCFbh1ZFhdRGpeXlKaEXrTKndHU94nzdFExLWrrPvk2mfy3rjWMf3saHwZ8YnH2C8pqWaev7RWwru9MGStFQV0vPLHI+YYu+V48F0cYcST4ZjdcLnsrNx9SNL66ul9pp4MBH09indntEf9Xcx62idwX2dpSTYcgyf2LPyOpJm/xR4KFZ1YNV37DzKUqXEuDyeswEBQUGFlDhXYdATmEHd74XkZ2qnO7rPGgvaUN/P1XGJ6o41EXd1hNBplbYOz3SF5PATdD8wi7Z4ClzfprBDwEbsm1hksn/JgLRyE22PL/dkT9XMOzlASRpdDRL9Lgc5fPrJuZtTdIX/Z4IkRloi/SPYdinqzgkLTDg9uOcCQzXPE4xnbOk8SaAkrC4KGv7Gj34/ZeVwvq/9nOlLS+slhZUqt1gyzqwKuKazdsinwvS7lwu6OEJvCLnVcwThIybzfJrRReWqC7wqJmDYyzSTDJyN3O91d12IDWLnuw9PICc8I8LySCibVBaoDeIOJZ4kvqHCtlwsud5inj0z4BE+HcyepPHGxPTBrUJpRXbeWbN/sc3TPt+RBR7YFgJ3Uz0gHBWIjBLr/DKXdxryG4XawXTewqiqq0iDT7HzF7xk01Ah2fA4gB9JLKgV7T08I0hHWmWncnBntzZnZAeqWhAPCeB+XlzPZCW+gyb+KU+SGt4Lc+aYgZqsAWlzcWTjML2FembQIDzN+2JFgI8qk7Wj2nncQedSBpb1l9kKu/6OyWt+X52L/Hy0JUcJJUCTj7mpFny8bKFNtRBCJOfSyimABL8Kdmtn6++i/XdoxkzcEGTyncG6Dn7qBztJXfINMiX1IPiRR0/SzwX/66MvYFW0aWsWk/cMOeUPEt3zosrXGvBAdUARU5/IZfYw1h2cCdgh5uwO74mf1jUatWKjysmkyimGLfP0FWpDHRGX/KbkuBHpT8t+N0IwxxZe1UGohxxEqh4Gz9OwViLKyfkflI9HckoBd/zDlEftmBPo2bSpIz9oHZGl7zHIxNuLxwdAYpe6ehwbDuvpVeoi/MM+rHygsds5XAbg0gxCGLN2kFahNIv+ocjcjGbFpWagYm8CVm+TKQ0bwH2ynGR+vAhNrZeT6414IsZ0fJnYaoMu1Jc5nbq0RDZnJ8acNoRrGUYCoLxcVDbbXU6wLbHtMcnsH8P1PDIIPIqakBAOKAf2t+0ub8ujfOpZ6+t9Nz7SvD0QgO3ghajnHrrrNgxzrZmpFUkxpjCJctE2O5JvR4/S/8UvoinEusxwE36b2y3csuc9ABlDDfQ8GXETIdgh5Rj1KLMLuErFVdXmjMnN8h9COfDo4Wh/QcjG7+Gc+m2KsaskThix0GiXP2bULRJ5eApnzhMUhVmXzo4WwehZ7RxUMitOtqvFXzDp4lQd1DRb1lkjCZSYtXn788kboIX31BPHrbv81UwQC35QS+msN1dhGLePEZqEG9trdKssy7Tjj5k+n0NGW+6lR3HDMSTf8zIzVM2ASLSKp/USuVuPdTmSLKTAuGgcUwaOkxanoFzEHu/Asiqa6ak23C/D13I+BLWKFBcoi6GEHfXEWI62RUIhkTJP7eqobj3U22Qxp5tNBDlc3rdZpARKcHxbakDE3H58n4daiMH8ovJuMzysSnqT5Z62mV9nRRbc41GL0EaCe1cLHYGg+QNyr7fiuqc2ddqKxETGf5wFkg6Cgw22d6Hp2Paa6/6KXW3A7S3PzLqqVkOi/WbzQgirhPiBtd6JSXCTXF7qjJe2nHkJpiOtzN57tDBZpiFNT8yZNmOJItaqTfIbLsR889bI8UX85m7r2+VPU19GWb8rECvB5f+OgX6htxCri5t6OC7pyfTNiS33EqHYZjxO3kCNlf8HGIwQv/pPoBxMUzucwMU8UqllENvU9vywmfyvgb0mNbxQjFeBwIHC5q5ympOh1BCKDOc0T35OsUEQMIeDGt1Kn/7JufX6i5pKHUdf+a3kpK1QjJPyBtlZOpRFTGYrn9wxJNvuEZ94HQp4bBEO26FM+sE3gmxPHhQd3mj4A5vagZEEQc5vou8kYXVIkRWdZwPdt3lLcCx2xYefsv18nwIjjofv/0uo5Zqrf+PkdJEf8LDsFmf0rp0eNMv/JziIU9sJltDQr2+e8vXTU1Eog4kvhMovv1ZNORZQwRM2owYdUUSasnsgcdu1JArZVDosAs6J1nBS5ds4LjsFNzzxDAb+fSpuIOR4EyNLCZPQL8qjDkiX4o291q6f1QxfUvnAF5+gwbElHD+O3Y4XUxxafq5bDTL6ViKbpJb2lxk1Gs1zDfbAkNk0uRJToEDxQDog1p/xTe8bTTPTgGc7h77IFjl9jbXwPojtyklaI0OP0qHw5MnasPHIadaA0x4/1Ya9gAih4JwnDAenGdfpl+yKQKZXwXXZBVu4R5fQcp6D0WojMmi8GQ+2M9lE18wjT1NESPgUG/tSL1IeIgldYeyRgjDurrqLnomygOm+PNdhL/KJ851xyges3+btFmA05rQOmvAPhCs8TpzTEuIknlXzjFRUqUxCwXdiNcUpoWIMme6Krv/ot3DRWdAua53gLFSWiY3Rt1q0Qg5lgUhebPaN8O9iLdGARnoTAAnYYq0u8fFBkLKcitUArM+Hb5hwyrIJQbJo8RDz0zhS9PbVnau2j/Q26bFrvUKIAZuk5WW5bFTvOotTwObzqzxKif6xfraPA0T+LodDaeCPQFOADmZZ+JUVx6pMA3bW1aHpIXOXuUnLeg0zLrGXzwtzB176Siu52Y/3UXGZBQYivk+wFvQ9JxBba3AeBPIh2nhf0vddKwY0s/QQPN8h/too2S8GbzXTQHpzDUsgaMx+NpoFMwvfLB+k+/tjuZmR+JP21GLTpzfGoc06EyySBsS1iUWvpfgXmoWDd3IGEy+NAYYHK7cZshD/3GTqnkhHaF67BtGjnFIlrKZqlpx7IB/QiPwQOQrXm7E0K0JN7RdJkXSP26Dbm510KhciA/qHOCPUrpVUF27gOs3DfYT6fFXDX5B+PAeWPf7vpu15mUZMYR2MRG6Kj9X6BjPC0x5O2ibdOu4el2PzP+JsYvH34KjhaB8tMX6p/XfBlIFL9Q69N8Z3JOnhpHE807kalh/NmyOZ2KXHvxFh5TayfZQX5fkOTwnwmdE9AGj7BchVQOoSNH3UJ5JKLYbymca7lDM2ToKPXQjojppswHc9QzhjzdbtQuK4du1gN72lYXdBBvOzQThQ1p4aOhEuvuPayZLMYTpw834ex+jzjFebe7jE+fwKZVX6T8c13ezO6cI3Ey1ETtNFl5wRmDxQ7lwdKzShqnqTgtyoE2FgGfi7zHeo0gZIYK8+w8sb8aCkTIvc6KdeHltmsR1VSMHYMiHzeOpz8hPVnhNg4C2+OXJYVB/vn4GGKP/cUg2pYpcj/rmvsE2DHIPO4LA1gViIh4rlr5XZF1jFtF2v8nBTYu2jSycV/am3377HLNMiuT/k2g0384p29hPu3nFIkave1CqSwAd9MIy7Qt85KBcwCy+yE/2kqRvrInmkyMZRv2/8tpzLW6LYpeOEfgrW48NrfkGCgexct7A2FNFkXsVUG+OxHeQ+Kbl4nXKuobgoZmShaPF2gCa0sqRfH24Amey3umQLaQ+U8VIMD4Gf+B2igF/tueTp+x0WBSwNe6v64JNRA3Z5bPfJLssMjUmXR4CntcjMkuAR7bkznjQlTvonK3qw1oY8KaTujc+XD5ogLS0fT5O8nX5WL00jXOM59zIVHnCcp8kWj6nYi1j2AIz8mJQXQL/yJmcSJbfW25O7jqCQ8EIBOB8p39HIpqLScsTsWJQRk9grZXOBCkVkeo8t0N4s9LJR4PwEDCjvfTYXgbGY2x3eYRoRlIg5irLcX2XBqAgiiY28kCJtwYaICgNL7K+1uqd01Et9a85ZL5meRnuNtr8fdbR/7QjCyDSL6v2Cs2Gh7RhvpKOs8IAa/QAwzn3gxbtxnpuOPHGcK07ixUrXRB4cKamfcT/i4BlfwqjKnNF+Tn3vS0T+INgSpl2hotfDvFxqBbdbSfc1UrCMryB7BoH8nlmwkpcCc1z2T4aG7Pbwl5HJI+f3U7cs1FLD2fqpMEfNvB5/xQl9qTPzThqS9Il7C9kNc/FbnI14l0wSNMC1coRvd7YxVE5TU3ANfk8Wwp2OCOaq2VccTB3zXMcwihm/FKUdlwBN0PQHvTLFZvzawXtweR8jEMdJlD6OYN3V4KuJ1i9toOUJzMx96NvvUP1+py8PRHFjx92s5U4h51u+9+TvfcEWxSdjwD7eos+EIsN6fk2ZEsbP6+mwdIau0NxwF3G57RWOrCutp5/8YWe7gRhcn38VoWwsEWWh/ImMXviO72TQ6cVJOvp5PgDoMLzQYOwsJ484vFFKIx+AHABWoXPqe8nFOtB/2JA9Q3nEXMgFc53SG02yDPQpj2kWybAB17o1HlloZ13KdCBvryoCBL73ZLUPCoqnEgCZD77qCinwISwe1G/WKTyGFiA/ESz7h1ahSqmFzPOwjbxTAWLtcfkuvuoynz2W8Yng5YgPdHV0XwqBTJCZ9GPV4P7bKqeIts2bTY0GyBfYeoVofUkA7UVMH4plRtxEhRNYGlOmBtTDq+K8Dhbn6RnAxiXdbuR4TIAn0+epQ5pzr4B6BEnQ64skrklgEIMn8JGbobYoqF+Et6vALZPXc17hLhEuaO/pFcV/thS95pfGkScsRtbzOfwmackhfvbEtaQIpzrrjeR+xdzuPxBxCoc/CWByNyktOZfjlfhp9YSuXhJqcZ+T1VbMxa1wJHsGMUzbYAw6uxigmCFlP6o20Box1K5jrpGemDPf8zdqfHiSVFHYyY4nIpXla9GOQmX5XY2ZQftsChhSPum0J+RT3Gg0UvTG0l0NtYA+ybaU+LAETCY7wW0q5II3awIvbP1SE3cieHHO1WOC38rhX2zQaqduU3eKNd1rOG3g6nT7JvuTsI01VCjJXxrUkcFA3BNtgcnW+8HDv1L06Dfq725IYoF42cXe7Cc28ljLAhvKhHMuJydAOZhT03gy48iNlr31mgqqbhQOpwFxITQ0N3f/kUl3ivVmdTNcdLyeetWN93bJTta77mepVvk26WMjdkxwBqrQA6Ix+ijdOWayZPA3WiteoecwHqoJWP26l0CWoLRQKzheEL0giDemvHxel/W6bUsY8E/XngKsNYBMMhykwQpIH9k1hWf/r3w2oy0xdIh2uO3r2jv+JVxAuyfnYo996Byjdtq5Rp3w2DBIoW0wBdknuyn7Twuem2lGGN+KeBc1Op5qBUVmrOWQW0FyqZtywyxkyWYeZQwCijyQ482HxZ1J3ru9cTOMPLk1JrriEz0m4C5siBUKiS7RW7pPs2mN5pmi27zrNKuG1Fq9M295jUFfSwlIuKpK7HY8wRZJcR7RmBlgH3mPWpBfkVCIOPNKUbnELBqhukOBMs1w7ZmZjrOVBDqYq41m6xcjSoSMMIaJrncDzM134iYfDSvxeUbCOzhoCmUsSW6NuhVnwKS7QstiOwurXfGkwF8TTVbpXHqJb4ICeRwwTETMbuQwy053g8q7NNN2wmlCL83fcsxDYKbeM1wzs0v3X3vyuZehwGbVVvf6S4eXjLd9VFAFH55jGCTsrDEP+tZAqnRkgmbt++v14W/DQa/qew+5urUw5qeyOb/nPUW4XJ44jeLFF4MRySdEF2c+U7rLEU9Y/grmnkoo9atCV+lnWDot3DbtqMZ1+iNgO5nLnZF/+/WZv5shJclfrf2N+d5gnsU85AGdZy9WKdSpuv9Lcw1ztfCMqUxj0dOZTXvyeAdZpuSP/jRn3WKokVb8APMV4l5STT/Xw/2P8UQlPHtgwUajYPqPlKd3l5pGwgxzqwnyUP1LbbAB0AGN+cQL0p3Usy3wSX+dqFFjXkNjSL/DPFC/M3+JOlUNDlu1vX+E7cfRZ/eyd5F8x6TTmJO4FKYIy+qJ9CpTOi8dWD8dp5XVjPIQx180bQho34y9YZ39XvdA29Y8c8i/KVNBD/VBkPcwA53/HPsf1eCsfObPWadzkcIbzriUCfTC0eTQg4ETkeGLNUfmgzQ7/YxL0F+ypTBAgk0XnkFrj9xo+M65vNCYGR7IVE9xmrx9c2gVNw60GWi7Xz4LHutLFPgoP3YXzcI5kX3aVtYficifE30JJEMXXpm4FG1Aw3VYi+a63D8hmqNBu2WNp5RJo9arrxwSnu91dOwyUZ18+DG4XDbwC+6ejxUcIcgus3JwbOft4bPna/wHXPez/wczd3TSAgjlUPJeJwSGP4SjWX2nil3KfnEeDqYSUcvjaQKCaOVoFXUiV8OGhMesdnK53task7RZQiij1QU0M7EssU6KMMkx/98dKEmF3p4cgZOTt30mxGkRUyZ2XqvuhtNB8DjZ0i+b9bNmNN7hTXGvzbN95Y3yCw7Sw8UwbAB1Ib19lymCkiF3otod9UcfJYQP3LjlYvU5dvoqa6H+YVTOs+2eWpJf6qMD/2kMadphczpz9Vu98Iwd9Tdu22WSaHvC0D4fUy3d9fwEJDRLvxbUZTPc5OYjLzn4MMzuYMArRO3k1Mz/ze84kvUDmV6x08mx9+W7f6jJwrOAxkV9zgsvQ/lJ0JLo4YiGyM70oDME0PBt2vopPCbUz+kxtEdJEF0v5ay+TrP0oPWwtXF1OIhtgZeJnI+mbNewVHX5KUbA2+i72nOmDCGC7bR+KNzmbsak1Tx9lhJIj9YGeiEmGa3hBfRdLNCnW+03uJpLhNFEq0lz5/Onb5x418VTuwiZkV9Uvwm40ax6xHD4UMGwZkyVrel52sQ+PCrl/VqnmxwMXAoVPUV48KSckIzdOYG7fv9Zbu3SJBDYhJrsXd4ik20RpB+L4RNA5Swy3eBnq9dxIlsTEzv9g2G6WsauQk3j7qAoxTk+UVGvgehVIQz4JfVnQft0ZWjQ3M7kEjmVoxu9/ylHEyq8UFPblIiG4iKLG4bpjdMtFTJ9CyZ24W7rnQCbPAiKDTXVJkb7ODQCutzHqYMs/bKafRmQZpAT5e7rXIbVTAlZ65qJ+iFvfh+NXfN4TKnRF0Fzaor7umGPr0hj9fs7XymrRMkMtp4pBtMvdZ0xXAJim2/CsEtEE7NEoQ/HukG4zQ6zacO9l6lYUH83JT3i4wocW0zicX0TU12xmZ9hYTnMHLR1S01D8PBz54jb6phNYYvWO1pVlzOhorMZHWI2lUTesjjbT+bQbe8x/QjbohGJ8bJ5KiG+9alfqUzw31E95sSrO2evO8SRTLR6YLIK4ntvl7cUHS2N57hlon/IDtoaSxm1O0wTyXX2V0W//vfDxlJWyoqYN+dIruOGtn7PhyMEUZcEtY2pDnKbHb1e00FoK9Do2OR+BrXrnCkEh/XvB2sVFIrDT+O6UYwpmVQRaCY/+Mn4GCUsKhaSvZ/nVulRR1Ap1ttJnbyckhGfRpz3/IjS4ZvwUZ8zfGKLkDhoyjcGQT+t6BsjK24Lyfo5s3oH3HvjwInE9ZyXTORo0MYpTTj4hNF281jnG7HkeaUcwpv6mUgZg/BOGE+2se6OKuMNRBw9y60Dna6BnN8mG9mpMQBuSrj68nDxQaPs4i8hPejmXJHAjkzyKikK4AC94P5U4UAVEiIQF+4nJ2ioVBehFyC2X0fEOocJJTg2N1iu+ltIVXbF1RAxyCU3CRWlDf9xvYxNSH+/hWD1QS1x4ocxV9OWm5HNYx5PZuOQMQoVgF90oM4hrhM6hb7tZNhZe6+AbGqvtXwPzx/P1EvM39p2L6nMoHImkNMy9oq2Qssma3lvz13ohrS9d1xhT0aqPVbAlwqBd4GAIfYM4jdtbdFieD5WEVfFVF0IADs2SLwEML+Rj8Dt+XvjgeGkjPZxmwQGFCwkBsnJHsL3+k8srboFKhdiHPhdNLn1KB4lri6AsAkTwPxcixrS813jXWrEcr6nvcKWZ53iJ7AKLa1dzR+2+rqSMhc+Il5ADV8Gw4U4d6LsRxh/9Ca318lUlA8AcXPp84y8KMevJCFNwWZpyh/rlU1fovT9mvVKt3c6Tgo2mmxQ6h+l3YGESvwIaeYsp2It79F1ZErfaVkCF+SiPLch8yo5ohPzTkO83ONVOyuAsnatJ08jr4M+AbElVzqeSkXj6mG91IpDqhPIemT2GsP4VAGcm6MJHJLk2iHMe5DAWjAqL2b5wEi8LN+6+o1X/OXCBQmhcIWahCZqZ+3wKfgwS1k56qP2xas8/L9N3QaOKUa16rR0TDjb2v2BXf0Tr0bEAIhdVZug2ai/OiRa8cUUPVh23wr/IJuHHH+3Jk/mDy1qcxhAa1WyNZOyQ54VOm13KoTwkcOwVWOXYtfIcFmnrp+UsZfa+X7PDr6D4MiYcqQL96wMXhRLVPWQalhW79XHaVqcTVaxtcmD5374aYWrLdY4OEJpJ3g9EenanR5W2nj06RsfYaWjxG6bhCX62aF7gC3gU63zRkCWFzHKpIWIJldWKQI4hkooqP8wAhr40By/4iZMBg2xLMM8Cqh4t1sGO4Y9C2ZeN2Lr0uBeG97dd1g8H2NZed9ArfSiCANNtlMVTKvEG1aG+6VXL73GD+PaM+qlUPPYv935oYcR49mbeDKo0mYE1Hj5eNJ3UxeKi56GAxWfN6W97S6e0lzZUQFIGOck0uJj0qZMf4XKhmT47I3f08VgxZR19M6KbAlE5EIGOmdE0qMBwN54vGtxjaoUqQqWeeapq+zdO1mWm6YQJfFR8+cxzTaUMb5TnsI0LQfG+Wfj+O/6wv2CwPctmqaj08fFVXXbkfiFHLWXEvBQEuv96pGf6Ypg30oR7hBvGRAjeIXB5JIsok5+DLe1bYZM4qQxqY6B7TMLxSim/EGQVHQA+3FoiF60xSV442KtMDmRoty7Duv88yGlwbxonI5NhFlMaN0KG9hURBEKC0YBTZTV7I4obL9pwkjS2uIMwly/ycDhExh+3jUNjo+kf0balEkugC1lyIIHU7jpZA4FPYzyRaRDz0hjGBfqkPQEZlsUJrl+1Ks6hI7Ps+HpZqAmkD1w+3E+GXgZdgAo79ccl+VMQnrx9ByvkapGbZ7MDmLLagRtt1JCtkJJPIwjcpxlyf8+iMsKnEGgdEhEJfHjRL8WI85H12N619ZGPUiz7GI+EDr1a2qj0DwSeVauxJvKvPAHDkUyOZNfxvuTG/L+N4j9i0ulgrqJreMIBeIgTyJT2+VEXHCIizWx0k3xPqWjpW49vu/7q+fI5vMCChjUl1wzgspMS+CJCjonciC9NfYGwJUtgl30s02JUT2bWyJ0AmY96mlevIdyvTZGMUH1uuzYrhKJEMFXxrzaobhc9bjS38T94dOk8tFpm1RFVVhOF9ErHnP8h7NA0sR105EHqwxz6oS9+a62CTeYVA6cUmEu4u+Ebx9WnEQ3NHWes6XIb4t96/VuzlSvTlaePJLopk/cxxqq+ZrywPIy+9Lwv98VThpJW5KoSGTme1Rx1O/73f9wm+WbtBcgU89eY27Q61G6BapoVkK9Y12auuANG78WyVNP8Ph6nPcN18fhlyysYRCZXovqJC/YD21lhIuqnTUWc+f+vijDnCXC3CJhwEZDbGdJuWDAJxGoKvnfor+OoUAuh4eY6IbjFHiVqP9g04oLWiSFNEf/CgzI7GZ6FhTJh02Aq9eTpo1cDHbIaeM17GmmS8iyNyXfoVYh4e5qE6kTCCIBNLMz7jDqPJW/wowb4YHTivmi9Kkl1oOuo3tYp9yeIGV2OlabHLJjjFVbi6kbd5g2YtcPchBYdt9xsGl93YS2lX+Iu/yifh1ouAGT7B56TpyOUqAjwu6TbFeZBZXoCHRocQ+oIHk0kL3jmrsBqDURPLIrfrnhwWB4CqW2D3o5uGsyT7PC92pswck5ImdYCKDyb2U6vhkPAVk0b3e7scIi1xSbWYznrXft4Cmss+7cl1ZQ7kOrK1ZbG2O/0NbigSx5G6RwnrQAyFhZnmBQ0q6JOGw4nYqRL6IWdMiCqi08O0IG59r6x7BfaiJTTzn1LlYbZDBcl6z51EwAsGwUlsmTrWPcL/1/q6YAdhnPmDr4J6rzbRNKAdHhBQSYSl7gJ3nu2QSNjjheVQ8Tm6T2YlL6ZdWlPBVYyfJIqJRNbVjHiuObjVThqf7S1G0XryvUCDX05Ak9SoQviMEFBC+fqxLlz412UxZp3py/Dulesm3aJJhWCjlnfiFspaM22Mfv+xlgq4LG4MbzjZDOK7G/tRRe2mJctPeKa3HtT8J1n6V8OuOCUgq5RjeSrJk21s37fNOqNyTd3CF2DkKg26EEJmm8M64o/vQZTCh8FpVyxx1FQUWEhqTuryiG/27svgZArq1j8NG7tPxMlj+v113VyqIEvq+KDS/PzDU6cVVky0o6SPnSbsj0s4/JoXtrynu8iapSh1TGBWd1iE5VVQPvzYSW7Y/hwcU/nTPxTymxlP76y53n2YO7w/nsaMtK3Cae0VOR5+eARfUaQn2dn3dpmE4Kud6sT91ZsZ8ISsMYorUoAmPODEzkwUANqlG8OxDgSW1C5HMGgWdMThlG64Tgq4xl3FTm9rLySpk6FIaN/shlxzETbwCSL33cka4ICBv9JLtgO5jYwt7EOBAIC1Yj1TIqDQNZ9tZeRKT1MuoAenDSbxsNcod8btZDxwrTbaJdY3gq/nPSsogEAbGGcsutwdIuZkFhkA65b+5SKqXJCv4AQgWXISqIr81c7aFPwle2O2apJ6TPezrFTe9rS+BQL+l7iDfR/whjluX88yqajV+L5Ks8SbxH88DsswBcqcd+3CFOjj7bcgjyk/2MsSQFDQm0HBn8TlltZrwOOv1ndDaem9fEWfyOdi+QpvnNnCgUqNcvquA+mtuLGPh1UyM0vQdN5Gh6WcuIGLDBmYmDmzoypfuyjXhVK8+5QK27Qi9R7vMRmR3lQADnVYv337EAdT09XAQ2sbIx6zHIrjowkxzUJ6mFKi3oiwozspyUiH7WW2Cz5ettob6ReUqHqyBxIePtLD2SKdCC06Sd+Dr3c9MS0gRklqNd1e61hTZdUeOcW6LNRcfFy3DPqqZ/5LoycluSIpBZ+rgpHn7FcnhgRd/+U2sj1tttc/Mu/IXWRjMHd08nvMj502PYNAXoO/1pCrWRQNuP1gfKUeRfmV0lp5vupUSuVLwykbNTSFcZDVCPfZHUuxJE52gzAElLiSvfYAFPKaKtTInw8fnZjmNQDPVBJOW1SDXZjZEhvkIe2V/QyY238Weqz6hxXGsv6j3eaO8q2eewCLJKO1KESPfMdfzad2BrB4CBiPNKFd2xyUmyEOj4sEwoYCNiILAEYxOWGUDIA2czlvzoRythwRnQ1Yen8svo9w7YeRpTx25GB/OTfmyQjxBez5e8diK2BqsU16sOZo5Gfnyn6hJzWJBm+TgNYRDBXP629qiCq43Lk95EX37jtu5Gnz8QLoLeMyTEEFw/mIgtPt0WPhHfexPDiYxDG/JwthMRW0gy6pV+kzOjtKDwXS2leJgqMM75ovEVN7EGCCd6Svmnvb8bSvLUXfm+bF/0/PAMj1mXkI0wltCwbO1B2qroMScOmNaLxeePCn4O1SOkY3PLqIcROP0XNR9j2c3vliXl60BxmD92dJkCj/636b1rZblvitxkLyr4GyPWRL7vyQNEaTqteY8Q/MuggSxUtjjz0gGx8M3IE9qFjWOsEx9qBXjmf1mBD1o+oMrGtNJUcWJxvttwGqpL4ngM51NCLKl3irD2wr/0Q+yF9a7Cbk3A+pj2V3wvR+qsHOPsTX+2/dtZJn1kH226WYR9W08xvnp17Bx6wgm8bD58LY3WSx3Ef72wDzkjBWRdls9rlB5o7GdG610dIA5RZTjD+uSgjhUWzJ0lYytadusCbJhBAhq9DTGMiLaBHhgnvm7RMzhQt6FVLk3FamUsCHjpn1oztk75ERLj5S0AVthjD5mhCZs8IapmQCFQlYqE5wV0S8SF14qM1Pvn7JrpCJymXOUp4FZNqc2DALPRl6mjN4+rBTNJptL1EUe5GJw97OhM2dRrGLzS4FQsp87LGu0kDiNS34Z+Ao/5iOPKnyWQvbzQjDoPtLEdbrAmIz8ItpPoC/58XGMIi21rnx2ot32n5NGTkN2Co2zYGKacMhy4PKm4MoDtUuX0sgLaiVI8RFTs7ZkFcFC7G82xP3iChjFYI0J0Ir0U7kulDmrt7aDqYAjY8RIQUsYJRkOnzMKxrm/m986olYF+NhW+LB2JWnVQ9cVoW+Sa7aqOchXdCVt5iLGhOm7Q74yuBha2CyBp3effszVGfsm0yBOh+hDedFaZtEBnxlKK6vkO8kpElx0S4P1C+Y1/6quwZ1wnScjK4nBAInRTNyUYVw2rpwbq0IMC8gqUkd0SODdAPdRLXFUnMad2OsxSKevsEyyQodWm+w7TvHGpzuWKlkkWL4Y+c9R+Ctz3Q3buJHnPTvZWO5kz5jhuLFdEzovCMMLO55j+/kytNr8vYpdClOUUrlxIcBHFmmwLWVLWCIgK9d9pBGuMYdrFaPU/J8d6t4aUcTYXqh9PGGzrVGixcgGqWTwvWitRJ+JEcBO/zp7dAwqDHKb4dEPfk3lJUkgAXC15SR3eiA4pASJg7rsRMIWK8p3u3qaIQGRPaJgJnUfUEVYekBGPKaEfC0QrVHf0yPkj0JlZVMS1R94tStNAuWb0I64iQrIy8rneoZCablJMndNew0Q2KsIh7YZUzfLRqfgUOQYg78oSH32BBMNoqmxaxwBajpxF8qJI7FBhII8vpIXP3jXEBz4Yd01sx6p2F4Ml6H0K8iI+WDrp/6N/yJMP9vJJbOTtRz5wmzWZjyNaMwXb0WWurt6pJ8SN4e9LZqq4qeBCpr9fTVHjIZcEZMN5LPj0IHlqGdPpueY3fIghfg7Zhw8qN0kHW4J05On8p/oHN86gMZou7uGZBbpVXmbUd3vZpTJh+K4nBR8L+ghHSHsTjsdahq7DeR8QEys5zLuGwabXni4oD12T02/91ZAtQ2lNeLUrMGpx1EOwGoFGjdmoR8m3DdHdVCn3nwxQhmkZOicwXXKOuRX52N78QP2vz40nis9W+Bx5sELvtHlOW7aUkGFjExNvnBCGgFTxwqz16Vr77aHa7FOol+PbbH3mQ/9hCTynF3/PkMa9QUgYiVrwfIAvqkIH7vC+wL101TT8H97H1Ct5VGCsL7Fw1qv3KjmgCAZdFyzZILnSfQNNdTOGaLrZooGB7JtDO7Hzu+cgQppN2n/OnGVbBaA6mdhfbWucKCng7gLQhKlfM8LnQDO7LeD9/2FwSLNkpGzIc8aVr+JGwS3IbZnQzYlmvvyrf4sVD6XtNdVUcRRPsLSJpzBM/KzsypD/a5mpOjSWoYmEVxKsLVOCWbFGqy507AgQF04/WWm8tIZjgFR6qheXUQ8X44n21stEC8abNId+GkuSto/D0oBccmsnh2LQvTgVnuKxATvrT7bSgjHnJSdr5t1kngw5srQkWEQmCRqQTMvkl2tuynCTxH91+bmvrbDLMX4jRe/kNDaXg9sDzjMeYeTV3Y1VsTelYaQmxVcvSZ/0iP89DC3Cq7JAUHwrxs4tZL1LgJPSAeVj0B7Jw6wSPcwCL/ZDQApdVR0DuL7taKkTx1+f6mjOBwzRbeZLCiWXcs3yhY9Pdnzqa3B4Sje1Yzdfzdk7e8ZCPoQDLzj9P5COu9QP0o+XvvJrIb3Xnf7xfuYI6Nz312duSabJOMQVZxbISHxD3UJuTS0jzEba4Ba9DlvBmOA0HeJbxj0b90q7dJOL0YX5i9aQSejqjHFmbxe6AVM13XqgULSEDf145+Ybo/JYQSD9riOYZcTX1+x92/f05ewqmxeWUIR5my2XMV8SAC6BlpAiYzOTT5X9joXntF6jQWf79CXWcs4GsK1kVgxaGzBJKAE+0xn/pmF+c/iYo+omfkgvMaQRVXQwLexOCbnQmvtpmpQcf7btW5vYIcBGHfurEWC3L3PhgR+oKjdG3Q5QTyIZ5tC838WB3Wt9YxB646+3KJrYV8Q8HRcPIlvwNAUjb+Cp7DtvxAwYKBvrM8DTov7CIVCGVKtbnazV+z8koIZRdhb+xfskeJWBEU3oOWOolsMHkQaj+w/yBg7e4/XQWvdAi9pVb2d/kVs50Fli4ZSGtu2+sJUM79KBE8GqMtxRxX1pqIJSSLvemEzLir3UnoxQNoZZ4vvuxOz2YSBNQqZQ3azNKpbBzSOzoGAXl/YHJS78/PuT4OR6E+ZsIVjwJmha45gFJtjoILROvSLV2hobd61ZwfUW/4EGdwVXdQ08Ow/3e6HKM8hDDyJKBDH/wyZnw9/NZq3J16uaGILYggm2cNKc/55aITo4+VPrCkGia/6H0XWB3EOmhCr/TIOdQ+834VwB9Gg3Q2JNSzMdsDfBtiNbjzdsj9Atln4q2YCCfnF8HwEsZaZ0fsZhJPcSPvIAC5EPiWtkKOksJrfpHoWQgq0MQgtKLf1Zh0CF8pwldiuqQd8gKAl8aiAWsFTofNklNR8B8f7E+vNmiYoMXUCFG5V0aRqjDbREwsTtahE0u5J6Ml7NkcMzJXvdVfMx4fM9b2V1ieupXMR2+0dAGv1OqbCBlCAAf4ZXByncadM7OTmP7409umFnlPgx7NdK0J5hVYtFoXoz8ERmOM4od5NU8xiN+HVdF/RCTghhzVVZNt7k7JyYHmz4vMYstTvzauSAy3+sE3jdmupqR7SvBSNeTR3M/ivxK4tOk0lcOMEQ4sDQY87CPS/dJFnSDQ4UZFivyx+6FezLz3k2jv3+me2sRZ17/FwMd4JwEWjZdLgnppcvyzRLx1JKKgp9guQanK+9NuFTG/WtSkM5dWQVIYnJkgF0rxxklfHINjOuj/cZlqC4FLIIpYc6ztMuWCjqTjE3v74ynUPuBC+j3sXg2WRpKGCNhWX6VY/lkrLofSxsRh5UKxnDUEQXcQz7jLdzGq6K0GE27kxDoqNW8b7MxYS6BYgk9Edfit0CqhF7KT4CA6LtDDpnqNAU5I2RW9ZU5mr9QAHmCA9XMgV0pZBpR6n6YNadboRV904fquQUAvoHSYs1MxmrQv30CJ++3w/5JlcsG7bBjPP1U91QSnEtNRTQmD1+dzxWtTPAJcyQoiLkxE91uW1652JWDAFnZaTf4TrQsv34SGzf4mcG2vrarU5/Lv4UFSu932/PM2suzCH/CsR1jTs7ABhLx7m5yeB574Rp4HXnLQXOQjZ0Fo97EWj/u2ewh+9hVeJcnTSVCFB0cldd13flUrGiPUaCcjZ1moq7X4KvAmjhO0qp2jPYphOwucKAyNoVKOdj3mUEUN5yx3P+DjSMkYNiQ7TZFvKdvp9AMLoNqGyP69Fix5/yoOuRcTAUw/v35BMSyVoqQJNOxNpvwTc240rILhKxDUGpANlmpzzxlygOyn+mcbKOtCbRNk9BZj59ZXZS6XOfOBgwgW30dx0KCtjIt2x4XjmabxhR8HO1d7W7hV5guRqLhy7GmOEm3nRdrT41PqcpUUEiz7nXnOq5U1jQ8sZ518iMHFw+O3pROp4AbxvdLTo9oI+ed4O+iJrlc3PP2MI4mxu7LjGLj+bIQoZK12Nt+MjzMtkONgpT4tA66x/c8lVxKaXasjkJVZ+1Lg9U8UAf4iWJTn8MOngRyQASQvZKzhVIWDALPtK4WJC40jwSLH18RocvErayL9SScpq71Ra2XtaGt79sP8lE2hY5ZLHG36NVPOX+YCB/YgHI8ZgRl3sf3TTIElOa5C+oaw9c=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TAGS" val="1"/>
  <p:tag name="MEKKOXML1" val="4HooU0THZk28POP9trq+pbTvvzd/gcV8t56cq85kb3NDTsUhojRA0EsgEHHMH7oYP1SYpn09ysXVivguJdhTvfyVMsBLTGvcX7WPTor/CmWiWcfk2RmY+GE6Q6T90sFUr0lg9IPP9y8umrse/9AoLT5R0GKq+XM9pr/aTyOTf0wptcuHbHxeyqBm9svU01qeeEM1v0hpSHUgirOnAK/wuoT+yzE9Co9VsN2xMy+ZaPS3qNseE/H3PW26czkPGEvAh8F/u9ioE3+I1Pu0j5l16vR4M06XX6gwDiZ+nFlcy1DRIm8c1Qntlg0wSonRFRP4lZogZB6frGqwsIQGjh+Y4B9pXgVccn9D0dsIEVmonDwWB3QKuXGFJ1Gx3fOjklAN12Y98ph7duPkA8JzjJomEx5khz3sdqWcKwdQHkuQJPcrpKIy1uWcJ96slx9XedES9dgjj0bwaOmUPqeMB+icF9FFy98wAEi0UNQXd5URQAM7RQ/2BmYnHcJTqBBIi07X7BSsgkDL8ObDRXsoxmrmpFj8rFOqCs5EwS3JJSx33B5gyYLVge2sHsrv8CTT5K2vjcdARnqNUZ6cyaApeS6CW/yPPHy5gNk/Ue2iS5t7QWV8tUbahLZedrkVn9VwRvvbb2X5BoeDVNvov4Gcs7EB07GJ/+DLUCEGbzHYHPXkHRKOHMRm/eyhtXM6AWAl5zZTWNUTSsb8xtsFDQlPBxXxcUjsgqdOV3ag/sWTPSTb7QEg162l9apiMHtD9NM83YUK6f+3eKSS5mvKEP+iQ6vEoz4HbNjAxZMw3vb1itvWhQTBxZNrmUyb2CB6/WI+PlbK6QYAE8ll3QpNymqv/0SZNgyHf+tfOA0B8meDhn1X88S4m2rd+MdE3aOALKTJxFsPxCJ0qSToAYgRefx7rVdYbm5+AfS6+4UhwUPZ/lAdH3View9zXGV0MhocEli+NxC/HobI/tbyCkOV613X8hgHP40iP91Vbc+PVDEZztPjgebJfTuuN7GziaHCMvKz+/nLTP8wNQx5htYH+RxDUyu6Sjj3Zhf+44LGuFf0oo3/y1M8ZDr7GKqKKvi+SIgokv5j8DD0UwzkMLYkHtU51VIXpB56aJ1zTrucvHNlwVTjDrdnwEyDLLqQgAhgg8bk2imI3PR+cbx+blHIgpJbPFplWGhpMBqEKqq2p6NWDuqLx17Et3+9Wiaesemy1eSX/iwIvOAPFkRBOemsOc4HH2SZsARsbttPEpjoIRjYU9m9j7iYT831GAV6PcYf7XFfMaUjHM4w6lsfEW71ndpv5v4jHn3TisrhYleC+WT6BEcFM+5ika3v9Mk0Ka4m0yaSrOIZTq11Pdw/Kym205sNsZ+oeynXUaWKbzk3mJtQ2s1PxKqdkMRLE75GFrgm42HDpLiWNvdzStIA+zI0J9D942QPxv8ruEA8olQj1E7f+PbMb/xBBhbLAvjh6w6eT/c5vwtLzxVzsxnHu48Ta2a11U/W4ZNSB9Atih/tbvH+M7aZGWIZQnG7tYxRtcpBevhAUFXqU1C5pdnq76BYrWjNrqt7kXUQMUNLhaFPoj0UgMckxPdRT2fuE8BwPt/BYdtHBwCf0vlVioAcua59sPwG85U0pl1u4OQxCkvTvnq+8YrEpWCYPIHBHWL1lwMZDe0h5onnf0hvuIe9S62pvANzIEwQwHNoP+8fPTrBiXDynx1rpR+jo9GJ2v4k5H6e2njfTWcxAwV7NmpAe2uvt0Ht8FxZzea3dBagyFCPyq8YGEa7ZMjj0M0wwnVjaiaqxx7OY7YjGvSXvKcncocXEPPAhHxfTj3udmtuPuaU4CnYx6vJ+IgKH/AbMgQZbNTBgyoE8XzJYTrDbdPNRkMjFUOhZ0fPnpx63kM8/B16zqaBE1yJ7OsmONloJY/dKzb1rlGprbGuYDOhmfuiRWTNOcI80rIg6Z6JWsS5NiSoz9GU7KiNAu1ozG0qe/BkqjOZAVBDZcPHyy8VNvuS2JGBnIT/tCvILvGa+CYlc3bIktPK/4p+oGKXIm0RGBK19zjIAgW3RqHL9RUI+pbuih/NZbNaggm6N7YSvN7ZBVQro26ayZgZm2Tl76am1TlKYcj3dYR+wUh1plMP6eoAXvSvIaaYs22Xf+XdfxZbJlw9fuLJ53aUw8deo9R72HkkyNwoQFCcsg0Joxdwas4nzhSHSJ1U3X0Z8ucZLOwoq3yFjqtr5EANqhhW1ekY2k4TT9cmYY74DjZbgWqgevh8TQbG45RUNyjYv237tsDcr5k0t8jTEXD6u+DZViZPceZyNGgUHoMDiVPuTtk7XtsH/c+VXlbD/0LzRzKlfsR7FSFk1g/GGx/lgKqUC4WZWR/9kjdkSkCIqA5gsyRvK+XcLULJ4OWvRnvWL8jEfVusPNQiIhPedZMJ2i6qMw2jPnurzbYJUhh8rCol4Rhu+2ncukkk3PIwZmRie6hwEVfyXzDQdoytxIjFi6m5IiyADJfMpY2MqJ+HD2ymBaQ3GLJlrCerLj0JRmpnmAXe1lnZDLguzq5aRBezQefG0mYmPd2wuWA5YRwg/svU+MhUacO4xZRKAB5xt2qxFB4ybkeJWl/Lu0dUB9yisM+YoD1InbpfVlQU4z3WBeBz2Xm7pKFLM7pjOPAJVZKiSMjaQStc77QEhgp2v3YYer+NAaRhORzMBuo2L4+ixOnfIyAa0yH58qFPwVjZ0FblKYuPsT2LlOTFjTJLlJCV6EOon/kgD3u/ApcCNd3M12cupVl+yUMHvfamCgF+7ONsV7b8uYMzgaMUPuQbHe5sXBSNnXnx+w0uuh4UD6abIrBxcLZkGkIIcPTMoQMaiMLNFZtza+D+jj04ohRoyuZHC6wwFbsDPqOL071CLlfD8qayLZFk1RpnB2hmW7zhGnSGdJmcGZROkf56DgzaH1n76VJ2FKqg3tXG4i0aV3+CZNnDQ9TTA0LNlP8VC7iGvKTLsKNdeBmWDgcl9t5dBhQLUov005SYdawAf97vn93RIu9ctmQTx56LLXOnaiVGaQBI+aJUE79gf+Vxyf/l6eQjck2rrtafSPWaVeMR3fqwWrn20jCklYBIjpRkoBGG11wVjuIbxRvYNw7zuFa42uEedjOu2jxLURw1QeNMHKYpqlg9L/2YalFqxUYw8HBV0f7HAUgul6oEYbQ1A2OcrHdbQYKXlt6ec0EXMrM0zTePkDN9v65Q3ezkhpfvDkOgY5qACPHlwdxlcNGtj9wt5sb+8htvNrQJVDjg7W78KGkdPLJ5QYWnynxaKHOqUwTZUfSy8cqL/Kb6lF5QU01g/+KcJNFAl+aiTtOpLxt1sooJZR52d+XjYHfDY3klM+zguLBs/5nR3dKJQUZiARx13uJPMiwvuZ5LOGYVleJekPCtdr8jqCzPd0UGvyxFpbPPyOFKTLnH3XaZjtKQN9VkB0Iwe6M9meCPx++4mT0aG/Ss6pltqZJldyL9P0CQZUreNbA+CEVZVV22kr6Vu1cP0gtdwYplnkzwLXHXDQttVA8Yc7modvQpxCeLQkWboI38qo1G2Xz/xqUvLk/eySQd75xiz2mFbF2aUzPmNiL3NxiBLTMz1PQV8K1Xjaf4DiWHykMTsdvPEd2vje/33w53CcJ7qo60qPmohlRe5JXUfU9zs88zfNUvoaRTOsNhmRFfMZ/uY3n3A0g7a+pF2pgG8zNP/AaQHhyNZYXU4aWROZqO0/pz8XAC4BnXnHLwQ3KcEevXB8mbsjbx6DIk1fnlRLdM+BDWo5r9Z539mtd778XruJrrW4t4v6cQD5JZnwUEioDvrMLInipX4Fudcm+cM61jU218WX818vpOW3+1YpRDgF2riO9hY2QUnwK3puPZf+PB/O+jtUnvQVo8Q4wju+pRPbBV6SVLc5zZY6v2lTCZ2CWN0BNjhHJg934QB7prJUqDugTgXQVPg1sVHQZt9g/Y5ta3FBQJctb1FukImWzNT50ezXdymZrmjYwYqEe+jXFYQEFkoJHC2ZWzrnDej8XGT7qAzcWl/v28f7FKh6pMuXON41KJ8yNcld29Uej2nUsKtSCwIMEv/3oynkxqjMnLPFJ7n1VaK2UouJcmM/qMFsDo5j+1LihJagIuxUqBWDlskydDg7rv7FspnUbCtoXj5LFOdl3FQcrfCBFTAnqjkC65ajDX3P5Ek5SPbMkMkFdV8YEhXcv0qD+em+ZxSdqlEiVczukUjpVo332r3BKO//GWa5Sw0LYxpWbb0rZU/y0HyWKu7hEkvMo1+C9NgELOv+Dw2khpvObAu9LCGEWfyemzc4EBa17TVNdaW8w0BfR3coix3y0mzr+cUbXuUpITGIpPbntxsAN+huBArGX4ZKQF/Eag7ZwQ8UCZReOFqnqTO1yU2jonGITtKvM9MQNewlxsYXFSoW1dD4yaDcBotMYS8OtZoQvU4pKOgw8B7q+t62u0E66ZzpkcYS3tOhfPCJenXp6DHFtHLgaWbM6INVGbMejIuiQz2qHACWSGjEO7gF46hV3gkvADhnKmtUDnhU23zhRUgvOuo0QLwBNDDUjpEix1c9INB0iXicuKl0bgWbnJbZJfyA2ZDkGardmFkaVk7BHnR/pq+b3RDdjWiodQXvWh6kkq/6JhBrTI+KZQyZTtAjZ3bPbD0QAOJYYhv7+tLLRgIggUunYm/TpPlyyHuk8eJLfpGOaS8E13gfuWjFI/wY1ni/QALEMpbxrs3Te0m/j2PqZ6HVUgVGXvveBbw5PH4ulDCud4m2r4jtHZbPoPKoCNDxsjCx+iP8qw31hPbAG0yo0eD9k+RXrxKSK+Nv4CMSWOBrd4t8BSHclE4IPwipRfxi33ODz9kJFIulkhfDOzS5tHky76/Ex8oj+wx78EbCC69rHRDg9BgAAu3IBB4gY9SrZ0f9JBKi/TWKIunWFf98KghBDt79/Fp7ztQrrbXjZVg80BFFUey0gCGb8ZO0MPGo4eRHNiXX86oC0p+yU55/dXJBt1sSk+33xJsAukiFXpGRIMqH5Mv6WeKhwwwimAKZB+bvic+oCJDzofEMesUed4Hh/rST+n736pYnKRp50gY+kL0onS3TTr0sMWLqE4ERTyyd5wgok/xxVYEvSp/6zhD/9KTgQie4usKGHSRDkQ/jhTto7a2IkAwxIVLGu1mUTJjWRbA628D5fRW1VyTaZQ+tOVPKDcNeF/Cj9/1ytUWKOm1z5LJMJ6EQ04hGM4egZEz9/ydJ9UEJi+3WwUKLTjXjVbsaKciju+4Db8TCeaO71b64kwJ4iXquFIzEvXMmseMq1G++Mm06z2JXQgqqnB2Q8DF9JvKKNbjuPZiQT7Sk3MGYT/LjnHdyGjkdstbX31qXHPrKW9pOFIBrp03wqR+erI8Ed+kc1xkUOGEl4oWMAqwSe54yUGpA/MTFR+Dgy9UM78xWO3ZhxJh5lTZdqBCBfvdBV2KXOV3hrB720+p0Yl7Q7mgls3Kkb7x+7qp/pecs2iZTMsMehimNjmOwF/BpoIG3+LRps2I1L0UiHnZC5N7xObQybIfk4mQUweWIVXpgbr5wg8IODGUXP5BV+fxE6QmztPecLca2tAbOpUcUm2rwIc4hnVAnayN3Dtg2pvQhoGIY9uTDI256sT6aMCi8T+6T3joavxodWeab/9Nq92426h1LpHdak4H/O/GigVicHjvHvgAlINrQZkKN9Cl/oZJEMMiBlJqsBqW2gAT08PySfB4fR+WrgRN1x+gaSz21p/W+b5GZAtrTcAVE69oNEP2wB0Xe7fC9M7Fe/Se6qQnCN0ri1q4MIPGBbK1jor4kWN/IM4sP7kY5vieJ5e9PaErU/vbdICL6rRYteYznaOlVga6g/+1lDujCTznc3QxUV4Q6l4AnxqltEOdHwUGRSLwA3oxpYkopmJzwbJcKUmcszm5xwaTOZUlkHqW55R1htzJXC4FzDCZpFbcLAn03eUFyikCeOAuaqrBZx2viJIvXH4YcBnkzZGW9/MuoJOx3Ypi/Bb86srx44URdq1yje9QpNe5mlfSH9q2V2FcXmuHr7+22PLouA9YO5nCei8qR0b0XAxyC74msBakmE9Rsh0Nkmuhp5p+1hJJmqyAzkvx7Ms1DzoXpUd2m49HkdaZ5CncE5F9t/8tObEQYGQHczefj44SNCzYF37yq0OQqzYwO7ugyR5UnHVUDN4et28k6LOSoAn1W6omYxEGjhmhOONErb3EIBi51kYnNwbRPZtNkyzoMeh4lBHU0E3bG4L6VSRpSY5oHku+xBVjfGhNdbaMxymEl8sw9cGH2NvOYjjjfgMqFQFpjv7ZQEm9cfVvWlxH2nWFbrcq/zw0gjHYabPkxkTYF5cLniO5mSov6gfUBIFUzFbRcoCyhoNtXIdBbjTJqOniG2zJXNZpKVV2H2nU5SdYek7eyKxt2NqMs1wbcAM1zlg0TU8Z+4RzaORQxNT/bdaArZAb68BCxw+TXeamj8cWeLdIzaHaG8ZUHqLnSuh2ybLuqxRvGp8mFv5HiLV9kzv7ETa2F0FR8cVCLw80bTPl8wrDZiffIMvHZdg7D29QAO+sbbRGxPC2z9WraBG2V9deoQN13UjDcZrro3mYXlR8m5eaybDU5w4PR22cUHfxZv8KA2SJlkUYU+Xw4mZkr+J7tS+PjrYhl45IltO6cIoElZdmBjxN5TJprealyysIu1n/I8caClxkdcYb02uGIvoilbPv8yBQJ4uOXC3GdWQeeso/nlgMuGoZ8YH9FdY3V2hM6LA19ixTxPJD7csk9Ve6t7KXZx8t1YRxOazieU1TRQQypXi5F9f513zKz+yt4Qq41KYzndy6l5Yj3Qvq61G36wSLrHAgEN0f9tmg6ajxp3eb2+2O/HAihO7nL1J1kXtgZkgY/C8d3GO+vw66p5Nzuw/E/nXaL8aaEM8AQihsf339Qw7ys0+OUek5edfspvio/qxgvxqKzEoaWkMwDuTV5jNN64RiYhgyFwntK7/i3xl/MAqCJ9KezeIfnS7bC1fm7W4wXmSxQ6HknDAWufthQz511UKuG3LeIlG4ETeNwKQZ1prFWqtCs2oEnZaU9i0Zz04gTa/hgUY8PC6+AOylMRyovVPgaTiOh1Jc0fIozeolBvhDoHAB/W8aMXAkfqXGi5c8xqwAcJDnm9MULW8GDK+5gXG0zSwgoU77aDodKZlVpLQRMV5LkbItvjKIEURB/ISvxc31D8+2GHEybFyB2ZgiHYd1TpknTXXWM2GhpXlHmKsrDCgr3nSVT80dDhnnHQo2iuRyuVz90UeCSfTe7IpGJbJantRpGc32pNlL/opS2SbWVtiIfR9cDOiOvxIoqvkgjc7AGzUo2RIitBPkpvvMLczM+qOuZWVpxBQZl05Y4ZxV+d11gnDMmlydhuVRBUntItPHV0CDC2HMRqB4vg9Z7ljtMEbsga2HDkRrFEGMCs0BDtb8Jz4XWZ09BbkXzMr7rtePo5KNtufaQsNgjhSpDrbMGaenx+5MXohdo2NQvU3KvrGnBZqlQTgb2En0R5H7GQdVASTvHJfx0evN2FClZ4PGgg1fzOyX3R06q6HfrrgBT/4DxqSOG9+U94eFsQg4XqrZD/wac8VQDyIb3gAtXk5xx72YgBSqeQ1ec/NZtF2rty9utC6ZY+dJ0zZlKHgHtiLYRC4NNi4ZXxrSapSKQ4MtrFhyzzDwf43eTLsojWVbzOzNNRX1b2jjhw1XLEmiVtqXGVqPZRCVisQzz6A/WpSsKA0fMDmLaQWeQKd5YuO4JocZsaJw0LBzLGo1YKzrLvXkbPf+um1pG6JKXtfpfCq2Rs4AZ395PigABsgjcm9PuxjpsMJ84nvqPuLCBg1esxi87Y6KG5/M5Jdo+9eMqQlelzYdf1Rrha+edPEoZgASvbfguT/lIRr93bbJBy10RRyZ3iddx9bfMXL3AjXKQRt0qQss7iObRrU5cxCLQTSoDVM4Vf5BbEQDsnFvYOkcOsOGmIgY4SLdKXNZrgK2HFHiicLN4MbZW4Ub/MH1BZimCTEczupiC4hJnUm9ASijJW2QeVxdW4NuA9Uch10oVNNzawRbVA6O9JRiGYu5sAd8L9nMDbo6vrCu+uY40F+EfV3KbSAdONZUqdlPJVhu4PsBM3ij+tlx55x1LISNrWA2SndUAgECLtJQIdyYy+MWSJ4u366kNCNeHoUHDY/4d1Y6dlDaJkv2Dhkan/yltGNabk0bxPO8OfYCUVgq4Dlz9GdT0hV8OWMaJrSy4UwgxYJJ0ENpXr3ps3WEqzhTCKmuOo0oqag1zlz8/y1+Ph6LdaMrrzciRvVqI6aNhUpsVoQa52LdDj2f8Mqh05Xn7B888Xf2DgWxF6Avej16FiG+yxDV3wCwo4tsl6a6EUC4yV4xG46W4bg2LlCvlssTwDN2KZ/vVis/8I7C9ga7JNZRY7BQe3Rt9uPDidq/uMdIRrY10T765vqqsk8CZDAgOq4X+pobEowjNorvFWGxnksqEW5ipJGksTfyTPuLKPl1rAo3q3VX/cdiUYPyG1cUzXaZr8fO290vSNGUICVmp/mbHCwpIiWLtCqgRXE0cM2UZf6WKkrwlM+A26AJCWNeIjvPR8PbHqWBRI3LDF5asho+IBzBpfc/p/+D8jtbDUVgUuoMoU/eP7ostQzGTvX/NCX61WjhHRGC9HlQD3b01G7QRNe9vvkQEhd7pqYpa8rV5gS16htAibILbmF2hhjDrcH3oZF+uLfSss0839/y8HhYVeRyaiSRFI3ff+vaIXHYkhQBEoK4eDysri4JUAr53v+skmr3ZEk81X4NWR1mplCWMXA71RQW1JKCAru5YuWK9NpvTG4hkbN/ZHnAdz5j0VSNyoYp8WjBpPmBBeYmnIIdUlBQBJKq7BiNoSA6xhXgkaG1ZJZsUcsOBxs+mfNkxQxeNj+DJBZE561EWiJutrs7FE3i0Y0YbHIl8/A0IzVpN9GCOWNyXw36WvfmDlfRlnhkVO3MUGWsCp3VN93QshHENUaRPBq3tSN2FmQqHTvjMZK1hvhhLCN9gYaEcqwEJU8ElOf88cgzB6ZA2Qf5MTUGq6t9ciclZ7hycJLMI6MpwHjSU9OWivzaDEFaPLjfn3Z5PgaPgiBTCHJ35uQIMGYxYHbvTXl7l7J7O7pL0REwTqLUTY/KkkAaANq8/tjHcqUr94pZIsS2yprhvG4UJrJafVMqO8QmKXuqLAyUzReyiMAjUMx+zlnvB6WtbIByeauGGR0gORXblxKU8b8zZuthyrKy23+9aN3hBEqQpxNxQYdqWdaxk1129xejCaxVljHaTqcJ95HIfm3DuPyen8RscbPTVd7EkI0vGdcsMtz82+K7ffT5dBwQVQgVpdpk+km7qbXp9jNpkjnOEP8XNfj3oQOhNd/PZ4LaBP7n76JJrCigILfxY6WTRoBjLNKdUGmn1aqc9SiZuOld9BQdrrn3ilpNWRgVmemjKtgeCEzas4lbU1w5VA2kKJs+1wGkXiljPumgz6ZUTI9GCnWcgwmXkS1rkr0qAKKrSljcntazxzB3PGjRJ7oorZG6WQDDDKRQXAUDZGp4Ae2LoxsGYBIVwJagfRzom9eHFCw4+J28aLtiFco25qVcllLQCqvmO2l0AW9TuZW/bfB6XfcGRB8zxLEIM6tOqXIDNgg7Ip6obkHgV8qQz4oiZsBeGBSKcFvd8fF4qLn8KAL3zjzxvbEyvuxkERcoQwacZjrbsE2zl9OQs8ZSXekA/rp5GMvxBSr02m8cymXX7jej5LL1lsQsQaCr2zqep6OOhCosyDpQkbiLRFF/snLgoshRiopLqVx4t9Hfzxg8Fc0U3Ih/GAekYMwg6belnES9/xj7shINXpdsur4TjYjt6su7070OzuB9aLNyOMEsVR7o8/Kx4z0XgjHsJwOCqQV5/zGISkW7wZghHWA8sl+aIPVKYCABYWyxuHJFpQiQlhSezH3GJ6hOEqwR5SVXOJeOsfJD+oUT2Y1cbYk4+Kpwfk9O1GQJvxnr5sM1a/aiivo0L1W1qVGsRTsv229Q2XRruP+kth2wIoTvjcmBAMCYn/MKwB3qkuQ90hrW3X+K1FoRln4y4/T/lC8pQCMZm3C+Mn7om6Td2UK78KM7qRD7yKzyx67FMRtA4QzX2s4n/wQ3khAmtrejS0YEhoFhZSbb1Q6oCSaH55FSrog3K2bFNIRAAAIs6Eh1PcGWOQpoW1rxc84s8JYN7LDghnQzL7Iay9hOQKLAZbm5T0q+fXosONbTaYkMsqXwHe3Mv5yGcZ0UPM0yG8SCxNQq9MeK2ctFp3Hu1s4qvv4WxBxLW4xP0sNCQ2JvOhKUK8Wy1jq4onJQCgMQhenFPPqmnuSsDTJYRWrBPmoJSFD43pGsrAjPdMaUmd12kiZsPmBVgYQqG2M4We0qQ26hebvVtydSbo19Qmnsc/3Iugo7LTSyi4twJylVdHpmBdX3HEQnyUEWUDLCX00nzchwHvu2NQz5EE1HDbyMUpq9IwMxk1yRskUOx18xpk3NeGJi1eO22egimDs/Wm28v2y/w9VBtiFL4XXl7YXT02HophWfywAg2jiSsg1038n3m9cRXyiHycwdXT4m9r/O2PeDhTFR2rnoxdW8sPYa0c+FkRsMlQzzF/OiJmJDX/ZYzhwykWoWJp2r3w3FULRhGSCL2mKUnd1+8oS+LAk8JdQBCjOOuwE0Hu4JsD30cahM3ilrFOGXkvemffkLcRa+nCxpBsJs55xVYRt6P6Jwx3mNYyyztul/VDWPoqVHpwgZzvINWDb3V0AIkcis8ajGCRx13KdAb/uNfFe94m+19+ubNB4MHaQ7BDHTFmDxSZD7CQuVUfvEZzuiU3A67P342aOS/lgX3cE8+1t2ZYKVHpTr/QUDyuqSApD/qtvlVEJhadzdzcFN2URd+U8UNhW3Pl06S98032cLfEe/t5CB2v5TTcK9vSAu9Y57jD1QwWB63TCzUA2lW2X4IYwR3STvHQYcfOnl5lKuk6DhFOluFc91EReLJyQy95hM2XkbgosoqLafBEMobob0yRSa7a8mmv+/bzdMUHuXuKWyy2XBwkG6/oONpvNtUlVYjFN2A0OyeeGzQ2vE51+tGr0mggx8+Zq1JhvJ7tDtsi8yZj7yW2p6xS2uNvbihTVtoFdi/gPSKyOhqKjrHB7ulBqUW/1rIUn6nrGX7UYWr3XfeJvXMG49EYYg01Xug2LTOZOgtv/jq2L5Kpy48WcD2GzwyaYy61XWHHXsQff7fv44euKolUOCI7g9eJqaoJMAmXqO2LcvIu23/owQpu3RAc9tadJss9Qt2QGiIny9/7PudbnlyDJTNrhgoyLK43rMLiCCF35KDOUxkHSE3AWra1ZsnFxlInl8RwYIBKbgU6ASwSri5vraB2m+NcuYr+wNH5R+wtBCdNWiPJyFxjp8O/suhkJLNOwIfSIBwK4SK9VyCEwurGAHjYjYvsxnI6J9vbSf/jHWkU1Ru87oZ2jCXGYNEXprChL5LTrMFjrHbp8OJrGeWdltJ5h2w64Euh3qfyKgZHQK/1p5iJb6tZbKFqgkYlfVCI6AJbd6kV7XJhnByV7KvpwuWkhRf0cG7uM6nA/+xEp9ZIm0Y5PROoQjWBOGYeg2uSzhsx4por7a7kd6Lb+1aHrUrXxcxKBlWiKO3RxyFACy1iQ9JgkzH8QLbHMhWphMe/Qe1DZFqKkKXzm8KZKGh9zxWn0k9vrrXTztISWUUh0MDGq50Uk5LNf2XSm8jL2fJIxxJIZvCfh8hsO0NYfaxKvwpKLmDGYBHJ7qEaVw5i7U3ifJSfol1Z2atNVfpgW+Ef08MtaDeSE+NACF1tVgImemz89EqXnFaq89a+YZdOwxVjq3FPDvL/Y/jTTbREkqMU94YFoZ9CrxUxo6ap2Lq75vc70T7xh3dbtKvZq6BB8X2UMsEz8GTpv3lB3zYB/DxmlDSLMNT6H3wwY09ol84B2wOjqqSL7TcU57Ifv4G5kWKjHshMUKAwvARYSmOJbKjTXUocOW+SPz3i+Qo6iI8FHQYPiYrrwW4uoGBsCzqLET0+PW8vHV+L4E60FTTbdqjcfsz6VxXLhA+Tv/MDSBj+RcCh11YgsB1L1XU9T5x1SD2J0LCthkS2oi6sMRf5ux/xK3LyMQorSn/tl/rEUkfUdVt45N+O1nnKbTBhxBgC1SqItp3zOuPm3wffwD0hAsrtzMJkCx3s9t0whMfvaEFUBRQ5DpfSABiIGHocaH8vqTgPhO2jigHOIFfkfnP3BvZQbbEQblPrt0FEyiqjoPfox8rzqok2rKAH0EgscTFXLVijSPvzIK6pMnUQo8ymJ5IsL6vnu4BZKN5HRsV2E1Pf1QuP2YTiGhyrha8g0r2GWra54Ehzwn/7I7L8lH3TuOMWQZtOcb5BELkxaenpftQaqTw4V9m+jBOgpWqh081Gy1aeQhMhFulA9Gitp6VGjnnVJwTqyZW+IpKeQ3fCMZJBgaoe2HQ8smiAFpC6cpVx6pNIz3tfORcTF19xWi6p1sj+wklsaBvOJAHi3ctur+tvsRiWIQskw4a/gWsbqwCTo9TVpDR3Wi85efYVOQiFf3GorpgvtNj4uEpQ6qHEvksLD7hAeSJ+fVPjCkAcNc/cS42p/uUXsoCiE1kmgANwvE+EfaToiU4W8bbCDCJczMaOYtZ4/DVpWwyq9UeYov4PR+lo5lXHNNNLqfuiRAJiyb5jFalI8cJDC31jALfgidZbuLCM5+CDGlD7O4+mNg8CHLQ5q7Q3IBN9zvMKpIE8MLIEqdo4bYO9bYEbo7/nyUn8CH107+2BKHdnomDaXqMCH6nyocUXv/4lNC3kRNVntUnwleVviwcOPxDymGjt+rOwvioCAua3+rTa3ALiXXWJka0pS44BycnMEDUa4qSf13Zh2k+VXKPpoX1yawv6tnoywM1wnmwCe4hY74bJ1x2Xyx3FAvn8/dUubmwU3anh/3UdB9rpOHdIDbMxznMYqo7a0Rcx96NIi1iMMp0oFyaSPkon5OqljMRVNxyES+WRL0+awzR7z1tvV0QhGP49I+aLWgDRBSz6FW8ifC+1CrLhQiIC8nlrFoeOqHXRXM1EFzfRKvzFcTMyp6OG7wY08Q0QZWc2oOd+98gL443ibTx4g1VpknfTITbqQypNNYu4keOh/Rr1chegBEKDTqqFi2XtgcclN/q6hGdv1MdXMvZpfdSp+snt3zDza00O742ijZD5O/gBFc2/sdAipua47VixZUR2GAEcIQ8GfU9MUdP/L5AlqKxZ/lklqOizGhT5xjo9AnKwo+pEFfKQvh/vBfg3fxG8Caz2Apx1yl/MT8KpoGBTlp7cI81XcKIZ1xDXv4iX4EOiUmtZSvnHUmQ2hYXN7B3X9KiSCKSBOutSG6/SdCbGP0GOKNwq/5xzt74IGUEb80VDZblNrcMUN0kcKqHns8sldhzBhJ14cc+wmKLP/DvUK3Os4EkHtRZ8Nf0qoqExb1D8ybjSknHnXD7vF5hhwW0QW4SIjgaSZQLLuxX5aGakf4E5DKsV8F99PMHx45ogyxLfyZowF+Th08zsXr79fMtRH4SZuO79ZNukhqyEhgZ36o5tHI9eKn/rYhfz1uGi5a9EnG08IjhFLztLntPuKz5p3FGNvAxr6F02DMMlQzVFvfGjUEo88T+/ZFfzWF/jcyOZpp4zntHYu0lLhAAiwXqjvbjQbBM8TCSgshNsOUSg79zflfGaBJpKjgeJXxHMGY4LukVCo3bEJn3xOYYaAZws97me2Y87EY3BOQ3AjW335Zdj5ISNCfN3N7XwODiIsFvqFmWEB9isQ9eZ0PUdIa3skCeS7bABKl2dnC9GVYL6AjxfoKY78dPGAJEw98uk+D3BQlrDm7vN8et02I54Dnoef4UgGe650+8Q+WuN84R04Gdnjef1dc7XeI40jP017g2tMjn3JOYjW0Aiho16OV3tEc9iTfIR+/Ni7VdgjNSetIP3q6hMDJ3+WYs4LlOH21JCCJUxeP++IlmZTCzAAZH3lTrMMjwH/VZiE+zZuEfFYsfluMz9OyW/D9KTcMi0sXShk6kDWa/MN7hau3mZBw800uk0BIUwkuvucU/3r5gO9efv6RL7jngMqCgUMjmrtRODeufzZjyDueVpVjYrIm0AInPakvBELdML3nwfURpKKlg+oacy9GU+mCF0ZQyPiP5ehPBmAVZfq40wm2MZvTk7lql+cL0oQHXnYv+1/KTj3mQL0+q19qoVEoS39l8T4sFMJy3VGOltBFYq38lAsT8XBEC2MlohJXj/A0kovsixbxrXM+ve1dOCnitOc32uUKPSO6nDawQdsUJz0UNjcJu6krwDxj7GgvFuNJ6vAw9ZrOFWgiuH3FpCICv3he3QHlgiqTFy2ZKmZuqxrjVad3ez7Y5fmmqfAV8+IxCLn/d1DQqhiJKi7eh611Szti3e444HACE82GAOW6vPIO2i409urpX0UwHCTk4nXCvvknVpCNp9oY+U+d3oINJUrfZavDNrKvi9MjQCoiFe1LqK1db2OW/1malmwSzceU9utUjtoXXIuOdNRkcnhWnKhZHz8JqBxntHZjEBjF8xLbs8m1WTHeH9TYheHyh5rDxndDQ/MIEmSAeNlMY2xRn1fTyLkqBeFBhu3WoMX/pSIdw1qwXljI6KTGTEpef6LLkXDyHKxw0Oz8EYT5Ofyo0eijLIB0/mmvXBtTSBme04cjOs5Z2xnN48+cdsRJnPMbFstftnKEtcq1y++1F4DE4Yi6cRRY0SeUyNPYbrVyDurgVokIare3vNAn2BDn9QZB8fjs2tYeIJon2TCTwac0JjUnnNVPuShs502k1NYGd4LC6opiQluFLyGD4JZ7uwNE11ne/tpXL++uM5FJC7JQvEsIoOWaYu+r2yRltFNJE0yoxz9ABuhkWqG8kJx3uK44gtfSE0uEe8jRe1Q1eCiZv2bhSw5z71eEfk1Uo8ERfzbfeJFlQKFOmtyZWMGTBT4shVFTN/A+zOG1z/x/kdGsCOJ/GGSKnYHsvFYA+puopSbguabsYDFmY6RgStTn3YYxhLaZquTnqkvUyk8YO0Vriqbz+CbV3WgrvRfNAsTvASvy2ZR3NyXy36pKB14ngOIjp/S/oYW4b4zoVTtuSlzPUmwKwPEyV31KT7t3xsq4ZHHFcYZ89SDEsKn9liLXZt5LzNbv1OIvvK0OhyleIFF2IvNdlVTcyADFeI/Hxty0r4IdC8ItCgW4KfIUvGRbPRhB0tXVr6ZwbIl2bvJeb4aziWRBH17xQGFr11CX6bvfM6QY3ZMh/M6MALY74RswpiBFFy8bQ92JRM612P9i2Q/6n9P/JhHU5abh75bZT4K1eaB1RbXOBDlr9PodS9QUk8ohW5D6+z7X01PSA0enJX+4Zuzh0XD7JY/nBX02qjW0imXDTIa1A5lkLTymg6pHIUBrVZOlhCBgpvHUjNiqhEWlyjwtBWebFbyMBiCBr9sRYPcTrF8wD8D/lzk8U3m63Uejrh8aVTRDOYCJEqyknQQRjtSqEU6jaQKyIhz73ayItLXUgIzB6Zp7GUq1C5jVhSGlKLJmePfSEtDPEo3G51NKMdJfcq0Yhj3V7YYHLm+qbFGPiXX/USbra8B9FV8Tr8lNsq9RhOC7u9I5gOi1plGyE5/mJpgDw9kDGU61MlQVeAWri7cgng//pHxQX1livtqUni4EYUoA2wUMeDDwWxZUiFp3JXfgqDWAC9gvsh4EQQninImU71UeYBkQOVU7obXm8Z74PU82dmEdDd7/Az56tp2o7XcCHVsqV4j9CIY25GqRxQkcyLtvGRvcJo3fVThhrL1SBIJUiBnJDi8PtXFLXXUwwAI4xicV4k6X+JIoChL1x+BtuDmJPuDanVqX1bXqJ+i7w4NlVwkw5IBYQiWfcMUcxNrOxifEjYYNJOu/Ec8VH62kB0mfUSqBpDVe9XQ+kiTYFxGKIPa9zpdfIvGJRPOeCpps7e2Ib/iFKMe58tdwk/akXbqMx1BCl7cGzqSkAd42JULY9M2+IktLM3bTEBXGx1Ltu83F3qJXh1G/OqGnBFR+QHXbA3TsPpEEhvJAVfPdXsZc+Hf2Ra6x2KloTO8h2QrZEtvxNQ+MsLjnMRh71hLBr6Ff+LdNz0ldyXisxEfenYt82mDBzk9BbJr7OVoaubkcEWahuh9tflS/aYWUP7ttSFRIddAuiAEiZ/FAGiPELh4gDQXeVGNh2DIi0Z8K6szFEVXXHepFWqowRvzL83ZoAKFyDhYVDzt3YBdjwIt9KwouCGdowsmri0/zCUG2wP6klmEyBVEbpHdlcqA3dZR13RWBuhk3s1t6hcsuKFCi7P0fR2d8RPVW1TupUGxV9zPrPuusChhmo8WnzMm9PIxn5VtUOZk37CA4LV1pMtelNq3ruin1NSHycRBN3EWgm/BoXJC1MQAAMvHprXFhG43CLhuyNR4oQrj8RjoRqnAZiAusjeWFnJDa3w6JIkskT6E66HsT7jW6qYtx8ehiBLqEr1WIvgmiHdGW28mwnzG/sgYlAa5wgCod/w2fzNLRQ+xlUwlTAaWz3M7MnySenMh8l6T8pTKrQiVIrXXdq5ti8ZrSXTRIFDoQCG156Tor95ho6QZNw0e9JUJYrAa875JlsLqvOavATddpYHzhIkIbBjfksCor8nUFkS+3PYWnSw5e1CNduNgoT5LyFAhDh6n1yGBVPbZuUIAqBFjUKrWzTPel9Wsu7OA4fxEYZFymVV792J91llszazM31L8ZnY85II/tuODR4Iyw29i1ecHNxHtEwzW4slpTVEsr7N0ybeK+z7Ba2XtuLmPBu+WxSwEdCpRsb/WYP6OBZvnxjRooPKUXR9HNWQuw9nO+pv0V/E7J1i6R1feinUgMnuMn+ADUtfdatMCht8IklYhWJQhB1K1Ik5JTmAJvc4uXw7gc8/7JnG5UPz6IEofQI7omnkWNRrCXtxHGvpcUFuBpWM9czOfC6s+9RtVUpMC6xvwW38Y7lVlaJFWZFtFpN3X4ChE+I0DLRT11a5wr1SSTgQtygOBbeoqUQBLTtsyt9sF5guFUwnUBVPEv4+30UpkEin0kgcJ2kbhphGehrO2B8LNUhU4r67ymCqDWM+rfeXmZjFPmyO6XWFSJK+lo0BbzVqN4sAN/vrAAdlS44xBtqMiB6knLffb0yHRkuKZF6AAV2kswhoWT2KfnFYK873fwjiHegAUFDJ9SL+AnClO1YqtCIpIE7+C99uwrvcDUHDFM6Q9m270rWuEojly7jDRUaz1lotQvhL81PHLDqp2o6XvXe3Va5GbxKJiTSbMTrY8oE5TwjHXHmFIH97aKa5Q6SXajIRwWqkbd7XYy3TeXVHDQctkNXTT3xI4TAyT2GQcoa8QcnORf3h0QmIx5ZymqA9Qn4yLp0+/DW0oYT3YtJOoWMHIrswBKaL+kIpkTEaUlWVxvQM6mJtiCpcjL0m0NYeT5Zd6NBra6qMXAHDBI6bUDEmyp/u6dWmvA9RbwDE7sYLoDAprpbuEmxlOVOZohmI5VxIm5UB5E3NV6H/XpE86//BaJhk9TmYjkoNMe4/72wkSkBrSij2DS2RVPugY/iFj6IjCKvkXUp8noaj7Yohu/cO3UdZ7IG6XdgRABgoKI+Cwcf5COARA8deuXs9oV9pyzSy7lCbOmyB91HiZi/J3bz0wz3a2FYhn4jju5EM7WJpT09pwZLDx8so6En8D15AP+i2Z4vO1RSqme+4dQwDt/a8X/CReFZ6QLJz9f8y7gF3b6LlHv0amDQq1Qk29EWrRPmyBTjnE7FcZgLL/HPbUvbQWu2ctLlORRBYu7CzuHR5GqGzKCi+7tz4UEZ+qbLvuKOrr8dSgROacXDhTDXkc5H7fBXCCAiwNnLhdwT9FCVesqTVFUQ3IJPzWvg2djbRF61OwsTtNX50Get3V/BxckCAo5/Bat/j+PhpttxZLkadkD35vcoGkwe/Az2tVm5fLmRyBtg88b5VuogxNgEfxzsaNFvCXtZVx6LBJlEOKd5K8t9V2ie2X7CidcERNd7jdIe+YMm/9OWyeq+oEVr7Bt/9rcfwi/M3sffWuPHsdY1VR6f65wwYEonmyy8MGCT1N0JbPxOr0cuMMU4dBTGab7fvJjTtQUaZvYd6jzp9QvU0grQLmA01SnN3O/sczZXAX1gg+J+G6bsreJcb9dzNJ6vnt441rZb9r4L3fz1IVbkJXeGzzwqwMBcTKX1n8bp30v46/9pBu+rSc1sIJbegsSiGLQhgof7Qvuwoa17q01eFKshzDm5smwxBITnCvtB2cGP7oXfNisSSR+gJRYxHmYbBhCGcEzvAjOBbVkC3e3NLoyb9j5PoMTNfRl+2eTSMqiO9F5J+f0zoVJAozt1OeC2zp3Twqk5WxP7aXGRBzkgpfgWd5hDlxaondI64+Aihobx7yvLM+FdSWF5xxoTYu5S/Pw2VKTH+3MjHSFF3fHmjMJbk9ISVJ0kOyCuhFa4ocrXBoYk+evGxIz9V/9f0iF11UTjFrIrRJPW4jslC73cIsEIy4HpvAT+gEq+RNFzYeYjczj0eC8vvlN5PI8f9N+xZMkzTzzawulPQNUNa5mDDu6jiWZn6v0LCdLI1NZlkR77honHF1Skm/qhpxIvrLLCDR3fNTH7jznD91U5XSZT/OCuPLrFvy7HHKBMQIabQM0KG0rDQbCBL44Smv+uAq59Dc+2ybl/aOH+Z2MVkyQvPA2P74VqVjZ0Gt8jV1GMU78R0aGx23UmyTiChjXrPWgiyKhW6c8l4+VcT6A/wxqiGq1PHOAEgTaZcYr7+iU/CuVktmdHUSdRx/G0sNt4brKKhduFb9kAUUVExrE7iupCFMnymUFiFcCNZKDJYRqalsoo8URoQGfvZbtID/0A/DWdEjMx+IrtuTfGE3yLnXRvXq7xtGjoBy6bzfj0QLy7LfmzeGcCEzasBxnsEuF15XwU/zKEEgxyNrbx4Z1Rm4fFPPIY6Im5D/eVjDXM9bl/t+irJuuoVWNLEbvT/daJSVUDWJN/Ch6nVMqnJjqXRgXmdUQi4vNdwhQr2B4RPZKnFCVXGn+2uzpI5aZX+3SOwgJAO8k6Z736M/BvKcRB83aPmMjqk2MSLvQCLEaC5eVLp1c0VLzQIvM+fFUfS2VAG2DHl7KxHbfs56r78qaogecNVjx1iVEmbdQEp7UWfPQmH7luTTxmDjvSB+j6w3AgeXaNkCxniZq99xUG9Pc74EahUHZsAsq5Nqx/HwnrRgQV1soilMIfgPbs/579mV/wyQov/mgDPXjA+f3pzBJNrB9RbUENeW/ewmNH6x9HlMtn7ebZ1kyqw9BA94sMBkLCxRqqfnpzzZ+4XL6mdGTuPoATRcsbGPEsHa2rFOzL7IkQvvl+pX2J79xfZk88eWkLy69CwQHvqgOCrHueB3A+Wodw790IJyBmzhylPcFxOPLwC+qQlWwZTP4keh5x0CrlUhYzrBH7bR0T47A5XXSpxoGvWV9UCdKZWcJDp1NGI4pE9GgtA44Y25rYD/UoT3woq5YI0ujuz/2lxXndznCEb5Ne2JZ0o/6K4hZCPZD+9eH0fBN1dREL7klcaEFVMnLePv0ZdCxtEaHtkqMllXetE3TMunDRlUDLksSo46vHck3jmSmG12eduBDeptyUqs9jvWYmrquPfW5l6PdD87iKio83tvWm/kMCZ0/laMgt08LXMKIdoWpt0tjqZ6oEyPXn9B3Usk1yD+PpQzC9TNWmGZJp+TvJBfUe+fT0QU+1m61wJpAndGY5MWJOsO52F2qWJJITXtyjvhgsQJHeSmMhT1azqUipseXo0Bx9RqhYukL0S904JmHkpo+gQAxywk8KPYzjwAg6O42NkgKHFtxaawYozGoiyrictczlJ7tqTLIropL+QMZZe2zD6uMiBjeunjJOq4Cfp+miPugdgXJ6GXyQ2LGW6OUhOMMSahrkC9stBq6ZhKoGW39ovPl4TTb/Gp3LMK+iu2A3SzCWLUTBmVSKgf9FZueb01LBxGshsNPxiw7P9Gf6dg2yPpmqVKUmoHVA5Vc1WUQ21v43/Y9RKiUJk2qDLWGSmGv5HAU9i+033labZYIytkytnYSGx1pbrthiiluOYJ3CD+RUiC6wQ4Hf0fB+lnABiPtOu/9KTZQwQSHYO9oAoV2vhRV0NGQBBe2KE2Bc8ohzTXQklKQBHDJlMVA1JbeMFU761QIPqpMkWQ77i5w0mMQR0b/C0ee6obdmt0ZoA+Lds6JpmxsUU8eCNy7VL/t2pq8qCfKJYyHh8tiEcWnACbtlVtBvudY3qj3r1tcQrPv/RzzvxnY0dOufoYkpoc59stHLoly5FUmkIjJqx8WEpe3yTjT5ZgKCGWVZ4bJySVBLdT7Sm66xPAx3sPFukOCo/HXsJ4pTdqnJ8jWugFp/SA1fNIzJ1s5QnIcexmG9JrkEth97wKQCapOhmHOvFFFHLHw53fchQeyC7AEanXEt2kv9SzzaaWhR7CqfYZk5TgHAwc0mMEyR6PpyzGmG0wsA5YO6H6pAt2aRAO0UvMPddraDYIXYlfOimedUrQ8N/nO8Qwr6td6vrOkonht6qpsaaxeHZlD+saYgFdMlPo7iOPxg1Z5Rixy4hp1CimmtMsOHiArbX62LQB8vQCeaLBnVYy4XsI0Q/+da6732h05jmsXzPFaVPTtL4/Qi63Lrs+20vE0URPmz2+9DO2ygU9u6nuLhVa40Ww8oMk4q5aEKlx6wiDeJ9Q8EJxUeeKQD+WLnNrfcri9+0+twZ9Qa/q4z08KLh45gaxrsfPf5mTCYjByrrsCptGrSuZcrvaLph36yJ1PLjzguP5OicnQ2/OAkKjBOTPjCEvnmV81nqsrVJ0AURWQBNxzuC8EhSTTlLffj6+R1UT1TYz9IZJgyFHjHVN5+6lfr7DpEPakr2IX/cnGZSneTwmxC8D8kfaSip3JDM8T5CmYX2ihp4uTxsWvLUzF+bxqGw/OHtujoQsh0ra9x5BjHD6beox4k5S7wT4TiwMubvf1VlJBKm6Nvdylbx+xEjNDqOp0dd34ls4FImkZUn4fh3e8p5NN8KrjoV38okyBimauQt/3p7VapS42r7I4Y41Fn/otU4OFRvkr+dAuFwmpqdKToCUDo/jAypBgNHrw7px/vefotZ8lUtJOMP4iJ4m75yYtj0IZlbPhSoW8RE9y2yN+thE/NQpTJEWUZKxUH8cDy+c3T62alwAAPzaXZBnnOzz0tTCYT9St0i+tzrLcuLJKgb7TRpYcd+cU6teWlDictM7ArVxqeojnHhzfWULZJfjC8CiGZZEo5L1DugTDAUipFyylcv00h4TvymCzUHVeQidmzjq8XGZlek/RfoFEgHkFtlHBWh16Imdi+zY/XSln9QSFN+W0m+zknjNRRz1oH0+uZnoPXe9jhRBoBK3NuSv/aPZsEGLO24HgiAQTKXa22yOcCWNYsDMF12RF5WPc9PEv4NVI26rY/xXJaIkXP4iwByfUy9n4z/AVgXMh7DQYfndT4/EUL9+9Eb+VvynnJoD+2G4ec8G/xq/LTjYMEUDpuurpo0T7XDD+NLw/FprsYiqdp+OTlMrH190AKTr1aZG/419qdCIu1J2bA4Oduzjc9drl8Y7ItNNRVenjmpu0euAmdr+ZidNJTO9hEP3aYsRsCpkfgza7j023FoourQiyQrPP4LgECxnwCVO/LZzhUWZ+7bIf6ex8xqkXwnULPAusWFnQBqM/4xJJe80RcUrHZc933qCKU0sJO4ONlSI3Q6I2tc51YdBWCg9yZwazrq9r3Ncr3+tzTr7iOMM6hdoseUpHRRtWKh2Sd9n0M0fgeQ28TF002RZf1CPBKaNhd9VOceV7VAYpB/USyYZjpowz186c0qPojgUWXuvBPvYw2A3wXzzvzKBEoryfMJNXAWXRyrWHX3CpOajA4TQEpQq02urTooiHDrGqDvFTYGkQmUlXGWi8/jmcbsGweEaxiAJjZu1X+qfwJQYGXYHY9fJYiJEegeaXO7hHkfesjYFzoMJke6nn7Oqv2OkhoXkyJioVI88KW97ADWsF0RsVQp9QNyMrkGEDH3femEzGqcJyvNTd9XM9KT5qqu/omMDeIBiDt2pxSMljIxQ3HJQLDt0/86jj5/l1UAvZfbI6TXw+BGhtKlrNL8xi7PTUO/7vQ2/kTHv4iwIbQTIDVBXrN3fRBMihrSB4NzrsQcdCopgqAzvprzLelrbdtnFyrRX+/iXAvSPgXQxS2xrkipw6zbMp/mTrkZXzBAQeBhxE6WQpSbH9jbWQhfKSwBIwFsDq2GL4cayxxY6y2+zKEDX2fDl8FGACFIXRVOOkNZSTtH6P1S680Pi6AxGPc/3ZFVbe+CBdA/+t3nKj54cRg/zhNQfD7vExiA4jtZmtJTYB0oRzypqbvMILBEc1hxk/NQWz5EAXzc9Ut4zpzG5/8CIQ6cDm1o2x3rcI9ZeQQWBXWjyEH6dM1XvWx9SHE/b/3ajEks3+HrzARWain3duHQJxl0tu4p7eOjsvqVpQRIKuyHbpmcPdH1YX8TCRQwCu+EaTlRWFF2qGGfoCWqKS5HqbPoNHHeY8vUADxGms5HFxpDwG+BMaev8JdwZ4Lr11kHAysw/tL602tjRTRryqVKekmhYlM47cKV9xwudfGo79iWkkhssbzz7BrsSuMVy8xGPs+emDxztZotVETRl0mwzmSCcZtojFWrCL8oRTpoS0hwcB5ajDitYdQd+oOWOgMYmTK5qv8xw0yLprsCR65BDy8fz/JRGq4Qb84r328IgA+ZdJeG/yllht17/86v1bokddYCDyuwpyookyTLdkKbQB++EE2UQj/ZVLiPjCuU72hUikHQoY9CkMjGCjIUWQTeWoqUSAig730das0/72UB57VDGE2WkpwKR7RcI/+cOKbdgSBcuU9YQEWe0NsmwHn2LkJH6MoH/UdyB0UxB6G8vDluCjdlIJJD9O0zVdZHK8gpeF1coZqVr0G/sksYPETuVxND68Js9PcapKzNEY07WxfubxWXSSXMrtrS60rdWetKSMPGy2AFL7LDyARFSuqePcJXDbWTnKbOztQfz7L8cJcuzQRp1XfO1nXEFCpzCo/62aFCD7GupQ7lpXq8/WS8EQHkOSY+d+aDiH9xJjL4jhQcTSJi7YMxiJiOwLv+cEurUOUYwS0ZsmtB1/Jx9mN42HW2Ur/fY9v1yYasB3j+wNv25x3aM34GhZEjKgl/Xj09us77FcmdMXS/oY7cFp31kf/+HkdVRS1pM+wRfmTQWuOvG2ml7r2HN3gkHwxBB8R/lSPIKti6CJyKpIxM8HC8PHxNczNzb86R8e3VPEpmRG7ZNsekN4JOlydvxolL1CBYxcAaU1zTRBk54bX/2qnI1FhjCwgcuiMwXwHU0kSqBGgR7J7XWSewuYTQ+ASqgjblCnolArv7M4aa8XqTzqoNBJoyGEvu8qFXMq2buUE3YSfw2E0cYtdftz1Ov921DTg37UEhF4ruUy1m3IWKDcqrfulNo77AO2tefsD6lb1Vlu4cO6xZDK+TSjuyQ/2RyrHxz97cdBzZZ8S9/m/zbKn/nugl6eRQ0mJdNo39rlcu81TjaYMxNkU6K1RUfxfeYzuW69y3Ad9W1fh92JRAN45K6Um6BBnb5uvL0vF+0RJf/3/pkOVEn+zO+U193ArTdThx0ZiSGdTCg5xXWSU6JyFOyGcOK8G+qkkXdWXK+Zi26DhWBu6Uv/asdKC/2P4a5AT+fV3rOH31+MvCOUFDuJ0AYdIE5QpwcaoIwLs9yDsdBE9h52Ca1JovxKHr21QqjRAziNkYw4deCzAILL5YhxJo1NaLOhuM9ZRKSVJwgviYGJHyUyFhLF2oTDyYsCie9HgPPHcicwSo0kRz/MhrQLAX9LiIz0nwTizb1hc5eUAiHptouSXT4rdf46t8GCy/Xf0sXdXTibllfcIhXy8WFxniR7Tqk6dV2MkJbUCiqFa1FFrkDKJ5nz1erSBEs6ZuFhcTMM2MG0wanpbgoxMx/OSV3GYElSBAYuOr0INyXlWRYKB8SG4bLjsp+qon1wRVQ+IKYfx4fEe9lKIlDpIVsgkuNY3XaIaQqwKz720M7P/OS3IzCAp8vrOSwNGXrLI2YuG0jBjWSathgtLvY13d5KDZBYl0LLl5P2kfsZ47SDOVUEuZqgT0/R6cPgCVOn5Ac+CcaCHRTYJH/QKW20c96R4w/IdgfZ45L0f7j8sY0rCpneS6YNRRk9nm/Q6JOm/5BbvAGH0omP9l9B63+cXi88lCA9nz4HudIcfV4BHxq1LWZgVetA6y7aCIT6RBhjkVIUKQZVqG+u905oFVLXQ7g8P1TeKc+F8504Rmn5zmvFdLUAUD4lz/pYGH2NMmEYMaA510hLx/EThSzYFRUGahliwz74DAxQc9XeJmitdKQK9i+lc2yzC32c45nvY0bGLTVS95I7OjPlyzqj+f0y6FfeHMPUrUiF1NkTTjSeppU4DyWWGIphyTfa5rE5op9YdhyO1/2vLKyq+9S/12XWKf6eoHEe8ru6b4o4Prlh63o/cbVWEiA+IdalEBTgSCcCmT08e9U9Zq1B6Bhs74X4VervMWIJVmM98XUW52mrZHZMlIFX1awqQH+NZxcBxTijdUsJhIVeS6sv3E4/oyhNmvKJULp6VUxOxhP1FU1G8LfS2AimHxC7DvPiuHobaDLJkigFT4f4B41qGqM1JgHpgkF9cVg66Ir8AjLMFECQmFF0qZnOSxoKP6+KNlDw5UhbJveeSZeQkMCHeyA6faW2usEZcoptGODdwM3NrAnuyRbdDezTXiTdGFkSvb+BSOUk+3Z/sF94ZTh1CVuZq5RlF6fJKmk/dJY87AVtCWGnV2N65BqeT4x2+NaPpshMYu0aaIqgkB5S1dcHxbFmt5ghCUlcnLmNill9XJsKtdMEuulPaA0vOLa93reXGBzp6DGAnaOzcuaaQwklq17nZYu80n6+IcDZH/u9D0f4l3kMp57AWQGjeNsICGykg3PooMYKYVKYCYcI3aHNzqamGP8rMtBOQyQJ6Cf2ZXRLog3Zz7vTdQUJbt08/bmQxKB4l+sDxMoRJXeoBmNJrmQI6p1+sjHJ9L9QxYRpBNXNvXg2IcKch/ivPqxt6XWYmO6YyHGhk1LAdYujcOK0OuIWziHZWm6d8DPyEal6J92iLf46/vgQ7L0N2RXxmVg2YiWUlrnVOyEF1Afhoic1ojd7LS6EPL9e0yf1/44/4pfk9O3kexiTG1SrEG99yaw2Nc1kCP2SHYgVz0NobhPWwL6mHgTRbybE3rT+QOmzGfWWwVB5Kcq6tH6cCuxgjdUUa+rWpkAIE6udbe4TpFvv1GO/C/wJVb5Prg7xQA4Z3pnuhzFocE+PJyDbsuIFfMWgI2PH1PZ8Tjq1BC3tSPDSTx+9emwvYNjLyoEERGA+hGPrCCgo7YIqrHaT4c+FPFQ+BNjg+pQE4jbeoMDNM7DrMjXYou0BTfFAd63841dC3XUTuX6WlC2EvC5T9Jab1W0MpRIvdNlfL9vqoLxZ/mb/9UGz3E/I429Pgul1XumB/8YVXu2ROVqqx1L/8qBheiBm71B86Rc467kW6pRdfqIvRPALVX64AWEgZDjYx2yLjevgxos+gYSmlEfnnLN3MmPcSjgFpcADQwAxRvgUlTHEZ8CoGcPifiXdosK/Dmb/7+35gcoTkDByKV3ubScECDL3xze2CHFbhbRYVdJwrChVYDsE2znnqYuFHnKKkbdVCzXlKIVVpENZ0xGnub9iq+0vqgCdwohc0iej33RYsUv1IL7lqpbUMa20CDlAoziJk689kU25PfSIHdaODLglIZXSVTsWDxnBVTjbi4k0ZOiDBN7K7M1Pdh4Ekx43K+OhGkZPICb+IA1C5Q/ludUZXMBEyV5onM9BiWsipf9IGDo1D2P+CCOl43XIsVj4zJjVfvYorFs8YuZh0Y6leGqsLyCPUAO2yVYi41DWChkjnFWP6mywnnY0IfSHRYWpVs6DdELFLbMyQWvt907EaiZRD7AuZVUCVIRb/oei3jKMORKFnpuHTkyiEZPDqDiT2buMQPzTQlIn1daUopJ+G80mjPQDenh9RtTWsSpqXJmo9ip6zQWNf/UhVLSZHSgWgg1AyjNWyTEJg+3hrg18b4pOK7TEtFTnrcs5vCLF+IfI6/0gU7YI7+OIqUiWkAI5KUvo/LSrxAN+i9np5nquoh8NS9lbg/horosiyZY0zo8aLVFYNEWqqUg/9sZ437NtOZjjnfhWdfX4P8CMxZyU9e+D/c8bGwuuog1paHuhlVkYZ/ORloW3XNZWWzAr2F4pNhkullVDZZNOE7VOWJ0gpJ8hmKCO1PjG5EpqmYuhSAzZ2q1E4x07ksmZ12iMb5Hreiba+TMzTldbcqFXTFWmmO15E5l9bSJhpueVkl36g6vxWEDjzWVvPuiieXjzRy7wvF9Gd6z3MZvKD4VhfQE1vvpuEJB6jVL7qXviPirWDlo+NY5U9YwwhbgVWDgrrh/27e9lOSvLY2jV2etVs5HSNm6CNxV9B/zx7M/f5mC6zXjNW5M8sFcbgFv1tO6kKsaILMAGU2yubbpv8hykcjHueOrvQK6rWym/5hSyALaEPlviq2JR6lFhvGz4xyPuylLbh0s8ulvevOgGMrecbtycb2FxWMYIOpO04woAwK7k0XrMnZDS60U8u3j06cbYJ9f66EDgwlzIb8KQy0r1N0ijJOQDcCze/Lo90H5Q86EXgNuM2ZGTzmzYITvvqHD+5lq3o5ft/0dBHUEUqbpBSbIYg7RsjwD6JI04wuE1wDGrOSDWEq7eLOrGlU0wY/HoUYsAvM8AEqTBwUvwAsdvFDCCFzBc+0dwRB9fyIns1wcDq9Ml+W3TN5OLAOJlJuIDEy4DSPtJsm1oD+ORafxzj+xTgRtf5g+eutapw7GxEEZKVHJ0lIeMpVYBt+cSFkBp851G69nbDXZmBJpjwRnU5jI0L5ZUxehdBIdt/5OM35JnLlwKkdS7C8jyXQsxDSQOgKVLMFdf2YAIbY/1wCM3k69aSTNkdBlhkxnZAufifxW8oHnoILQt1IFsC2mPEuId7EKW+X5tT59hCrG20s/8RuCvsMeY/0PHJm5u9qhAvI+qPuR7iXr3n/eKZR5B1O5S0TEVBKl5NfhN4TE5xFRYdcHX+ZZDtN2kZtmIeeq48KsEPIbyvKSKv97nfj/v4/YUwt4MN7N2dRWnd3GQITB3vpvsnEjbDb8aU615UyrOP89cblYI0NChSZIo/tagV88Kb4LQm6nXzzsQLH9MurKt6yVcELiTLKHPxsO7cLnPyeRupMeb6+YmTyP3d83e2CBI2E2T9IkB9PrEUaUXE5cpDuArahTiSdalDmAzulS+3IACBUikfu2UQGuv82at7rzSB1ZwmR0x623AXY2ViR6/rLdofNXWcvKVivoEEh/kE0fPt+HzNd7sAalE2EFC4xk6KxPKKLm3jDoNGeJMmPDGlemK1LxXLk7c+LZkosf68js53O3mQIppzcacsQ3sRw/6oaTRzIoRt7YQTGmL4mjBimlbEYJQwazB2kf/LlxQOz+85/zBkRMPCAAxt6HNPFFSwi15mUHowSh0+ypPZYcXGgEK+scUKvgemLqPk1wZBMbtxf/JcdcGfJuf42tM6hIXf9ZICuJWHP42c5fjF/rrKGAWbenQ0eLdTXEz6oxaSPAJaZ0NCDTdOKv+AGytR2pM/AhjkqbiW8DIyl3bCyc0Xk+OTJRu+v+FjunlpgpZ7r7YrUldgzX7omYrthnqm5M8aUKWKAL/YfUhMQgGgzE0ogmGWkpIYfaoz3OwnqhWd+1fOmKzdxUOhiYwDXD8TtL8AV4IcbNohweg5uFe4/MZ7NAoG1AtbikignahefGpgmZv8xSSI+GTcLJdBpVQl7t9J5icu2hVJQEN8G6gbY1HTPIGp9jxUXzQ1ze1e1Idm9RxdSKgwQ4Xh8D6jTrNSLmmhrd7H1N0TvrDPrb36e24eo+rMcuesDV0VScSvqfp5ceo1UrQg3JbGF5FCXkub5PUqF8a3J6IIHBeZW0hwGuYws+iZ/iML8Rp9PARk95G9DYDnQNsBaX4NJic6RPxZ/jxPAodn9txPzULdAlsAI/gvX2TNE8hYyHecyAw0/KQrn9StPHyhKgfPDPb1plz4cQMibV9gliRsxC7mSdhDeVybP+AZF9hhXPiHsywzga34kqybXqG/9lS0axg35VPJK1utoWOn7DfvAXOqLaYCYC6KnmwM2l73ZN3ZJ6hmniv6AN0n0gS5iTog3gbkM5xwlemzfkReZ7pz6BkeO3R9XGtVsHnA30re+AeYmUaz/Xx3JvSy3Wf4Ak4rv1QVdODOORGKolP3HDNWiWGcDmLcA0nLUXOCXC9a2GGdBw6fP9WhtlAC9nhriLNoZWl30e/WKWv/rWmgj9XuZWaHkdXnqhayxD2HQQ2X+0yVOyGT5LDGCScYnavmHAu691sBfrdli2pb56a5XJpU8ZuNT+4+9rVdWTz6IV8i5Tmmrht5oNpUEdbn7qiTXqFoBuqI50M98gIBUkpi+R5j5uVWQgv5HE1xqLHofXs9s4FqwQ1aTBWilKKowWxTKoqK2WKRfzyE9v/44WAgQf/zeNgI2QrfL79EhwTOjjzeAkNWpoiSCYhPTeZjMwGqrQfhrscj0qx/u3w9yJMKJQjhDwpTWZKAekOc6IDIiraJ4q9L72X82AKP9Du8X6COErBcAfrXW0PiYvb87ht4WJbXdg+HFCZI/tZX6lg7NTJFVpA1pKjbKL0jdc7163UXMwLPFdndmOBeQ0yluK0B52SReyjzawKQKXkhS20wHbdu2RXrtyXd7MWE7vjjLa8QC3+W4bEMsB1kJ/fuJ7oELDFONPbGS2J8Czg+6PwBl/9lVOkQKEcvPzSh+8pk5O+xTmCXWqe8k7mhC8tfbvob9iPW5uvPjDmxcZe3TzM/DAp9hdj3vcniOt4jo7y1lkGz4eUREpTa2E8fDyrW2EQBt5HFbLB29C15Y2HPFQnQYBrtktynj1mmdFX4u/4lWC8vduq3tyTDVEcyKdBHb19VtJQe9uPQTNMbdgPC+ORFzHy6tct99X7XKXy3owKLOuONoMLEYqEprmiDrunVSr6TMylrq4Th/7QHIFEGlJLEu4ZK0iFvQi6oSUhACVByKt1RNvUodzvd56ZHFmiu50PQtYMi5FJv2iDclWN8LRi4kooUJbV8l7OD48z0KY2TexdCLyPyfFoI2DJXwlXumanZkSUurYU+N3c4fH86CbMOZ3QEPnjoA+R4ndnu19zzrBt+7L3NCJYqtSSB1Z6kiCnqInnmoExaGD0GMr2Vy/3pzhff0JfP5eoyzGUoQTer/qd3YRiV5cdaQUcuIulXq+jh29PIqY9v7WpsA6vdS6Z6k0dlqu/yXUQiB+aY0b24MnXpE2JKQ2wH7m8PhXXWheIE3+Yaug+4J/n7FMcIm50vP6SgMFCw86wnmdz5C4PC8PBoUxiJzOsIzgNwoyKPdJhCu/o4piRWqXrYpwK6fssf1s51RqrPXaEfbx4fmYRTSRG354s7Wvjr0ZTFxx6X5q7K2/goQoAqklltlP584VlC8cyuwLbSLHkJ6mCPualKWBifpg/GVMSrLUQpsFOzo7/soqPchWerj5QBErnxiQwHGwB31HfiLLCt1YkcqTyi5Uq2DtIoze6ssaqDn8CUMNkYLF7PHuawdc2FwusfmjE+aTsSy7I8fBEwPWz61f+LO0Nv7zSbkS0UOb2SQevwSfH/slFFP9bd0UY/UrTG+7N78mIBAwYaFzzjaHoXMhhGJjN1zLZVb7kO0BVeMWv/pQF1ahWAGgz+sKiRY9ajfcbTCXvr/t3w/gmLvUL92kWd7yR5gG3FA3GNFb9YKP8vEAfD/H9n+D0MzDBONEMvDkHgvwTCp4HlPZ/iBABMcBhB6aCcUOgr6jO9iX4POcebIpP2LtsG7e4qOX4VExZnk12HLF4xC1ceAr941A1LehdSdeZhvHeFuyVXtte9rIi9YPmgTFNcGJDwqT8tbJ4q0hr8mKkZsncFywaCHCmn8LfDnBMZl33Iw7BaLPoj5WpbhMqnGB5Esos3+qrKUllCZltanI4KSWdwJwR2QLgK6qzg8dXOntIxftnt/WltXkKi6lZe3QEE7N1bQa8w2WEW9gtmaIRZyEPnvy/8fY/lOcD1Md0EI+4fJw3C0wLo3JHdlRNHIZiJS6NuY1Ln3BJbT79+bPOZvdpcevjX8E8fh7+C850OP3MvgZ4ohD0rl/L3nfTSf5bXpwX0lInZVg3xhuvhWWpDGNvDBpXIgaFcIUCmbFW0/uAavjQk4vzUCDGKBOYUj9cxy7l4s6MD6DOo4/zqNCMtR2/0DghnQItA/HvfL4Rn/c9LPU3Z698HZH72CwAa9x33R9kD4ylY8/XLkdr1bNeyH17+sg3pScIMcfBEaFC1gOAYIaQBe760rB+UFaF3csqkT6Uzi+q9pH5zcU8LVfJvvE+A2tkJg/Bs4qRH/8JpYOpdd1oXrwEMWZY2DRKxGSuUIeAyt27t/6U33+6fAxJCrjbNyhnuhb7xypMfz5NjJQAtKqtrJ70DXRvJB4QLRH5FAaW0XV1X4skpXy05KFaRirL7ogLbUZzKBChjP/B6hVS+XTd/KsHvJOGvX82UJgPkAuoUjxlwpltqRykpibJe8wt/VDDW8nmEOi5fRzGSryb3O/oK+ZovCsUK5PzobV1DGJioUhc3IJsprzD3x9eTiAtwvgTOHz1hvxMbfpKZ8av8xDtcBBHwe40iE2MmoZZidU2SXNbWzalpUN7D4tIcHkoEzdZis17rpbn2UFufvNZu3e4Q3FccgmSzsMfgaxRFPAc2cYh0Q29bnx4+kFmhpROAp0dhGbEfJxr7QaOlZ2790ClyyHS6MJzbvwfxGg3gb9ETvY9rtHRLNXCPf++HX+HDfxnGS/pf2BmUZoHo12uxze3YF8tlIqOBHQ8ck/ByEPfeq4p5Z0x/UY2Qxun/Vh9Z7D+vjpg+ImCCCqqmN6yk7cSJzzeLy3662Nu9JaV9BxxvKOa4EX2EVesl8BRpRZugTwxaQ+w2ibFCj5WJg9ljHYJ8JEL+FypxLibth9xsaz+JAWEe2JwqDuIvSxqmdEvdRvfXQ4fzHbaT9EihJwALOqZPf19bjSnsuI4o6S3QFK47RvtR9sa/TkH58cOVwMLwNoszmhs1RYpliMMGTbEy8AHu+I6aZbJSVAztGOM/gr91wD5WtSAM8N5xSrGKDBXRzfL6b/ChrmTv4xTPOCie9JznYXqLaoe0Eu0np5QIEXiJGyXHby83Ov1mNgmRXmepmtfkJvLs2gjk9DfjxmfQH8oHZYnFCnpDXRTY20ut+tf72ZoGnwSmxn82uh23LT4vtXg2TQQEM1Nb8obQeuNV0norSWwdVF0ojFo6DhpSOOAFD8a6zkdujXe5OluG1yNo8ntcfzg0w9C6b3fTuXXMMgRj6E+e4VDy1jWQ3MxjR1zuqGL+oubyw0pBprQByw3vEgeryOvm+iZLPzJKhJs+I5FafRgAC6ldPshrMcc4Ts6XGKC9Tp17qcFCy73s1DJvw9JLNgysnV961uJxZdF2UyE/FSoJ/ke8I9P5F8kEt9RfAELpmMcvlfk/2ub4Dvui5n/yH4GsbffGZJOlC0mWx9RoBM43Vn4rGmvIhgPhbMJioyX8Dr74QPLugUBXti5aJWYaO4ZRKm9l9ixh66oyzniHHX2cDB2gSEzklFe+ngj26EoXFD3WNgczOCCsLVdYNAhVw/8YYXgLfSYysY9Mk9nfVZ2MSjbDGrYAvKrvuSTTr08PdfPRFJhdyl9F8JmVg8/CFH6T3PTSQlw74JyZSJRwScYA4CgfeTuM/Nh9pW+imdU71osyIQav/25F5UMiDHSmwNaLTs8+DBAyj6c4dWCvRiPybNhgDCBzh0HWr1wh84q277wtAe7Srp3QWG6jPoSXjAg222pSS6u67Rp7FKX8vlWcPbW1gibaQeC0U0e0SCm1fg7wwxm4+YLsl4tWiiIKXgIOOPKCxKnR+RY07dNukV3WuiS3hHbCfj2+xIUuoHCsS5mhAyOTIboeVeoqhmRLmANqKg0mYHpGUJB5KTlSl32fKzMBs8DgWY9rRhSswA1sQ2hCvcCl8IAHUJdgot4oLUVrOfS0GdhmnY311HB5bfI+O57d39EJIraBDJ27qKdncdN0SXqsR1Gxvbjoyw5nNirQRVoMLGPcfdR2wJ0TYrGbKSD+OTR9SYgJf0ka+YpESUYbmsK4UJerrLowG2qXK902t7A0r2QibDbv5Hx6ucvYd0yswrzT65/ob1TehHR7aCyKt0K7MiZWdL62NfSgOiJMXRyjxvmSDEJmLj5Tf0Z7skTldVycO5F0C7yJrcMvA/wA20JfOTq1yvKkQb1MB3ltQIKQtcodSTjNQBv13Q2SPV4V32hiJ5R2MMP2eEKDzV2KTYwurc+KAJKHwlIBzTB+rx8OCjuX0h0K5EcrhkArsgYo3e6uyZp1eepIUPdTEY5H/q81FNhzwsASQlWcgpKsiJ9gxmehRItkb8eZtMQ3O9FY/+cNacoq4mAFC8kJHiSJo41XV65FVuktOJIX9+oR79Iah7W3R5xBJRST71Loxcbmw8wEcSEDSc26lwkka+fBDQi4HMhmTGlc9ogdC5KSM7iQElgimKqvBrZIGBImGnz/U5a7bmpHu2IEyEWSblBEtoV1uKJ1f+XaEr8ZSuiItfyiLjpMTy+GL7Ek6yVWLx4iAOB2KNuzz4NVoiQBMvnW1MuPK4A2naAHOwFmtzhzYDruFcPn8UZgpwvWXOuwC6CtISm0RsBOViZXP0zXLXoIlLQyduwIYGXoRCPixF4PhHJz+F36y+Aoi5CzmeZ3PUisyjn+bF9xsi5McHLwNYjPwk5aMqMzCGN1HoZ/Smu0eQTpvOP+nTaGtSNZymcUt/gxOrE3YXyy4jnuPnlhdm+3D7o1+4Jel2ybp2zDYp5C86PVMtwBcWCSlIYF6GaxovZHtDiTEc79k3bXeZwGhbc8nbrL6st9TqJVl9hnX+GivGJ26BB+YYbNDWxJbGzCJOukoKVnHksSB03MidNQbjtThn3/BcbdPKeGzsGPd8BhVmLn2Hi7OF8Te4r4FtJq1a8iQw85QAjmRum6Gjy4tNggmEHjaecHuSQPO7QmKqmMVRuistwGYKmKzx7mmPw2TPYrR6CTzs82Aq95XCkrA2VSt3as8mF/F3/2lHwtutnw9FbiQSUC9o6AbrQqs/os9iDlM4Egw7OkdjrFORuG7oN2FPPPb+LaAni5tMfMNbh4DmQKA2nyNHctNIJR/Ekuc/o6+bGwKM3p7gRUmK8S0l93MrGcZDXYzSAGEdgfWqudeUA4Za2HkGyrhhNr6KxaaiW94Lf9syjY8vmqGyTOd+zE0Ed5WR5npOMN+DOeOJs6nR5uGLkIzhG4yaY2zwnHwgVcah7QmPn9O1Um3x+jw7svfA0fpomSRRMxHIK5CCpqkptLCzUz+qTiXdukM6XvR0t6/UHPJmhPvkQ2cx+cMx0XrvAh3jFWWx1WogoYoANqm3cQoUiH7c6HyhWIgEZ/22ms82Kza85aFizGzF+0F6IairO7UZg89bNss7fgl4r2Zl9W1d+Td7CP3k/6UFO19vYbOVT/BNDSUJrVYocSwB2HdWdJPEvmv2fUVt6Bkyxm9b5D5xWkzkW0KhtwvG7JZk3KvTRnGvDDMcNjk8wWzyhquyla/dcTYOgXaVBjP8zVxR4hTLXTHjDdS/OeT2eg82JWJDUrjIPtnbECacqaGY18V2fG3mUWMR66yCxDBfSSteTKHvXhOByqY9InrMOp2Qjm2o9MmdM5U/iArL1EKIUjT7XcCPZRldv6NUwQwvgvIHu/adgmiXUs1AMVGN/M4oOLE/UM+tAxYdmZ2py3WnnbSbxtvQkgokcgiAXKHQSlZPmNouXdgBT+1+PH5syswEaY7YrSh+JR8hS6ohU6DBvEtHH1cT2vWLLK+ls/aToGiufCEvUFvhRfgwBdu+d9aPkxykiSzRykdiKBsMHfOeZojbJZvgusPgydL+1jsORQnW6ZnMIuQAUvwANL7467lGgr6azGrAMpwvasnS/489J75In6tCt0hOSEq7ZYwzLxCXpYx+Jd5Y8hbH7RYRXrfvvIXEy1I9TGM9yeF3frCDEFmGXmDspnZObQwHQoPidWrUOm9sjyja8Meo1vT9DNacLZK0zShDTlix6X/V4p31B/TKHFQqYHHdpHBk9nUeuISZNbvBOZJAG3W9vIO6N214F4180F7qW0qwE+DDwJtjoMzvTmmWDoei6+GLKTqoWtcggPRsTlYz86g48JWB8kX1NdAKYXWNAjXkiov+BZDBumCuChAoDo4IWAfDzCxSNGjUWpVOjAd4Z312eRXhQPEXRCy1Ah0hcD+X7NEy5oXWXfjQMZrB0csNyyvG+Y4Y9gy08UW2VEwaMQlafcI6PDjXLN6XyYl6kEvFN+2SBdpxiu/8iANWXq7lpCyavKW3wj5hBRdBeFqyiBxL1wFj6IbWOBhucQX4NU/NodAnTcCvhodxp8NsmchPXfLAc7Tj//0X8vrQDqgl7aZzHgdWj/ocDK5ZfLXPR1TvgoTJ7F/6/D7iQ0C83gkkzJEZ7VLmhDLO0XMk2mOniCXSUPVbq5aAI1LB7rhpw6PawZqI8nMFXKiOFW8pC/vnrdRIFYKbfLLR3aETdxWVVsN6nbKsCaD0657dr2tdsOnI2FHmW6mP0/lT0ZOXDhpZT0jN9USEzjw5JcFxjk0q1rr7T245kEhrWYN0R6dPFwiJRRcp9U08U2Z6eQ9c+B2U0JnAdG9yOhmdmEcpB6WbkxKI8ez0r7+mk08Zm9gjPvb1H76564/HsTvRyEjWy55/tYsFtgOIUSs4BD8lOVBrEwHyoD7GFivHxHKwib3u7ww2WPBtgwSxe4DF6p00Y65wbmUkaS6lDh6V8uluPHt92qA9mAeZA5r9jmfxav2AojdqwurpIZnWf/gZWL4I1cQUeI2tPGFSpDdoyZvc0k2oVwjAWP1DNo54GPux0eTIiWzmZ2HdfWCnzMca1VYR84kUueajhfi9X8YJkEG3FHvOu2KSCNlIJaBYpMOKldmlYcvIt88Ijv257o8EJyAOEuJJe8EcGdR9yqWPl+odm0HDoTyhRRHPfZ0EfxdJsQgwhuMetObA6EOeZfnAZ8FB6ydmWvWj6bnS6aj/J8JrKaKafokajHiYpkywCGiK4epHImrOnnJU6Dzdxu/SXiXbH0EP2omc1fJ03sigaw5OAjgkwAj3OZN/jdClp49OFLLc/j6nVK2WsVRxbmV1CP63AqI3lkqbzCnWgxJ7brMyOUt/2FIvF0Zxcj67QYusINI4lT3LOmNyxWv5QnN7Ka221BZxLO14mBhQPShlMtt2BF8Rj3LkXRR1X0D52rEhEWbVXm46RN3zlAa4aTT2k1NzJO9e+8H9n7X4J8gq2V8E+mgGIMpV1V7PpMT/XUj8MVdqoh7bL5RsbaWHT4wTvEL3DLdaL7D2kb83kxTyUYDzpnywK33kEVaaYhE3LTQewtXdZe6uCTZ8XEtTSuWDEpZPzDAlWesAPTsm0f3J9tKIKCroaao72DUQ/RQMqL3hY7jXD6bQMa/krUGPuJ0yU5n87/dk34afq9zuivZ8gaQKepCbiuR9IFrO8IojvaPrBGXNYyd99IO3twmQEwdTMIuN4QW6lkD+EMvvESMOArJhJFUI9i1lljLo64NsmTde03LuMlbwTDzGuYQcOTCgo8KVn2w3tH89FBpA8pEGpY/3vjjjP1cjMntUyrkUYgzs80V3R0PKd6K3lmMkeHxMw1jCzIBby7xWDyZnxSsynbowl1QTC3xxAepGbU5Qa9YH5LbLPIR/oTkQ7n8+J8Z/1Sxin31fZD2JkAX0loibbChhH+/D2i4yus0AOWRnDhCvpC6D8Wpy+/U19WeVaju7Mv+BjqoAAUzyQMOWiSZPLZXPjoI/vZqdaSeaMrMDa/BXwiQBxWuyV2mPMFfyqLm2LFvxxEliWnlA5xGyVtWhzl/iAmJYTq4RGlWW3TuEN2wO5Ggmd+pJr0kyvwnlbV9KtcgrBdkHlJY6Z8qMpf9d0SQEi/mpqx1YevS4j4sKQRx1OiYWe8OiIsEA9oXKcfVQlqRPtq+DPO67GOU4FaChxBMrMEKJrZNAtsY9fiyGPjIq6DXK4ABYM1oSWNS0JhLZyDjb4nB5F0DS0CecJ9LhkGyvmNx6zV8xoGQfnTsYnduKoHSvHcvQLw3baljkaQL1lJvlSwC7HYTCiQhgk7VPdde8Lq63nKusd38LksRUbeCMOw75CBPZ4tFDvgRQQ6bBMOvjoTlIdv7HIG6eAtzRPTHx/YfXu9DNwlA3qLNSscPtKvyV9kHVf0/xHmuqeDq/1jknomT5KofcrmPJE2U0bwremjAm1Ju10gEbXEYwTzXwCPZT6xm9mWHKPy0f+L4j4sWaSGh6htHLHCUq4t519hVoklvAz6gX4OaJp1wTkelKpY28vZ5SMQlrhochHTgtpnzArr48VLSEHGRg2jvG+OxGxLKq8nKX5wGADppvtwt7UauejgCVaOG0UF0vq26p2foTrQBAI6V5waUX1JzUwrlu8MigjNrfZzjYDQ+diZ3pVbVw7DsB9Ms4zbWjK/UxmYG0JaGY2Np0N/YMM66mHV4aKMYmkbsj4ugJ5lOns/l5PZeiZ43/gkBOKegKXFLBUrjLFzBJRd7qj0wUqssDz6/EctiJX/bkVmZ/XlcODseWU8Y1FuXsdL+3TzSleCzsXo/FsUGEJJLIhQzToP/rEEoodaCgpsVCJXw6ZD990sNSbQPu324n02oYiVT4O+BOoJrlJ0yBPsyCmxX18N8Qy6+J9lFf/vdlY15W3O1EgZ1Bvk5KO/OnjQ/JY1FS9ad65ki5j6pktyQxUIB5lRRkdcn61tbrePQhZNYp0A5EmEBv65LvvEZLV8Gu7RlzHTZXAAUsXQQl3irn4F1OCtlt3wPnM39FyutjZgVHDxBPVFhAurHMcjsbb068RqQOqA60TKzGUVzqMu+ZuDmFNZlhna8HEwfwfy84V2Skbj1s4XxVkn+nw1NhgjXeMH/J1XwQT3HlejP932BhmojrFqQ4sIkjqebkSKDMiReJ4NSZswFh9PurzPF+6bdiSDQY+3ReijSXCTk6hG9N1VT6zjeldoLC6egDfmnNARlXSo3Ko82a/UxroeyK2umWssg+jub6gU98etBmgMyoWMdK0JsfjkvVE5gqIliT5cllOsBwMLFLwDLGe7/nQ94AmurbVC+uPymjBM8WvTl/HdGWjGdXiyLNagrspLPvvbAPLlgzu9m2XIStAD/F+SolGJae/CSqBq4sa57bFyadcXoiG8KcEr6z45JAw2OqCfVaCGUKL/L6f8lJLGM4B+56LMmUnvp/hhdHeaHnbt3gsql41trS5qETvFJr8CvGbRX3D/bJNc4DEq2hdPf7HXZhuOCe0n7ibjMpRUjB69+7lJmfRceqEoO0+OiT4etQyy0qaFZ7fA4t5aUbhMUQoVlxb6HmwVILBYfWorIo9MdHOXwwXh4g+NspLtv5IXe25aLEbtJyQiIZU8GZV88gWIcDyDleMNKCFFvEnPI1zhMHWENhF7qHRC3d6ScYxabGp28IHij2wsFIJ/n/+fzHwJ7jdLGRKgWn4Q0RDMTCPSncR47r5HOgo29ohkLT4ipOtSFDoQ9EnuUnIViToo/cJMQPBKmGtjEOBhmaGg1paUTCKrn71HYK82rdaLKQsnkXLVgb+PeoAes3QdHmW2Y/QWp5pTKwWBiTYo6WgWGE4T+w1sRay2AgDt5ymIBnabaqBv9IizS0IOZpFGY4QLUIlrfiSMQ05uYQ+kTAcL8He5kYHz50VoYUb3hFvL8ITroPFWWxN2qxbwjTPGczXNNv+q2Xqib4edkMfN9Jhe1MLIelCAbgH3vAhE58/z4QMSFBQ2ERLEKRCvMAYpyFVtz8ZyZ8xR3nxv4F7U/MC2YybUFORQMa0ulmIPiW2xnfXos3mUZwRfdSlg1bEOWMwDVBGEyLnGSO85fPQGsnAB4NXjp8dbh7F9QFsMdzSClfJkCKEp2SZk+qXjyIxirrDdsAigu0MRBTUT49XHcfJ20FvNevcxjqD3W6nLPWx/DjK0FaM+DnIWjndDfqA7urWB0jxFS3aBUCw2eW6hmunTkFbNHuuQpqzdYXga/FiTTuTt8DIxnpxPRAbKnQjh+nNCSMWKHXMk6dGX8meUY+MQmot54Nmcm3bEVcjLIkV4mPsez7zB66FuSj9wdT6H5DUWJSECJsBn9ixszSXKYbTOd9Ux8u4EUB3hgR8426Wtvw489UUe/IaB0Jgus5nI5PlL12d8I5VV1/eTJrJc3s7KfnqU/B9KPLzMjZiVWvaK8QFtmULdxL911wBgRMkbV2SmFoocwfX1UFshTT5yapbRydN4kEEqXlrYjqFsaHDlqxtCYxjWqy7OwBXz++pYcBK5yXWxdiyoScuy3CP5h6t8MMw9pTUHQ/wvlTEARnF20aJUv9d99HQpyYa861ULZD8wuxLWCwtTzs8lPf4PoNZZZc+ZUQn8Ji4+g88id9OP7gddM3Goe3xNBJi1DlKoX+i0nSAAtB7dNEz21cWWgYvjX5JuB+vWTkl7r3TPcyUBbDyVcJk8iNtqhwVMCaCrXizT3sVQZZMY73FHwepSIEt8hTjDai3YPI5MuRXJt4wYjfKjON8wYw2DJTKCndjM9+b2e0DYCLheqwhG0+cfpQryh/MltarVtpUC8V6WvtDhapj6ftVfEf+nbZY07hq2rdVfwrE8qPb83J/HwFGXEQvbHxoIeFN8TesE2jGewS73vbcl3QKvpH0x5Lb66vUCoZoRq7bkFzh1a2tQwgRmtA8yflEB0ECaickjX6fAFtop9Phc9GhFbZfLftRXsiL8c1sVoHFRDa3u+mZFKkiWcWc5o8PZoxgY3dA2nngsyteDBHWsKirU10npRkfIQcetrVXx0vvV1jq2AoZmqXBVnXn1ZzyGh1sr3vz9+3O5vU2LoJNg7XMNWfzCk1pj4EcX4c/zKAsK9HnWnkt8WgzVu1ADuzrIaunTYsJEiWzERPqIB2Uz4h9Sr45IxE85ec6TD51QUgdlPaBAsf7zNFLDmdEZLNR0gPqu6/roCENpEoHfEsnKB5LkZN0MCO9Rt+ouHkxCVbGgR8xRRA9Rp/3lQLYSSJwhmfc99DZB+jFBuJGCYHekYyhtXTJ1MZNdaCeEFcCWrq4ey3jgUfT9ypazWi/XxdNVqm/YQUdez1USeyEzwrG0wQGyEeCPvnVOLANpR+AS61Km8Ncscwx1Hw8NM103zx9PZ0drIAfKFAgUX4Dqe9ZK78rbdstfbs0JeB/+JFCSAbMMs3zUOJYUzz24ZErtDmCA1K5GH+rYMF+if2TEoq+bVAaSmLyuy+7DN5dnXbQQpdaDX/aHpy6ar0kc4OPAKTnbUMl63X6a8UKoZDIzFiMHIPQqUe9aEfw+bcHfyScMBP3rxUlRkFsPq/4Lqgv0gvwvvqGwTtL3LAYzX5gY+h6DRPVaYHzd9O93wyJ8PrHN1QUwVBoNC5RorxDFk8pB1r/uzd2C2NFyVPt6jC77LHUbIPVQipW8Lc9jzUcNOezCDJtPhN0Y0+CCxfs0DRC+1nlnRCBV/oKVImYpME89amrUZAX94zK6sbe9O/OCr5r/Gzrx8gIdzUmLEa6rf9t3MqbU7IGuMA86W1d33/X3pTJ7Mmz42fRhL1WKKHYAsrEEoy8JzYdtqwX2Q4Vkat5rMQubBPzsKUzZOccvKw7p/i/uNhtpKlBjQduaSWJ0rUBpIJDvpMbM7sMbd8j9KbQYYGfuw0Jlfn6inXmMlhA6ZbcVcVLougMZSWZDrK1fTg5010TrVcfrRPFpcAicNsoLDeldBeEVn3VLXIqJQUFAnrj7cFT5fqdKcTyshwbaEv3EeRhzpmLgNOZ3J6nM4Xabwk6UqSC6NxFvRLlDYoJPLTklksNi3qrSoetXNOchwIV8fcDBEA7PYvikTqHEDb32anmYqLudmZQHluNgJWh1RrDZ0dTZjZXw385DJ4nEOTMOyvfj9ZtXxHHt3IkkZhDwtSPfTowSnR5ePNOe3n5GCHCRO0LqsHV6/bpMQMgkD/QkgxWE536zXUd4+RM2C5uNGJANqb/pR36Ny2AURIHUlaBjlG9ujR2jgaubENlKSB5GtHpPw//vNmiSHHJnCICDqdEnIf1sC+2Iw2QWhECAdEyOdKu4gm3/LZDVFWR+Phg9SUZyWX/X7y/3q5HNycdW/To9w7qjkSKxAharc9DMV6yAuMBHCBex+UY28MBI00UqT7Pi+RasG9SMfKuRPpgu6OagSMSVo2das4GaMo3xgtb9VBM+pYHRDHFzWRqO1092wYeTBPGakADjBOUIjxVYk1g3hWD2/hExWVn+Y1vYhSycBA7y7nq6S5bk14tU7xwVpXCHYtoFKlxJcB0kBUYzzSnXOMbrJ3CY51aNtNvUvJxmuJByLSLYHrDuWuvTJkZ4IRzmH475oB1etJ54DjeGZvNB1wrT8ypfG2MACkJpO8sghKp97Fgaop0xW7ARU4ms4EgiPkKxgvz2noK6UXOizHVSI1kt2OUDsdsZiFgYoaut5qsfcXmBd+1luGHpDygBljWcVI454P2Cr1ldXQAVMeBejnS+Yf/Z1+yOmJCn9f+8nghtI/ptnnD0uE0v2vAUOO3rcBxHEXTk9K9xSkMV/CixjzDVXlJb7SHatMHUAEKYTQK7MuepehYnQoFW9NUaePYPPICmthIcsTIkrv5tP9dhFYDWQ6hprxllaulN2Ly4XF56LY/ebF5OIpN7FmEcgjnmlg9QCl9man0GdAAjLVSL3YTwRbJ0Ro0TScknpfTMCI6jRSQZFbDIagarjFXNq7AZIFmxQwuPJNYeD0/FW7wDyrw6ewZs53kCmr9d0qeXQ8wCothqJWAO2tB/8PQVSA6hksfX3F0fPJ3UCjfR2wfcpP0d0A0PPusjHMJwyHXYD1DhnK4kOpZMObz4NTA9gOPHz3XYf3NRLuoNS48KmcXeOsbSbPgNAoFQy/5Qc0VQNDeG0+ZkC1ETHWUhoASCt2c4wT3y/zhgrskZSTSFsEgtRp/sMJ43noY8mzJb9i09SZN07gkWNmenRJl3icZITZI2JfiTGElRnD2RSna3Okfuf807lUALvu8eepEY2TCQ7/UlhP+JiPQGETWcqR/BTLGyHCZBLuXNGbOXZ2jnPKmrgLk3/w7sVguE5ZyULYPdeU8Kp5heeu5HA07TB1Q85p6Y9brngtEDy75WriHa0d1VVNznUfwweXusMGPq6e7LdDi+MaJnHNi6Lh9v+ZAAf7eQFrv5Y2DRCTq/wN6L6iHHxpS9bMZn4spHPxt+HXZAlm/B64SpzXgfeSKMmdeFmPVG6QmIq7sFESYUP5v5QRcjZgElKO48ZDe3nKAoJwMWLO2RizfZEutm8zGv4mfVqGx6zHfUnIS5Iv0SQ97KbE879/SreeKaazLBe++w3HEjLPxOKwGrxo9XkloChl+WvzV4oxnAcYoGWIKewH43WO7bHG0Jf93MYB5/m4aoF2hu8BEuHHxnl4y4SjgEghggzVIZBSyLWwAi1GhKfgYCGpV554vMkbNL4pNu9Vi+jmiXDU2SYi9aFNUUMSCZEGt74xhxiXVNmxSrhxzd9DnH3mAXe9HLptkDCORC6LJqjfiPmQ4RU/+YD+r1feRqZ9fGtJ/G1shv965M+DefHCSErKM4PtmcOzNEg/p51HLBS+FKIyrz37ap7W03thNaJD78BjsLXokdXy3bat+lJI0NixhDteXBNYsnXNR1fLrhVqcpRk+fowBQpuFdf8ZBLUSz3oz3kwmRmIm0obCnUzUb0LBGJCVK3lIIwbNAvR7nYQH6Gx4LhlBvkRmfIG7z7RcGrCSPw3O/Fb9RRUJbNbxDNKy2QRfRTbMAh0FwOcvKRZ7AtopuOMA4i4l/Y0c41SMP/XtmYbgQeKxOs7tkwjbXHuNIFsrtdTCJNSTmNl9S432+C6XgHxJp/hGh3k7BxXdR4XR7avMHfambZ3lEUM3NOdYm8blHU0rgeWKWa7ZwsZMALwFKXOuK09WH/3Eicg3CO1qKLNJDzm5aope1in8HCIMqKzqQwNd3JqSvrXEhGBM7HCUTSj4M//snxKRuaauSkFBk6XHZ8dLP2JpqTFvJIKbtLxpK2qK2BXr+u3cUnRcpayXu/MADqeRlai2zaoJDZtfxGsKN0B+GFaIDpQzPCGSpr96vmiOFfJefXq+5QOoSt5LQ15okX63I1oLWeTTpQ0qNczQN0FkYwBwxL9pFAX++sX67mkcVErpPmSX8ZqLvgwc38t0qI4wqd4sZkJyyKzIZ4CW3JO7lHXM+Bu04IPrmYxk5TRNiKZR8Sj7fAdM8qy1LGnYuvCz4b42Q3szD4mvbdZsPKuNR7GQjLDktkuqijwnHbXmpbGHX8SEhb+0bSW44S0FMtFauVk7JHlAkx4iCkFZtBgFpZjdQ5oOEW48MqGCe32RXOxkP08N9Zxt4f1DMZEZlPwfoQf5wH7zhRO8c2RqfWOAmhv1ej3sRYjcGrfBJcanzeT6TkHXZE85dIRVmEXvG8xGcTnC92nCD+pWDOWfH1U0m7UfderUZdK2+NAWkAcd+ksa7liqfmSHycEDenG/EkQtBr7J5TaYiICbbm/R+pWQX2lkWyja4sPYRyAAJD9mkXbP6N8FvpodEnBi/pnfjdug5W9DUCeW8fGFQwKqC3ZfZnN59OjP4BoDdly1rHj2280R9qk60ffQwEeU2bGlmC9aECizTykMF3uzzBNUEeLbn/GGTA81lDxHL1WSrkkYwXhKtp3M5XyEvYic7x1N6AfYEfbb1QcEtgG/+esS8bsOHdrgJKphySlgEqT7trRAVArjG/9UvEcKvIfmXoiv3Two483Laz/MEtdRVmUHng2iQXGssSHcS6GFTrcMww18CvRuGgNV9QIKWbSaWTpFAIoCKrDr5fZhpk9tyzyBbiyasqBGQFiroBPp3DkfCfepmPbhjQgJEiiPqMCy2h+Hpvcu5Vxs/4FcYZrVZAgmvDYwPIupkPAKYOHGjmTbDgMre3AwQ592WVB9QAA9/sxA9ihNBBOE5MvkXnNrSU7dHNiF4SymPRK/KePcTOAJxT2RA7vy0bCGk9keyUKegyRiCl90N3uUhQTqGsdYuKYiETZSCHe/uJ1vb0ib1ItrJYx8uqcAvGqsqHrbOurEkqrbFzy6Dp+hFK45hMity5nF0qdYN23bSVr2GAsHK8KJMIB0VEKVHkKdj9K+2tQ4MUYAcLncCxwXvY/tYGUDa5IWE/HSpeTZm28qvHKF59pXHi+59SF53uTRXCsiibba9L/N83JznA7WdcISg+/utsowXOgTpBrN2d5AI8W/3x/2OEIoVPaZEpXOblxyGCRGuGZSAbe2OdFXK+cIEsi4PyJKPV5fekdjxX++oNNKXAcZ5R31EloiKvbMZ45LRc8IMuW1rIk6BF+sMITCbptiqRhoHUZGrP5nXx8X6i/HzI9IZwHKM12hQmuWHQbaiKdhMGPeWFl1ouDDTQPIKeF/gmNCvPFjR/QFaC2zORbjhIcc4/m4i9DOk5sotyAQF4RdGZ6anfZGX0ypYNTAT7Wr1DzJw1vEQW/EzsTyghms3GvLyWRs5/X7h8irLRd4cUac9C+Iul5qW8X67VjSXyty0vWyFs/hbEiLg8Fk1awjiCMCCMmIJaw2viVZ86e1oy8yYwDJWFKf5GShcY+6W+J54jRXkQtjedmL/7/+mVpWAD5z2t7Lx9lSmGieK4YIEKzb67DyFhQM3G/FIH7eSgx9qRJq/RkSan4H55hnkxsTd44/Xr6rzeVNSPf4CwaNQ1ueQTtQZlrLkWKLZYrIz8J3tA6g6Y3KM9e9A3rEYBY9M4U3artWVA/HNm+YSQ4zcFh17xHTVutaD7jzYmJV2jTN0cp6V9IRSM6V9SKaaYlEWP7Ak4sdROI+dHDOFx6JLleFtyp7UA4QfkHATNWEdtb1zJQklvNjNMGga2hQ1+r4dx/b03LJ23DneHqjEand+N+3jDsYrrnK7qhk5Py+j4GjOFlbGyLXiS28wGMhGn6qjs+KOzgJ9bFe9mitGZ5s4yuHMkfx5rXqTkThQwkxMD6fmJJKArqE1HrgvV7J1w0FwbS8BEr8wHg7+A8YWkehJBaWFoyxU//uH3lkXwMoP0Dyu6WDrkwd8wTXF+bnDO+9FSR1z0EZuXEYpsWIV75IxEo1yNsMyadvhVJPOpQnp7M6JNFgIwrAz/Ko19TjUqXJOn2FIvA+e0WpjR8h6qadljFhIAnhJDMnWYVtcE8xh+D+tHSFfX81CBHTxUMyP5mdfjK3EyqZ74U1XvOO58MW5eNzyHayOLUXrseo5Vw+75SYR0cx3478mV/DSL7tT0Ps6ozZMWKTuy1HsPLGrGurp9jP0LKmgp/XNj8aWy+K8hRP40QAK17HjgZXBT07Dgdwmu4L7CpLcLoOu8jUUgK7slAEeCrJSFd8WIIrQdq6+vQBBFOHoRTPXFjf1aujX87bLps+PshF25m6al7bgRUGk169AmIiPNug6bVRDpv4w5YCxdN8WD7GcT/hQMPoGpbVxYR/DGTnyTc6iyPQA77GfWcFa379FakNxX3hjpSuisnsBC9YFAmpMmRWwjw/1HVLd+xzmxW+OJYqrvxgApLa/D+UlbbTz9ikXMBTwyKzyI9hObXJTfeXUQXLO1VVCV9HNm4V1t6DeymHwhl9niQ6s44zQv8P20Lmw9NOFm4yXIsFcG4Zoin63h36NOG/wuViEVxGQ50/yVYgQxTg7+6wtKY1XIyFgRC7bIrYt13J3LjvnMT8x0yo8tyxahETgwClfiZsYkl8JlyTDB6QTRDsZ40H3qPDzdyQFqfEvMC7okOqtIeyzFq1fKb0LX0nsA7MKXkl2plhVXPn1BxtelnDXGlWyF4ha5kcyvjelXAdlxYuearCG4kgj7EWu1THxJscYUjVvBVnUWPjgjeaw46uokeA6zaGDU7kFVlIKfirbWNwpCUV5yCuwkpxSg4UA47wbdmiDOt+uUnBMGtsLB0ic9XKriMeQCCL5NxkLtHDPFIU8kiTHHnsefvp5coeflk5Zk/LqCnEYKFLwUczblcMnWyfh8aToiAlQfYCyhb66Dbuw4eJ4p91nA/U2AMQW/TrYGNy7PePXjvjIK2r7HFu/VAoZfhDWUXQvbCXOezZ0R49lqmDGPXtxeInLEKGoJ0kFnisd6Lj+Y9dCUyMw2r1oc9kFeOVeKtr+BUcrjupz82AC1SixynwjzLkg5/2mAOlcVtCUADpD9WaJT2BXVflqu7ir0NafLszJ98PH8pVrx4bJLnABlsNuAd96qtEaGxo+z1szTEkw0dYvMvCARZSQCoTpZTib5PrMH8CknDe5Uc1Vaxr/bgZeAoaA63dHezT3Q8JHEIXVR/dsN3U9eTGeiFV5/4C0tGguGVYEM1P+ONCB1Cyja3g3hB8daC5U+DC4JTGM+BZPcAwtVilnuihNCMDoiX0+GLkI+5sLA+SP/hOpIblY+/PxiuYldITmbSAcFgy15v2HGzO+Ji/FtFjaH782yOUpgOqAC6msOc9YU0Pz0oqaU+MVoqw6ddni2SDrXGFOrvWK7Lyv6pH3Idz+mgzoT5BJmTh0tqqTD4nw6Ry4e9UrMlxN5+4Dw4e3rN8hvf5GhIQOMHRF/KRvTOWUQOph2e3hMTE588Xzl0VPReYKKVesFwC8Q0aEUIpqs89pUR1lqA9Q110LUFRmyQGuFw++3QJJdaoOzeGSVAzqxV9m/FoiNfanxyTfKA9Y81ea2+yb20F83FjYh0wCt1G8VAmtdVReEUfPGzhZibAcFgTr7V1bgDP73zc2LkH7KCL1nK3rCgTjDS8u+QrabRY5vrx0osqUj8tO4YdvozGB18MVzTupCgIL+bCSSsY83bpzM7CtD8nNMpf8pgnHzCqd1cq4a41M7sf6GGu2Qy71PZaqATCbQXxYP8Mqc3g9CCxfsrVx/6QVwhY1OiH5POZdkxP711iZkqMCL/NBn0ckSVDnjKgRPwsEEpn4ree8uP5Kf9I+/lt9paPDZ4P50XDmUp7sVslwmS7VWwjpENrYDOcEAyRC4uDVg53QJmCIL764v959cqm7OyTGz06DR8HcFbRlocUmz10PEffoWRbntdGb4oTWZn7Nn1iT1uzjXz6XZfOFLPUuN73hdCLDIvkS/zZPbGPgLysuwETz2ZzgpEwe75gfWzAT44/SULju/A/zG62rLetI2s18h5j06QWj+ETvLzpa8YlovuresOtpz7B1KTlS3p4079IMwU/UFDC0EOtfhznrJtv4m5RNkVw9W/dPMBMb8HZ95sNiWdVixTANEeYZJF3gISmUaGrjaliCHJO/QXd5IFwyRRb/AEadBWX81jJdFkOEWZIspsYXA4B930xC1pAwKHWglReiqeW1BhI3CJAnhxHW1N6ScEtgw+tSsl6LcYYeQHJiVHQLaRk4KgaEMzhib2R8bU4ZL87+655iBK4Sr2NgzhGobxBzCLkuCB2umHFXJbOwx8AWwsoapV9EORwc8Zvnd4cANgKYpsE59yY9u89O1FpMtrba+kvwSdtQ7kv7CbyKvsWqdOZbTdLBA+FkdHm6YGlEdJ2voFUXf4jODPGtNtVpboowUqfShR4tzH30SBlOqrhNFhwziwk2cdPxVZXLpo1cl4VTFHVJngLsnGTuPD7T1TlpZ6RgJxzCor+SumkdV91VlH8FQ887tXlDC066bzUJ8oV1gof76oponXlM3c1Fqs9j/2LYiABJ8g7HGbm/DzoQcXKtFdAOnVPKL9+4qw2Bw1fqqmTsNRBF7EGCVvvtaXWPm4hqfglJNv6bGO5HTznWEkLTxFrCDxP5XwNaRkQg8sXUAa7Fy3N5G1bU75p2vm++tPYvyk1oygCvT0jHYL+J5CZ1C6AOSTwtM8gG4dDh/f5BQKXQPpmscC81Ab5H+O5ixmZgmBC0JZI3z4n7anWvNKuqw0lDLcw72eZIUIMdppo9cUtgUHzGD2PxAGL+kOHHWuVPwJ7JYpenPgBc4x2OyKvEoDhDtMZi1WBCU9633aB57gIDpTOYQgs7irE9D+ZrpCZt1pg3LXAT3jKZs7RwL27olWcpmOqDES6eLW/tm7Ap1yng6JGHipqy+CPid/qqkB9fKGCYDW0A2TK4CWkt554vR0y9wjN65aZjWaj+wV5FMW+4WXRq8WCta62Xb5RvamYTmkN6xtIpx2ROo8Qn9cZGFI3PtDRMPJWneB5uzRut3wDTIgcJRVCL26qnRsIPZFl76MDiLwNtUkVO8gkl/QbnqtEZGt9pvuIBC57iRimqyP5XcJE2GkzcrwOPXA8xhI0CM8qq6Y9RPbJOfjXjqYCONV8Re9d/dTGkIJoFmjKk6+pbvVPHjPHD1jaOxpKOkkkJ2F2TTyjCZobewFYBKar2GFQ4spzlPCAHf1P9UdbahYX4gBkt1355EZOwABjYbNHtCxY3C9pkQ1iymZW8TxN1UjuRbBBMxA+MDXfhducpZ6phOXbVc1QtIOQcW+tX+ooaR9F20TfxKs8uXJzvuBpwPjWUlEgyTYVg3AKr4ccsdS4xcGWaQ01IVmNL4oZbi0w+Fmjd9BWEdZ2t7nisUD0wfbeQheFpaLi1q5CSCagKSlTmImKK4OOnzQsZJDPTzDLudshtiGoF1ZmOOZ6kUzHigVXOGdZC6ZIp1qRJ+8dCOUkvvPLcpwCZTKkXCw86PJbant495esDBBAOCP3yM5ZeHrr746lVZMD6MECTpzkI3qX1Tr8WHk1DLkZPzsNmKoqqdFr2pebDzvVtldpCbEBZ47MsvPLw2AK7QDhO8p3XO/4i7YK4Y27OIBk0wYaTFk5F8p3nH/250jpW+arB91g/TTG8W0UoogEvt53T+mS3Ju2oe8C4Kqpa2s+1w5rCpA6uckxrtoMay66prd+J5TML6feAPlQmtkyWLnY4IFZiwiKp1Rt9IiRPjW04qA6VzpID9QWug6DTGwVaOQb5IG7VgjIwsGmQ7hcIcRBdt8ZT3gw08/Z6FTZtfI7opax+Dgz+zSTj2SfnMqb+aOpKsSUjmCelaYl52AZnsILAWCZOqZe0T605+a3bwLncMTzyy3BwFPyyF7j69XhikX5DXTLvNqWuWMxMh4bZcz3juysI6GKQZLXzmlP/I+dgLe4r0NSnReQKMfbzcoButaa680cxoqVp7fkKOCmP6fy63VgqrXL3WorkHPdGFWKDmTZXOSRm8pWc4hu+WjToWJR+4XzlKJjBtOUJCEW+mRFCaeRNoe86oSq43CSXPDQVctAmxbrxyAwGOUpsoxStj+0kc0bWzEaDW9oYkTVSuPusM1CINgyAnmYT2dON0T6zC45t6G2a54PlvDPmg7M5TYL5J4DsLTUtLSKxIIUJDnAwExqMOanmLRvXTWsOuv7DCspe8o9zt3urO5ucJkNvJTt/atKmxA2t7ah/XhUFPSasl9sFBJ+VtSFdT3TlU9zkXirVwcXQgI7zGPPgwy4quY5CZ66qsXuHnb+suWgOk7/fTikTWjAeCwzs0s8RoS+KtxmhslfbLAWZuyMfI55uqa6F/poAC/B3WijQ2vWvBKTdleXoDp9vQO4vfbyfcCOy3Hqb9fDQGJsigXQRD/3fviXAM+YA7wzYxLX3lPMiKNTs1E/pOMuumIwm1UcErgxZUT0VxA3+SgYJXIHtkc7gZOykXybLfr5bYZ9Tbb+bZccV/FqyrEdmJdHuPra0A3doIpmoZR5+8FZKysrWyC2xFvI+p1dsJbY5qiY2C5sQFW+OecZAydOCl/csgXCpOuKBy2vfgNawwEnmqEKGlLScecgXtNaBMz45Po4iYMvre5Rn8JyNqj46LHjvp/evT08FUKblj3qg1Iv2w+S+qqPedoGT4/KybMDVKTV5CkhpiF8rZMnx/PPSdgvCUhnfSgLAXcfsUjChzPOSC/K5xCv2iK6I0FacaCsLj1yAoLoIdkgZBIfAD9aU3BRipn2YRVB1gkFOCFHRNfOKsyzDYMP9PUtbHL6BoXGuo203J0hGBtSobRifD8AanolHM9aBBPFO9ygNqFZ3ptjp4cJbCWDi+gVkGGFPYO6jwOFHscmH1JtKuUttylgi3xotuD6j1xgQMUObQMKvU5RP5umjh6PjrDkS+ugG9p9AwGXibP8asMnF6kZC4VCbpyenQehmHUectybeiKTcz60fJ50jO+fa+ErEb5qXvRdoHm9mr8piqTwZzNo+xYjRD6ZYqpUf3Zavxn3aHinXBjikunv2VL0HSeS/60oqW/o8S49U5aWWopv+pZzWkn3BCPftWudUJb7bo2m/ITpynZty/m/DN5gzXT8LN3Pq2eSyqkgIf/5QeRq5U7JSWu4ag9cKb0p+ruyhr/MEl1035moZVx9u6qx5x/b6LvYFfNjgJy4Jqq6DuvlZydcXEN4fTV4FktPVkiDd5kAhE4I0u3KzUzwPHto+1JQzKe4WFm6QjVsI+V485PomBT3oUQyExeNG7Dc3B6E9gMG2h0o1Wwiv50qM1U+wAl5wlI19dLQYF8xyD2YYB1vTz8Zt+Md+yX6ncsWD5H14S4uI1J+tXZ7Ezigup+LpLz0tSIYoSmXRPK4qxBQHnmsmwTuV+1Mi6UWPNM1Eo4oR1YC1vv1lEkfw4YflyNdgM8OgKJAdQIMGzyb51Yu5Q7P2zd1NIcYSeK4ewoBqqBjX5PphMkxV/9MPgYMJGrT7Xk8x8VBznv0gK/FXRKlqzCCNEnG7UgsYAhr6/gljoLuLt1BNZcFvyQ+pUTGMGLiC4I+c8Gy67B4iEJWPueJA/GiP/qZTYB79QL3CiXR9NnWUJ6Vi3Z4jKaD/iADZ7ElahaKuhoNXSzQir3reuwWPcefq5HzIoRFjPJeZhXEbphATWCzzly+kLlF45iOkvENjqFonR9Zc6PlVJXY5fd4qddYe6CZNxiZ4n3odnFCAR/BTcgX1U7q1bBeApTzWfYas7KcT+UBiLSfOK8S4ta+fnC30k1llt6eyHFBP7pNuVygZ5QiYGdeF/X98B4favCFdlocmVokTXIoxXcgRWlAFCjm4k8lVGeCV5gGtslLxzkQ/3iZHPhXoJlxM/PjXKGZHxCWyq3k2p5S5KvSW63zOiZ5fbKWNanC3p6CBjhGLttNYgOtUKZ1HiXx8eXbclC9nN3SDhHb12NiBXL1gKGAt1Ma75p40VkG0LG/6v83ozTu+iMZppWGbPCHFSRiMGSHf9un5Zct7pKtL59GT0NfIjIZrBiJe9Khz0kD/X2QyypCaHmf7X4R8AKIDXhpChJyXEXKoQfMFRxg7iW1ui9xUG/U/Pn3Sg9Vtp9fRWIfdPMJiTvvaS/iRC+XS/V1aQD77BZ+8QKeJb/+L2JpxPnjlDZiq/f5qA+iMcIsqPVHYsKZz+h42mu3LI1aXthUZVhZABkyPmnD189Tqt91D9eCA9Hmat0+9OAX9A54IGZEmB+60NGw0sXXES9bkoEXbC3KKsHhrX4StQKCJudGIJQ4dlM4b8iI+fu6XhTGlszzfTdZ3rNTxRcDBKz1im0bP2jVOZJELa0jyKu5HT/M2mHyKQxnMLPoAH3oLyGSwo3hrdi6DfKLJq1VhBAFlPncFQs7/bllLn+sdxiGHLKUOUGlsduRcWXBhovZomFcL85a2nqFXCaVBev/nGDY9BFB6xPIScNdydStWjqUroe3cQGMHSADdNqLGS4Px/+5+jn/Po21cx3eZOddaFhZrDcMpblH5injLiUtD9YrkKI8u5rw+Rs1/5Dq4QtWJSa3SJHZc75dQuW9eKNTq6yDMCAjwW0MIzRIKRK+UjvRudmdbDqazGssI3fYGKNqXVyVTacUkDVOQdKas5N2yT6jEWqJFZlerHdY0EPj3Cs3Q/qHQOr5NUuhSI8i6zu5fD/92koPqMWQoTlaUzn4Y95vTsVculaDVrHVNQBHQxrFOJQv3l3XFkp+9/VwOZ1kLqZso3QqJoJ5cuUDGwQxaNVUnAK6LoAwUNFBhahZT67tj83yK5vsLWel4xnUE8+rUtYRHIH27vQ1UR2Yk2DsxGSRLpRR6ewQLbkrEUs3wqYJjLKU69RqLKxfYXWdmDHJ4LxE/389nq9TGQe2LDEKqw2XJV90Pj11zrjHABo71bGPRADwsAIR5oBIobLfHybIPPCvH123SUPVuH/L+Qd+GxN5+qPnGxfztUg7Gu1GN38UoJ36chxXVYUtQYpnpda6ZsxaOXctJH8KHVeLrTroTXxp8bUUX+dRc1pQPlJ5pcCPXmdfzT+0LTjIN+g+M9dFZxiRnAUHtjqAQEU1N44vJkp9rW97S40JQTwYysyY+5M5LrBZY8HZpwPHas3YQj6DHbBNArOwtRbTFSOuG3Luh7vLjhFW6T4aqEU2NUHE/QZs5MtPhZq2KQc6pNUzdPMuLMlHogVSCtNdcWnwIBYcfb8Cw+Y3szBVJzyNbw8w01iylb/UCLyJZz0IXQiaWjpORIXRPF2Lhiuvp/bL7xpleo5LRvedRphdY2nu+WNnSM5nRI3UeuR9MO8A6Iw+T4dV19rn+V0itvBnf7yVpjZ1pVOjKH0w12ytxuZKZVY7woxoKy3FmU6ZdVHYAP8ljwz/oBIBZK+ZOMw09cddJqu+ISAqaFX/rJasU/37KWOzeAYMK0EtQ2QLowmWozaAOlLxEd3c/ZdEZwT++YX4MCApwAAGrjrhHtOON9tNF7Dxv2Aa5Xbiq5AC4KS7wXg1a/fEF/7cmE/gCGgyvf5SzkhFztQpMwBK562mA8kxj45Si4PBPphEbdjdd8QT/dVpzVCjg8riRhvKz+jnoBteD1xdrNKmka99gput/AYhnm0hyb18jbQa0miLp0qeR43EFdixOTQzi2T9U0NRXPs8q6R6zKpaIdYCvecsq2P9mEzzx44c9ZH26Ms9+ODnz5fDAxMNteLUiuOqOg7DAOfyZpJrLRrCcg6lYeVgQcwTCounzDOQLYffP+8JhSfqPzUsGkPymjUz7visk+vQz4Zs9FhUlPAHBS6jD6q74mqQYGXOu6H+PusUrOwweMDP6rNQ0GntD86ETLG/t5G2BVyMcaCrlUlQKgyhBf0gsBINZcIQM1ZCKtqPZ7GGI39XNQGPcMUscfXHboOrHEj/o8izIz2t5BF6bvg22PhVRLO+D7OFqEKoJeeIBxX5CBDG+rPSS8jbRxNJpR7nrfQOLV2zeMi2w8FrQmhgI98yPDA3nuexsOYaboD5ZmLTIaldAfHRtveq9PXYiAj8SMQZoD3j9+Iwx8D40IyoqFerJ9yPm7Zg3HBzynL7f+3kaq2AGuxnpRJj5Zr1L+qIVdoaw0RCh6M8oSUayEoXYGYwDI7dP9gAvy7txbTVT39PbUDOULVrK3uXZUPIyyuV/c6UXbanAasMGE9xOKlqXSUzGodx2N8mJ6P3+P742k9oZmQJ4feGyaNHJM+fIr+h2xtRAhFPgBmEEkXZuQ6pxdpMO0pJ41def/VdjI8y7+i/dtbyd1jGt1nLO5ncjdelgF/ZnpQyDFpZRHNbY/1q/CvPGggwt/fhuJcyVumyi7DEVxZqpI7vqiWQsgpNEBEoAhxcAWIiVAdVyzfuy5K0xyP+gxuoWAOuAtLDwA8UTjLxiffjo6BKfoIcFVdQq3xqy9cWTXDk/hZ1J4JJaQILFRAGpXT3dzKIi8L/pNthrpWxILVpO6l+W+JsHntSiPVduqzc/eXrrd+FJ1Hm/cu8NtNCa/ldIrFZ0tVqOnEJ7fhsiZv1iGAu6aXg7IJLFYhheHE8cMhNG5SMPTSxiX2qnIzoixsCDAeS9zAfLs/6suamldsCBbRs9t5b0LnyQRv8jJWC5n0oHxU09W++3TTwomTxE1WfNozu69nfW6Dz9nnmT7BMIds55gvHn1llcn1U7e2O3KGsB5L8BQZj7R5eDUmlC2hr4qHCkXu4zApxolZqzgAxFxkHuCkOCJx2gMn9eQsGYNi6SZnEeBemtmzdeAmLtPU6RsxD87pD0YBd3OuB2kEAOLbAF01sUk7piq3qBgcmoZ+94FUF0x1kfkHbXi8O8SFo/mDGZIEhGyS3R2JAzudQKhxM8B7vJz2wbCWhiQ5bxrrtRY8ozgzaTS+X2yQqHaVO3cOqo1n8c+Mzj0EA8hhKasWI3qU8o6m3TrZSbgqoWjURbC8p+9o6yiTcg4a8V2qhjWT8yVWKj5TyF8H3IqJfDK8EI/SgXKtBmlK2yETG0krGCYXVg4odV+bfPG10b1w5ZXS8cQfBfCMCg0Zc5jVDtQpOQ4ol99zVqNBQAqtJZKUZZT1r6l9MThxc8Bp63xM/56/LjGQMZaBZ8BJtFMApQs6ZKlaBWxq4wIgoTpv7O4/lEL0/sc0QJXpjW2BziMIVWLF084AJ2V/Zgi5XF7+QVnmBOVVhvpT6fnhBqlkw6/UjxVTJ2+1k5vhoqhr825Vi+a+FMTIxJJmpVRzTb0NvuNwjdaleR/g2F/UaXmgjD20nZ24AdudFKvwfzIQB0afXtr8AyL2NvcwpXyNAfKxoVX72sZddWTcBPfOZ2HwUazVbTfPCBebR2puteF7/ZVfbPFccMnpWZEuOOOk3e44rRIZHVb/+bviR11jfbhsvlp8fEEAhN709A9xLodGpzKU+GtyYrtJxJY8wQVGa0wK86FJ/Wa7JlTGZcKOLBapQa3QzKJdo1aF+yeKREI7g4y69c+/WxidYyjpXp/PT6bN7kD8afKAapaGyYWyYmuuL2T8l/X0+sH/cD4kXICbyElyjlVercMvQ7mBetPj5gomg/oFnkJ/R1ZOnc7OkSppy0zxdCYWcciNl9tQBtp1R/9vqk8Jq46vxS6r1ziPQ76oaPjLQwRabPQwxF6NfVg9OmGWz07zbfrZ+A0Pp35mqeOBlc+8JKePppTZkLYnqT5wq222B10a90cyrC5/zmMz5ESOfYkrnBlLpdKJxbXGcrmUYkLHvH6ksAs2KylVpabL966/WTIHmNjlTeWVFQk9gmsILouoIzkEmeSKco3t4klY+d/qUMu6+vrlkUsSZGkfmektNMF+dIU2Cm40bwTzhl17e9AuU7D9ieEvWc0h5kvEEuGZQuAYgGx4rYzIZD7s5k2g4HqJp/nW4LxWPcdHBuRjIQVQ8RCClYR0eOxsmvILQ53jXkTVS3Usx5kk6owk1udVYEyPEc+YkQ1OPgJws//QYE/GqgHfCYzATMbiVL+5BfVWT4kM6JpCn10J8xXIw7lyd/YKHm7mf+CqmUgoNHYDz5tvNhNgf2U0kqYMZHQ9DT8CCWPohNxri7PiU1IjFB9XdZ6pooRV0bTuBDCGnID+c16MWSyJmC13ccV41Y/9vZq4AyqqzKuDCaJCElIpeeF4Gsx0QSf/dpKKCg0GNNpzDsM2b8i48G6M+tKZIW4cn06N7VwdwA5ZZtkrHhIXrlk=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LEFT" val="True"/>
  <p:tag name="BTFPLAYOUTANCHORERIGHT" val="False"/>
  <p:tag name="BTFPLAYOUTANCHORETOP" val="True"/>
  <p:tag name="BTFPLAYOUTANCHOREBOTTOM" val="False"/>
  <p:tag name="BTFPLAYOUTENABLED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BAINBULLETS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LEFT" val="True"/>
  <p:tag name="BTFPLAYOUTANCHORERIGHT" val="False"/>
  <p:tag name="BTFPLAYOUTANCHORETOP" val="True"/>
  <p:tag name="BTFPLAYOUTANCHOREBOTTOM" val="False"/>
  <p:tag name="BTFPLAYOUTENABLED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BAINBULLETS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2"/>
  <p:tag name="BTFPLAYOUTENABLED" val="0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TAGS" val="1"/>
  <p:tag name="MEKKOXML1" val="4HooU0THZk28POP9trq+pbTvvzd/gcV8t56cq85kb3NDTsUhojRA0EsgEHHMH7oYP1SYpn09ysXVivguJdhTvfyVMsBLTGvcX7WPTor/CmWiWcfk2RmY+GE6Q6T90sFUcid7dQ+Kub8ulUpaRu+ZvkeQKYThSehVAux+2Z6ekEhlACpPBIDl4idFwS+LkSsn2aCAhAzE7txIQZBtXYAPdDOlkIzHanGiRji3OnqMlu0vTb6pQS0Ql8VqEqDL8dlM6DYLfMBLbD5jGVMWQFBfVVvP26XGrMkkUhOvDZOKFsJaUQnmmUUL3yQqu+MO+Ysyp5mTwX6m5oFYKMLMuHdHCrAwRT+mNfE5UyfTYISoA0BQdwYZ0oe1kINApzc1vidfQodMYcCEO9jg4wmmiZbDcvNSa2KCI0GbH72oaCpIRwSsXxUAYL/Hc90jI+dZVDTwXPIpK2CEPqf33dh14L3Ut6gUhpKGZJcaV3hUOeJqclfsLnd/h6SjqcEsdi0LACta5Av5cc9O4Dk/nmydMkzMt8wxMOmyP8vnTZMuH6zhUmL8Na3ZlJ8mn0LVov/VLpzSwxNF9hIG+B/fX02ArstWVMpeTWMUngt4EXuFg7isXYEWQmHugRyMR+mj7HlFrCSa8KINjBN00oX8qG292vA5gQGr/j4QU+GOBcmbPd4C5kqnHDLoc7mTKR0ZsCHUNdJLwfvurwsodNFkq6jiiROCYbXOTfHEybDtaYrwkpsBE//gElEG5xP2ri/Ms5t1OC48cEn6wsuLj78syguYUrXTbmdkMu3dyW48qu432OeUO1WnVmU8uvpfDOCxK1yd+WK/0mffR8ovoLVU1hwt4BL5lB5BYhlMxfm1MrQ3cWGfrmL+O69otCimcN12BQPt/jS/II3jQQTICFN/EMEtTzGenJ1ilIQ8AyRUQ+vX74lQFOMMdv0IwzP/lKU7DB8otCscfGkbg8wT6vJYuw9fB/1vzc8pwgaXgCrF4dELTST4w4EgLfQJvH3fmhvk07e1m07c0AMYqKeOHLoFl/x6CLK+FIuVqC+CcBCd1UL2w8rCa8lw3STWlcWPhgMuqGzO6W7+QdQ2JCzq4XU3BwLSWweqWkrGEBTriclS8GJ4t7Gu2Mv04a0PUgC41S1GdXcTW6GsIyCJIKJqPYqZcbcihfiuTfXYDwIB6Jgrd2ql6XsD+EBbtsyqQEfoAH8WnD2x1VlY3ZRvUM91NwWMwqhxX1YXpu1AkXgmw3yV9YwL9gKvPLTrwP+WBB1sQptKbU24cDRvVyUxtzYR1rLYktLcytWWTZ/DGbjIxvdjlIaOHc6bKzbWD9D9juojAEXpBnT/bPR/cDQS9wihRVO9GZu9fKbrlr/1LZ0139XkmVavp5uFG9pJHKWkF08rgNRnL2V4kbNHZGVKxTGK5nnwr8okaF9C4pGjJAT5qGF8bb1GcMrdQ/6PtH4nXxxLWM/l4EIQQuVglX/PMR48IJ+CUcQZcN2pSXHCJEbibNwiAsU6gxIhVeeaTUSrV7iixvVGiNdWdBX2LuK/pFBh4vxJVFfCzf9bxKQXBIo7v2rGJwl4Bqm3XMeNXCNm4PA0wXlfGzSlIefYBT1kcl3KXkJhaBETVtbPp7CHULTeD/jMENEtNcYCY+vjZrs/PmI1c5ynYi1hZWL/U6yhgmE77W7fl///UbgAxCRMOGsfDWHbnYCSPtYTULvoWoLCfvnPyi0Q6wCcGTWUeyRbhqL6Bi7mnzAAGe1Z7XDIinJVJg6z9MTP9Rg0nhEni8oh/fB5NZRpZ/9PPrDNGZ3he0HiQxA14NowqpRixeIz2LWhrfviJC42qeFZE9rd5Na+zcBYaDJ08IqYTuFBSDTVL5KhmgbF/JntAOXYt6vc2605UuhFjGgE/4tFtPnQ4gcjLHPv+oe57S046vHEoNoOPCeOKZoxSo2GEnIttjrOd/OnpxxohsduAf0eQaOFrQnkQmAGgthtTtWt4lRWb6SohAoGg0iLXQ1Hb/41pLmosu4OHJIjh4+fCBx1KgJYUKOFiTJRZjhETb7FmiW+p8bX1jqzj+k37mqN/TgC2GuEFf3MizJjyYsjKYN5ZAUcFkjnxF5Mrqk2YBXP/7RzUNx2/VRp7+hZ+mdNqDb+35dX3siMhNq4mcAyqTa7ANrXgLtI7oohdkP+y07kEEITb4La1ZTsJU6yj0yLGIYMz6WSANAwg84qFMamdGz9lH4eNdgKz6hKz++4G7oUqhoDrj4V8hHViDYyihgl+SetLGW6xQhlUo83ilEy/lLFsoUA40HviAuw8tmFnYPULRNcxEYgcd8wzLrhrUNKoqtnyZ4DekUTOTZrJqgrl7m2kJmJgq10DwMBwFq8pFBGe6MhgWTI+jgIo+G2CSQX1iXbvEw+bpcyPNl2sUy++gmdn5ppQ4ViyUqBxIRWA8Vu2lsuIjJQPBp/CXVB4kZ3QE81D7E/+moYNOEs9NFFOmt9uaGhLnSTUR8hpwHA9zcN8V6TinPJ/M+2w+eVc3Gi2PwsMWLI7hejGrZxsWQ3K2m/vi1goiql3UMzBq2nUGWQK2ySPYyG6MaKym+2OFuQ+PG7k/whFN5VhRSX6VhVqMVZZ4qOP3BN8SVYUVNsSQ1d4I9/+X4aGNxv3GvZ66vMMEdlcbBPU4Fevw/+E0O3iUSHHV1YDyONXAA5orHc6o526OdTlVp4F9OLsy5WZKnBfGi6RzY7Wogmax8PwBkx3daUzVFlkTpDcR0pKLTuRcs8avsY2H34D+fVdXS7mgVWfSXIeJyrYQ3s5lf7qbVZ3KJt2WIkbgrDxHJm/6PNehnkvUVG/DcB+0Sg9//4CLMptYI6dEfqzUrb94qtkZ9jIVvGNmg7DvmsnGDKN8x0ks0jNDWQNdx+SEGQcpwsMlhTjfjwgI+wqg+Lr5x1J9Twt/trFqpIzOHVXwCQp4zIoSX/lLFts5afbfKyxz1//RFAgpYCCqN4YHtV7JZg3lhTsg8MGg12k1o4T1NuSdxve4H809vH55rmFc/U9lKqjIuYimnapR3mxxLfunn9I98OVGxtW0X7XtWyqseMb7rizQAne97d7ksO/GxXE6l8ww5WK2wg5aWSXD0aV9rjG9ABCpDwWzm9gk/m97ppFylP/6zzX1jfzPCEWEFV1C0ZjP7F3Po0dYW4u6aQJ4aILwDVk3JdP5duFdlZhV8Lg9OBFrlbYIxi4rxVzNRFbOoUE/tmrUaJ77kZgKgpiVRem5m3+7etOMswWK9SyZBHVWTTrbMBhhOV2rh9fodGuKNJr/Pdle8TeB++Trc+Hxh+1b7YWvd3AcG4aESZx3HPxR3guG6vOFyNefAuV/QXVzvKXww6mgjDAP3opNIkcyf646yoLtWwKdQMb4Zs0Gov35441iv38iB7m/H0jkwuzBOXQYkcx8coP7SyzL4yE3Rb/l+YbCQETVzR/h//e/JhQRAJO8cB4ukNibmWds3+yx7mB4/D8W9fIbcFbHjyD1KHBMCiBqJfUAsW3MlosYENTcKS29r0a3y7ex0qZa1QX41VZOyQHmMVz205e7p16ms0CvhxSWsiio9C+FJfRM/eUH+sW9ElzeeYxYnYKAvEiWE+wTpegk2h7FssKXgHro5LV2LNTlwLvom16wt6imBTIhrsu6eY/lY687ZqJuolrrniRbmGDhYvARvzzk/9FjqThBf09l7CMMoAAlJ6RN9nJSxd424T2VEdo253O5M3GFDtL3nnmeDmlSshpp9HuTH/J+yxj/M0Up+27gcno5e+pXxYjc7nqtWSqhhTEt2Kr2rCf1Khvbm4NuulGzeCKIGJVGtuyVMhQ/9GMT9GR6Nz8GMq6BFFzTKKzzfhe/ZdLlnt1QzM07SL5++ve9Cn6pyvhl9eBuNPpnBflj20hZiO7YGnQcVl+ziLquH7DGL/K2UaIJgp4QH7yfrOIY4v5oxDyW2qo8lLHlp7pZDlIOeERez/ajlPbENpl7bmWXU2KVHCTc2bFntNB1G3ydUXCAkq0wi1P6mVBpmTHoKgxqboRPlcj9/M+YztX1CXij1YKjiaLVVv0dzWXLZbbgGmdIo9rPMzLrHanUWxWpwseSaqaGd8LqwqvOCRNtnVRZ0KrjrZWnKEpi2HgGZEoF2oFBrD8R1sLcB3Ep+PYS5wv6e48Bk2eOSYFywZLf4EbOPHofSwNn0UokDdNw93LD6lfXWiZEL9zRk2VnVQ4p2ifZOVnl/jhwA1/hjb7ZNOKeYxMX6yVI6mcLbximoBG6sG5KqN7viCOAJuHjlk3yK1yMO5Q8NgTyP800GGQL4pFgVoG1h2evmjS8uFwW6jvC8eRDDh8C8EXPd1g35HiWgumEq9dzS956B5ga4C+XayXsDI9eZW7oXunN2gnnhA/IiH4YZktdmcDjX8Q75oHzQGbM4XwRI9V1txsaJwOTVqW1duO6HFZg4kpzVyLbwRlfEum72mlhwy36uI6OsPsSRndbnq9ocYIMriMcVT1ZpXuHVCZUBy+eaEdB46UmuILs6vUi/7ACTNAA/aQnycuyYS0y9A0LI17jU24jAOyJ7L4xCZKmDZokVyaYSp2QUZf8a9m+w/LD0u82cBp0EJhCCFW7qfu3XwoouB8hdAADFYJ+PoYBxcfwpA6U0o3XRaWc2RTKe7HNp5I59p2YPMr8nKUJf+a5UDyd7HPCEsvZ23Uw/CsfFbvARTo99Yhcx8iT8tGHlpEyYa+FByeGKh+m/Dl8jsSBHKNO2agjTld4w19o57Ht09ENOjUqCIzieGl/MKvbgoGU5WRb/13bd36L2Q4TDOXO8HD+p4mSH4lqNObocMU3S2OuxD5nj+E8oGPdbPzkqkbfHqWaEbTzgkp8qzlj3UGRKT5E3EQrkYw7n2roKv1fI8go1Vk9JimgPOqQGxgL2/fn/KEQ0Ek/j5TwpXY5bitelgPtXaK53BjhCyODQ8+S4J70S8Hhf15i3hoZklmx2YsJagkMn2TgXTcx47kE3No1vG5elyjdZnT8EzDDuA9TKMbvolh5B2MmKoPWWz63gHqEQEKMd367522WVNEDEMGdhtZX2DuTBgDercQN593rEINTuXffXhWzXB3Vw0uXoLOZYMOKdgx1jspeHO91ikd+6yCaBoIpCpWKmbZEtDdvGAGumacjh/FfmFwxNqN2xIWw9ImWDCE52gDfM5/UqlUlQJ5nVtqPdtUeJMk6K5yGNGXkq58uDMDGlDrEOEFixjqjlkt+dj2MgweSPEx/TqTUiedrijP0SIzpcInXDR4y0dd8qr/lbKb4c9f4NksRTZ5+/OvkR2/Qad1LDikES0jFXEfsZ4/w2jElH/uerhWOGqga2oJVMujLkHHzFw6FhdB3vrfCEO+0Uy0hFPuMnCIU1zw5GNIoT7Q3afvfZATzq6zcDRwsFP6HPuxY+UggZNO7JyuCDtwAZG22BKvQaPw+ABC+Qqw76GSSLGtYtqCKghxF9j44z6RJxtQRUDn5boWk6Yd63Tm3ELlqktzCh9Gep0TCIRA+EHlB6cOdZ6Jw5PrA6ZIz81/C3dOaeC/TuZ/jn5goqd+6MCxbdC4SgpT4a6grgk9fJKwr9T2oW6z7+++k+xiBj8AoE4kf8/9N+i80KVYSUyalYhmkSxXKEBtRSMq+WWRpwpd6DvK3WC4KHhS3B/bPHS3qsxlQ0/TNdTmZyeD2131seV29Sx/aLJ4/L2X9UTC/1MmnI309qjtDpjehaibVPj69T193tRo5bqwdmp1TZ4+mBg9dJ6mFXqi0fMc1fkR5OSFzRFXrYf0K6cHFV1NJE0/v9UBVQ3DOFDfH3gS2ScXteF0SESH41I54Wc/RUs+m8E6C0xKd5EWIqNFXXFE99wHTfitXbhhC2hHZjnzDQGUS7LHAFs2+NPbqIiCs2IIEiIEC6pHdIBKU8YkQWdlsH7eQlrXnKJxgrhV5aUAOSFMwLPgYRiki/mNJq9uTSsGG+vXCNZ7/rArrH+kOHeuJSzIAloeGC0UZLRSaJ+EsYhZ12CtCYdBQp8zdpKDAmK7RyuOlxmERJFKA/7Mau1u0RTug4ca+s8R8OcZnCcEsf52Nx+OjxypOO1BJGbzAQbEQAYZSJ8bDtbyn9ZOJ9IW4eRfIU8yjqhHMH02uVDtOBjAuBEc5YThUgJuLGLZzx93K9eZauvpKY01oHoETEda/ircVZfN35lyiY5AaoN7Tda8xxG/9ImuWFTVHCdxk9Jc9d72mJrGkfz61YTD3uk9yoN9KHDCbnaTIFBaGwHSFhRfWxB6gJNg9BtF+xxJ7xYBcNJmTLQY0ff7QgbhKesaqm+/YisvI7Wv6lLQFiFr+rtmYLg6981j4KAQkF2NnXrt/81wDU9n/WhtVSVZ2Ef4DZLPFWr3DJuS6Xxre1SB7btH9cm6f1Rh2w0LvN1mK6f5vWmGn9JTGK20Be40fT1qmJ3Pa24falPdqGWCj6nEyo6TGTQAnN7o4CBw2Bug+MovOF1+8azESk6YiBVhR1kVXlsrizH8t7LToK4thQIl4ly0FKIJLFIuZ9k4C6b+3cd04DKv1f4TIaDJSlzOJMRFVtQTePX1zLqcv730AVwj92hutKOdXDhn36jrIotjvOFRR1E/wrQZppTbSGWQVaL92nKy+rHbBM6W/vX1cGNKFmsNHDgQ2WnSvrEAYfrchjGUpbJWtmuLio8ZxiVo+P1/KLxASmFwwFDDFYPKTkTtU2B4TaOu6XwWcY6kgTCv6nZEYx716lE0vBIU+JllXpZtbsBqlMtDuSMyFjwosQzDS6R6wgDiPnN2dRcDw6tdCbDdL8t2OPRC77P/43H9QyxYNtrQYam7wTk7Gb6yeYEuLMV4CtXxwsFfoTd867Ap2xUKf10zb7E6Ll9VVO9uxAlzF04IA/iX+MoMsF+1vTF60JbOB14STOjHtVbAmKIsYoGgk2DC+Xa9639ZcIjRsXds15pkPhcNuznWhNu9pQ7ERSwfnbmfkavkUXQDWIMzurcJ6tX/nCzP+/ft57xEsPOuWej7oC94k971lljEJicWLnEU7HemxuZYaHFwv0CnFsfwsAXGb1xCvIQNYwDPiHVg31CedezCyY1tCTsQXDzAv+WktAPfT/V+hz01n+ct+BkcqmhwURiBZ2Gp3uI0vnamtYt9IjPLSo2M2J7ypi/4KeLbnok51D4N/oyecC/x9iN+W3BJsotSWWGnQavt6FjO/qzii+BTxAFs1cWiOpjtyQ7zrcYBzfboUqPwkl4KaBqjUuPHVS29dv3OA58gJ38j3juyBtR3Kqp4xFSl84oZhVpf4L8DyZkKL+eNgvNctkilO6Qm0Pqib0jHM6g15HrVeWa5kTO+xTqypDkbwowZm72PB9+oFdvzRV1teN9uv8WVAIWO/fuHzOG0+HP9rjFsJMW6L1EWKmxE0lJReJWWgLwRzVCifxZzqgaHShhU9qhTH+mitmNkVh4Hc26NroV1CLlbiMAlASoZ5ERjfLjGrplTVLFUCe1VBqZPd8saTmGHgz0yANNmCoFlfCnogkMWg7nakFtNr2l5bQQtseziXX63Ip9cYr/aPj1rfFmfvHHVR6oWu2zg0csEQdeKtIO1qKAOMyjqd5hJZfZYooQR0OKIgKRWZ9OQBAQsLTFXk3jWq2XZ2yS5SpuoBuu74i3BHHg8lsqC4hCCTiUu2EepoUur+Q2jM9R1xkKnniaQQ/deMxF+MnqOvrqmUUCZzezMoOS8nkaIot/JdAf0/eeqT+dWMwOttzWTV5EEZfNQKrqKW2B67HkTBSXuFFvO4eASJkGcsjZa9NB2SZWHkZN2clvz1sItqje4liTAC3aiSYmq54/uWHlFGP+LdSgbgQZ4FVm/K5A0t0ACupxNUvlcKXEvCvBIUa0hZ0gnK71o83Qvlf2lYSIfcirsHckoD+ZbHrF7uvs+xID2OiQL+x087+sKwotxUd+iGqUvMfLVtqA6qby+ha2zIE4qtG7YD+/eXUZOJHl6JUfTOsbTBaU8hl1vCB7h+SiX+6LOIqUepI47AFhclDE3yrNoGp8RtPMeWtCCioYZsjibOdbuP+Ei+UYuAVRHmhaoXwusY3anw9qUeqBgunNlnsPso94FdG5PaalKZwu8FZt6BluIoWwetQiJsglJpt7cdX6aBTF1Yd/gngYPrTqPQRPJrPaE4mPSMnkPLZrgxJlh5RM++F+AYjx60QXy5xPMl/lE2O2lZuTwg7cC0+lsUkQzK6v1YUw3p2KSqCACMeNYoKWsRXbAdBT0UpcZOURWitrHx+NVxd00IZOynuthuE5wP+NivPgtutJPThmsijOkeeGNOHwVl3GH2qijrhOgFmz8ZIOzDBXkzCnvd74zYVPuYMrgMnM58xmbre076uon/GVGfcW73EngF1Cp2SjL4jgHnKONzoeiaINH59KiQA1o1AUnq6GYkAC+OBfYvYVS0lPOv4dU/ss9a6P9CQoN9NTzxlFQr8i2dM9W5LaDoaV+VecxsDslTvjmcMnpDRdlrrOtC2AuoaB+vBo5rrVKDmVk/mzXJDkmPjZEajuET95ulpqcYmtZZMO1an5D5zb/FweC+zlwK4bJYnH95tTBqyPJfMFpLZ3YWL47WEUviGTjWLUrebNcLMWzPMhkYgJ9Qj1ZiXNQd5jW7ijsiCaLhRGMBYptaCrIOfU0kS7/Z6pMT4/9BnO/q3huL8A/gS0nV4m2kN7Ig1xjxLLdikQeUTo+wwRqPJDAwp+NlhNchr8RQv61x+AX7VXm7/0jcl2YR60qVvkaUYliSPwWZfGDl1e0OLn/n5gCIbDbLc908FLcwWhLcgjbxZhw3lrueu/rv91QCy2rDcixe5jKzsqF3Xr9C0eXcyog9ZK9M+TScVTXkG4hs1XtSfn9N6atgXs/AcUyzMXG8M3rKohsiIIQ6jC5pkWyyxPz4dU3hsaHH3VbTFkWkNyHNIXDxixFQu+QkKd5ARowbb0O8qFms+fXYBY9jHWBS9SrGW1KyKYjCM7d3iYlXCK+1+mDwom60H/nkv3NbMHPQrxV49c9DXnKBONOhga6WXn0IJqH/Cg8v9XM3hbRx3aAKxVgqE5hhhSYZi4PFF+GJx9NKez6UeVykM6cXGiAV3JDmONpMF4idnN76AuumPlgRojkY5A28FO2GjL9s432kU4hsupHP4IJljo5TyWnQvtykb6HH47pj9KSoYhfd6AYpUhYxP5gflxpu3JAdIN9JzvQQvb1+RQx95W8QerVL1UIG3Q0QTUMQGd6B6QCyW4f9lQyHKYdoGUI2cR5o6jIJEBwpXqCAYA2pOwjFsSL6hVwixMwDFuIK/U1TdOXuoaI+UvDoJae4gqYxbAPsslWDKKro21OUVf7I0HhiDDBthr52Npif7pd1Mx0GqgYAl6NHJtW0KFawulg4SXkiZHbMLCG+WhS+f99gJLF09pjwYK1IgTZ5w3+qzlKPXBDdhuaTrGwLtHD5nPFPXwrjBvxXNKArJSMXT8pNRZbxgFNhdNUEY3hwv0L0Mb0HERQdfT2EpWQkOQ71J83/L/3sN/Im6PlvRfHBlOUKRWaHkxsPeNsN9cndHC1iK6eME3ApQprbnizcMbt1RszxEaBqUvU19pwdiZYyY2jkD8KUNeW/FJhumxEoSEYveGGGcvuIIavq/gRYLzvfAoXshkx6utmuibn52Utf59Djsa0KMWb3+e2wpknzOZdPviPGazvk7iRaIlnzsW8HRJpLcfB98rATAKI3OQ+2LoGamGKACJDujkshpRhXBREx7Z7EGl07t3DzWRUJSr0i7jPi5IXZ/HHVvIE4AJmjpAny4IVOyURG8NeG2MIukQ1UQ70SmUbgUD5r72njiJXcWLSYFI7uhgmzDzKQGuFZFUY90vNGIuAAu5F314nDNKGAvCL5UX34nTr1Xs8Rag23skcWMrgs4DOzpRKCd8hq9RGRIsBlKR8C76bA5kih8efBH1haXjkVg5iRqumGQaMKJ1qBBgPUdlrR2SsaSZ/J9Yc25msY5nRL+YBpn03d3jRcNkbgrqgJUxrynrS0abbE60QN46vVVU7f9s2jjQ/g/KrEcSilqpsi643UGpj9l12RIEFG0bkk9HAw7D6PbuqAaSQik6+mR9BzCJAw4pL2SKpBFrtkjIIuGyBmFHSd/geN5nWSxIStSSZuG036cRvH0+Hxa7Z7IO4VPUc2/o4eEoxXzWWh13Hy5YOHJRBAuijxfjGkrxj643EIqo4I5yx8F0O9p+v0Tdtubuhl/VWCXT5xZGNSsVl5U82Y4VSqPVjHuWmUJgXvIOO36W51Jo0xVrjH5KTMUyKsERFfZ4WZBF+05PTU7qgu1K7snLAVGncwbb1RaQDY33pNNdCXgBzFVvMuy9jSLAODfqDXrllUnXTxCsvpfu81wscR5mWFUo5fg05NmITw8Glt3gdhFzEtCFP10fyMHMXXgsKc4QV1vJhwpIiFnD43OvuNVZPVRxtGsohUIEoxyLfb/LShvjm0ZiA6tWGj0dcbIMtEfz14o65yETqC1HtkYHRMqnwZQcT8IHgG/dOn9/dGpcMWuEQr0Vp0YO9Bt6uqBlWRUCjjhxYrr1+Hvy+aFtEbF1E+t/j0sCM3gcj1kTld73syDlDKJ7Izs++Twc7nf1QUew79dIQyr/f0mu1lLJyZOGR15NcV1caK7s9J7OLmyF6mKAdQC58Svvk8X4mQUzwHmPvSzHsac3aTa5L4KE+fmnMwmBSP6KApyXRH+k7mN5Yj26bjjspRMRje1YmMw8kUbo2cwRa3YVApEs6+jUHFKf6QpY58+omHt9GCnmmt4d7GE9rg1zGzkWgExsuU35fO4P/CiLFmfCBk6tUG3uZtWfKSMjDoySHYcrJ4LCq2Bci3UJE5yBsmRxZxPbDltx3wIkiSiOl+JYzWwLG8d1kKKW0rOSUOH+lJtNPmoRZgzZ1hJcof23wbSmjKcPGtqnv+ampw84/S5aFc+KdEhQJpM8FIZ0Y9oOTAnh0wiPeyCXdvmIQIAV+ZnKhSnRsgMUGqyIpfFiXjB6wXtLkjyjDgDGE8RbqpNe78OuTVx9XOw6gbWz5445BmJKj/zFuit7N6wQje0FoKfGhwp0jxIMQ9nz9uA4NPilrZpuKDxW7Ar+gH+eA5sYIecU0TL3wopL+U0T6HDa2o5aFoa6pIyY5J8Pxo8oUZMCXhTvUkfRaz1SrRRC4hlvQStZ4loWOb6+CniZDHkemgw2u5SFt38bJp/2qXtY4Tn0nlhOFWwPZZZEFVvZevBXeVP3FUzLOaa65aRuJYva/HhPD3aZSJ9Tx0Vk3pchdnB8IGYB4FZnfaoLG7T8e9B69Z7WUmlArITU2QcVOO2p0IvXP2Iv5LV6xITmc6WsUnZMg9C3e/vSzbesbSNFsJgCDM3Mw3rvipWQICpQgsqmZDkobY5BLMvfXQNj/7lhMiKmaGUx/fvGd+PfDZsO5TIt2YgY44BxqTEm6p5ZT+DoxUjLlWwfIdYSDla/ea0x8zl/7aNM7VOalGDgL/sRw3t9ntLYvrXNt5HDOc19zxv9BVtSWEqy1tLYYS7gGcnaCEDd7awhgEeIeh4orpNaJ/Eqltr5+IeC3ZwXES5P4Gem4alyixlmJjv8jadvd/XG1sNMO9Q34RMlzum2jYA48qT4Fffte/eGv1slz7En0WgZvw7C1PlSVA81qh8r3FOK6aZGmHoHQtubF3FPXvYIogYgUOKu0ttu5zf8EErH+66ll0HWOxEtx9XCaPQjys34DbRAZ0l/KgD8v4adMuXbkCBsEMxwCtzFQfhMtzKkJX35QjkTaxznXscRZouUWtSM90Tf+TxYKjw0esg4BH/TixUayJk7hpo05v07sBGriFt7DPP3DqddCeSHREIXFHgcJ0PenUMJPTGRQIQvaJWoN2EJGg2+qs+ytI7lz72T6qgLs2dNCnkTrXzYXELhLWY2FbGwWo96EqKA0zsECjdwEZcEF+WwiKu2bRnNJ6wYqy/cohlITJ9xDG6hwMXBZKlBwwN+GeLGI6fMJh5BMETkc74PRqNC7CuTu8stAjPX68swJK6XgOpq8hbtSSDcmwsT+L+b+lg+YCDBbBHhIS/DMmXx+SJ8sOeQdS/x5wW8d3f1AeF/BFTuu8o1x0b7ye3SPtu3jik3jTU4/9H6nYUQqCrdE38DHN5HLGL7BeHABu47x41x19UhFZ4/o2ASrPmUmXDeQxqnrH/rgdSAXmqrjdJIfBgph/Ne2mTB+wvMMiBdW2onpTnMmFIiFu4fAZErVdrjIOo7zgoAcjFYCg+tBDhcV0YXm5IRZhE9S0l/UBVym2rsI5Yd3yM7dih1ziS7zxHWCAnvri8gZ5+ILCj+dCa8y8tfASEnDhVOM69/tcKYR7GGT1DIDy77US5GbvusVnwwgwgaYoqIFnm6rcLJUuKQRJXksa1E+lm0q6wvk/P00LhuIlLpMdMA73cNEVAy0n7Ii+ikzETDNcNwO2jsRQzTognDdiCO7VLKrBAanBBAMp9LZks2B2TQ5eH0y1mP+tdFx1i6+MjxDRnXC3c/88S2RbOVH6WGvegNnuXwI4cXJRIbjtAzR+nPqh6ZNDGOziATSS8khSYqF5jHGtZHxXIkpmmfaCaSgxeBYRcMOPNLGipRbg3z7X3NmVmb7PowM0L7TPDkFUsYt23oLc1p/rhtNBbU1GammdPQB9YXkPbVt2A5EFB2dqai6EfvH2VmMJlQruSP1/qZQ7D00HxZa9nVwV/ReXwpLQ/HofxaJVTgsv8eatcWpVzv4RQV+sW6eJox6YKmoVJ9HqjXFaPTLIP2aGqcm7jq8LpJORhNmkrwg8VnHCHR4TdUjc7Fykpzq2wuYlxh+1/lXc3ua33mTZr6hYEu1kmlT0iky3epQ6yAUm3jjrOKXljrszKIM6mg2vEA5cDlroOBxGdyq4uRxXTgJX8oxPMAvpZE8H2p1tzGKk181ycjWQ/CejoNiGSKod754qwro1CoeOIej/WlbOVP+Z/Mjtgo1ja1XfBMuJZ03RejZI1ZEEXovVijqrh3VT3Zo0dFMVPIn3lwXUHGb9gcuNeSTCvJoPNfiZozR0kpFZHOxdO5GQRxxnnOlPj5pBeJLCb4e9BwX84oX3DQZWFqb8F6kOsjVWgutvpuPQF7dVvxANZoXoqkzOp+KEgICIDjx/bCsqQe+vmXep/Y/KYjnyvzIC6IapV6vR3y0RXvT+I/UybvH/VG4KaVfz+UmgPBurC0nKni3x0gECzrmdBBGDxhcTfxKZkVqXW6waOGJ0QP6qPqkTVI/UnODnTXrUqg1ycAHuTaRoDSa2wSX1yisFBD6flm4h05JXfdXHeRtg1zG3kivqatOS5JjCogS8p2Q/wiW9/KqqJPiAFmHs+r76+KKJ4Kur08K9NnoFQDSyossXJnftoBv0dhb6bp+C+UC5O0n2kQxCMJ0qeRzMkJd5UItagXmkl/pVvCl0Y6sJIppx4d/mM/+caVMPykAGtZ0qHbqTrRuJiudwct0AZQ2MMkYdmtz/y1T/CfB2v4ErrGY6sFcBZNWZo94+UvzFL6wBQn7hIgvqKyAgCh/copty4MjD5wZ1GYP5tPl0qp3Xi+inCkqTHDRKODuZkwgb0j7NKtmfvaHRBvCixpB7SHm2+/nTlq29sM/KqJ0J0HT1Wva1aW4V22sTBJZTC/Ha7Auy6CRPcYWMEBJN29kPhfDWFq11cf+92GAjoInzxrHiztxMP6n5i+iFzTGYKSLjNL0eYErG77UbwMYCMTWwWn1vm2LXMM+DsiYaVReG6CfbHZtyA4p36DzF3A5FzR4nPWVnRCOoQh3h4q50sJQ887GbQ/B6FddFC9eBxTlwPAcjxcNnAdot+K6YdWO0jXC72aoo/K61cZ/PyDbqEPt5ZCWn4Bp+MaT/2w+hp5taT8ZJUGJCsHYlvURntr51fKS2HU0xioOjN0D07BFBn0HqbZ5GXN0dSh0CRUfmXk83Khqetrw2xNd1SjiDrmS9bdWTwWlnGYQcjdhgoUZBHjt9lqEDBFB9nzuRo4r1hZBp3MI3HtrQz/N4/mTTzShwJKmW1+VE2SX1AJoel2cqhyQ2BIZS8pOH+kb1w+svmEcmN36Yga2fYtGA264cIMC9ugdvLCy49Z2clxyyQkeACnV9CrboFLvO2SLjvl8L74XKwy6jvNm7+HH5P0ZmsXQFkr3hFaFS3Yw6wfNCm2v6d7jcumX5dOM9p+fSNN6ab8KmytrMaUEGh6Hg/a/DSOczvQjv1kETjkaUgIt1nA4+GSngyOJwjPnjewvG5bNRQyxtAY+piWMcHfx3jpheMN2I4E/ihv9ZBEsr6jp2o08oY6XMlLT/O8UdPOf4/S2YK4W/AJEFpQkfvmAsMzSa54N/RxVOez4Z4uh23VPcycThsqV+gWEEd67fsIlDmB5BFw8jk0K4UUk7o+ToGoA2B7lBgQIrzD16eAaeifCE8aLvHtwPS4FDK78mpMiVK5Za/930zAnlVoPoVZzhwGF3vMj3nrd1INHLkW0iJQEe1RPVTrUgnn61HlIIuzSKsFCKyi6rjWmk3sAyuSqoRq1i/8UGtQpXXQ+AurT9N+FWMfdMfwycfCqKPLv3gLFh1aAx9WBN5FSM9t9kVHAM5cv6wnoLblJVBQOyFapSRKrg74ErMpVoP9BJeIcJPmM29PXEaBaB/wDKcwZ5jlDLy4hSFqGnAtJ2VOPx9Cku2E/ycbTWk/W9s3jhTqA3JyLLFWH3vsep9xn6NTu9dzpLeETG5QArAW4CNMA7zaeNJiWOPJ/NjBn7Y12x7/BDsQX1BlzpDw6exobiTbTSHZQ3pRVAycEwvhANl5XEUdggOATo790RdtJdE1lmWkdxL5Zd8jStMkAfaGoJeeqLhC7WLz8hEXx0QQQRJcn/2LAN/Z/wDg9mqzWk4aIjeaj9T58ONBGKTHpqOETKx3Wvu/TRNUfP28dR/diKnpzaZY+S3387pxK7sqcm3ZYb/n/RBfAeLdagRbXLLgiG4w/m8NoI7IUdy6uCd/dauwWmKrrCZtyinTx3PDqYQH7JO4YPHxgy2tU1gN5DFovPyYOw9uzc8pNJPoQIa1du1nEFGOoonocIKt0UU98qtDvVRPoqh+GXcDbIz2LLEt23Gr/A2ow7fnSru39aEa1dZf+9dfurnJaCjsJgzxtECj8xG3yLkQbCg4mGu5NSKewMKOSUJq58VfrTm8/ixdEC03kS0cvfWwyzCjPB3+sR1d9jfFd0fHISntPT/SNPGu2d8NsX68Tzd/CCWpKZerFJ7DiUqGxttjGuDuZwJcPJzOt4+yoDV/l6gJP5VI44bACSuv62ckSCco8VXkzq6WiwVD8T7HyJ6dvy9hmqIIm4YCYVc0mVwH6MAiY8vW6fnXoLKIhj1iwwR2YSYXlEGWpQcr56yeh4KE8YezeC/EVlzdBPXzsruBqpNN1Tgf7JHbm0bUwjf/Zt/d8KSSdY4JXi5Vx+m2a3/JPInSmj+NhgTOAwgsgFDJJMjdu8l7l6O0H3Ys41OIXT9ZLPLgVqMydgUIJFBhmzXAprjOAkEHjYMMODoniZnOUXjDYbcWrQa95nv2lIhSTMUYA3sw76np6lqliQU6gAmuDrDIJ/GInZs3O7VEte1mnXsF0Tr4b2WO9HQjRxRSyHAs94O83qCGUAdHK3nSzUfaa/Qz4etKdmWw2oU1ltXzFZ3a/6CDE4f7UhcrRlzCQI/ZoWAmsnVYEDnaSihRhf+zKI2Cu6QJYE4P1w60WliwJACLeG1E1QMylxKfrbl7cWUK6+eOXmryzvX95etMVxlB0d92K+QF7wDH0sv1GdN68Gj/z5MjEHkEdmTPAzMR9fkv5gFWczL8r8oY7MAiGPWHfeMmqcbMfeHWhFyYuzK2TDMzFYCqXNctWYuC5k3Ax3yVxa4ZRnEksizlOP8E39K34OoiBfFj393RnpVRziXqvNnkLFFKVJKUuooY3UISjHXyPN3QavnuUDhkIKLt4b81VbPbKL0SK9g+aiexxbDaswPQO9L5Jd2sk7E5RRRRrQGhluJJsSCtuWgggfRPOMuV8MKg63iv3AT6M68cOjMkltEwj7TMs8jJ7mQx6KjsQeUrA1keigerOoG7tDmel2TEAARlCF0ksK2d31gwgk2Wz1eJxY+k3vpBFMawmWH0CE5xtmErzpATtX9LIR8HOkwHxRZ8tZk4pqR7qEm7xLfegHx6H6HDDYhkFbs2H8vt95bCQX0LOB5rTnW60eBtvVpWCqtrcujdlakY3rtbEttVj7rwt3l5GFzEBQ5rvJzqXLy66aUImMpu+22WXsJ0nf7PclhhlZqb+LpwCyQs4kNz6hR9i6FTAq3g1J5mmV+jwbwZ4YgKCVgwLSMPfRT1gn4By9jJd5Se9QSFaA9eENe5vE5I+I1mwQ6RDG+dHR9+bzJrKexo9RO8wBqde/6azx/P+CQavhJwVI/QduILTSeq0Dz3zg9RIkhPUP76fbjj0Ur2ZymaKUnZrfTRAuJ+aT/0zF8Muqg6dpd57yTXJnEi9JGE/bvNiHqaS2/bLkmwURwFVbBzkLM9EoxMlJzYOYrb2uZlZmgn/6dNOT4d87M4cVpIwh7YpKriO5s27vyE2+rZCqz2zUros9cx+RWsE8t3MV7YrHJ30X0QNns4lDJjaSa6Eu5J/GXNIOCzy3BhHZqyH5NlggEtWGwaWgG4Eq1yKqaGIW9QS9IcpIM94dmOm1RyV1ajkHXOCX22Dmxv6PBj23kDWxONm8durgBTkcciyPenxX3GB6KH9+rgU+QhuEVUQuMiQMj7ruOIUfMK2f5UYUeVg9fdyxlWr4J2J+2dY8FaC2HTYBkVcMeTVkTZ/Fg1n6QMWt1nf1eipvnqppxsHM5QceDDZvtZ/FPkFQ47A/zM1DVEpO2oZU8Qtu7g3aPMa4py2MXnvtl6GOAte+/upfbWVlWY1Ol1fBeAfQ2fVi5oa/i2PQtL2t6qkB4OcAAj61nO+jdKXbH8eYp9lfD/lJDllQA99XXFRQv58TbfUsemCtQJ75F3dfbQ42DY4Ops8MIwB13CQYyAL5OsHrHCZdpX1j9U5Q7vL2c+XoNgmsppJqN6SN/BzZCpZaZVr2DJZz8Wt4WyWpQsQymeNdOV+PCOUOOZPjWBs6TDWpmz1s9q+IN5wzWhvoat0pcdLuqOG4zhz3Zym/iEk3DH0wRCop18HX7MFx9XZiXi5b+B41Nz032xCUedl3GLNxJrMNd44rXqIDN9+Hzlm931ZPAKrTDxuS8pPU/wJsqg2VT1CeD0nyFjqM+TMlk7vTRkFVxBzO6/VnQfZXD9qwOjBqSpP2e7oQlaE3i1yZ1rDGgMb7tDrnKUONxGpQD/YE2TzKQmfMoqjbi3lvBrGVZm7A/P55FgO77GsCjwmID2Phkf5XLTgyOzvYTfBYWNZwwOLqJlijxsTXbAuECO/L891Pl10oSVoy81CDIdivl4b5HddHuhp0qiEw+LCHFl+QlMzgkzICKWkP4hnlSNwUjeI4FXtzTSoF2HTdG3ykmqtHcMRDrL/YNcE4diI87cyH0iVLK+Cl3kjog17e7PpRd9nbdrOR0RZIYjkyPyVsOgbd7iV29+vLYl4y910QabId7kI905pip5br3cSPMIq9khj2by+iWWOjuk6GDW+86elsI6m8QD5AdfwKqrHqBPWseEqUebFKz6jG1icB2CTh1BHGlUd7RqnKra1Jzp3e7YvzyyHez4nj5mmG3NQ71F/iyCDRsbuKAmuLrUUewVGYsHBz1MiFj7ujoULPk+A+qFjeXmC0Uay+PIKcEQsaR3bX0gn1MQjVjcz3HfUVmz0hiJmoTOYsJv285j0ki7Uq06GfCrQQt1P2CuLBJiPH+D1NrKof9HdYKnkgKLMEXx4WhmHWaLBkn56AdMQW2Zk9/kltEC+gdgD+wUioFywkRgbGfKwTtZ9lzC+GhCVUBrbaTkNRLPjLUI7dg0dLpY1nwGR/XYZlzbGERLJ8OdMpq5udJcTuNBrT5biztZLUh2rW6pplNEDk4agvAUIlY+kEcmLXvwbrmGbqAfe3vSC55VGX6rAmE4i5CHJgdjJR1ZAwnBghEzxpOpTpjVuMZDuN9N8Ga5cOiVByOOJAvR77wLT9JWG2t/OkuC+4dBFIItPQC78PgqLctojM8rk4rS2GteF1orveJp1A7l4F+jP2Z4oy2+77OCywCLV6L5sC9eIRdXfm0XQAbLM0vrg75YnAFw6sL8m1Ju1scnyD8un9ErzRz3GDOyKvwK3KKOMQz+eSDHH5ANcr7yg34zlofvWOLL/Vu8ySihD0f/airyfZRqwvFcZH/d4uruUYIXHEnE5k76xjdPaCXvL0TQ+gQ2nVarXDUGc0inFMglqlRZIlkUV4ZN3Y90scqQDht4D4WydDS2LjfAYixNzp6laGaersAyZMtOa5BfEtplN0TsMgSSn/DjC+jL9AxYW9oCErF3xy2rrdxFmD7vb3QZI6gA7BfKzpj1OOs95LInn14HjJSu7isfdy2vjVGezan7NfWusrFY00JEMoEr5B1VLJvGFG05HIEf2LFOuAQOYLz0S3vR9ZY4B8lhm7b1wO+keoO0+b3siOLO3tUSfKbYNs0xtnBqrykX4HfxtpLVhtUcsgdjaaQyrNLa5MjK4QnJbMsb0wIyJCsa8Ht0E02D0Sg0SxCagjhH18fBuY5N6UgduDpZwR5b0tVLgtCTgmbvn0A6MsKUUPJNpBCgy+uvW9pwAKf+iPmh1Zn9qmQ5kE7/GQFUQAMaB5MhZI0JqyMDnze0S1su5ZSPjOQchvdSQtyRdFmox14FKRV1HboarqHgCBsfbbDODCmDbRswGN5EdV1uQUA8Mal44EWfK1htY4b8nZ35KVasvjzSwj3LKRZcrIq7Mcxof+AEmCkivG2IYC7nv3r301ZKI23Nv9F7QlZ6a+eNv4Yd55jw8izfzSzBVCfU58jLX/G6NUp/a5aQBTEyGK2+xXiTyxnaLOssr/vkGAjreo0Zdk4RncKe4yZjnuGEcEgjL4FeXc7NS4wLV7Tno+QyK+UXtllpqlQ22JENdBhD5PziuzODIh1XhRLUUNHxFvuOS5QybyABlOCkzHOfofY2ilIgIiKO4kixp0dJxGgb+XA0vZFEvJ2Rr4K2BQc9Kf2tWnmwzw+vCqvsJTYXs/MsSehZJHQLtBhcGcZXMJg4LbQdcmnrXnEHe0trYD7Wfj9PiG2JT7B57HtiAVrFG+7zvdjqIDP08yP3N6lPXOeD4EFp7VqZYJ9cjJS95TVW1ptuk8aqwX/8X0JbEq3V9fvNaBEL0Gax9/XEAG2V5adggKhDbC2iRn8sv7FX0SQTgA+TFYx3/L3fcWB8jdleiZferyJZEIVlqbpkknuJHzxpo6qdAD2FJ6yrVsq9hT42WwRPiFuszz0jjGEdp1XJKDOIjavJCZDUiesTUNwjzfk/gD/WGc+h0c5yY7AqzBy+xRYoqBmqx8Y4TaCghhfSqLm8eZP6q4prmJsWAhglH4d0K/SeGpAYIzSnOig3xF36ESxZ43+iCUyOv/NiT0Y6lK+VxZ/ZblUOV51HNglEylQ4KZflcktSejUl72NFLvN1SO9hDep9qqU9z22KTJ+Z8mg2B3JKAPzGNl/bXwggYtTHBE2zI5+GjjTMPIYaaooEToahjHXdd6mp+PDVAdrySpREAhvHG93tLEti4+ehEyNbHyXb82RlXUGmSOEg2YWplrk9mpPsY8N8Yc/OFuPw1q6BpdFOZe60p1zU3JfyzUfLzDl5OVpmTJvjz6OyRvSZjMVUOlxeXhQ0TO8CZ7huYm3aUaY9YZlVLldPKOkovYgyervw274iJkuRQ4uvZfEAHe5+d20zu/SUt6LfR88s3v1Y8GCbU+NWY79azNEqqFKeD7cvBZgYyHxebMyaEKi2EatT6Izpk3iQirtXT3HlAqf4pa4v04gycc15OZ6q9XQlQGRO+YY4gSe51v1EJAQCbjvROJQUpB19rbQ6Qu91FVjotW7kSDLvTLDm1q2CIi71LRJT27KRvWAiFNsItRcKgyzBpDmyE3jYbNbgJtMTrGuT5GODjQV+nzjBxDSTbYLmdnZZaVQSbF3NcbCKKF6an7XKfp41wTOGzDCBlF2d0QSsn5QKAby3Sup1jelTMfl0RIk3p/FzgAEdoV0PqA4A9TTKqIGWBd4By0ood86S18+35BeZsimXWGqPawK3SowxjfrqcNtBJQ5J6NfSl9GY95tlJJmqdtJNBDAd3o4rcbge030w9JRmqoAXiTmuw4pTBrIQ5D6KiB+685wQv7tg/M0nKUg8jFHBgY1vdMeJDh8rG8y84VZQCNxZf6jhr9QjCL7ZTJH/E/oc8LbkmSa6OFKgom9LbHKpyEm43YRR6MVyFuEb0E38w7LYeXW3qhxKPdB25ivpCfrzLMIWHQEknhWl/6bzOAUfmTEETMRpyRhr/Vih+uhCYLT7PrFbJovB9GPcWs4VeILZn0j+8Ul4CdlVGJJ4cmF7jx8CqRmvPRypZMihcWcrm9YsXt7Rlvcsx4JEwEuTupaUGWz+LzTlsfFKSzlnJtRczNk7a4IvvDsdx/9T3DVybVkl7hRvoBw4lsbAxjjVwZ87k947oY7nQGOmi7AUp3MzQGgBT7mD7Tj4GPYOdWHAFrW80/XQXc7Q/ngmNe3LS5zRSzuhcUXdGE7ImcE1G97MuIvJK4aIzjLNEp+RLPC/mno/XnBmahpxtJSMIMKeWH1KCNMy3PuJktJyVG1Ero8yGEu6OnNPR5A7Kn22lzmhkeYGRfLVin9472ZW9yk6vQkk9B6qfX8KU+CJz4S0sNMqfUkroiap+yJ0G7WYpgDQFZiybofrjmyWzSDZqStxZEufBNbcCUSwRJNWo4tsltjrWcd43Ls/8oFkhYFTzEZ6nSf6uSP2iYY7xrYkAy9hzlTIMfFkNo5yjXtX/CeYEE+8kRzcEDbfso5qhMIPQMvnyXnQzWxAIIptu+zMjroLdAmQv6FtQVfHHaAdtIFe2ZKYM+FMk1Dy6D5x1gkHOE59XF2OvshbNbYnKbgExTFjxD55HSoGa0xbwSd+ezxlg2hIBym+wknh/PNt0wjaYMCInUkKHx+pgvuHuw599Jz/suY2yMJ4lVCyTs3GwsNrlljPV+rpj40ukOMxmRmpEuBSPAzakbM0wJT7Y7KvpNSje53MvB8+ICce52BhG2WG30qqWrfSI52qk9F4PAhEoETlnxAMzAX2vr/TT4sxSJFrXKf9wv5+Wsk0l/XioWnrSXPy9Y6vybY+NyQIN+h+LWisQmrRU3mSfle6+a3oHWsvja5Uvj+hD+6CZZyci0bX4ekqucU7uPH0gpjZmo63n9d5AQNDerll2NJ6PCDgKYtLg/5jV+Yt+pZK4pCNiNeZDpYJ0HKBN3R8aDCLN/bLXu1iHlZ0numw8L86GhuNTgG9qLtskqo9fJcdOfOoREDR3uwDcFjanxtb6m7agGI4A484yOy7fd48fla29qBWez1dWWLWRHZP/emtc3nl0U7oCdMxveskaPTx0A8rokJX0wCcjta8+BXJPVNHKIzoBPztkz1pm8RXmQ1tKpuSGQwr/0qDswfF6fe2myU3Y7U61Vq13ADK3CtZQGrHxSDLbYgR93Dt+etiWBohFZiaHSPu1V07Mk7FmRLGg0LkIpQsjgzPJx8schH3BaMxC2vNi4g5HFYbH3Gm1wZDACULrbC1ZhzLAZDfVzwbHpAJ1pu4AIbph518FBQlo8LeFAEY2uaBNSu0WP+48JoVPCfgFpfCftxs23Gzn+ISa+F55NK+pCh6xvrDjX8qr5gePsm/H+RxPM+P47qkC8Dk+d+9Gifx4gqK/jVxYovR6kNEBdhUprJWPYtBE2mtoMnim+KSPwYJx9rpcJVLI7P+m8qe+cVnqOW2rBEuwQBrA9wP4BQ0NBUQuyplMj5zadLsvdy3UxOpgsutNIl7dcrGewK7eKqzmCmBL6vOyIXhcT/B8dfMGR94fN7fcIWc+gaxV7GmT0XLOVmDim+kNDfraLbwNQ6gUcPuHQ2sJRiv31UVd+hoGy3PNtNB8hmgCu/OxbjGk7XqlgmcoVogc6Yr19YlONxX2FK28Xf1d0eQVl18LoLRhQHyD7TTWr0dfBbEEofuXR9b+l4BZS0YMhj9mFD6+uKSNEvoDTECecdneCCo7G3woCAEkfqmgLcPQzjt7ozlY8XFRoal+3FUbVSp9fqFCb/pIFAghA/jfXcSz+q7EEAqhumCLN+qAcEdp5WOxy5h9Dv2hozmb45x262zygd59ncCIaSseRaZXu8+YzJ3voGaXhQ86kA0JVoggQxOVS30T9fRbnZAKGPdsKTsWFyurGqTz4NYG20U5/pRviFfw6q7Sv0LpxE+kVQkX3YT/UWAN5QNaaQpLfgR2pg5/B1DgZQnbWWjtTp4L3VsIOcX8cK2Bt1ORW1gRczjX3Ruurmxng7y1AlRR1ZNBzeWw1sCnPKCgIDz+am5jhXeivSiwdA/xqA1giU9uBEuyygAV8+MKeCfYBqCv0BHT5hdmUvwavXZGvTNwXb2pzyyF/fg+5D80ByoRNodY926HjA0jY3Yg2PK/gp3qEDXlPIPC95OuxxMdNUSaIHUtQ2qPDROBxpsNRZJkH6CjYh6Tst+FzKW7G7XUind3Nw2hDPw/zcSAYW7DUeNf4mbtwTKXpo0Q7QeNr2B0E3s1xMHRjNxUWsD4gM9YfC8XUXk265LQy76aNEe6/p1xqVLEQkuSJVCCcC36vu9FVo63PGqzH8LJbMRQrABOu6/7eEVuhrzmd1x/CCZeKD7qJrpkbuHflGaXrDA1NvwNr5A3T+9fKqXezrnTryIuoE1Gq/PSKmPAUKsS/73UXVTLX3XoQy815dX8IW3/cXgoUepu0tFfsjYKrNojAR/ovvF7qN5lxMaRECeax6Vl6IjcnszH60YvEV+eOowAVbKgNCWup5xRCYthcKSr02OasSjazcYfDUYO/d9RG6trWs2G8QEvdIG12qqVHR8u4OiT4AoI/e3px2VFl47XhcRekzp0GCosr8lgyx6pfBjSjvTsAbFiSq0m4EjvnVCwDTCYQvQjG8WRZEh+Xkd16+j7Expidf7ZZBSlMzhLmlx+O2g04T+mf5HSUjSV5sm8uYrOF9l7ffkOC5cFYX9CSfPXVCwq19I0XCi34Nyac45Sn8UjbFV8VOKmOBzs08OJtF4AsguAVYWfVAN2BazESmOfHMMQ7Iml1hH37Qc06twy9z+aGH6ReZgtRsqXRatWvNLb4cbr5KmtRIP3JpyCbMOe16XntZs+n02pT7gg0LNAAa4DmD4j32k8Kdk+1e+ltuOFHpk6wT7E6xOziLeYKGB0fK7+41VxdcyW7qodTP1H0mJxmDIivuASlndfQ7e7HK/FCNP2GX/FEoYQ1oDhCuoc+WX0dLvCv88dnKIliioX2dk87uq3ZdF0xQW0EsJCh1Qy6iASxA6exzBRLngT4ljvPYG9wF3mCZFnNq56WxsFre0mVWRagb3CI262mIawZFEZ7j++RTvqQtSAplXpjgerxdmuOPAt+puZ3CfkAtgBzfZAlXU4UrKfpuGihFlcoAClsgwANP0D3udyW5MBgrjz4iINFf57q85soj/wcSR6s77nt6lLuL5DlRlmCNuY77reJXQHCNbeDxODAW1a7TFbSQz44TW4iciNuImlA+m8QWMppr++1T6gdClc0m67MKNQQ/vl+i87K8TkwDvfQJ6t2QavIU7UVvqGG0wBMnzm1Dgqu5KLlkXzmpoQ8UYvfTkqfLv1VDyisuH1iQuV1XnnGHGoXF09F/1vsepYb4DPKEaHJcypVS6Wi0wpag9hnT1e6RpUK9czaC2/aLH5nGWaJYi1++53wCLLQAoxgBYJqEYDQUdfKAkHgx7Pa85P7hHD9CFkTyXP5fAqlSFv8umgkVjpFqQDZG8hP5/OzTq8qHn+ARQ6bGWZt9jzICOy1diifkOm20Q2lCAZFjgMbi3rSnTYn9k5BZmlX8wqb0vvddt3ZlPS3Wct6modPWkcN6PRSz0CyxvaQLSxnUE6KXyfrkWeFZiXRc3ssqqfGVR9bA0p9lwmd+X2lNS3LTNbMZpTvfhp9qOZEQS4FsmsN2PFc8X8iwD/kMUnIvnHFiYvIV//JIR3knPyVfgdWMuNSRMmx6dB4cr9r1jt5u7zzvKtaUStG3GuQBCfocnHGsBNNiKGYFzI64e/Xi3KzTyJLrq7waBJa5Ye/bfOf/cHJxhgiH5wJJ8+gkHSJC96N93IaRQ8NER4mJqcbFhZnmbi22Lv7PlHHxp4y0Ox3mngOm4xxFIq0YzQILmXhCg8kiRgzFJBiJ+Jj4mItMCGhLvNnmx6ctAOzmW8qRvg5n/dXJpZRrL1YYYKeboSQOJE2M2IKuvqkctQbYNiFetG69Q7pmfy6BFCgzuvtDaQQhEzMH10c6RqvxiXA/eBg77AwJqHAkk67Rv+tHQYUxfITmbSCQcnYwM0Ju6Osyrx2HdkmTEO74ZvMqXpzEUDIl4b1w4sVQ2HQEO75e4oC92fhOrCimSyDQ4So3fIfxF250TC38WKKa5hBuHVP7WTNosSVTOcfI5Hgxlu9/rfWNnF9BqmQIladRvjQK7KqBEMg/1IK3dDCERA8lrvFS/zCTs/bqfxot43C4Clchgb8aEqESbZmfdvfHgyT7AA01R3ermUDDiwApl9p0InjamazfttwwbhFXnVIJgxBI6Cn8EJIEPGR1dtervBa20vC1Helvtgip8vJTU3NpvX+SfWdJnkwKWQHPxnwL1cfTCDX5lkp9vjTigA7X6IRm1cbvVygeVdZa6vNAOZaIz6PpVUz0M8gsehGgi2EcA2AzFrfcuf97ykw9kmDGUegIPnURRcuz/30Tk3V+yNWXUHT+MWbx9LOquqbOvfp3yrd36KtUD2lCWvRJFVaROMbxFyeMyen4ROsAeA4T4t4j8Y++Np8gc792SSD2WYVKVpo8Pyln6lYoWpHT0GJ7RUDBNr1LQLGF5y9Q+d7t0F6sX67xuOmeMQldN1B/ky1KZFrulknYJ8umGN46jqy9TVUHUDMpGaYCy2BPoGi0T9zushF5n0GppGUQzWgZXFqoDGYBaZ1nD4kL56DIyPWMoJyuAqU7Pv3qPMvymnkX/P+KcGlJ59U9lYauLdUjvE97kVORRz7GDjacIfrYIHej6fa2dV1Ju8+aF2mWiCYfFtGV92sSm8ICl/7gsvl3P89qQ6RZZ+rkx5FPYzvkvB5QX00KP0LNn4MXcHXMfdDnRooiZuUQuJv/OQKzJ3FBGTREiLhgNMfcwkQRTfw7A5mxfUiO/WeWX1zRGxenEXKRePg3QE67boOrziYqDns3MNrgGCNX8WtjbPFbXjP/6ErZbgpLhe/BYeP7PoWemzo/KaB5E6UFDlHrcEc8UZtrplFiKcme79xR9lElY2XTEyUFW0LGVeHCKBVG7UeQwfbNoJwkfIVocehpl9MobzBvdXvHNAK/V0VvSzhev0jET1w6SmZLopnGzGB4u2/W43Bma5FD1/JgdBnF4/D0yIGG0NUelAhmEtUzRgnlh9aw64BoUFcuMc3jxIxMlg3dcbDCTneHEOwXpMJVq0+tE6lTRiZw8p2dFd2b51759z/7R+2KsFdsTHWQWTJiuaU23KtfHQUEeUTwPzQvlZa5XXIrtW4a37JOevDay2CWZ1kpqVju5dg9yz1U7+kyxEhQDQmKcwfqgMiaZpFL/V3R8ZAaQIYoAtohDxpzTJIIWUnh5JX4WE2QAYNgGVssyCk7laaYNXyrQXJ5omYomBicqU36nYCcxh2sHqYx4alvkBCFWxY++xfCnGsSqmTqLFScg2P00iDEZJTtRxknpkYCISbtrYqYA0uU3Ca9DDtMN/muN7ODbtkM8q8H43jpdnozFqxMS7De49FoAYsPxFCylCGUMRgm+SiocQbtrRmPzD7GvAwJ7PK3yOSM3FGWSj1158pqxW69DaojC2hXwWsPzgauPc4C5TmYBrW6E/Hsq/Id8QFoXwaHbd27QGZ+zYHdhwhnj/GV331AYFi1vnzUXVCdeVo2eZyKcRBgeGBbXglzA8r7bT6WzydgcSEobn4jtCfaRvjqtKuBWHCqvP9AHuEvn+HNJ2xrdrosHOtOyVqW4p7mcBU6CoXGhFDOX/SfHWwDm6jaXevK++BJENUfi6Ow03jUG7CgSIrZIvG2N3V2jLqq0L/If/FfzJ+L9pn/uPTfsPwwuvhcdEszm3qYJSxZzBzCPs/ngdjYGLv08plLoy3CqHZGHM3MTrR9Ux/gCiBVy6n8c9Ivn+Vejm2oomQfsxJaPe8qvOyMV5vZL/RE9ltkGKmklM91bj0JN7jmTElCgtnS3iYWXYs1QGSRgLxVhHQZqiQ6Mgdrtr+4t2JgsUa2KpJCG4ZJK7mD3lOGjNeqflyMyWSvLthTpWTxzr0v9xdgraeKEqUQbKPdGBOAmcxsEoksHn9feXJNqem0GsfDFWD/ZaMahrh1Vwnvwwu1J2je6QQYDl8IXfyTYlc2JJKOf6M75kex5FzAiKs1O3wkJoIu5piQaR/c0WeqQVlFnUs6GMisTD8gNuNWLIIski1PBTPcJrYBR6B0i0GZadOzLhHiLzbr//eF71X9JV6BUH4sjBUpJ6i4XnLvQKfNvQ1dQp+Frz5N39CKFajaTv5zn4+yn7Dj2H7OkNXktyOdAvtYnGx7XKouebhkQ6cz/htgzrxSeNQ7PzhocXEZJoyVPtrI97yki3+dGJnH0cA6Z4siSoejUIhgDvOvyczlwbkopni85NOzmYYYMqw6jJIkjV68sgXSzDjeuvTjWfN5tvjePhlS+B9kxDFONrz32moQVPcav0sG7+Uz/K7rjHE7Jri+wa7mv3/jxajWukNNtTitFNf8ZOjzZLWtNfcY7TnnuvIb/20cIaDyos7kICW/o8v8I1RoYUtG0w1vjkeGqqQT2euSw5uYQ7HyKxzz0iSGh8KPXs/UcXkEVHR53i4EMRGP8TQVWG21JJl6sPtdD5BKSCL8p+t9m5eeE//iz5+Z8ZjK9c4TovYNmoUkcrmVRlwDxRvI3inQ8do+X+qfbT8PLXS7wO5udZ52HRDqHCdjQHqojW91If9yIbxXeEDkED+cEIWrTFZWKJSueBYPmiu2RsoNfXANZfVWFJR7vAcEVWY311d2DUG8q9Nzp2hqfFvgtsF2qOUJ4nGML6GPp1IoxX60U/LG+ix2Bx3Cnh2MgcBCZGm36FfvMeircudHRD4M1vPuU/7MLRFsBoluVNcz9LasZUPJO7XMzKEZ3N/uAh8+gvDfG1amogM1nH9x+K5BgxEkkTFra/Q2ouBE6el9Cy+cBL6t65VRHAixmdZEIrPqUEPhMnNG76QabTEir32gR3bJhcqLbuZMAFiWp6joM79pjfwJw015EGeL2SRFGjMOci4ZPKQZAjkA/PkDGrRqJTfBEDj9itt0NHjdrDiNtCNSvsa/0nlFbvqDG05xQlSxIprazOTXHBJdip0ufHXpQfRGGo+qW489UaIAi+Iv/gWTTw/CAjScVlRurBglz+4VOjl1WePiaWBGk1IZ3SSTntteqm0EBv/e5Ai5OpzsnHZBaH22hiRcWDwXm0vPrvGgO23o9HshBxgbOuJsNi2od4xFhOVMJ/f4Uwkpj+PZ8aVTjjtTcKL7BezqyAdV7nZgq+w1ZY0Z6sdAefNZkH2dKoVEG/BCxpPYvliA1i2MhbJ76VyzKBxSSGiPQcNZ5qCK6OvjKFKii4kblwOUVGvTxQ5vG1fFTN+dVw8KrDQenWKEB1uCUOX3AOSFIDrhcfnXvJaa6+maxlioDr2/s9Js1YAOguPG66fT53CPZaJWVEAPku+SP66kmAgmm1glx13XWe7A0KDCbbx3h+PeSAo6q/dY6OTTSV2HU7Yqo07W7obbZumdwQgIY1S8QlMcO1o5QY0v9kstX9DHg/VU+bEUiq+T8uECZdUl2O5fRcBI8gBwGQN1sQ740wAzCadwAzDvZYKswQGvEC9u4V2i8+LxAB8MB/lx4BFgZ2WXN+iBjWDn2S3iqbAe8k27Hdm9UsqZo+AeSVJ6nu29KmS0xYjHvi6EJqCdtXgOh9WE6lbc1zdCyS8tDsINXbio9hM922cUG7NpDKyEPRGzH8ov47pMHz7LTuQvJiXh42kZX+m9QYQZ73rkONPZ9DP6NEfhXKfeksNchG2z8wN7H4fGl/DyL7xzaACCN97JsATSttU08BR4qfSq0kVuaEb8dc8RK6rMsr12eMID41PJLEDVrlhXVMuY0+X7pruEe2ZSBZSMajjPi202W2eXKsMCyLR2jY8t90sLehzwEgx6b+u9OItyBXbfMxGQ2YEUi7QzVzmiMZwItyHsLUUBoEUlo5vrXjZJRzMLAZbOZ0HJpySVz2YTUUWkl8LSX3vJ0m7z8XHRscQe66OjkUdW13TnIQPMUC3Rt8xs2Im2QC3Rb9jQy7Cadlbsr9htOISkS5FOYiYvrTN7pEeIetJN6lSQfjuu8qp3Wk+daXt1+P9h35+879AW+Zmx5bblH8hjCOadHiD0TaY3Nj7PsdYZe4f0qA050+6/hYAIcG/NQZctFqmRYEL+c9ROBLhU4rANO5VS9DdLkbTvFr7GZW4Ed06mSzhAu+cfDVFUXLzS4WwRDEynZxHf+pXYRZ6YwxeF9nUReQfofBwAOaplVK9wufJH2LQyxMo4Mq9wyHN3G7cvaok3dEIiFRXncg1kdM1+03pd/Gri9qnVzsHcBj7pfrJ16IjOR4Mfv9sgb06MyVLZFoTuoIk2X60vsf/MZqie2epEtrVDpkV/wQ3BaqKMwg38QFOKWXJxNH7BFeARXJdLgLmW0SZKB/66HFJnn5QNyJ3MXYCnl1lId3X8XvbU9vcaZGPFPrnuZQ1vn1qpWReOfTAwE1YooipcFrWYzLeMd07fGDDi87ywiI05mIhPuxTdyty0RTbTtuThiQBYsxry2rxBuw4H4Ax52eIuMPM9Vyha3iJ3JwMDeoPiB22c8smQgxNagV8itgwrEZGU5mK5I5tLEiA6WL86H1DHEANsWf7FjmUJvP4YKXv073GIZsAPNfYwdAhS9UaeX8KeboIdcxWGlxu/S1el59PabyCcAQ7qsCZQedpMdrXosRNFjyKkJxBdXdxIENXTkEKcWSmeMhbuRg+QiOZOgYYRMoM0MWPSCQIZ3XCS9VbZl8aoDqkWTr1IcehTn2FOckBsLRFfwInYbfxqPdMaIKwVZqQye7yqYg3+lxQaExedc6RVhaLeAnCfavjqhPgPcRQSIyNLujSEJKGfMiZhxFJOLAvcEI35uYuzRMQVh+YmC+rHUA4dXMNurlqBF5sU9YFGasEr+rHVgth7pES7BYT0VAkj+ylMEoPe3+Q9Qc4tYW1svxrm0ZFq/781zDNMPvzC5OOP0Dys28f00AvGUhd5b9kgz1pUq4SpU1VzioOiZKYMoa3hcOH4oTahbL7fCxTnayoR+eO6WrpsgJVDPIQfVUERdMDw0PH6dlJObYtQc5LHd01aYWjr1MJa4wJS1swavKPhI81OTfLupKgSln4LZf/u01NiiLRCiTf+xrnkJKvsn/K+RmE69vfK7N0wkUtfsTMr1jcUOOK1Cg+ciErzdqpd8jOO+NJsgSVX7OxR0/+5pdmipv9ZJhlp6Y4p3HoxF9NisgVeKXrtBz3OkdNan+h0xu6Ql0Pu3W80NPcGVWJA8pS2xiNUUuilWdZgqcgpQmy7JYSKL3Ne137A1ISWA494dyGTXPvas6reqSUPtDb+8A2wcmHR37z0WngwTRssX+ajhFwaKeOiAcnEI5phsVfjgIn/BfC+hRRC3khMjVI9MVipwHKLm4ywwUL3oqFCcos/nOWc+rL+0s26q5aKnkTmOnKQ6K8palCxuSXVdXmvSyctfL9khQG+uVDpq1b+7BwLOfkGVyGsHGLbow3D08WA+z2yYIWTExIwqYz3dTohIgwbvJfujel8VU7UMjQlGs8h9zeL7a4mA6birFZfiHCIBypNXRUGRrHaJ5Uc8Lyw+v3srF2an7dNFySTPc8h7omJAt91H3SOH/4Ata7hdyjzstNvtAguPoVtCIED4z1Tp3UzNjscrtmPREoZcfulWq0KsglGliFGa1GY3pxuaATt83+VpqgBlBI+C/zvXfoQHibVkAhhTafqMJb/fY8RZ0Nl5cf6SMQV7/0ovRiMt/RvSk49FwiCPX0VNnt9W8lMalLRrf7djgQFobpgq97A3MBj4a6yP6bBHhvpLnCXuAmuhwYAobKiBCZAs1UD8xQgSV23G9WfMkZW5OXyMgKNIF6/YYmjmPX9ts40Befq/TlfdMp1qlaC09lWqD03+G7ci0ggbXQhlMMs1lFCC/Idxdf1CAffsxwT26SgUhxkN4h22Sht1T4F4sMGO232lmQYNkbaPSizyMyPHGUljaEXS4RjcDvzp9YvRybRFzsY+kzCEXAYVTAc/WdfZv8LFpEh3njpZDQCRJluDN8pmrvrmDYOZ883ORIFz/z+jpo63JzCnVFYO+oEvCdvGmXSnsHB4AWZdAADUxRJuyn3bzAfNQX1ZPNxAuDIQ+sCO5gZ/wmKzexdmAytKIQRYHhcLlofwn5GMAbOfPnr4KA8B6l4am8S1QYD+LCPDwe5obOTSK1MN4Uz6auiL+/y71/qYzizA0v6l8bnLfNwEfVDH8wGR8sraguMP9W9ylOmoOxnzPDJCnMIXBxumdKo1u88dGXPb/pE3UzmzqhWUQZirsEmm0VbNBT4W6DLhUnPQvYH811iG3F1PthJTchjSgoscBBiUJEX472jnQ4ec3qt2imPHjBLIaCckbgERN/um1/cYokcFqAWVEBtWRbTQR3HSvjrpMZ+iIl9HPKRLa8pA0sJQgQawxv18DNIpGW5l3thuLHuokGOkZj61XTYwBVXNuFvTfru5OVuiZT4o2Vz5X4kiUptY9kru4gsfxOpwEf1NmZTNE889L4i4Bsv0P6G086Em6iJKlbqJhj7638hkkSY2x94tjxIW03UsexpA1g/+r8NsBpuHX6iHNBynGCSHuZmOvXFi4rgPruHBOKQ4LBKpY3L7sel/vqBiCUI6hG4qhm+u98wf1K0+o6kO5WekRZ4lWoWFgsdm6IPHYLWVsm1MMnIiFB/1zR9NzYVpAMxIVlT+8+MIZ2R2/JMMdcVKZfRom2TMLZamnt+c38GYd6y9/H2M2Voumdo4TQWDMyAnRVzRz0XQ22wAMig1G75VlYFsfD9DjogY29shb9ZNZ4SPSkCBcaG7ru41DJF7MyxKkopTaEcJ3RjsjR5fN27Z7khu2U1ce9ujmDIZ5Zx63YBLlUYcZIK9jHp4vnKoglXPb6jRlmsgN2lZTJ2Q98OYEZNMrSIkBLa39K5JbqxEDhNayaHzqwC4F9UlR0Bf6B+7bHccZfFbY4/iIZcH0GA7cGD3T5rVsK1ZoobkGZWGqlMwDlZKNPUGI5FO9bE9006jCAeCuCK9uDLQpeWQPhG76gjiaLTMFPojV2ecZ7zuj/eWqC05U1TpGFrxuJhLmR9mkaTbJU8tvA3MJlokNhj4rZdfBU/fzpNxEOOugoKFldTmpIr+C+1gY1/dK5650BaI/yB9M/OzIE/vuBcpLuaZ2kMdz0aU187A1XtacPilXNFx3fQA4mTDO0N6J4MSHADDni/nLuyagUbdxaYCQufRQf1Qv6QOx+PLS+fBP4r+R72uAKq52B7jTuoQT9K0LUgQcDxbZSdoZQFWTxc11O5386vV5TpfmQ0L9aRczoQIS9hlgDM31aRk0WZHRX6GZXwo/TOx5RqVUC/1JpeBNDz5wpNTdsyB9U7PB+Un7PV1fx4iMd9Vj3f3MFoaojiSMMCWZ0BYCR5yXcLI8S2Lx+DuAGAWACawV03Az9PWEIOehDfH4nO1n0M2l4jW7475Ut7gR7Uf/NRHivc1Yf3olncaucQxfAp9YSxo8PAa+Gu8nAIKwcHuwFZspBZ1fEeRoY4YdJe2UhKwKVWsqSBhn0wasBLGO23jGo15P9EBjO1yiiwEMW4dGiimLZvXeOIsSBrmNsNtM0hTYe3MZkgrQuRxm6Q50ZhA+XEQmmOlDmch9/Re7DLSP9ZHl53xIC7Jb4/43OWtjXyP4U5FFO/sBXqjX8qyzEDZDyLbAyAaj8B29JXrhkNv6P8VVNN8G0i4n4QhX2YfsplhFI7vjGqszIQ+kLqdm80YmybYr24aVSOc8FXvNZ8i0LUgfpOzQ4GMdoCPmriw9yDqlxPa5wvlrraqeIaL23lp5vQ8fdjnluttM5UK+GobLAlIsedr0yYlTF1JLJpWhFMrsMV4xE8GAq8FpS78MZmJ2X5fZtA1Pgtx6cVT4gsAZnRLXgF7qp5PKcElVHUX6N1E+Mu/xFxjtb0lBITkhzrzJyk8P8QMP91+MZOTKN2MERKwZbVYzWzm3HAHyf+yvsnLpm/xUJVxGkuk7j4OedhLs1spcaMVQ5HWXuS2LBh1LHqlYDEFqVOtBadU+7K8vKW1MAniOTLbzSSwxFScAt82G/OU0xwWwI+1Ga8y7UMn+KOw7jA8Sy03+ajLuND3E+gWplGGk4by4I8pDPQCkf5A9ueTc4kRR19CnrMtrsrRgOWCVt6ZQO+8d34AMspeNbs1I3D0WXaqDZ+mAogeaKgvFwvD1y5TJIeWMTOE1U863/TSs/ZJsDE8N5ir1gyJjYyMnktlyz8CFIqO9ZTACcklKJxvy2B0vbkkLDZhyJyd1RjvsuAeHY0UzR+EZWK6Yn3NfUB/BrcjQkEqNE6vA578A7dtwqo2Dv/TOZ8h+N/R292LdNncl+EGFnw26bzV/r2tDIH4tgNze+RDdZSSQCmWE0ngnTy5qKF884yuggLwRXG7Vjx/nKF1NjeiGHzckeJRJEC1Z40AZw0g471CZwHvs5EFusyeMp37gkAkV+TpcXTggPDuE7hizQd8qjnkxAf85sbyy1qRDOHI1MA+n4pmMh8TxeQw6tZuS3Uc++8myddNR00H2F2YOeUZGYXXuZgksAR9s0iJEZNe+p3takt95pnlTcXK51Xe05aAh7rBlZTFWzykdh2PZiNqKueRYWHzmrwHzKMSaCdVNAeIjoCHLwC3pTzT49JLnML2sZJF71GL4iAyP9KQHBnDmxAsaEKRKuC7Yt1CTzx6P6fOQ84iVJHw5cVshkAlkcy0nw1AWDILeAt+wLFsvksp7VJs+o1pIDoOmWgnX2LRPmNNXx16GQL+VDJVW3psFK7NxShy1JnhRZjZILPJGwwhXdOhjn788XGElnM0wvdQ0MOdNUntogRGOGPnIKkV7JIQMo5SROAtLs2VLatORyQiUlTXPCbsjDj35h+WKQmSt8p4EhsveH5asHJmLc+5kiKSDpSuppIbjibpROlDu2536P2dcG/y2Jm1W5gouJ1Ay4aAQ3L/HcMkYmJBzJE3Lh2L7i/h+CN7Wc9+qZY+J7RwpqMJlXw+l19os3EqSZjnoENPbqQcCWA+SQ/d60cv1fXaEr7O/7M5aRbMFR0dm7ddYKvtw8sJ9tWnSukOudbAcygFJRCnKRmpKCvoDTLEULiuW1gPP0hICD1TDCWpmdl2cJVhFg5K4VWetoWUUSrJH72YiVoejohHdKez35VBUEkw9ofaJrPxxMFOO+4msHTerJcJHfAAXbgr6zEtfvGeQHh7BzrJLWUVlgeGwyQGxd043jcqYBn6NUE0DSsuz/10M4XFALR2Hf/NASzeCX1f/Ny/ESc2Q4mtnnpcZLKp/yXmd3deui8RIgaC7QbotJmHxCgRfXydmsTtrcrrJQmLFYH7T3hHLVbfiOS6n8tlPJRskhLT5q1lhHhvBQ0v4wMocTLXNAvpHTep9IvgyuBignL3/PR4ZVodgAv+/Yz1wr1NaXmRtJdrhPFCS8hp+NYVXC3mdNckQN/CAgrzV85XwX8DyhSim4RvT8GHC0sKDSiqg9hv6uPPn7RL5lERY4Y4CNrlHjfmdxzLu5FDk2Ptf5C153uIyx933yMyfhA7+46D6UiATIrvBVMfoxhbG8Q8LxIoI5YwvP//ztWLz6U1R7sxZ+HGTD1YZt9O2zAgW7xhlBgCZYCpMFUmdmNQt9jkNetchHc4VDGRJ6horulmVrB/pyYELV2ZIIod1GqtQrP5IVFj6H7WxtElpoFBu379baW9PqbNSFOzJJog2l63UAozMkeuR04trEfCswsWHPO3ANEqiEUyyftZx4Rytyyz151uq4JOEOchAlOTnmbNffnraCvNvmRznmm9Jsw1fc1v+IYOSrNjpRPzvYo2xVAyPx6wehwfi4dqaN2E6TV93Ru3jRnC1e0veo1LEq5PX8r2NgwSq5HX3pjLuRKt3UrMghESB+NpZz4RBe09FnuG//a4uuwbxnA2qJQ6yPU5ZC01MThJNZ51jmx21ap167NjstApdtvcysuyxzjRVisbUAB0Y9k5thgsle7L1lKOH+LTkQceKjMTo+12/SLBBan6bhj29nhesNSdTB8zyD26mxpuljh6/rYyLlrZMSRZTxnhJE+jWUDpc4Qge4elRRFXp9IXTaHTUheh792anp0PWxdng6e5jGuH13rl13FcCnQe4td9i/3pvai3TZw/fkKc/zaUw5wZ/3Y2Yg/UVDq/rN4CLDRiMXYOouCMregCYoXB/q6+fqCVSV4Y3rPZzX0JLECpi6TNfsavNdhjFd5OXHD1OebnpNthpm1Fjpc9tvBqa03/HIzQH6lOiYZCf8GUUZLsbROQH3bNCaema2258DovM323kVuKek4CmZsytlgWAo+7ueG3b0mWz6NcxvNZiqzVtBrcFQlXzC4ERSV/61M7n7Nup/cqOCjTzus/cOaK09+2r3myQPuDeQwDRa6uhk9AedVZiMh9CDtQQc6sLIKs+W407BtR5MIyGLGOdTNO2trSuFsuhZYICwfq/jxsVTMLBTlh9QkD2rDwxEKW4nrG1yhjhaj/JM3HXKdbMRp4VGbA7X2W4A2MqPoExLf8LGsTtukQCrBbYldiw6IC7yZ+rYbj8IcUVhd8KBFarEHP1pDoxIvyO/TgasDARUGSNAtGSEI+P0ORBPHaW9wsL75pvcFFyI71+hZwPBboSJRKA236zvFZ9a0QVE3FvpwQI/OmvbTDDmvHF1abtg3DMlOJXHqogItRPKsISW6r0ZT9jVPexHGBdH8/ekn1jwLn2GY/FqgeMBBfblGeIiQkMJuL77BFigTk1eawLxOUOFJNl0O0ejxkrRNf0fVJxeMa5xS0zNQx0WYIrYtmbHE09EFCZqsCCdtgcTiW5eZvAwgK23HtnjEqUYCcYC8RPYtDDQRn7q5VkAGEi6lQ9QHe72lLJrAORl1m/a3o0Dgve+AVn3/lnBzkbzlGodq1Bzgww7LsV9sVvO2C2L5/Ns3De3cK2+BAyh2/bV7k0XOKyQZMmkyJt8J/OVdy0qFvkp90Y0evbwCcLcylgbz1W5yEcRzmCMGvC3jw16fdbCsBLPTdtCw8B+EHB3gFrWtl+GG7b2l1qnyRJEYeG8Xz5vix7RpsqIO8Y/J/y4vAOJjByzw5AOt66bqNlczWlWAIZvWhExTOfJ1teawiNgsuz+96zd7guhuN6J7kEI527WsWR1VGyhB76siEU8hScVhPtQ9IKIu7dcoSe1v4gTAYbXYwzuxO/oo0ANmORQUe9kiITmIfCgPIZat6t32Ur2jUzhjZSvjMXkfIIE04YM91KTU143y/++GE4Vqz+M1zEYXEKWLDUHJU2JNXprhpIeFcQaLCTtDFHtu3FsGucxeUkTVLeG3/l+nLRj7f4PU0lj8I/bbyWrSjAuOMc1ZkDxP61HpZ4SMSvZyxsJq8I/YLjediSvc8Y82EoNAMqnUrLNjrSUo1QJ/ZBucRCluzcTNpDzq0bOG3Y/ghlOGjiHkgJxql43wcxHMNfnAmujJvxQGkQMHkONyI3A8XdQF5v4rNvrjZHKEV4emFNnHsHlmYhgda3jaWBNZBtqn2NwlxZTBpiuRsCXLFjUkFSC9fRpuyDGTV3+ac9kUgJmJ4kIcg3FC3i0zZ6fB24CPInmuiLEtbv+7jdXGj/6tQc30Yj5vwkC3b10BTdykC3KfJzg6iCiCAnJ6DyiPGszBKzDq6bS7mwBfM1InDhlL7vB7RQu8nguZwX98jmHLbLRiyxa5nIwzw/Ifft7CpbTq/xV1zO7+8cBSNjTlYHYpRv29ou9xuPyXxXJcQcSgLQxHWx2AYrKLnKEEX5e/QDzz6TNnUQ2W44cytygYynwyVOXichv9bohQVoFcuyJPxjZhBOnbZImFq1xRWIyHWXjxXCoNpjj4E3IdMNFxtcYMs/iDSx+qWI8U406Nxy1irpfOPphmU4oF/EaKpoa/ws4dKC+9p0aagxsXosBkB+cUbb00tjjBdbLHOUB/tFo4T8+5/AUDb3qfN/PpLAqDBUumFpB7Txq2WuEmiGkEFumYg2RHH77hZSgPUQkw+TMHKM5AmJoWZH/0lFwbI/zAHQXVDNvoaV4daGq71q9f+/KZ1OLCwHChknzCQk8tIayW77pypSPBxjBB1t/9oejLQ9FkPgIEmdS3oODq6l6QqmH6FvVhdM+SFqGDRqLIh4ZU1ox3CMd7PalG9CRtpa4oBpICTxyfT/V32s9qe5WNprWfI5hao0PIEpmfjVWrRJ9skPk2O3AggRCn/yfzmX6SvfFR9aMDQeJ2nqd1+KtLWtp4JlP5F5v/NtpwaRHYzygIO7BDflnUqMxBwo23KQLW1amsgh+BAJpRehiICAX0GBJyJIg8jMKSKgpsF9kP9VU8hTr+2DXlaq3cbSk5Yga90QTYEVoBGO0OaVpLlh5p2Ppn1295HeCnKo+U/PdKJtuUBt1RM3bEjY+Na0mLrAsTRSTm09rpyb73zPDC/YcKMv+fn+Xl7z5F0rdQEd6MK8wCmohKG4jSaUaItZ3lTfwXsbC+w3eBP7kNdMPD0/T54ixh5ywh8M0qGlhOzkw6FwmiAAaWBtNNgpN3BBYvShHSXthKMyyw5QXaN3kuN27dZrvNM1yAKjpF4lzhA4vS5t5DB/5c8EAdyTXsK7zID3jbzzGmbVn6bdq+EhRFdGmoLQm8y98n21GMoj+PZQUmZ9qj9vczzslXPOBqKNhqea+VHZAFL9M3jmlAmSWbwUdpDgK22KadbEo5FTKs7lXTuxR81+FFRi6D6497Lfl4hU3IJGHod36XhtkzqjTH6Yh5Buvy1O4oSUnwCxqGsf4XaqLIe4tIrtLLeO59HpeFYwgl5MZOkJ77wVFfGfBB4PR+te3Q//r2VJd/lx+phA/vHF9L8QNPOzhlQlsvPLsvLbEOut9VbEWIH/vZjO47izjrEvY8V7NZ58plWqJC5muaevMu750u0puQaIZVf4Rq4J/lMv/GJ4hofMAnPBm1lgYl6smeDFaTFjeq1ilWVj0MOVS+1raI4i7NpDtKIEzhztgpx80ySUZ4QISQVdEyYrQTBpMTXtFi0Fcm2SOs3BJAH+0mL0qGZrJn9zTBFn/KXpzGoV5Qr3IGFtrbmL8xZtUJZhwScuIbzASx5gNidzqToNP1jC4VK9UTVm6wZQr5ApSoINGdhNqDwIQiy3fOzwYHKyRo032bIZVQ15vfN7L0DNPtNczZtqOCuPuEJMZEJYo3eo+Rx+axsMi+9J0/QV/SvbB/PaI8OxybGvF0zBDcwNikgUmrlOZMPXKfsU1n3z11RULnfoA1dg+ZZUycwje64rIwU0Yd8jKGq8Su1mbCCSwYI9lm8BEJaOLU8QM0d+MZ+6VP1KVvTr5+OTH5ftRqc0nirc0pagGd84jaIx0yyQ4JVea5UTFqFheeuMxk3v8+9cfyI3cZFsUszRMoYRji1n/nDcHMCQXBIoly3QypotXP9IqcM1xrhsBhVE0fRQdwXvfE8mu109C4TpzVOrho8J14YY55z8XZh51CQG9S8RIzyWkfB80fCt7VOobY/m2E9VrZSDXPm5Sh1dAjN6KA0x90R7geXz5+K1GdoDJ3JtMSQ2ra2jAgVxAuThWEZnV9PI4FxlpuzisSDdX61z0iX5iBBtZNiSNJfoRNah+OcDKmCs06pvBgPR6T5EiY61PbhgW9U4CpMZEa9QBIv+E0ZzQlUEyRwukOvhKjA/l9YUFhVUzVHrZvvIU7oLHsTXmQWQC37kJ8yGIsCoNzRoKIC2fvuzzaXkvnQU6V29FXx1mXl7nxtQe6/vKphXTWDXlr3xOkEDQl99Gf6rw87DiM8BwWKAmKf/NVNuwEEaJingDZaIWFZgblbBjSDItO6pQx5oRbntZUgToEJ8eglJMIvab23Ip2YsDPKdz1ildKWxkQULvmHnsdGYLbFxrdfgC3CsHsM73CltP3le2fDBSei+JbEbh9zFb2KT02VkeoFHUzC/Vm2EYRNElPQlcK8bg9tJkzhrttsnjwIk47TiVLLToM9BUmAHK9Mxj5o+DFQ9K4X50GTWCU9dKGGmHOd9T8+HmcquB5PO8JDcYwGYTuh3WcAagdfRDYZofiHoH+b5380UE8S0G49FHdZHCl5sqtuI7SFQMITrDWSN8JF5gUD3i18gw1vbVDJBYyhGP6QdzTuVgQW375cq4CN73FcpQ2L40tekB69hJ91xkzUs1L24SF8vHQhP9i3y+34Sa94JdxvyRlMBuw2pjnOMtwkKkXr1SoUPcnOs855I5eufz69aySmEbzqxCKaiaHg8O12weKHLmAIXmdPH7qYUS2bXTpfIyO3ZV4l+QAtNHHx5ai+awgRkzGYcF1Ep25us780qLUvIZrOAyQWv/nwAyQCO/z7OXoYqvTP1+NGrUUqR5BTVDCk5ur91g2EnTQJkxAbcDeNvwazG/PxjU+MYr7UwbvuW5FLkta4pfaoYq3h1qwS7UkJbuB4to8Rts6mXtuiaTMXheWgeLagiXY+MAyy28mVh0bS3W4FVzIfT0H1HlPY3z1NnxG1bdbZL+5f3HDr4+xpJyVkNKqEa+Ak8IN4bWGUVG2FLe9GXg5qo3mvdzB7pDFntMc6krqxTNLknU+HuZKcarS2SZQcehP5RpzSxCzQ+HAhoSUQcqj1szXm7w4fZmrpZc1WkDyXveSbr2CjGNCP99nz13Fs9aFJ9EWpM7vVc4kFBZbo8mJ8IW0Ou11nOrZHUukQ4oMO0C/64FmNTLHfTnLQzsIiz2O6h/ECVnkw/PGXG7OQVPAmL3HvFPMG4LfSEKserV+9Pepxt3wPaIQOL5yr+3aDnYZ971E0NtARfj6wltkQ9K2WeqRHnvVh0dGGPIOiN/VxGOoklIeP2AMCGP+w4nEVUUPTR0XJdooPZUsuJHdQe5g/wF7MQTUjPpCn90DOp8Sv6qYBinmiSQc4wqlKDOu9MVQLNuJRyRfr7Qz1oadTCIkNmXCy1zSveczp2wmMjlDo4XiPIJEVQif0mOptRXbfiqFmSuyjMnZNKPIAVkFBdYseyVB4yG/7q1os+BxZWERD/6Xm/k0ZdDXbOKgw9kJxtonBVZdDjGkBlT29/DimiCmgXnMM5TmtzQ+1pXraUElYz3aGJPlYOmCOWrFiZbh9TtUINeYcAU/SPhYOqsIoSiWfiKPgXukNyLve1Mkk0fxdDUQp1/b5WhgV+z6xqtkBwJvWKyOmB6LJ+K4YHDKzsa8E3vGuM5jMfHScDEY8hGuQf9qfs0NShVT2t5v6s0w2+JqXtexglhYIWJqZwuHFDstaz1SIkcGee1TjT7hYZddqUngkCRgfEAv1WPkLn10byPLCIpA1/KzHjQvL8iUdPbvgcujBGT+1ahTX4G9aFRU9W4C/xf02baPYpr+LuMstgpIZ8l9kdnRC607NIdwHyg5KpDcvbrdp7Ryh7KN28Ua44gODfdqUrO9AcnhUnfNsPozy7DbQQR3A+7tsCE84uk9Rc+hiMOQY5OYm4PKMnEoVQtFtpLECbQVzS0fIwNbdrJA/ZVgWBOk6/e1tcKWFRAktobXIpJeR6BNosoIEy33sGWSwsrRRmB2ikAUkHqMThp8dEuT0K2VZxqln0aqDnvvDmXIuSt9igj4FLKxriX1URu6uDN6gxCmFXzWxY6HBcIMgwU/HEisRA/U5k9JCWpkTUjJwZ7xRDg7ni9LBhAo8x4l2FUAFBpupJz+MoHwocwncSx89hkdMTv/UQzBanTKgrO2e7I/CNox/TUl5DpYj89PcKQ4fQ+mnYEKz4nOmtyCuONVS87bioFfaML5537GJ4xIsLpJL/JTp/jH8/Rbiqr1J7JkvDLAADYCVYV9DqpSjF/gY4Qj2lI7MOWa9bS05z6BzbQN6Z6WgQDRGmQpZmaj40kXqCr42V2ZQMKxzMjbxz76k+sU8+d0e6fDr2b1z/EmOemgRh7XwRn7MjTE0qZpkWWTo6GTrn/6bg8pIC9XJyTryYozsHzwi8QkK0AZpTfwv5zXw/s5eTbazlajvBI8jNecn1jiDAWfKlmr6J/eetWltExOgJdlmTcXIAgkdA5mY8uMIQPsnCVEOBtmGZVZKI1DDDfmBq9xOBiD1DRus7Hd7BRcLCCq1w+7Le73LPe3kjckDceLE6Lmt4agCLzu6MxPHOhTe+DdWi+wNGpW2ZH+tslXMsOjRZiHfRuNJOsBBO62rdJ+ZTckoD9OisnNJHvdCKHK9IBvu3v25dg0gt6x3IYFRhF3QJ6TNJPKOd4azhbBlmbcIngivNr9INH03vr0yQE3Cg7oQOe2uB7ZkhW1GW6InrUe5Rf6+R2sJWfero8OUkQgvYCaKS5VfRG7dPwy/4RpY8NfBsVwr6XH0h05q2s4IQuxDtgnTfp6MR/BL9DF8H11quy4fmy7sCKUkWfFytEjWaicbdFACADJrppiIo9ug+0z/rqBpdOCly2P4hJNz6u53rhbg9un4ymkNzi0efYzDG1BnsvtT+9zpznEVChLCMexE7JlvYhHAEKNiX6QbTdJSrpvDRl8owVDXOuEBHnkl5+jRKSGJT/uPyZZqfosG2Kt1fq/Olyg0fJlADUhEzZVq889MWaQTN/hGxg8XGdWR9VwycBd41VBkB3aWjkbvPTcscfRoxmvC4PK7Fb5YA4L3y7bQ5gM02/0+721y6XDzbbfNcL7ufASJ7p97TsRWAF+nXv/MGNeK7wOUnAK60mDV27otUdEQXdKFNZlj4owiHC6f/nuKXiyUcK97KfysESUwEFgHMR5/C/wZN8gfXRPVaTBloJFqNeprHTW+oZJ4d/S9X3H7lOOkz2pxQCUVKa8Hr//2oUWaePRu6Uze+dFuftkfFadodG8RFucnIOr1qFOw5ze/yAd2MzWapq9Ed1RkPjCVlOuv1V7mrUczdxg2OnIKyxgTxlJRnabXnDFjMP2Q5JqO2jPNnxTY5c064pOfr1+5LLZDhFRJ38PgMHLsmNgu1aFSl4ba8Fh0LodhUuiKxADdHLS5O71Yj9psnJfQE2xXHl91VhRzW9Pi7QE+ofX9KXzWypSXed62iWP5YLdEVHI0aeLuExhrefM05pxKgXJZ1y0t9Cm9gkA5qPIlcKXP4N9lCvqGyheU+D2KsikI8kuORkid8yB1eDaK9rfrV4VRywJY8J0UAzKr1SGDaPlcgU9Ra+lDP3E316LMq2/c62068sFznFkN6CDyKcCteBe+d/TwdKXGfpdOVD5P5fDkuTXSBtsZL9hF2w0olLgy0lAL8xykkD/u4JkQb6C5U8qt6nxnzgXhCs0chyfzNp2vXmUqruNKfoS3GY1jvrfsi1rjCxUtYKz66BWeHzbynx9ekKEmtUf5JiSJFDieGZ5jvJLQgz6rgqkTCpqV7650xxRHH7PxvvuUnR9cjyqpYttpiP7/WrkUgfxe8mLU2mcB93TSSUZZcQ7o8jeYj1Rhm0hLPyd92yOJI5hRzSlDx7att9yrr4rfV2Vq2YTeE1Oo7KRHvSXax4TV8ZdyZMHjNEqFdVINKe6R6QVlf05gNw3p/HjmW08XgHdgbNC8iwGEcg6+gGt5yI1aHv46fKZOVJP6ON8I9lee75jMv6PZj573UACbkbmC6oxEY9O/yZYSKxaHZa56dh6o/bA22hX3wKZAyhnbRyFEAQQi2rWvLlva1WNX2imoMZoTxR1kc9tPC8EnNH18hYRG6/whL7TXuPhXP/bxtfy0TAyOYguMMir7i4UwZSTlnv+yy5SEA/rPLczMXINPIrrTgK1y9643W4r2V/xOXsaMzJFmlAj+DhaSBGU1we1t1PB+FRd7eDW9JzB294J51PnEJAVzDt/CLtF+uAczcB8M391IRZtWYEGDd/4nYVsO2BMX2UXMCwfR3Y6Z9xtX8hd1A/WhRAjQIZJekzY46o7yneCfGJNu1O5h7nENw9jITztYhDcmMI+SZAlusHhgMpp3RNvLWwFtwJKoXoe199fJzh4JRLUFxv8UDcXDGNAEbGGe62m3Q8RVFaExUGEEnnDv6ndGRQNOlep70+2yPCduWnsss/CSjG9l1PGhWNKK2EEhRe8Bk7nyZVRqIzpF5OlIDMCsnKczsWy9lIdl021Ev6xZtYQ/M2ZPyKuz2Bp7wnC8+7SPDAqRCEPn4cWUyxQ9cAj7KFT+WYqKD7L+PFBSKgwcUmvzwzOn07MlI6jkbzcQ/duNlwGHLhAWvPY0dxz/6688PY+jMqHzpZblamzrInz3OMXAdxJ0//K7vWv91iplbfc2e5vrcOZ4AF21cOPVYnd4b5+/VDxfeco+PkKy82GT0ybNvK+K+QVsTSTCKP08oYV9oW5VU0W38aYSMYcWnygJmzN8j848mDZiQBuYz5pmhSA5FHXf+PlYMTERBxANINLpP75kug4xTKVnrs5iuIbAh3AyIoZMq2QLjIJAK+qw1aTW/hWJ30evcZX89ZoVnqnB4qxZdYrKl3Rusx9ybPVGSme1RpI+s1EJmid+Qfdxm8RmCt1c34S45oiij22vsDtOKWfyfiClB3zA2EnyxCqs9cSfXcXnLHX6+vsLx2ReagcC5GPJuPf+q/E8A4uroh9ooymjq5EOEOh17lSzS8afzWfXwWUKxiC7lNZSKYzeGGPnnlgKDJ7dUFqjaVWIimZAufPn0ZYhRyDE2EFnLGibqgHPl84Xc8UN3RphycN0WjDqwQQEdn08eYZkcmuIhyrLhZ3wE8hfGwh1UrVGqs8eZm0Zm/LXcdI+nVA8+hxxCDo78MJBD9Gz2y2RzEiF/2jahRMP82QXXZpv8Jw9ZXk66ab6qZbmjgcKhnEUg1QYgm1w5GWi6dvDrxqbU0R98YqB472eptYzEUAY7JbCvoDvPZcMt59nDqpLGKxmphQ9KMLSlZ445H4FrXBnWLdGntnZuvO6xcUN+LLpJ+TQ6e30uOu0SBzEkyEy+lMy5RqK4OazO15aqFczNAKgR9jucJ/L9TtjUZeERJ0w/X9oFJoffZP4y1mCCCMMWb8sxcCCJ9LKNEudyWy4Pn+g1l5N1Yc3+vy85fmTXS8OWbrXUhFtE9GfHavxEaBs+Im4zBP6eV9Hb6nAC4wWI+++uFV9YE+nHhnM2utsI25bQcM78khEtxMPI5pYo+m4267ZrLVv2ubfPjPsaudMdJULoVUHPGrWWiDxJo5munyyDpk7ojNJthil7DMlN4oZurvE8SrT36QK+9XTDHLjzTfo26P+oRbjFQsKKD2jUnqq6XSmjXBAPijs7Oz+e93RiEt/DftyZTBDgjHSgghkEDSs8dT+hHL3yQ7j9iMuAb0TEOpf/1KbQgdwZOmr5SKAY87iXLIilPRZ+aIJb1PF4pbvarsi5dZeeaFmaXbXi8DOcEPVfp3QeF2/HwjvGtN6V2OVPe8Mkh/b76k147xcqxf/YWDhIkaEkmHIYIQJ7qRnJGIHZd7tPScjolVtLwsVSDRhvmmvAAcEAsQ6VvQMDImFr5cKMqP6/gwnoI1F70Nn6hucpzR/Rjztfkh24qgAfzxbQPp1v9i3RqdVrFBjbM9mCXaFfgCLxsaJs3VfrGNOtPKbVLCkE6HUY20s05Qk8ShK0yvloi2YRH/KxzRN2b6LQKYe/EDwCApBfDMpZ4lQs+zBffM45ObDTzfheGXDcoc/4XH+ebf2346U/G2jur4ghLpOyegeA9qzcsSzDQq/iY3SAH+cVpzCOaLBt0oWT3QawtrzIrhzfbIvE4v4FNsGDFkHzNTdE/AwMmnFZhRYTyEf0b84J9bgNJ+jxGEttsNgS5ZCkQGy9vCDyG1amRNCNbE2Uqcwt+MYZjYJ9is0jep2bjZjt7TbISb74Zc34vSlGTpcXXzaV0EeyTT368KegDsMURShQVnPMvqT5aaZYiH+Dv2uTSO9+FI4cGFaACmlX6ck2TXO0xcytcnXfOeocPr4yKhiwRTs4BHkM6udISi/9+J4QYvEoTIQGKHMiWWV6QGabBdiIFgu6rYcuWCuinNL7x/NFTFWV6ypgO1THzpJwndwnDLSe5Yfsl59bEaINWZwHQn8c7J3PixnVbFTAtC2PilgALbFkIQ48Ak5PYilYblkBt7RkVBwyqIhMj1GfnHBe5JXSewpmF3cxUjP91n2ngO226Wsbp+aZDta56qLlsv8CsEKHIdThymKTUbX+cyCInCYdh2TUNTqzPb4W/UtodoK28zzXow+7YGz2IUb3aghFxY62zEgXvlO3BF6QZJ0q6tIYPhxYZ4VHqfkblmoJynL+c0mFIJuQax0sV8ukywshY1X6/QMbB0uIl/xcA8Z+yL74ayMXMLZb5+A5x5DbU0qHg8KwfEDojP7sLesdL70ysvds6Z8vCzzJB9H06CFU8PMZgX7B+Z33kkWaO0Q+Lc+dBsxICw7nTGcu6xCS2XkLQAhH7OvOTUK//wp14FxkXEdFS1t0esuwebPfkeF9vY5vdwJ6wnOaxMdveIEoX381EqXlfbCNhP/dWG8XwdFZkMB102H62f09oz2QfO54eVx+9TnLAd2bXbxzaNhOa1BNuI+QG70x1TzAEa6QjLLcDYnL6BFmMvUKlo04AMQcVYnEb2770vJyN//5D1G0p1PLmnH1hZpFl+nyIztUW7prunaKAl/IfTKyOKmBqhuhtW9yefHvVnkw6UUFM9xSvvffY3BYMGcmdTMXcIgywTGZ0bqxlDKcPAGYKdctCe1KCI3psNIEe7lNSTcwvL08mm14Q79DXG8pWrpsZssrDXwMNGX5LSLkUQPHYzkMaXC7IuldzdmKrXqnv8bvWhkcIbeFtVw1yAjGqNqBYeDPXoI6eRwT93axDwap8CXWJXCQ935pE23+0HwAaEAeetMgp5mZhCDVByP70pzPjTIjTAWCKTS1Rein87khFEVdq7MB0SFNgoXlhAdOixfrEtbGxf3ug0e42uqbn4ADIfBCAYFo6r6ZhMwbFvNONK8rHVOH1TbsayjlHEBCUfrtzvzP4lSkR87W7yGTz5qiXJ1EplsHiZBV7KMebDJCCXTVCWyIJjATdgud5MPjdpf+rEe96zkikbD8GrUip2xyZF6pV1tG7ll23iKhFm7LRIjkFdvaqXumQM804H3ws9WJ8jjz3FprxaRDgBlsNmzXhuPwy9ikJTeM8NAyEjI5TDh06bcQZ7c4k7/qN6JEmTqRAPZaJG0SfrDv84slogBdmOYWVk5zaHZMTtmsHmVEdRGNHaooeh/8ZgyEt0kGaFNgzSgv5rR+gYIDZvoA7Oi5IoZ3Vqp/cTSLbOErTd9law9gr8qfFcqpdcKC4HZzGTkn1IBO8EfbgQhsD+h/SsfBF5r8JUlDKL2SbpKkTHIlMTkOIX9ijsOuY9PeuLA939ozQE0UnszC60PXLVRrf0RihIM0LLGU+TrfHm+IHbwba+FDDhqgzuv3cP64iFgKV187eYVjKqMRF27cD2uJoxNZL9EVhFO/Z3UF0CvdYVlKBjlrjvBFi7xcdlLJglyRtoT7onFDN2OikXVn4i7fUYGSxhm6z236E53VtwgUhwvcqSs68Ang8iEqqXpTxPuvA7iJz+lq31O47hLqVwnAzKoPNTVOaNvsdEzp0TKQsjuoK87gCR1PYXv8eqtT45zQlWVIeNyg1ybW0w4RDlcT6cfRIVegV4s/zOxGjBlge/2PFu9UMoFwsWvp4mSQGvyBhfPqKEwEXHWzxIGS1jyE7sKvhGFHF+R22YFCQ7y0sQWCuW5i+FA0iYDTiT02pX3sGv0BIG8pgEyWZEPILcmxKmRfsCpV5nBhme9mpXvznfUkkTPuWYbh0e4wC8yUinVFB7GWgDx9qdpKg7DgdSsspCQeds5/68P7NJWV6vtTW8zX7Hge5qw2miKrnGbruVOe/86yww1hWQ5Hlz7gJM/Dqi9CbD4rs4FYzlHU7wprecJeDby/d8iRlYJ3TeLnT3uU3OmwuCH1FfC5eB0VgPJlBF8fyzcnHil8o60oTJXv2G1f9NhUcUle0D3mx7qGlyYqg+tk/bD49sSDUcB3LFmOvPKglLlCdh1cBUR7inm0i8fwAURQFvgKSM7HhoCHoD1AW4WRu7xFEhfcoLcjAGM68AfxPnNBnBttlniZTF9iLKCjGcHCQlyC85N7vhF83ZX7Z51bTIsCgdpMTGCekAcBRQy0ya6oxwgSByrnLwMNyPDrckJ0wbSTqKKoan48QFcd6UsgqBnfqrqU9d4yIEUASt0gLP5e5muDXQ1Gu+k32+cV8Oq/+yDikyakJpNZVuqUeIwqYwLVGi98SdzZZKCzHsJqu41Es4DR8DZy98NApD9AMDNt0TNPxKoXvxPO3UswwJONoKY6f1k0JVwBlVs5Td385tj398ecfqMD4wwxMgNa0Ng+VyIb35A58HPVaNDGinocx6aczq9Tz7/g/mEO+pGl3QF6ceBkq3PN0UCxh2VnxPxFdht1FOdRpaU2LXlk/dkbG3M3biMY+E2EcK/LPUV4sY2lNBZDtlMoU0Bl1y9XCHnbYAy/X5LHsFrDGLzkTf/X8sgj3Q18Qi65JQW6+ZNTQkb9vBPK6jFZILZ2Y5Q4GvRY4VuW0abJqU6GjlriKtJEexhHzQ6ZQYlYX3aqQ1UpKGWcnWepwC3+zQAMqTe2Ns6Vvf9MrGCbx8rlhwDJ8xmNreaJ1MAjQO0Kd7C/bCRFKpIrwZL4MTaHbuhLMOegvvtHs9/VYZR5BsgjJgFS6KbOUkxX2GXvhKZEditwCA/BZSQCCs26X5o4KxuTpzIzGZpaT40u7m3lXGfPpYJGqraD/r91Ow/XOVHwGCmv1o+d6MtrjGCN9S9zLjYSSvsQd7UGLGJdC2wu5zfJ2q0OKYtq83It9x2iEY96k5BdxtMOtTrRb17qzVZ2YW49kgrEAA104Ge1VzwsUn7ExPuoXCXkeBbUM767ccuR1IhJurjyhO6kNQASaOQizi+DrrQL0pn43hkBdW/7+d3y7anpf1mQXhK0hFQ4TM6ChchkjUNAIupPmUy1lcfWpsNtNhJmZ7cN35XA5I441WjsJo7ACAQSxrh8cWBD0EVsJ8cQZaCJ01vlIP66XUqbdqOXq8Z22zQ5qH6gj6r/tHSy7AwHXD+UR93BeNj9c5f6Zu3jjNVX7sdu4HUh4udy84Re4kUNnIc4sYoATrUJOQ5GoNSME6nRY+wh4/p1cImr5XMw98XKb4JgaCLqG1TwNvvYRxX2mDHjTu9giUd8CJuvzE1qPNKaaSZk3LqibZ099feuwVaaVwkhVXecICfNLyvBrw5OvlV6CzQbQeY/V4ZiN6mj+h1je2upW/LXALmLvsBgQNGCWvFCr+99NeWu4KPGIpLadBOGv+f239SUC4LiGNPSm4GUMsLguK4vShfY0TpbdeUdS508Napkv6jGL7XG+FjsHu6v63Cnhbf19/kUDDKp1mf8pTMbQam/tr6aIfnd99VmdC4OO0af6EecfBg6wziwNZgJPy83QtUd6B/UHilebT2g3pY/67lviaZG36l/9gEBcaf0znmBiwdQ3QgBxu2s0gmk4aF4sZmqDE4r8WdZ91OhXLoF3JVyABdgmR4w94ueoZzKdNhivPg/mPDXSqff4d7JESvbv6++tdpBcqGljG5Vb/YWDnw/whESYO7w1stGWSYddP6awgSdwX5g5P683UmQSNiiQZDi1+jh+p0HoE0/GzRHyJFDA43ETkBVRBbWSXPdvvmerx2dwkUs9PdU2TYz1p70ZX73HbCXzKgbvO2uQV5h1gFF+2q26s+pTpwIZNwt1OLvc1amroysTeNKQfvfLIAfZDT7jbjcVmmhtqlgdZbBsC0oYyuIWjrglnXeu8SbX5NV6rKPN8SGEk2r40bQT+DPCczvgmajdwcivpE1hOJIISR5CY+nsoXzY48o93kseowBjQoWY8DsafjN+I+qm2gHtcyoG5iWWjT9C9tiEZ8Iy3uP8GLa1KToR95rIsVueh+DIODy2XdJTixNQO3nkUyc5IFgaRPqmHo3Bt7kFE0ef9VFq7p2SvSLBzp1gwE8zU8UbJEgDfkGlFmkD3Z0bYQu1MuYBebMcETI+Grj6utaged1wqpIMyr/q+cZ9RENnTRHDIpGTrdlQFwcX5r4heSfVLSQbycgtFOAB1IJRji/PJS7YVvAcIOu+hhlN5sSTLONxaw6JzT84eLMpJ5ikNn/O1R0gcq4piJfDe0yPeBTppSORfidWT6VVQOnrsrLNt7IKt6h9PHjXrId/Y9ex7m8C/lURBr7JunSvGbZ4H6XbTJtnB5qBrDTAg4Em76J5E/hB1EADP0hIyq37+n7i6yDbMtBAbijqEvCUfvj4S+HPbxFFKsL8phg2VPXPLtLxCH/hf6RejI/FSRuk+PuB0bqYpuDzWJ19NewYfk5Xzrj1KYdvxMMOyyOy0UKXa0ajwjx1Mhz/DHrOXzbWmx70bYx1sSZwmvn+Owwc4sTHiwf3nH/YdWRSPjDoKxp5+e5sRNgbPhH3t8EAXAN7ABr5FuoKzn7Y0NNZ1axor/8lyJI4vFf/VbGMrETrfX0zQeMuKI4v2XYQUC7+NHuySo4M+bsNdFNkUY+UWlu2E4G3yEomtZxSlwzmV+3OU4msYVUNYPP0BKx/oLtvCYrrhNQG358/R9bPg2FJpGHnZFBl8u0ZxwyGF0FaOytdy/J8KIn8hUjJkS3to3gS/0ypn3U6Nu1CKrlXU79/lVK6aggTxq+6V1K0An69SMNjg4hASjZTQt98bT2JiEysAVL2GxOPIg5gr1UKxo3jc1oHDQzRe2OqixiEbjoJWLBUfDq2Qja+zgTB1/9QmuYundFylrSMuFZK6LeLKJRZ9dcV6QekusSkUA/flkG95uLOU1CyUkq95KgP1z8O0b44zxgeXJrX7WAMzUnGY7J/5EKnl7GI77/X8HceYREVV/qFyAmHweiK1P3P6nt6sY42R5Plfh4YHdz+d5BgzbZvlCuYdtzFpCJq+Q9dlf4EuRjyQzL6lCPQIybv/6oYzRDW7TS8rPXyb3h2aHEH0kfLKB2Prutvrnewp6BH9YMrnAUtMzE4n9UpCJnreTvlD3zCbLPNxKGqF0L/xmgXeTf2JeFUoGh5S1dV7dYem87R5dlISOO+mxvG4/EdVY34dJHaMdJ6+AnAaaLtHoTKWyrXz+pbM7vLGl8nefec9KRJgUcAwJ7edKA7BJ+dd3f4R/2ny6cG6GQLJ06cwrr09zS0qp3qAU/0uIDYZqlNETJRPOqPT0S1AikSnZS6jSZItr/eI1cYfBdB+my8UcSL8czlBbKinXfutAK19YDvYDk3jO/XFf5BiTWxUaDeJhlQ0k0zKgSXvQUxNmlCSLYTdZ4IUhl4RISFNabxXy5UdLy/Cd1YJlzk/LtBgxCGR+tzfGhN7oHfqDXIpsXGZAUVMUgz3lG/S67BTBkz3bKBkPdOnj3w2/NggzebRlTWOJc8x0sz3qSo+hXsLwNvQ7fcbQzMMpM63dlyoz3DBjsS8+tfxj7FN694Zuw4TXvzeSsSswM4UWICB6lTE2g3Ys7frlcXYEL1cyVPym70/vx8w+V1Yz3RZ2V0Qot2RjHzqKXVaRtyXItmFMOaM84JxHqtqag6NOafy/LffQ3ArlfOciI2A/wEO66Pz43nvSnxZ4AVRf8pYvNuT/fb5+XYYQ/0iks8qy5zrz9yvsopsoP/rhvVKei+n94ArvZwjDcAwljZ735CI15Dt19JrkBMlJmNpAo/h+8Si+W0rzjkMvlDI+NajxHB7RaScSGiwqfqI6yxYixdza2VSWfTOiWgji6fFE5G/Org+woxbqFx8y6R0ePfTYbZ5aJ8sh1h13xByMJ+67YsGz5B49eQytenCNGlS3CkCEu0yofMQo7clm602wfXFCHvSYWJ5ga9lo52ogBM0qkqAkPAIN8LeTJH/WziHTP5NmFu3TLv5cn7dsTFjjVEVtbpFu40KZM0eyaHYP3TGtSQXYScS0QvdAQh+QJXwF+PmNBrZ2T5xPVMyqf07y4mCdgCJwGf4aqYslAW8UC0b9+F8vZZuQQ5PQXJJ0YFCVG1kaUkaLmETNq73jav+g8tnqGj5K8gzJ1DxyN+rtVTd4tIZAE2XT7LMZrTasfRV2aOKIsz+fARi94lP/NHM34m2LH5utZAOw+yeyUNFjLDTu/BeIkbg4au8CX4pYb/1sHmrle2EnprHkBP8u5Xi8lZh2GEeqZlP9Jz/cajzdy4fiXsToHLn3xj9uJd97Tj7ni8RvjI64Cv1QgRtuEQyV19xQBhd+JAsR2oIzeKWI0htEuGlGPHr/NNSUAj3pCoZ60yRWaBLm2OQQTGBQ/ptUY2t227WWJc5fqswj2gbpQxLEzUan7yl41E+Elv2Nqe7Hm9Dh9nIJLAeeRyAlCEpkzUXoOFTwhlom5JRCCG/Er7Nnc/iv+fj/quADMBwnRHVus/uYhyHNq0WrKQZgT/Fxv7XwLxyFNDZZec256RLP71YONTBcZzPD25SCCH6fCppipHor6EzxGQZEwjc9mw7ODZCHUoc/UHyH8xsjVZHrgXLz/yvorclFuPOEXyTa3T71wNUW9gU5df1Eyp1bbbyQpX/gsBxFBR4KobEm8IbPP3jZ2M7dnBO5CyE0e4y8x8RChHVuiEeI8Po7kBwBMxPz0bN2COcJRYfUxk4v6F9uHvc6rIyS0NtHTy8LFX5Zl4WO8NikqBsy9FH16mGw/fgnkpmHm5lKRzUAcWg5xQ4IA94oksOO54PG4Fa0rjnXyOytTTxIU0HtIhAn6O8nx1aLQGkIcz9o5jIp1ETpNjxhI1q69vo8AMB6iiy171GPZz0rMlsVOyDGtaYWMeH1cGA4lBqZdOO+cV/Wgh7/jbvwFVYQ8mRwb6peYfacErUmEvPWGUa9W12NzHDgaQH1zojX2d7jen36+l7xTHeo0pP4ax4zwta1FfL0KJjyY4tEslMeDYg/hwUS/bYowJDLD6SifDOMzkkmXlwLm1sJ9IZ1ioK3hG3ec6wF6rC55IPdGvG7vdPjER2zAvTvbYlDe3BoRt00cOcybsvT6V69ccP5dxSSz5UBEvPyky/snP/9pVVMWyaIWpLDSY7dkWPrybVRBnAQgFvOxV3ZhgFWXTXNoAB7YL+BO2LFlCPA6y72j+Z5l14wno6aQFzmtfu3ysGvhhF1fAklgfjWM4FoTPYvr56sIw99YNrw5d6lQ0SGOPgBiJ/YpLTc7rYf4uZg/zjFX5UEOmPh8hNd3s1DVvH63m03vkNNPbzhpDZNY6hdqv7kfknfuf0JJVQvdkLXDq3kMUOFz45Leq/Z5c8+UBW50RIUrm5p+weYUvXPGLgHm7gq5TUdVefXR+e52Rnwf2dIdJ739Zq8SfNW1GTdCLqNjQ9TMaIXev3AcLTJLcEJZOS+WNHdZmvMMXL+CypNuq6znZIpNMIQSSv4P00C/hmdcdFTLGglYO+s9KDimYFe1IDfp7Cj5udtLqImBXYq2CYRkTQhR4nrCF8d2UQZC8wZhKu9jm+XbIx+BiobNkcTbbw/onH0iqku7YZQHaYPgcpqjyshyrYk3+bsl+3fH6T090hg8wZd2nNI+MRm9xCMLAZeXfz8SeJ/LDu95RPiTyXzwpKHHfn4u7wQCwJxw1vY5BzoD3E2fvcLNz5DtpBTCZRor818M/w9pmErTF++/HimtaAkfygzop05kwnpOa3d3olwgUtolHt//aUKHR4pS0XCD9QoQSU0kLb1Jqzum6kkfA2EsaFh59pEvKs6BPfB9FKa+mMiOfWOF+Qwtsd3OkBoqD5VnS3P0pi0noinNgvZr+QG3CtGRIOdSzMkB+9cmAyok1SYOlZxiUz6Y8VxyjkPotn1B6Czgy8VIRURpaqWgWxfnsB8HlzBEzqooqklkvxuMJsLGZ9Pb83I6WRil0YcQQv3PipwQdR5K7kYy0ueGNHh0SZ6F7HWYBLxinDFMqlz4+mJy1V0Ms8Exfw1MAzkkEBvKIDmxAHrwY79LKGvJP9mrHJIkfwNkTxF2GJGp0GK0yaJWMx5zBPD6l+5P0MTBQ7732uDkwGOwNOGix0ukkn90qUPQFQvp+Fng8WRxrouuhjxh5ERTrodsMhsSXIZMj+Aq6dXEB6i2809co5KwiE5nARt7CRYEhIVZbftojK4dn3stvCuJnFD79ec1xyC3LMWjbdepNkeG0NIUDtO6e5pvJLzqztZOpwpje5RV4YlTFme/zNpE990SY3kPtHVFYhIyifc0wcmTxD6iaLq1Jm6yR8BfO7m5kMSlEB8AuDoIhXYTlcJQgUrcoBq0d+DeqIL3uVRL5w0r22giGd9sLFGett692TquYDiZ4iZ5lpGixCW/oI7sr4cYrxZhVr3pVUTZhO5Ng1Fa+4hgNwguJ6ztoZ3kqMN5DVqyZRZFbACxcf1m5TBbDL2fzE6OTt3qDCUg9CXsH+3YiAApgCQk+0n/Xo9bkEbNWjkl/2MreXzhLOwoxYfBBLhLg50RrCvOjYrZv8SH6fWV6IZrmxplB9+zWLbRi03twv6dCg7LMygGlhkR2ZsFDGhGhysuuV22x96XRGh8Mmdx9r9Za+YeMAUh2G3ImS2C83AO/gysyUP6r4RLM2BS4IVqGKdL8Sozihmf6KeLw4nfdWkJ6ti/Qymfv/hmeDYgL00fyXD2auiNyA7QWQ8I7Cp4XJ6RXvmFuddNitVbyXUL0Vsjh1EXbSwyBea6UvJC6ZrDRdSNpmqONX89xK9UBM6wb5j9s8eLHrbdEyajGgIdBi1jKa8WOtkTJVp2cl5hFq6+TwlVZq23/lptMkF4zHXXl23IXyaTskwk46ffckLcDxbXCB2HYQyH/eORVaBuZ+uJspUVGK9B6szePmEWaawjm3XDXQ9b4B/Is6Ob3j6phyZozl96tpGRI4pZNt5C+wu5YqGhpbioz7yK29KmnswHhMdYEglpyqjB6RcK8sjzheCjbtcl2YznE/QxkPoat3lXkv6KnonmjBXk9EAUNV0ywRT04riGK4iXf2M4paCGs7G6X8S1uFw1tzwQgsb2LM+Wf83x12mvkrjhIzeulLzhdazSZvOQtN2LGovfF1/9Nqv7msm1D6FJliYhoKdEShHywhjZgka9VPOlh6lp4RY9oxyoL3z8qtL7sR4q89Zj2VGC88YyVzUwB67MZl0tPrDkYxM1+yM7e8LzhDJMsxzO/mIbgJc2kBFpvBgLG23o4AsApCs2kAEvSu+K3nf60OWltsFnk2jNU6JiywLVcjxJN2abNJAneIchawpu20gBit/dusdTmDtG9JRNj9ZF3iEZMwmGMolLgNXKOuwO27jJv9EEBuWqcHeh+cXV1Bou5WGHz6+RKVSQLs9QcBp42zTI46Bv/Sxj8pc/42vJt5e9HK3eBhx34NneuVvi4JzXau/XVLR3OwfNcvQRJ14VQrdv/Z+RhK+WfC55dicTJ44XkKqJOy49V8f+9blK0MxF+72+d+CM6ZXEnZeHdSI0PQwpZ0A3mq6YCCahroYu//8DgRzcS6ea8eHY6w2HMqZsT7e+j2RZh1tqj3acRcvc3R2A78UJhsFHJ+f5YqWbsFeAkW/Gbxd2P+Lm3OMYiIeXbkXh0zwTS0sJcsEYQwJSSQdfk+y2P8/Q5ri8Tl718ujB4Cu4u548r4oGu4HC+xsojQJCucJl3G0ZQGtYSzNmfmGHylHbH940c8MTDc1ZmDTmSyoDpjm2CUovuD+7Oc1G6gXMdElGmocrU0eQvfWymR8hmHPMtfdof1NVOJNi8M2NpqBu73YVcwqitJcSKCZCfgxsLrjeK2cTZWe1krMhdKFE/W2y6OzEGSSfJlbK0UFCdsLZZCevcO30kuHFu3KW7o6dacc1d6C6ybnpC2E2qTGtHymFfySZU1TK+1n+gYqyUAA5nANeURxjO0pY6ywvvSv4Etn/sbrah3wDNb8NXvBdAKcB/3ZGBEQZbc2wxGZJUvknlFa9MyxIl1AhDS8Xp/8ADGJNXGOq8aQNqA4yPKy8CSB0eaTNReZKvGOiiCBlZ9wKwA1TX7DAI/vTZLsvol1OEmVnCEwKLaxeJveXcrVhPgqKxKyBTQIW0EUNJubQnVtX3t8fMUZmpa55a6RIqrTUbhPOzUa3lA+WSGTvz2PuXelbgWSHX1gzbfboCu/FU1ASLQzHxTNhRjH7Huakh3ZI6p7/5+ukLNntV/haKGEsMf89zW56XR3HEDd1gznXRs/NS6cbdSSXRsFXzIHhXLHrzRJXUnALf+B9sOxLpr3b8w5AwwMGXW/Mg4MqlIW9aCUGs3TRFBWIJHo2akK6FcKGtg+kVH5H7RYejshREYyDY7fXkzeR9tegrkp10fbQv5BKYM0NHVJCSCmnvu3lfBFZO61Ny+NoM8KHuGlp63UVubi99jO8MfEsAnCIYNTiFaB0ix2iU5N7JWCKj2780fKVUvuNUPIt6Q6119x5kzLqpiiVmc8qrs7/uXisxFe3YFkTOpFeKnGfm/B31k3Dy2L8ov1FfZrL5odNa+KjibKEG5wamuzzMgLDzhQeG8LFp4++idLgSEzPlI+RciFWou+ZfojFSzCNi0d3l0pkkcUCBPzG7gBxwU4KjSp1YiPRuPrlrwJui+j93F73D/AYkGXPID0Pqb5dlpjf9trPSzVmtjsrJ5Y4X8WyWa0sxvrx8m9LyrfyFXNCeWgmF7E/zq71BKyF/qx2v8W9a8UIzmN3NhmkZUTmavcvjQqKpeiL91wC+6GGnUP5+eg9g9rPD2xmSFf+5YexzZ5VOkRAH4vpKyGMHCHEIvQ5Ic7g609OZUYPF8HDPgvGehN7yhFtVH/bdJ960MS4dOj5tGrSpRo3vsJnlAlNYkI2QrVQeHEjqTTD7jETOQiQsSsY6StK8c7WHHGP1gqdYRYRLQ/lkpzNvJnvzfWAUR2rPrvtYmzDBfy3hHVju8pZKoBl5dcmp2ZTiLbcZpN5xWwzXbtbnO2OohOPjqYlM5PZXFPp7vQst6HBx9EH/4h0JvxY8ui6ODXyFmlWJS3wMRtaqNmROWIWvJbjAyhTuxe0FdJjZo6nhqAMVAL/V4q4KSLchZfB2d4wfe9Cofc/kP+9NyT00agIUfpQWfH4C4mKhL7+Uzb4rzYHSB09RCbNDdar7e6/1pC5vokoaR6hq1fsv36idjhD4bJv3og+laBrAgQ2Prtzu3CEvmSbE5qyPk8MflLTU1tZhsSk/nsOYd4L2CyhGjBjSdgIPR1xSYEqtsATtW1QwETD+FptkkISgDGVNXpPhGv1i1BuvtwGhKeYdEEwz+wQfYHf865tDwoOo1xiw6ekr0C1Obs7zRDdv5x0Wyttrz+K70cccZXaum99HpxPlkwr6mNbgAkWLzfeNUlOXN6epbiW4DdtNgr9ur5RwWGlqzzIoTKUM8z44a0TkoXNSqewddSbCtWzymkR3ONM1H3lKrkFxCeByQRoXD6GsnH1m83odCMI1cWLBcag54RONfuc2uxQo8ktPASYPB15iEONMgDfCVgpYAGZI7WOGgE4FkptqpDI5qhZUbjgkkFZSrsHnGTtZpyy/MRV6fMD8vlHsfIVRH+TBBbOCGYf9SpHhBd0bzGd9yM/R9heZn/EL32hCcN5M/jDyKYejPv6ycgHXe3Zc6As/HvYOW2Vy+HOIjHJUAJiv3X8T+jmCKvXC4ZHuU27TLhV6GhrFyf2P5oL+U1M0t+riPjT6R+7wm45/44nXYxeYS4bMxpHSaOSsoi3lXscdNZI6Xump78VeMWlsy3t3D6/2I0x+RIEbuXtkfMrDOBJndVycenfIUM9te5mZFLq/K6VFcLHCtorIwG9yHbQLwT9/CoEmtXkZZ+gEBJwmK+lM89c8iUjmqX7bM0EkGEpQXeVkx+3VKsEfTv/KAICaVABshmhGW8V4zwwHtlqVW+itUJb/hFrwqvfeYYNEa2q1WHRydA6AdE30utgwFTLiB67uF6E9uL8jxY3tsCytq8VemSfG4fYYgNmO8NCB77nQP/0/Sw4+hbjxKoR/rsph3BWNo89xXDw6zG2EJWwfX1Y08nZHm65QWqs4+L3IrYa5w1tRL9Tn4s6rSGhfP/RCpFitjiIhD/RxxyHub4I9bLkwL0NAuoXkl1xLY0VKL4B0eGgWRf4Y3ZBJHKWjwTl8yTeuUb2wJ+gRk1KNkws8yfA7B1cej/THDqVtrL2HSRRgc7Rjshv1P8L+ojRP+4BHRUr4QWUmAOeaM8KLkcFd2m2KhXk9kvBqQNKtlFPqssnXfD7f2MxidgsY135TafnjZrbWAAVqa4istHVsAKeAmEUzTYSXxcJUnuQKoXHu3PVRo4TEiabpXzg2md7Qy6yvTwiUgiEbhnePks0vYzBWtZ3y4xyKtFZLtGFmoCoYGBT6Hra5j9errSjtyyBKX2izqx34/t/XSD7teYS/Vi0GSWV+O1leOSdSTZjJMoETCfdV+4uPXw4agAqR1e4B9UnUOejZO+HBfwCRTvxMQOr2dkwWAzX1a7LIQC/Bniml07Ou/cAShufH/S+VsM9ZA+x6TRJHA/1TMIDIUGF/oQ8PvOEnqkmQe6ZfuW6YbCxj7klEvZ1UPh24E72hMHUP4rEfxI77TEk6PxoJ2qQLHotp5/cbigvIU7zC3w9YoxkgpS0T1FTQJgNynXj8L7nW5lK7kH6DJ1TTsth6vsJC8mJUyWznLE+lyhDZDXzMSXPsp9DBf3JDf8NgFzOJv74f9e6m+tidH0BubwSqbAdGIOB63iJFcBaR+W3IuhqpixW3u4itlBrhYT8SJIxuModv5hhdDr1wn8zJxX3Qvx7lvriCkHBRRBYwbVj2Jld2L3qMwzCxLjI3zhvxDRnOgkJmVVqxnGX63coutqHX3SiFPxcy6eKAZ76H4M2LUh/hkgLSGjUB7BGFhSlZToF7XlIAq6iFkR0L+GAlwMJ1ztSM0vWJMJu9k4AFXdusf2+JcIKBR+ihxfZe3UGzkM5+ineZW3uOPQf3oDzY5og+QXr6DyJWEPycLWMsCpQlnWQ6sqpsmG0OWXEE3OkLVgzSF1kUfSCgf05hhU0LZzr3XOYqRMMlh7d4KcTw37EnUtP/9XclXxVVvTNhnJ8qCDOtwz4UKaT3mFWpN2y1APFhC9fSGfRpfqAt8Vs4o6sk09tJoYYelOsVpUYyHxJWgFtDZwjrStG3140LI7ZnuXxOaqq3P+7JJAwSNdqLKWCs+PUUlj3ASvBniTFGk75PUPD206tz+jjWg4fb7FlaoI9JPUThxbY6nV9GTUdD6hduo/+eZHsOKvFNApfchACU234DDGNtyXmAIe5X2jn0oazz64ONgmMoMBSrMaKWZxJ875kTvSkcJCoAP5ZYKv+m1JB6Y3MlGCAhc8XqxyaFtiEnFkG18iIKryNgvvGfVWNyxOTW++LHstyLuetSxjIeSmAmilDASndP+0of863ccr3yQ+7txGGbaU8Ixzbli6/WpRcZGqq65l4S81awFzt6lAQ/SdWAzHcCmFD1pZxFBS2W1mHHehD4BVCmjmnptP+bufYESGnd9dVZFwwZlnKzgqEcrEShfNE6ca7Jltv93tiw57hNl/s1yAfQQOX2BuNdC7m7XqYRiGbS4Pbic4V2PLoI+Ufti5ZPhV/lmKnOzswXihFDdvwCtE1VGNpUr3u3jJqn/Uj3jer6YqU9SEw3KDmrjsrZv8Je7h/NyPgr04qMxjZWtn+iOpVMFx1nuDQFpJ6GiSl4/OunxXD5lzIQ+ISv/myqP951PL0oAKk3S3BC4RwYOO5iYDgLUyo/DxxI5nqY+5gHIf0UFzc57RPG4Xon2oDkpi2+/Q9Qv3yew0N5bt9PDaoKhdr/UM2loo6E5YmtzEr9QCSUJUPx5JK9k4D/4xF/aix+ZcbdNEOTbBhBUtgFUbCjX1/VYw0HXG/NcSWmxySyqwJ9PePvvdC2R65dCAzdPMnosidFVHMkZuQ+dvfqGtRQPdy68PXjJNZBs9GOI62qrwmmMlnjFbZHci9dF9pEqOt7kS5Y4swGCpeVZ0KxMhX/UNGsWsIGV425sPaOh+GFg8M17ANY4xX57yidvAkadcMoCG3IujysaDy8fssFnoLTf+S9M3EYpLEEaEIl4XawuAW6sCg019wWlxwzacwIdi4S7Cr7lp/t6ju9z/qanjYAYxCPRxkXHnBOoDF5LE6xNs6mywqDJqtHxLTy4PM9WUhOGmiBX8tEG22wqMqbCx3DWD0HmicIvusFeaVxSiBCaEo3Dx2O+Js9M20K+tf/ds1VqgtAdogLENHxtpnMevR/4OdPVMVw4w7Fo2Pmoa7n8lwvIH5VJ+Zp9v7SvQcXcO2oIW/CsOYIHgPFVMoCYbRppFiZWTHohHFb7XWdZykUKRvia2RcHzVLph4bc/xmEmPD7QFyOmeWt4ZdTB/6lvOkYTZDQBiUjN53iYOBHJRJVyhklFy99+evm/9+6O+3VE19Q04rF61lgJgxzokQqHQo+22cW5Z8aPHWrYHaKGV93fTsVv5fouvPWU/ZpiapLFivVf2ebqXDLvZLDSY8mJLlDEngdNPges2/YX4e0bpaHKPmMhEcY8coQe9vE98w1JmI/Rz1+JohzP8JL3RXKjoRWdPDHC9a75sFXWJwtm8+0JArL9jA+bSMQsgbL/GGVsApmUfeAMC9YOHZGH8AMjwzDtNXPcYDc7t5hXN3O+jgJ8PXzv6EvzSfSLTrWzs+aAnZl/YGTGAxVeLMG9MLc2FkqNbH7QsUKNr5hHeFNbZWn0cKVg0dSSReXQVFAKhm84rQRWSFGEHwomZiz+Msr7RYsjUsetq3ev5K0Dmx4PfEj98wM5Y2KTy3wSQTxNStGKK6ZrFaXEucH3qWk7zQ2J1ZvCFoGGvWilAhcwvDdZaYxG4K4EBg8vMg9GY6BB4VA6GcfkiGs/cHHSApZCI+EuRiwSidroG+SuuG8Xib1sKKdEm2Gn+5EDjS30upCvApog47caUhupnZjRkwmgAe3xo5ft4MU8T9FUuWMfeE/F7ZOqAr0A2YBdY2WFwPjRIP6LcZ0JO9Y7aGGwlUnxT0wJdw1p2bYS73AMErnha14u2/wEyKDaQqTQm4OEBmVz3Thd2OU3Df2iReRLJRHdMPkOF4py/eskZ8iVo2nYwzu68dcRsr+n4+wpKVu2qLGQrlmxoXfWq+02qaynY+uRHVBhRvSP+QQDEMwvNnYGzvAgmc5wIUFq0QNC9eEQYFqSSJ2+9kLRhNU7ZZuZXmmmDRV+0/W7wKvgPpkb0y//3ae8O7Qum8y/CQz6thsJH8JeoLfsALu/6q0CYHy8ApmAappBefyMB1zZ6DNdhjK09P6amfXkb2xwzmPiDEf54/xVQ8OXaw5YGpPNrAA10MI6ixj5FopHn1PAmGRUwNLyAax3gwhtvq5pdGlFPBE6nBtp0NUlBDyxB9Bzo5wQsVzK3XtM8BqZwcBwWyDTETHR6vfJrCdFVsXOLY4ZeOPFfvu9zErvrF0elTTpN8ytJpXuk66y+XZ65oEcaAG/eEbcPsSH+/p52hTFV9sm9PpbWkzesjQJ+LgJLwOEsqDpimg0hO7SM5jcerQHV/a8tcPFgshGL5RY05cGog+ZcBYnRu5lzKH5+57K2Tgy9n2gfaL40sf+O81kgSrNvlshpJNYqDkbxJOLJ9szx4gwVgWXvh7Pbj27CbKdzcZJOYSbgSjss9Ccd7SBF87oyccOvFRpRST+y4yDiiIhO2odF5X5MHMvYJLevOinspuPVbAgnGnWtJBV0T2eH70G8Ia3kUSiMQkg+ymmx8ardnR4GkljHLguyYv4AY3BX2MRRAdajlRHF+jrZjJGl9tD6wZvGMzJ1OR+XIWbi9Ym8/+wabZOlzgpyeXzORI5tE4RYJGBoa7GmMSuV+CHLWVV7Iho0ofG7Ifi29PQ2RAHZ88OIYh4YRs0ru/OgFz8bneIXzS4CdaUtOIe0mHAR3GyQvPb5Uq2OC8qUsJ4wpCCvdKIAL7/C83OJliDovY8WUOCpsIGkBAl4yDfcpT4hWk1nUN+zEQYVD6+qlg+qbsTB3XLman4EYuyubGLi7bC3UNyIsUp82r30EwAXY8us2ApsRM5wnNNCBBTXGzlC5VcaGyp1FkRwK34shEKlm2vdBmmgcHAaXg2rAcWEiFxrCKsqniIZwst8ErpQvL9f39Lfpk9W/laDzCZhQgW00+zTkJvdgD1l4vDrtDZTQrEFwkU/oERqnWkaUgjiJQ4Y/fr2YlpiRU/eczIqrRsGaVpIMI8uhBsii5jOXuP4VOFqaDSuYASJtBbwhqdVRIEL8skAylPpZEXRz6QVw289OUy/UztaUpFzLuRyNy/6BzEzq6KzqWUXzqtWegkqfQhfboCxawpk4f4gc9kUc2Gk7NyU0UbKp+D8JuidLTya/94KAdmp2tZ06sxtIP8jbznKB0xTsUSFkNWfS66ZOdILdBekLvtdYnoF7E0gHHfXn0cukiqouGRhhMYYdCDZUdo7P9EG5PfDFXJWL0+1eiPyD3gfkqiBOW2FGdNW6HeLkGrSVvxlvwX33ZTo+n7favKQMpohSk9fubJY+iiiJT3+O9CwGSLkfr+Fc9AUl5rEXctJPUrwdFaFO1epgaDtapyc2xLNq1ZK+5pUScoGC5v6ZGadMDY9mh/jxFWtnGBrce1POMrndSDRtbt6nJqhrF9UJS+ZDz6UyHbePhqc/qRXxgfnO9rOmD6anDD4w0sA8xx2MnQhWCd4+IGRdc20iqt4BuXFOhQZNGG6CnEgdLQtzOivWvwM1mPMTFK90CNbj7kBfn/V3CV2eX93z30wKudqHs+s7pdvKBnJshzmCYhatNiSGLYYwwXv0/O+6V04Dfcz/emHgzqAwCotk1xipW7VSjiHvUNY7DYZXsldEf+BKd1A2R41JdE+k2PMLw6NFA9Q7Ml4qXdfP398DrrCXW4WNf+De+JJ43cV923owd5Lsw5+z5xy01lB7kPQExgnvzgy8w2IXeqc7V8ePvoLDd2b7eKLGQC08+5O1dB2S9KFschAEuyne+V1gi/dZn6xsl6ldnR1NYyPnSlSkzzNnc4jU2jHernbOGYU6Wf7zQpCAk21QarGYVSLszJC8vPFAwSITtMTQaMqFHt5Z7dXJ0+/nn71wpU5O2JFkXiBEqyR1JvT58HUYqfOcAvGAMYSvkx2HNhr05B0IhHzY58re3Z8T+yX10oR6dtJbKUCvDl9Jiqv+FVzU+mSdnxob19sUvaTXKJPjFStF0WmvWaQ+0qgRZr9LIoXREbnMkdTMPNe5f63pBDN7eHcXYe2vJpeokSaO2sGsvNm9WjqGOD0AoJB01vSp63/GieC/2aAL1+xLwThCLZyuA8Fu+sSNQR37KCBe4lWmmsmFUaHbmY3kvtoqZxipJwRfN/X2nJaYsw6zVC+2ZssK7iwUQHTbmUXbEAEoxG8TMG+UF+vvqrEc8owj74GG5SSR7lUKPSHk0HIrDQPd0jm9MhyZGkNE0jrrHtgqiVXY03H6VloFXdi0ZfsPR+c/5WQIbrqbpQ+C6OnJ7tHwS9n7S/LrjayJRXq9DJIYCaexqDAx+OK5hT12f/fT0v8XcKKFra0sMVbeGDHqVuMIBNtOrg/oeLoqUSOQR498N62wfxNLN4QCrP7n2PtNHYrGz8UmNm4D+MIYETmaqqUOkPsC8eQqiS2XcGJI7XbYpmVu/sSVGfnDMDgmroQuwtmEuvgr7g13lzl9EKuPWIae7hEe1hR8FzQtzdtR9vKu9yoHjMYInWSsXVo3d9ilmTIwFDZ/E1fzIIzCAdeao4LWco3m27ZnrG0XikyPUrV+eJDmUlOpvv8Vf+UsnM+udopJDWTEMVOwJLxrZgD0KH+kQ0/b0XzQoveyZ/Q0/xz9WS8QgeiWyPGX1t4WqL4+CHtoh9H6x/XdGVHxvCnKtfuKxpUlM6LRten2WICxEFS6NDq5jaqUHTxl8LVdMcjSkWHIjEJ8yPLHB9r0TpSumX17dzsY4e6STilJx08NVnuoJwE8KBoySk+7EgFIzVfip6YiMpBSigZgoDszAYM6w/111TA+8zIRlAv99di2bskbKZv0froC/BtHfDtLWx4Fu5XyH6Orw9ijG+9WIrbU1v73sEP/YVJd20wqbORT9yEUdl521oiEp/R122Nw1u4WpjbDk/8LAfBcKkZ4XcJFE7sQwVE8OUbMor4uxYragKuhpo9NLjpUmnXgRwrPc4ka2JXmLKJXONOYTvZuFRUtBjngyXGf7AuMbviqcr0292ETpivQwwfHrWa0AsbGrNHfa2uUPBxlVOxMLDKGZL0KeBvJUu1KegJuiohneD359Fa2RgXABW0MF29z11ggwpH1Vf0H04xl35IppCgYfhV7eFw4DIiDFARi3rbC4b+zQk3aB8ozYEAu6ssON3hWV3MkjQ2hI4uZPpW+l1uA8vcfslswvYJjP+TkDJeRIYgc2SLGNaATeyJiNwUpS96AZTeA40+RVX1/c5Gz/hTEOSIo07250O7K1EZ7yTucUmw3HIqQ4x2GZI1BtrjTRRCGrQOIP0HAdkSuCDP8+RWhtaEDJ2NEnxVXpMA9l1o3QhXfymw8DMCxb+Y4IehDv6xKkwpGb2H4VDLAPrTOPSIl15vo0RYb5ImorAOZTg5LIIU+TYZic5htxJWhuB14FLAt7Ct2CWWNnYBt1TAPJfqkeCNFa4YbWlj81P1/0ZLU2iZNa8cz0yADuKg2Zquuz84uOm1Qms1tmTsx5uRQS4+lYwGp3HoE5ztCCLMDJ+YdJnZL+JHQgK/jqA3Z6+izo0mvsp9zRGLikveezKHaWi5/8yUpnN2fEodulE9H0ZtHVD0JBsXAMQJUkK3Qjwgzbr+9KcpyudyLJv7BGF5luyDxoL0ZiSKUjetwoFJRMVTO8J31BUkT5J7+D/TiAnGTVsw94B5OgINtmvwYdWTuiBUMSvuus0V7QslGaqOhJaANvHBwCrBQsFklhLdYc9z1BjdYeAdgCOOfrt1X9W4Ep8W3oZLNYV/7GrLxcyeC9yt29q2TOfUHgs+FFrwLtrFF87vX3QRs5cmA7T/D1ZjIruNbKN3/1LAS1zWUh7rdvrenFwpEUbjGrqVCUjudmwoaIXNC2JAI05CaPpjK3CP5I92+OOu09gTgX54kdjAwfM1Cdg4x1oJBpsSgpXTHq/QXED2tmBRsCEcRFNmY9Ih6WmY8nzCj5U9ttj8+oBqvbF//qTOwMRHVTfB1TtguAVdjvIe3WhGcFsG58jKVZXnqtbBB6PhResPkHK9/w2v3Z9/0I6kR2hBsLwBCjCD47y448jEG6CdIzCTppsTaHQzl+SAyjGdPu05vojZP+ZagzWMrU07x7FnYnaaxEBwAd4a/1C8DHpqXzYq8JKnyhvM1QkgvanBXy0tDrCJ0aP491Y+/qh5q/VmEABeKtbJfMRoBa+mEzbJ6AygTsiVGdKqsndeUBSaYSREHQyB5bC3ql7JCvxdaY9aDEEy5eSASmu3bJjZNOW0KF8AUmlAiDEPSWQyPSecoQSJam4gbxN3v/KvsIkY/1X2xDqM7K+UaiB11IvvUcWBMLRJDnIY18+RWE4jApYY4Wokh/L7EOUYKXHJ4Ln/tn3gqPMlEkyfhrq0ZXO/LzV4rmzJKJd5gsqItnMWzOfRdcGDrvglMCY1UJXq9ckw+ZcfosyfHQeGOjrbGURIiBUqmBpLpmT73e4olnRapvcsCcLMc015peOGkXgs3cUviIe94Xz+0zkBVg6eNPWOdcAQPeDWLtSkOOqsEYDGVnA5tKV1IWnIPDV7g018BsufE3t97Dwul6R7ukcYhvyioEQX5TCHQT99357v2gJIUhHQHQO6FQJ/bf54CYkCbgOH4yaK7/nxGrYkGgaRjX7ptoK15knwRtrQ6krhhZyierTeA1AosKgyJVSAUnjf39ovRfhMsZmFgSGNFvfo4wHvZ/18sAowpKpd2pB/vQpZ5Gq7eaNYVOGYROcdTxybabzzX8g2gu/rZuVURb00X2JXnDFceOsgM77UMvUfo/QnfaDyxxPsg6UmYO2KbzQwTKbCm6I746hbOx7Z+3urisuKiJg54Y2SZBpJsrVWsrDSca7oIfzOa0xoP4nAKZEAsbCVcw1MgpfGopMdsjYFvK2HQT1sy2ALye7cJKTe1flQgUF1wMbzFGoMU+Jbd4NrF9+BItQQS+91tOkQz+XB4ES/hTvcnGp5ZzD6eNAwskRJ3+KdPu8kqZAxm8OpuTV2VFn2BsKRyvMQ7/z7aZOJrn3a3+4iCKUN383wE6EqVdra1bgyZGeBkQPSHsHQfBJiXRP0FTdG8wRLJ+96d39w7lKZvDysYPsbCcVk0BITYGBKhpk4x1buKZXEU7nQXsDblLu3iAvQJqtPmP0Q45nY9DPpssPta3wzET/catsdPqiLpZEOXT9EegaftpHXlh+zTraa54gzUSIHfdo0YN1YNNUd1tWYt2g13s5IbMIhzEcimXREb3mgPbxBPIOgt/3ylfFTjRZcRjxOlaDo1hRxCaIeIiN7yO4GrEHneBSAUA2x5rdxY/3CODUED5Ah9CuJYVW34HyXZhEOUbj9MTPqzK2MGdeP9AhTbaL37ILkqh0iMJAroHLvO9kwn08ocfKlcRnV5MrHSI694V/eETgfK4tXzUYolHj0zEZagI9COv57KQZUOdPNlwTeXqilAkOJM8tsIjLIxMuDY3GS3Nobz2mbC1Kwla8EcBH/HLAYmdNFZ/nmiuU0++5g/VyTkC4qpBP8wXX7WwW9XcInC5xKcJU7oLk9+s1RTnnAMacp5f7EWYt85rV+gZyPx8zQIy9PRtEEKRC5e/o9yiS5fhpWO73uchQkAeQHoJIWFNr8gXqwAWr+/T0q5q+cG0bqK48KrDsISzQZ24DoPXGZ5tAV0dQkQOarzKeQxvaRohMnobOX3zjyYBmDM5wFwT1giPHdzERvu++xYEgxBMYICUcEnARqTl+a5hGRXuqImNHgAX56GBSGexEFOrD1PML0wHCYwqLutScTwzSCD5tUP+kqaGn2MoDsJj1GSX4pkfqJC0lZwpcONb7Fl3yEUvvgW5gcTWf0vAFNLc+9mCLUG51j6b1vbD3z3TTi3FwhAOdzAAF4qXa8D0QhPMVrlVcWiaGrRk9gOW7S/vqtOSSAn4yQKdt3e0OqY2h2Uk1TvkLo6/6aM8GH7YkUsNLNbrGW6+Y20byb4cMhItnuGdz8h3eXxQ8ZT3HdNAUvjXKySQSQBCR4i/EapfMYYfvwwYopuc01+hIArrtA/alKm9SRg9vw8jPKXgwNyLJAZ1Jkaax/vlIe6D6tyF2ITWIuCqrHqCWOm75y7vI5W1mQgBb51Nwgu8bptu0JSMQeI8Ks1LWzZA7kXAdDfxMpXWitVfU9gKrtF7bpIoUd5wC35gFG+up1thbKST3U0UcAiz80hoGd5v7aj4jsnhO3ZdbPebutnILMBoaBwdchwWOzdUglXEQCjeGkXJITWxXwN55Or7VpkYXnJsXRvwDFEgnlATp0thOdC8Fd0I2XAlhuol5jxo5esh/D5Cfk3NtAwg92YpMWnA0jAjbvxe8QrgWoqVnxrrbIuafIdLl0p0A3LqSb/Xu18tN5nYtPsYEIEj0j9ug77ITFrfA6UxAhiTKc2acFZLjAiwTj5YnACGmdtRkDJpZGeCJDyuXHcIALY9f/nefH8N0MNuR5gjtCIqMksoJk3TY2UBvgHdFrOqnqmwxfYZiNKag8JkaSmnCg/a2z2iKvA/zBSkYrtOR6xO8fanhNkmFUcJKGt5si4Ys000PHxb8K9J6sUXqHW5ZQD0Fy/MLAZLj3WmNOC7ke5//O6WDlIyapB14gTrHIk6T+yquUdN1oBS9Xs/ZNWRyr0JEkefv4XYH2jtkw+C845UFyk13D+cD+mcd4lECoi1dLMIEBgxGUkcYxNYCIErwpvITavzyzLDwcW2EPzN/EFNBkCBR/RtTBlueW3YN+OKRPql4Xk9iJ/mmSxF+7QB6GMGbhpjZp2Z6nZFxQryqYlXcXpJVR32gJrtjoqrMlzTXjfSO8ZVxWJKC/jiyy6Pw2LKadIJrbVDJ1LyRM2FhED2smfmSOiRqegPX9R13YLzWK6Q85Jtrx5cg6Ux0p6DBTcHWLLLH0d+XGuoDm6JSfeNV7GJwFgmYji0iEC3X1ijk69zZZvMWV4A+sTna/SBTcF7a5fFdHVvEy4xUrVTdrV9L79bwkpRwnPyhEnn4iVjih2uLEzkvSQByl7doK0fl9x+XvSRn75Jf87WrRIsZZ21yg+9uTB8q0XxjzArlBGXFlHLaiux4+862eYYJZdVdsdPgAwl6J8LJCf3G4cgxnIP3bK4/AfDTARAEcR2OeooSLN92sQNlT+0SseDFhLqzDiKoVX+iNuWPXqKE3Y6CtgIrI273KXg6b9KXmjAVP6p2rd1CKMuUpeYRKBhZCv6RXJcj7WM09QM+4ge4hsqUBGtkFbxbVI1XxG3SMzps+7XOF/Q7MoZm8ddC1deA5QhUdKWRvv65A4yLJYl7EgEl1klFNLPL88Z20m095AywGxWrRkTDREOyFCIxGTOLep000GnBMVdbQTQFtM12ipblFIGkZJDt26eoKk531P30PXTWBIu00L01hwYlR/dQRIlKkRGKXMFbC9Dza9H03ifGQYHaafoeXgjrZ5uC6oUZ4f6FfjT1hNrqCKXzNtU8XnNHFu53gliKDYcgbimJiyVbvw5ohPF5dgqYIE65TJKPedSVWXPh4L4MO9lMUU5klmBfssdu4zHB5K7zkXfizx46iN5OmwUwdjGjHd4I1dJFciCTMtyWykpOiLdYV/fa3GI+c5zQO/BKyQCppS95NJ/7cbrHNp3g56hlXKqcmsej9kbtbFfh2oRneCG+hGMiOY3U3o+nRk+fiWfMOFYdTcwemntUZ6fuLYnwnlpPPFGS6SwMhxcelY6f65yb1Etpwab15Xt0QQazB0YmGns4l8x6hF5gBBwtU8HPGYnxQXPsuwECEi1D/namDErsP9gHg9UnihlmeGgU8XSj8NhiAl9Szn7xFDWEKr9evfwOcebrwKHDsnuvieqU9Bc/DRwSEgdvZDOz0j40zgiaKUTk5s+X7VkTHzA8LNqgL9hC8zwm15+hJs97zYhWWFcTZKqdYzbUl2rp1yWgzA+1IfDXSSbxWERSpBnSGhn+9bRW0Uk0yOo1i2xZp6hE9asfmoM2LekZB1Ljva1NYt55xICU6dG+s1yNNdTpJZXv8cz7JVTBzDSeqNx/jEErDoh8Ru+deGfzVVOSwMdtRn26lG3/BUz721m1ZX6vIbx7OxM1gh4zyBPhbvXHNXU5YbbVfKKF5K4XJBWd2oec5+74y1ozHb/RsmNV9JvWetzkbFxBWAvStJR4Mn9S4OS6MB/3lkYwmA+nSXJEkvjUAZVwk2jSWYZvwiuRKEZn8FE2vlxdRDyC6NaUTt2blIUeYPNQlvDHEZzZAHBEIDEiLPDUP9mm2hXXF0rTGcKmvESKREjjlpI4MgF0ib4gvv1WWtTbvDKe48UqL240e51xQiNzyoSGwVv4SB24ClZiGXFrJrw2D8NnyCxgw6FLh83i6hRoLuBn2PrYIggQue4X/JZwbw8goSs76s0xbGe61S/ezn2y6lbF2AMmmMyJAzuPB1RXsNqzH6AkUc7EuOwuVIORufYX3cxxNYEdUaIvS07TEUv+zddqk+fKXRmKSv3cMvkNQeuphvXRIfObpe2oElk0Dhb71prd988Sophzh+DgriHlu+fmOrCwdFx+cTFCxaJK3oV5oA1KxxflsTkRzgl/X4QYQmPuzUXIPS1Z/kSVeT6ZRHMckmlk2dT7i/FmHmeBnm4t6b8nKvt0Ul1il5vXOtNBOUVFuWMcrBPvETOPj7EHCt3yVpehu3WzyDUdaXldQ7v6N1Ct+yV6W+8r1ujuDMs0XaG9srYGZJr6AI1EdQfgd+nLCsyPzqEIZcQ9Rv/qOQyzB1zUptKFcBzMECGXlVWdebhLXU+MF/14+SSw4qBrgHMaPD/KsWqGsOkyWUvzjXY7RLIAh11qhLs6hJa18pzg9RLAcTsbjrD9oDt7KTtMswUNwKl3/ZhTwVPPhmkmaVGHGFJFXSQPiuKHGPTcRbsmVAVD92x1VIdX04FnAophPaTcplZF1Oh4f3TQdKnVYqzrquM5CV0gFvFxtv4WTAk5MOMYf9+N/TZZz0DnGwKipaJgnPetsARJYr8c4fMdphkG/8QAJamHo6tVHbZuQqErmcgSj+FRR+UYtEq8kvDBdJ2OH2+7J+POFGoiGnh8cGe4qe4efBPytn2hZNnYAINqDVFYtzcw2sbfibC6bsq0rhSD1HV0xQXyFzpD7zsGwyynFAhOHq04qp1AUExl4tffRDnyqAvtTr5e8r7m1e7wuwK0DvSdR5ODXyz5VRJZusJ9IvJcVs0gIiBhyURzHNpIz4obyH4LNH2PiIZFbGtb7UBFbgUfSFdR5jw+5s+aQGuKaqGmtF3MaqCw6sV9OPNRgEFdF53hOJLA/4gncNaRGlPzqr0xbLMQY6T12vn4VVaeyn60C/TqTM1qPAFC6L0vqpBfwBjVsCWuAiwtu99huH7kaO2jz+CHPh1k/GP3nDkb0NnVqjOZLorX0tdRRLJ2bQ7bu7hJwFrB/2Ku9qoxvAMzIXNozI9uYV4fyUElAXdLiInOMkqBXJLXvQzdFRW5k8+r751d68GibgkFAWljihhdbTTacmymiKPNs6FUz4nPfdrCo3PEefDwaCNqez+RlYcJ4948r9UHUyJQrXlPlQ4H74ZhdD2u9tYcEPNZkl40kbU1oseY0NK0c/87UwMXAXZXd+vUXZ7GYTmjyuRu6rDcv7Vqm7LEeVUtNpT6Qn/fvaIz8Lq1SkSDx8WbzHKUapWAwqhiz9yNk6eAQ148pYBZXTyXLaYE9cQjX8JGAoSwi2iitBIDXp1EYGrEGwGSe4x1RNJn52lj7iE1ToItIdQzsCwU5Cntm9Ea4k4dtWTs9ob0YO1L79crD3eAdd/zPjQJwIR6uYlh+viRoi4FqQXYjmvpbNt2P9t0X4uhSgYw/w5cueiA/jagP1Yy9eShXcsp+e6Vt2YUrjlegINSJV8qXWX9O/A3EWjM1hVS711PJvnGbZcKJf8Im8nxbg2IEuFJwwsF6O8nTukjKYOtjt04pVerLtBfmWbr2tSA/y3VJkS0eoNZSH72WEVnSLwuPZ+fWAl2TecZppAdGE5O/joNE5PmN/CI7yjzgOs1pqvCgHCLYmgB2uXB05hVkq2hOPrY+xNZmNJa5dOviDa0pS0Gx6e6LP8AO4Fu7o49ybdEHSERNwMshh6LQbXzMzV7A8nJe7X7LdFmUOCMfA47D7rPo7X+15SP7hxAPkDqON3oaPIyU8AOyTNtw4VrZd3joSA0Bome5RpTgZu66XRPacM0Dztc+Q+5hPhsP1OiLjRgV5IXtGk1RoN82RQ/5OhNwHE2fyeCosUBOLS3H13+HFqkBogfwgBNjG4VxnuxpdxJN2D5brUPjVgMp6ovIXPQj4M3EsI+RBRWKVRG1Z5f4r0yVmufh1aaoMmuuAOnJWG8VJR2xrPz2ElgdNohJSCnhUAa22En8zxQ0UbeFaNT81LD93up0IpY6ba+o8C+IUWkSPBgRo47Zx0n09pMr942kmrDsSlFImYDLoy8c4wElhg1hkWRerrdjwr91i73FV6+19aPo5y1C55orRjCV1+Aw2+mDZMlD9GlkzZeXmEDUvSfssXpqbjHzByVubL8CFmkwkRzDCWTjlJ6sm0Slr9e6pbc4KZrlCgPK/7gCi/BxhsSVBA1DK4qANOw8yiFTV4r39XI+VjaLQxblsa12H3y5o8FB+tBpaPUu6LyU1X7qiv8tiPhSkpSDDbvTcXwORdhv6jRJKCNYfH7bGo3XBJB8VYMCxLkUsEGM+TQwS06NEDsZ1LC29KERUa92T2wT25KuObZI0qb85afUlb3wbTNf8NimdDWfeWqX84wRjIFcvW17O/r+8CltnffI6uuwZ3P7lJ0Coi3/4uwoD9rtQqJVRvXJhCHfrqGc9ZYF/sYMnZAVlGPSBRJVR0ARvEJBVkxt347sS/Vl5xPENuu6NbYiIS7Q5o9UuzUy72jtNXb5BWmnCb9iE7KGkdpWEuNdtozXPl+KUDX20fkrgTB+CMXuXFltpAauQlyhrtaTkRusfi1BLHi4vRAqnDBGAtZgDA7ab7TnnxUm24YZgLyeWImXoP3l6eXCqmjOtILP/O7S3qT4sWnmZaNFCVe+qFcnYjRzzQEfm1pwETS6SMi+tdY9gjh67CAAdQ5VLFlxfz82G+RiIqJaFpTKsk9EZyWpQ1VoXFku6jIV3K6d6MnjQHGM5+XGzESXVsAYeLhZ4qDaqO1XvPk6iNltmkk4CvwSZpj+cUv9bnTwSzf2+h2CbRlQ90s0JSj3pdBzdQ8OnRdpvdu84Odf6Agzg2TJ7ogv93FH6YwlQ9NaNeubphN7SclR3UigLRMzkwVDUHtchoQ/u3LqGnnRP/DnlLzRNEP4UvBDq0o40umsIKG9vIT92UNM/wPf1tdQsiM9ljHyeHgPgGpXt1b4msaTsZgeN91XCKsWlI+nVkuiABMnPEJ3kqTGO4Jx+9Aqq0YL/0FOlQ32ajoVE77qNljzQfUrj38wx22DiM7Rt/AQ9ZNKalhNWwoiCRETC6HP/tQs11P88CgsgCSuDGCVd2gmnoVyF1MX5i12nen7ZX9aORLh96NbWvB2DtoAnaebPRaodQDmqkN262UcnguF366Y6VOnpQwLwRLV/VnInHydol925e1pNtFHLyvqPMBFAYc08yTUMwtOAUbzeKnCK5rcX0GvUwrEwLCmg9jlf2TMK4N08gJZ04W4k0fl5bUYY2a26oQ1pF7EG2NWkhdaCtwsNvoGGQtc197kY86Bc/icIrskWpr3od4uV2uPXCS2Aj1S0UCpYkJbHAw0G7opbXPGNJsWSQYF8s92zzQIfa33/D2LmxoN3T223aQkj0DgGi1Hetkp7PexFphtTom16pEw223LvOI0enpJ0O79bmNWs822bMElOyqki2OOQabvtOnF50n7okL0rjGf2TGF+UFzOhTzKchXXAVBsFCUDOYk1aYGWdiCfiZHTRF6bFKPHziyFTjE4fhWDkzN+ZKNNly4NKW6AgwjyQnbXiluiMnINBfJUibSkohQPaYLqL1jDCWB52I4a4+unzw2kFXVPPIN3fPi26OeLJuIif7JoW61hLRX8uuneVCvTlAA2Z3isenTwEywnk4P2A65cwl6DZvFNaJGEKEl1T6eTF+plgUwcIkWe5UQIY1tReX2J0QScmam4CSedF4te+NOYsDRvVg8PCymzr6TB9QFINHfZCWw81+44yUQLFi/8bVqt87gHnZUtuGoWaWHJE4SSoTZG4juyShw0IskjS4oB46F7PniSwBdct0G9qS4GxT9wWQx/e/flq1w0uhzEzCwJHrTuS05nOGPqr7vDgtDiLaw54adEtXBh55qNCASeDJ0m2gbpOdSeBs6LtB181/6mEtpuvmT4VM7sYs86sRaAe1GmS/P7QIw4xTXJl2twoTyH1PSRCemV10Ouobt/ukM9U0Vrr3N4IhfnqPm9rLAW99p8jfVNx2rfl4zK/skaNXvdIpk1ErWQMymGRALa1T5XAUlAwWa2jN6/1lnEAgEri0ECd0IfFhmtSjm9IFWQkY/ABuVEJAnsrXBkFoGe+29EE/BtkLi14CfLpDzxu4HZJLv7fHSOXflDtwHdMvUOKI/ha6UND+zlTR3h8p43koiuPVqNQ8i9ODNwrMY35Mb9udjd1MmERQEoRotIqr4kxmGjUTtHa/xA0vTZbtr1h4UtlOtafzhPv20kQxNBj1oNLoo4VtrewghQNbEwY1tieGLZsD2otKyW6M62A5eRj0Q+g9uS1JPcVRjHbBqOKdxuEiW9nsG+O//buap8hWsG1GnF5ILynAj2uDSO1/CTZH7kILEyyAk09gRNU53o2izIY0Rld81ea56VMi2rkvZcHUqbw3Ol1EgH0kKDtkeDxYjwR0RAVbWvHWvpA5S2rLpsFtqhRub1dc4W+rYjgab3vmPYC4g7jezGLglWj2zdr6RhmGgM5MUhtovHl7ywXMqqiwb+/WtyZJT9svW83XGiIX28Cr9y7JkewUaOsai5NgbYRBd8/XG83tHr9/Wa2uROSJ9wcXG0z4yam1qisFuxVWrFtDvztbZPmtBIYxg91kIEbp7mbBTWIPWvT1O5cWi/MYzeCRv7GwlvLXghcfIK/46wcRlly2tfEwiw6jHC9Bu+cyJqxxaGdCvmtVm5iAHYgYyDPA2yrz7+AbeaXZjMfStCWtQoir04ie98JPjjc81+CCmv1A/CrYimn6EYFj7Ktny4OaVpM7JKFqhfvQNy2IRuXC1P1RUdW3LkSCPi9a9B+TNKsuMI/WIwzQFOFJyRs3lhDr+8PFJ+Gn3PRRa/dsxlM+PU7yfB4dd1j8DxJ4280RHjG9OYZL7DXeb4IDyaPMpPLTy5hcVzvKZy0eygS3NyptDwXaugimBuDQluMv7+plpa67xv5VPwdjlfMsKVTy/HEC0GgnZNzz1mwNNdqvKkTNWDlzoEm2LxJI1aSAJWC8PzWunOein6mm2D5ZdWMOTMe/ZwoJMDj53f7TH5gYbfuiVsP0lnVxS1tu17f1DvDWoiEAIeZdKjHtDGHLoL3LqQcT/uHH1px7Hpw5vbp6iHEGA2/7ZzAYaWyApYxv/PLt9oHYJfq5r7OiOCkPXdeUg06gki47WVn5qiTizNqVlB5LoeDlg9OeGc4Yclnv8yxXtkdjHnC1fjsntbo0KX2xG8R+TxcUH/zwkE3Kb4ZK4D2FX5I5Ej30nVdOW46+Mpm0zv4XbllffQUq5dVFk+Qy/tT6LJkqHSYPzUUJ1xA3G/+HpuErEcWPIwbJs+uPwfNkiTuLeHIXQ9iSw/PxQgFolXUTR2Nn+mYL3H1em2YURHXINwJLGTdPGy3QuRix4cbyVpR1yNuKIW06Xsnw78gIWSyKFw06EkbTcpoDiNAkB7N3o48AIPKQQx4lGWYZrXkI7Ur4srXQ8d5RR6cfZRpc87rkY3kR+JbPjM8UjgzxTee3le9C5QcHoARxd+AK1c/WgWYmBwonbGuae7J3Hhohop9FjhVKTed0gc713t4dR5k8GSOPngQEQZHqKmT5tGevu0/LtH0KGN2LvdYkiSNhdq7e6nz3ImsYG/x2anbMAdhIZxDVYK9LhwDm3mJ53MYaP4ckcbkqtvrQjTwyAARgmHN5ScO950vjpebuKTnf0FTs0HiYpeK6KdNNc6dvyhxLQJSUHDBgmAKupEoSz3voxlRQ0Ce13UHGTj2hX+dPiUEbajfoz4bP0i8wyu3RmaaguRmhcWMbqRt7EpJovBvCpRsi+5qNKJZIbetEZDHROuAYF26rac2PhdH2SLarEjmJv8swJfrlJhtDqf9URx4QwWZeT35Ha9Mf6xbXD+YnEgx47q73APDypDcEyLJsfZGk4bL9Bx9yNu5j5Mq7evAbasJbEu6iALu26SeXzOulWEedanNP+U7HCZy7/O21v/bmFd306A8cIW18iW7c654ObX1V9Q2wWHAphkQujlEUTS4hWYG40xHI8xmYpDe5A3wj4h/1xGo2VjmYyYuGIvODMjZDO0O/znYeQdEWmX7C4MBnUxVSJj+WGod3tQzA2Z+yjpohHVEDFtVQ0QkfOCmNQVUE1uyk0j/XDw1xxz/zd8YJT+L/gnm3T39oiUZqdpTr5qWcSjBvcIGiolclMwHtuFqkod5mrcysl2e10DwHox/rP1UTuhoEzyG8UU8zfJPoZVGtUkNwTe8Cm7hhf68ALM68sezdakZLOqBRglzBh7f8B+7r3FyJO/Bv0PjE4Rm7zPxwgMV3sEQoX4EbCacmkGvflLN/lP6AYP/zFdwC5Hv1jZYEIB+K6449p56P17JoFJkH9nOppW3CL4rz14XdJmkIcGGQrtT31wrLeUH5I3GEEvyQkXWWXGxrr0P+aRI0u979rw7aLYgXaG+msDTHd8sok1UFFM0mpHxaxpEHzrz2oqUKm2lxaptt9HmzPuiVqQx7Fk9MucD5D2z5SuHEV+W8Ft0NErjoOXV2Hu7wMkBq3WjNYLwVLJBpk72Vsz0DTPOuxMvEaQ/vEWmf4RoY+l72wpLrdS/6oQnzF42w8UER4+9WVv59NKJHaqGXXruUHFhBptNqF/t4KfPfht2FWm6Jy9LnpmmiN1MCYOrCUgoFeMYbK/me5e/ex0UCuGkw404JDxxSryz377S9Ujp2LLoBHl0mRqz5vjxloi46QiOu+d5BBMQfpl2JEQ3wDi2mIOpX5PAvVEiDahp3EhhCjFCWHeuF+W2TcEBhIIWiD+Q0DhdNDmcKge0ChJ8NNUnSjFc/hefeFHZC4R9XoQNL767F2CLECyEmKT/eiIBPrO6WyG+NDJV5pKJG0VMXUM8bnr0Lr43Nukh4SfkaS3HeZP4silJQn9J+JLWdkDqs77TScAb+0PJQqfQNBM3mo6dTL9Q7dUiyGKT9gnJG85Og8YY7DBLyqE92xxErNw5CeLROuk231R0asHjpzYMbT2ZrZtQROFcfokwx8t/75SEyKjkZANs0UqVee0uR59I4eoGJgKKwkXnvOq8/mMvXfzqFT7S2KgMMAHspyTO/9VN7iOsxaXbNOaO439abVEsKaD/6erv1UA8p/Id2B+WBs4VTvpbCpUo1tv+3CbVifV1kMlpWh9nqhI0NU4E8YTbrAgQURjX8T00Qi+08OcBB/od5YADKTM+1HPxLN9QPGcVjSAvVWlMi8l9UWpkZxBfpmZiZHl8ouKP71LD49TrFKY7HP1ltjtz3RNoaHEJJYwzEl6ZbU4CscG04H74J78WWtPnImKHrMA7Rg0Uss2s3MSbLINsyhEyaS8okGWZN9ajPfJJpD8k6/4Op1ibY/l2AhUdfzW2mDJTft6YGWRCTGTYk8uo/+99LwFp3C48JaQ4Wr4o64T5lKDMSttL8vMEhKLMpp/upIBNZ9XKzTbk5aMcFqhnmMV8FVND3x5O4+J0SXMmzykQHhhyn0NzPf8Ri9cS57qgnkR2HXNeWvBWivpBYZE0Al97j0D6ofuD/WNRI/FtTYDHlWIjsmE5UKpx35oSqnAMLn4QpzNt4RfPGyv+vvPT51v6cWkVXG4b5hgId/uCCZVmkmnRXsRNbERwBPlGc/3Q1PATvNcwVvcDKyaBTB3/VPPjCEwZXEOe7XI4AI9mkuI+bqvN9gM9U6yJAbBmJ5z6T9mW9Ez0E0eneMIlI6YIjvPjzYWvQ8maWfW//ILzHFOlb6heMU4GlD+RfBgSaCwglJE4KOk3+i/Z+Pgmzqi5xG3I4sPYyVFJGeQmj0xEfdphlNK8K5nRyedzvD1soVNrezZcM8OG2f/WH52/E+KKIA4SNJ6k4XiosHD4S8YqWiaxm3y7d1x/+oo9MWiXJLDCDb/CgpuVpQGBcksIYlsxzg2NvUB97WekQkREPUQfnTb4DiDiXI7CgWTaiRYwtXT01NGWMBUDm4rzx/FxTtsFldydfRoaU6wTFMNH0KpqJOKd9ZiCsHKah5jSG2fh2hPgxSevQIJ/8UjrYv2vL2rdBFhrTJtonbQBsBXIIP2EO1BzFm9fILwhK/8HG+piY0kpBPKb/0G2m8+WzvbmdpxOUW/RfZ+YE6Pr42WlvlvSwrqcd7TFQQMbF5XFJxd7COv+iaebbWb96AtqOO9WAUdsnpgnU5RTZJ3kmtVkmHoZtqiYqr7JiiaKMlLSqHYwyKUst1U9LjAEZ9eJzqPVicv/wfhlciH6QAzOBxk81hiocHpFMXR8gjtB/2lo4pojFsMi6/U2AWoCp6NqnNg4U8Y9IoRg4qdcE7ATJdI2ETPMlDaiWmGiAo98ptgCGzi0/1CCOa1/EiBN6wrDegOx06MKhg8oWgQFd1ob9GIsRybHiSxT95KBclFnECSY75CApOdeWXI3RFR3J/NpWf34pWSzNhgFLk3KxJlhnC/QXsE1ZeM8WHv45e6zqZdr/MlRimHp4NS7mF1xoUpbs0VWReP9JWXjRk2fux7vNSELd9uOvEynhgtrkyBzfEkpriFSdoFTcTsLovSaTMuDRpYPGH1t3QKd4FvgazznOJvsr9nYaLpfS7TnlNDceoCkGPwqJdQz8HUKmzkfFueBWmAIj4RISGgONTIS40R14ewece6Hgka8z3Ld5RQv4ToXuLzak2Figya4cBeL1RT4fidGFE/Q2NPQQtVWIlfjtBg3p6gf95ZG1FCMiJ0focaZlQ/Anz6QfyqH+x4bstr4YpwCOC/qzlS1UaoJanYOMElRxctZmpp5TJO6qUfQLFLaPqFRGMFjSToXnnM6e+m+qrEsF5fH1UyzhkUBsUlUpi/7L3Vd3ablMO7BHOZbaESkdUiJgwtIixEJf8Pdpy6H/6PDbwit+ti/rUurUarqGzC8gWrNqxRbaZCR2whkjeQgyDbQKmYkhCbXrWTRUYIyIry2FcidCS7p2onoBxl9wY3MvxrKLpf6ZWh/xZ0grsQnxVzYhyARJXcG1ImOnwfqlS6O3WY5QL0/6IkmO9Fh772h/luzbROZfCAoxfB61hdBEafD8fCvQZiDeJb28y/qX9t0t9ev2EiPscxQAUMNf5OdxfqEO/gdJPr4bSnEMoePtiNE7aXjl7lF690rFmaVlKYuqN8c2I7FsjmE/k8ezOtkpqq5GrVUFhkDLjj8ScqrH0yVzGhgj3OiVIaEMOOBVprfydyMYIK4elbs8UbryrzhbYSYfntkIlTpN3Va89DZLZw+ZEKVNF0Y1EMutn8VIVl7d0vdAe/4paaVLSij8HyfTJUCzo6GB7auYfoLJv+gpL4Y81vgi9IiI+L67r7RmNwgppVJcy3wMK9YrH4HIlK3BVV3hP++XwH5/wtvHdSSmfdCUx3ry+WCl4GkSv0ZM5/QE07KyTuUzBnIae6zLf7PPf1emgsQkp6tTnG9wVp2TJCTvpLr6AYart51T48QBeH4ZyXEj8oARdSdfAuUKgvcKjQuwYiNWajaN1NwYC17a/tiGY7Jcx0LpoJGgWRyChxhOeiqYEAlFznejAFvWn6wzxiw1MV3fp83hC0sXV6gqhkAjKlA72gl8OTx0g8MvOCrqqVxh31TFRmAHfXHF+p5I03MsKvkCDufb6LedY4odC1r8536UkM2LtWixqAXLOzf/x55Ar1CL2A4SBc6v81oIeHpxuDLHmGu8mi5XwBflCYafJUwl7ptWXBqGQO0wkVRsEZ4yI3dE1VCqpEFFhrjbEHFpxbUtFLcZLxlLKH8FQ8HSjAXU0ftVatEDCBMn2FGq1cnSfyZmHRqVer9lCVaecMhwIOPLsn/Pn8MCETXdyh7lx6u1KBvS0qz3Kw8k+KRmCqyUZDZDTvuZPjQVYPdh7RVIkZDZRgCLlzG9ZfkfipkCFvwPj2QVIpB02q84wBkHHZb+bjtprmgZk9yvNzdLKrekjfWVBYTC3MGDaoF5BZeQKNdXvIi9a3VgNLloJTYXcSQEVkWYWNyA2JaZwL5XUMlZ8zgAvtkBMHK2EWZF+GnyuLGt6LXwj7ehx4IUGsWqnQGjOmmM7MrjkZq+FGafXtvwdaqk3z3bURXfaohsukvOBbOhXX0L+SAJUb5e3z42sYTipiZzTwYHWOY5q2G+yECIUlrFXO01nkxfeDsaJYhLAcy4vsMSUrSrBpdjzmKviUGDfVctjx1JdRKMI5EBlpCuXi2XIpFihg/TYzluqTMcW3O8JrqypPeQPaAOSmX/Mnfo92YYO1BbTdXuQApfpRvZAyGz5ZmM57TbGEKqA1nCuG4ZN5BU3Q8N6SiomZK316asy2GGb/TKSzW2mxezGzUwN3jfPII2XhpqJs3PnMNlfqEA7/Cl+i2thELUAtEYRsz+UgU+LObA+VboKyIkeQuUsTmGXOfAOjWsUrvYkcj7EgLiElxQw+0F9boKoO7pHXrP6NUdCGcW/xIjxIDhJKmGKmiBnv8K6OybeFKJB6ZvQkCxkbo5qUrzDEN/ebPLp/iV+PWmQclJr0nfTlqJe+zqb8QqkvZ/ZUDqhZj9rPm/C6HLbhKkD15llODHj20QssWC1HUcwoqjMICDXtOBfzKXDVabjCh6C492BRTUNCZq2/Kle+vEBwV7k6LKTYhPY2FMNsEFbgpUrEgoK5h6NUN4ebEXL2dSRiGJI53i9fHHtkir01c9IWYSGT6+wHDrMfpG3z/4mGeTtU8nBKmXywsysEZLQBLCWuED9QMbHPRES0Cyx9E7kyIebi1N/VOJ8q2iHYD33uDcxUu5wWN4FIfIUIkeojIrv8q9/EFtWiM801begfjg+nKO4Kzg+fTYQUiOBkyqOc2G1DmE0FhtIRY/oo0TCiE0EkaUcBcJafDj2EwjntL0c4Slu06xa2fPGTPlR65fgEzjcyaWyocwdNPfedGZfqbL/qZt5JzStiKJHQwmxjQ3/IoHAodieAFyKsWMp2CYoGTD9NeATDcPtb2eJUBp4GHIGA==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TAGS" val="1"/>
  <p:tag name="MEKKOXML1" val="4HooU0THZk28POP9trq+pbTvvzd/gcV8t56cq85kb3NDTsUhojRA0EsgEHHMH7oYP1SYpn09ysXVivguJdhTvfyVMsBLTGvcX7WPTor/CmWiWcfk2RmY+GE6Q6T90sFUcid7dQ+Kub8ulUpaRu+ZvkeQKYThSehVAux+2Z6ekEhlACpPBIDl4idFwS+LkSsn2aCAhAzE7txIQZBtXYAPdDOlkIzHanGiRji3OnqMlu0vTb6pQS0Ql8VqEqDL8dlM6DYLfMBLbD5jGVMWQFBfVVvP26XGrMkkUhOvDZOKFsJaUQnmmUUL3yQqu+MO+Ysyp5mTwX6m5oFYKMLMuHdHCrAwRT+mNfE5UyfTYISoA0BQdwYZ0oe1kINApzc1vidfQodMYcCEO9jg4wmmiZbDcvNSa2KCI0GbH72oaCpIRwSsXxUAYL/Hc90jI+dZVDTwXPIpK2CEPqf33dh14L3Ut6gUhpKGZJcaV3hUOeJqclfsLnd/h6SjqcEsdi0LACtaTh2vDjPcdGfMvy5YjAp1ZOdNjY4MA5IFlLYRC6O16Z1VftfeTJKaLt6t/NEmVospsmCInc7YR8f6c5cHefggiMxPx9RkDIqt5cTPMYixpmZ9y717W6fd41l7UOb6OIu9V3Zr07luply7Ip5x6MQDj4zkp7zpkvjZxrig0nrwKHtI3soPiB3IEElF6U+5zacWwKepKrum+YET9D1K3RMmEVvfLWOfbGYnO82HPrR3LbnbFrEQ4LQtuNzSf/Ngbka5bkrbz/lfJNygJI3KT6DyuQuog1Sld/BHNJ7QrRk9T6F/GqadToOHl0+5oljDO+YrtByZFqVGDmshgb6bv8M4kHXVPPP8mebnNzKoxykjh6tkSu6MBlexVzWtECiXamWILosHXvGMWAd88MP6OMf5yjzr/omYpVm6Qye91FdwJaObjQ6qJDNa0W4Oxyhmxj+Y2fwKsUEiRuA3OSwKEfnHXF1vPtITeAwQNO/G0U9P5He5r/uWRHHm8ZtY9Ttz08hw6xnVayrHbPMWhNdkqLT3hMPz/VupcpZd6BupQ/15uTdCVWcaVKNngQjbR1CUTpTSAaunD4xKaovXqARYV49sVZ1gnCZu48ECA3f5NDBxJKpPjJMh6Xn5OUEg3wEuMunixp6YQDcG1PxwvwlU4ASeJLL5YaALhc8+Jo+iSElwfeGcLYjmDuURsByMF2vTxteOhysNZ94N5Zpd7r/RYnII22P0Bx8k3SK/KFJ7gjq4ARD6D2goM52T8coQ3cHiME4CtJbg2vAnACD3sQAk91ufEohyjKQLO9B/RHkP5X2TSVkT5C9mar4lg1EiUYFeg+xvwowIjw/QfC0gwmCoEQaxYPx9eawBctc1820atsVgYMFMqxNIS4i8RB2rPXTYKIdi0hffHQvYKLhVwyD1CfPLo4+NuBEbLWieXyOdYVgskoVyBAxjG6FgiOiqVaTp2+05ITeetbGpMeu+xu2My2fXGojvasGq4uVWEO/Q4JbFiPrOf0FVsO1Y4eYmYX0mQ8XhdLlLiHMGYNyXUicaELqprpTxTcoWThCvmlRQilxZHVHw+avcnoJDVdfyIjlrob4WpQIhYABxxANxpU9kLyqzWnpOFWz81ovg29uVFJIMw7LZvJeRn09ZP3Fk5xWqhOCToVy7K6ZMsvBLkvXyDxzglYfcuy4IodNnfJWi0Z9bNYxxsSrbuoP0K90rnAi36wcGiaKvYV80dMz2oEmgFOW4KPuvGHWavRRSiIGV+zkwvfq2LdudF1nN/xJMpamMtm4vsmO5cUlpUuJi9gqpd2v3f9er7xsE9LW6LTU2q61PgCMHps2thd2shM66L2ziI53Yw4cP2SDdN+XFaja21IcyWigZDycxsUu3j6iVgZFOWPGUq/mf9D0aJR0nD29Uy2xvIi4c0Rl+2pFmwu7I01zio1zxyR0l+YjpHCMlIKx+FywhnTIytnVj1U+45qzn6dc8Yomuva7HFk6sCRYOqzswJzzN7+J45Q2b35MoUraZjUZVI402iVURuUbw3hKhv9eTxTtY5nVw1oV2XyKJCSGLPQmQ6xV0f9Se/QENorzxoXQNf9Ejvi82Yecx13TZiijXgSgjaZ4S30lA22Vh5J09fjg8DTWkZP+L95pWYkox2Hp++PHdSXTxVN8w45lcc6yKI1W37gejiGTVAYqCpKMttUj2xZFJKBT/cAq8cSiJcRMZeF/sBVteASMumgyHFS22T7gH/K9YxxXvZC12qwwF+9d3sQeL712boUIQxN9QS5BY8cdGkiyzDuGsUSmQPXTi+0kJoE7dxDM149Oczds8IhnnD/KGe3wSbDM1ik4ubpAlWgWXWqndsJ9TmaVHeMuiJUBLcyVxQox085XO1lilGd7wSekw73STNIWko/+YzJF1jO+vrVzzmnbjHceCT2obcZ95QtcrUe9HVEBI+A1YwVKVpLwU7f3Dg6E7JfjkvAZkBmNdQMWQi94ar2qUpsOFtnMhDlS4WDjRRoxlqHxnGvJESimMrHt3is++4IW17scxn0w2AW+mZMrYdOBFt7iAh5ocSyhxaeGi5ElqTgYt63PbdXmAh1eVbpsOG5pjtDgN2mH9+9pAYE+ZEHUVuBUm23hVpgiWapJR4aLk8maYoARcNEkBwDMrcDdOXymlohY8F9l2Jg1uhAuSCpbGlRi6iUdtZAFvRgf4wrg6KJCcs5JB8RcKHFLSibJyF6i5QDdMXM8WqfkByIpiWj9pIuYV4iX8xibVJetPfLWtWLG7qu+OuV7up+d2m2xYsn3matmUw8CZDkdfjTQPfXhHsncxqZx99CtBl0CXwl3yphFtyF973rrX9nJnydjPNJ4VW/AdAYdwHDqNz0Jq5sLjnwDIK5yRy2jMC0HVK1ppLWCZvtj6nEm1G/qsBsJQulZptfnDH4QtGwICoB0Ky6oP99XdnlmAEdqrouFxTbEp4M/R1UmOkqGbV1032QNUIlU9Fg5J3+8NZLPrrNcBPIu68JXpB1g9vV7PL2bKS0escP46Uo2xdAHKJW9q1kv57o4i4fiqm6BkkeefkybRay3IloM0jkA8BnFQaYnE8vYEY+gVXU4OwoXZfb905IhSGfLk7wCQiqpTyAHb7/SNZ6gqklXQl7CxHESd7o5UhoNfU1qcGj6ATvQo64dZ2+oQSIYP7dXiC1IozAlfktcgn14UARqha50EWazd7KNLONKBxQbaDtI3ntrcthkTyCOylzhAB/0jG2+v5c1+uV3JKRJiVWkXrV/gYrYmUmALVOBYdEBJXJsmlVlJFPseG3CzHVicT8XnXHQWghqQUOD0CWE7ggiKcla3fQS4GFBSFGSPGdbLNc3vCGFPa2iai812CBdWk6pvAwUYoUc/GUFe5sko6e89xHsSbHne4rW1QVOpxVxdaaQQjQMNaZaV7zQ4d+qLkfXhr4CrW4DsfI2fPUej6PR0Vpfg1Uh3BxB+c7JQvJfFAIhvywFHgA/OW7LOhg+nflC0CVSS1NFJvgz6yhz86+wKAq19vzzvGszmH53z7XdLfYJcqyWF3nzP01vltOI7P7Gwi9UJ/BNypHm+4EDV4XlTCSDsDxrNWo9UygwbmLSDtMbSg6hSk0TihUReOvJk4URqlFlPPGn83SwzQTEDWSAnPPqJygt5d5fQVF5m7Fk2ebijmhOt0dryVQsycPnxYQZnH/XttphN848SQ7lZPhGw4zPRWxwX5BDxYG4b1V8fojiFdi89c7j6vBT2Shf2txr/wz1k5KqHqFDV2nHol2fSzieBtcg4HGfmMnIvhTX6oBQ76atzjvrANcvGMXzWKGdmV5eNtSoLjKUyl4r/OkgscGwFVcCdL7k7rbSpLMlPjzBAczTa7oSkgYxgKEagt+WzosVrNydevYaNi3XSHAAWnQk9+uLE65EPNHaYlVbpEuw1o3Pmmqnu5w+ZAImPpXAhOdSsV3M+Ld1aoW9iM5j8MnlJKoDoLTsjvA4I/zh6gOYhv4UVqV4HfUDng3C+B9aP0c4pz3yz1cXSbx2k4MyojBnSbr6xAQMAQucogJngskY8SSdEUMpqjavqhPDSFH4BHe89vNSgn0Ia+Ugk4yPPGNA3O8KeIyEWFEQcudC0VJpaT8KXQ2C1bOyX2eO0oztSIW8NJr9DGljRSHx6ww2UuYr9hlji8U3b/7s57X9fP8HZ66rKVx0Xu+IgLOoFqX3aknVEyO/IY3xH1l1UuV2Bjr0ez/gTpQ0yJxOcaxhMN5FAm1ftXni3XedURZtLDseXYH3wFp0FSrmDHFCzozqv2S8/wTguFes0PLF1vMF85NSJMMPLapHs0J+4JvrJytCl0tTP0kFIsaTIEUYN/3vSXxFNn+rOmG0ntCYqQU8iczb7SlGa8ILRkkceYDbtzlq1PwQv0Um9W0cwkbIBOVkNNMNXCfXGFMFb/L4zxRseBKJPS4b9xJmFKgFr0QOIfgkW26J6jSeowv16JlWvc3l+tMmqPVIoAMcorzrn8ZIsvCp9cql5bs1bpg9WeZaXckbL5NkPOfyKWmsBfkaNgoWP52MrfD0yXJz1a7EFMdeup4hkPgU33RAx/qGeM+vTY1KPX1ZNqA2PZyIrhYq0TepSJ28XnYAowK5ImKeGGN3WSbNfqfaLEw6w8xndHJr8UCJ+wEBKTnwdNl2ku3YnnTgx4RaHYPdVCoPhRltg2yfKpzHk7cZrHROhaMZQ8xvmS0HMjsq1u52d/Hj94Fop1mCIFR4Bx4WzDzb3ti+RK00KMlxVAOw8SinTSvwPGuFKGDRT6ugvWXuG3e+q7PbfqTKEt8ALt4bhCihpwFf2leygOkPgvgwrdPgZyXLFs7644pJPigFSiAkxkS4Y0im2ZAP6bupqnWmwVoFUvfAp2AdbZL3O0xzeew/cBBIeh2FJNH2ha9gMmQrrty4fV71+dD4uCsq8zyS3USg6MVrBsKUaFRQeQ7I0itpOUSmTdtGsfZLQiaLoUHIgKf6XLfTDEoPhR6wZtIXCR9n571f23gUyKOwRcbuVVcRO3CVsgmWYM0SBkGvs6xDVvVEG9L6KfVVt0qipgb0UfWPeQLwnPACO/1AI86NdNTrIvqwA45FmxmDMhgLDDA9RhwxsisHEwosW9beJ934gcslIGONyQM+D034ZD+UyQGW1kA9l7PxYDH+btWI9g3An9vGeixSPzB2BlcOqY1pBdNfRwR+iPz2+fWvwXj5EcXX6LPSKTd50qIxGujEj7vO8CGr/xn13RaE6uw4fiIGJ1S5kXNSgFY93qpSZLwl80hvTi0JY4KGgW1lHo8WC6TQDI54btwqXvabbsTcjtR0HZUEcPq1TLmvUGl1eA+y6L5vyARvYrUwj2rKL24UEIJt1Epk0dJ8Eeuvc+h27nDV7gnYftukjbiv0nhPxvqf65hNHSPvlr8M5r6+Ig3tWLLYjjO4AHfEIe2SWYFlChJoD51rW3wkW16OeFrWiENBgBUEEHwo1jTvc3fm+O0sZOnvEWsOio/Q+h2VLU+Evbszj2s7lZDYA66fi/hh0qGnRY/PTUx3Topwu8Zpcua8t6VrHcXmBkZ/PW1UFLLcoBVQ1lj7zCnQdMxFsTQI2RBNkoBQL7WT3qEFr1qUH0hjA320LdnLzgtd+FpLv4P2KJI8hJPzcwfGNlVb4oGTnfVghVT4tTZ5R06oz+e9hxixazV1BVN//GA6Pj+KbmmPzquqZjbAkERxmlrQ8HTqP5V4Lm9A1z5FGzjVhqjfw64gUSfmi1jUc3Ucxlh2NGLOfe0Nv7s4uzT709N2LaRVXB5rQwoPwvXtZR+SWUfXWnksuJ/nSz0CQCVHWZhQ+1VdE5VsOXoqMsrDqaBfrZwPXDJZkeXpafYI3wsQ+pfX1tRE6yNFG6qvzYTzUHFx7+T+z6Rmzkr0r0FL6iGVeZLWv4goDqYlkPzQDDr2fyVNIBULToYHSOWb2con1KAC1O0Vt0wqW5ojQaP+LwQT8GHZAl18plb0vxyLJUd1JWL+F7L9cneca8EtYrbx+DuCjXwa/oDxMOCuHCu5cgs3VInsgsMBt0sqxib3mzPXLYvxH2Jc7jHfMuogE7E+mroDB3eeIeYQHkr9rLtNPEtleWmc4cnJeudJi5TPx1iIEgvPYyiEwBmiVJ1bwt63YOiNiPJyIClLhZlgHWn3UvDDBgjcZo4mt8X7BCHcfV0fGuKpX/AXEdvdAvdwQ91p7cP0HAZR2q2YBL9eD+Y+0lNW61r3mFrfDp2G42tqqtSnnplHpfBok8NzA+Sx4rmaQce6s9ozgAUjs59OOytaAvCyfQLeDZoHp1wletadlfyMfV+3fkP26TJDsRNq9oQrIIWG+6t04+JcyCRQG/elM/USUVqzpVOqHMcXUFVBxtyePlPXqnuBKyC/IYUXBD0JtL98bEO7XVHAhpZb9BKFs6ylaWyhMoE2VkqqxeWdUYlNuFxgux/IpT/L19JjKrvLvvQcFKFtIJGISGxm9BGsi98ewfda0mtw3LFQLq1pe2FU0NcPQFSkXLM1Xn44OC4lsueZZeyAjt7gPMLk78sYTB5X440AkA9BmOdkCTGPK50k6XG9cXa3u6oSC1rmdw4Khi75eNVFEssVTjCGduvhkQawAEiyrI6S/V+8tyRK8mqNvDFhMlaAT7lpw+hcpH3L/MDh/URSNT5bR0H5q9K92c3G4uy0O9Kg9h/W7PEVFVzmVAzBofV9zvfczL1DUs79s6EQzoSKhMjw/swjiuVHChBBROElYwIN4Ls+Np0jZYmLQUCLy+8er/D842ipHvsWgfYb34enVbilbo8N/8UlCvwGGtkoe0P1fYet5igmH6rHUgBmp5EMw8xsfldqCt3HAB4Gf/fPxRjePPPAS6OGusp6dIVhcIMzpMq7Va9UlgZ1wGn55FMfN0Tu2qq+OPStQgixZ+SWVtcG09ReKHP4HOM7oC6gBkE/kGbM6cyJs7l6Ga4u8Nu0rMiEg2JOaYrzvq0Eq42MUcWJY+mUKDdDJ329jBn0jqzEOhKp3n7CbiZjpWVWAurMVPMg2CGWWwkOVvLNTsW8ZH6AkSX77FxpIy0JL2vjkEG88bLHIYnjStu55KrOAyMGPxZM2q1cvkly1crzJsrQ5v+0hP8Ml769hc2uo8pbRlk8SKJzX0+fMW+C97xGniILLpi4uxP5Rq+G8/g/Rjcc58/ikGir0O0uJG7w0qNr8MgzHS9o/mEuHf9ocYgQ/xSktcZQF0wObfhxgLq8zjPjijkDsPFUnH5IZ6lJPrfeupJyoLvklEvPrW1Dvu+kT78LQsjV4yTwQYZzweOzoPbwFGVTHpbtLF0hnnfZIxq9KqgW5JBYw5BwHVzxW+TmXcgQwpEs/WWsRxJB2qZsfCx8yuP013FyfAXINm5pdd3FLVyzy1gjJyNXgrJiFEutM06TslRXMs9z8n6rLilZWid9VdNBFgfaQl1T32wmRV3T8euVb/vXjTU35Zc9A5XeG3MPyr2Zw2JUkec7D9osJQjxNUfTJ9qY0PJQfS7RXt8kPjbph06wLexulKaYtsN517xmq3+U93Kr85jAmnscmi9Z4r9+N4aztPhCueLW32Cvl2QEkW/ik3gzxJ7lqXd6niu2gEO8FL713cky3hlqIRqa/jGQeHhUE6IALpYn2C87391YIO811xEqwIf5tZyIn6G2zamLzmA0DTA1/zA6nZUUaML9QvyQWNK4EDJGbhBeQ1jdBl6h8MOX1p504JYghGa6ELwBxQQJxnweUPO4tJmdhcHnYsUYQY2eeKfd75duXrEGc4SMhNJRkg1qWWJzM+t5HTEIc0PPvOmj+vXsw/zPGF93b4L9Lzmo4dz3vVBed/ojpI9zc0EfmvwR+BRxdME8A8GrCD8jFqNnbuAFJJWDmrGF6ylH+iYihsiwpOQ+aaRt4hCsHyltLbFdf5Ts5Rb8soMPuPB4oNz8xBdsheKBvM/FewqwBvkEhJu0jW41aFV4oeyAtqPz6kFmVCZdTfHGfDnhCRgNc8ez//h9xLt9N6DMHzhQuHRUeYy0ngVAxVezqBLqLBGXUI8aQCBdAURVkunZsauZRB3hxRp4VLl/Iv//mAH6LZwEpkm8Kr15Faq840lAj/1pEr3urvCNTP6l4zoP2xLB0oqwoc46r20VJuvDGz1WMj6CoIsUc1VEtfcgHbZHl2FgW9A+IL1UPpIgPVrxUptkbBfu+xyFsMCjh55sSdk9duuCZXJLoKMARc8Fqu6te0jXmtFyuz+ojiWKMlIJ9p+j+2i3Xil1aFWHsgvFx81P9kvwU/9efmjjWhFnWDrc7TtMWS2JD46eBnfCGT0yc/5kHr8Jye+FoUH+3VvauniPMnOiJpHVv+ByvcveV3FqbuSJpPk7u9nY5z6mIvXovt+80gLxvaFWcLVF7wlQPa5vHShKgeknMjxlde2yluLWNkOV0xscC6MF7qnUZmWDqBjZM6XL68ycoijlsGHnrwvCTebd/Hzbcef86PmhOEqCfOWPbvPrAUTR6CKUftAj72c+39kzu1PyNZx0NGR0mingdpY6wNs3/rGvOOE3tudXuNLfz2uMr1w3LQdklF/mJYNcMFBjRTnypsqMiDKapRwBzYCY4n93wB7AXgSXSdeCUi92B4EdE47C3zLgOXVi6fjSghGmBalqGTO8MfTKTIGZktnUiVJCDuXpBR45mfHmouxePWOg/Cc1IfnV6jfItC8XNKdwO4cv73texlAG07otZs/+Kc2DRWb/PqtEGOpmo4LDFFR9hu0kw7AXStdd4JoYxJ6/NNezN820N7G3jNPFYzPaHEDWPflT00452mekcZ04E0Gn7AcDpowkYqRI3AdFGCWxf3DPmxvQvNEuXcNnhalB6MXMG8ro6R9yfuU0sfisOqExOZz0BzMHT5PZWc+wso2+/bV1lcI2xlSsTM0Wsd14ZOXdf+9V+KUJf+PpaJFUj9G0AHeHQsXibWU2boh9iSKPxzGMmfJpHZ6FzLGnjBNLmXcNlEouN9pXvxuxXW2DatChL5tR1Z5wv9q5ePLb5Tow9Krs8drRrjCTY/yUiTv3EhGPxMvY1fEOVpcAiOIYdEFHPztZ+aMQx4aQziq4RA6qfkau0IL/UOyT9mbsnFuncxpSLd069q8E2C317ai8GqYZd8LGzs1eBgk619QEox8uZcfXJVXEG3RpjLF/fF9yXFdjzgTePWHyXD9F2sOof/2J9koimbnOdKkk9ZzX7XwC2r3pU6At5Wm3woHCg/JMB7XEh6CrxuymsAzJaPArNIRH3T32Vx50fVYQNqkcc6vsue8vrE6yLxlpN4mbWhRg8MpPPQ7uPX4h9NcrvmkxXsJQ07jOo4nLkYth91z7mVWmqYtqvABtcrvwoH7o2N887qpRFDGAoUVIv0HQwxgp6XbVp+3wLVWFERvPySL3NKEuInGyKF+YwqfGl1u2e4uxvADSx59agUsA/bGCjNZspelHdUbXP090gE0XI3rJDYkfNJ55X9T0u67RueX+to6L9xHiFjRNZzGS96bOEQQpcG1bx+i54AEsEuXZ4VZA1MUlbTHl3kHwqR8L5hdlk1hmCLI4SIO/HEAnb3RC0HTTiKRqPTDu9KZO9zKSBNJ1xSSFCJhaaJyujgH7/mJZHufZ/guYS5nAAGXZwr3me3MfkGxiwBIJ+WxXzijcSl+a9KdJLlbLCNolvZVwOEhQdXTON/v/SCL+SdHofW0iAxUq0m0fZI6j/X4VoBryz+B56AcaY9GqybOXT8MaizTGb9g/O28VeJHhSWb2Kfbp0wJbJlmovoq4UY9y4dtA8GiHwBwaSPordVyIT6HAK9AkJY3YLhMoUqV7hVK9hE0zdx4CyPA52otYENE2mQRKnFw+TIecSpXdYemh5duUy8tv1Zm92tuo0cxdKvcuL8aYO62PLhesHdlliMrMi2cRA6LiCNCdOD8CTYuSXe7l09E6nqqk6qnlJUROMLij+rv9ZprKqV+p5LlXKxAXlC5wtQj/r4G8/BtFFac3b+d/y7HLg41hJVgwBBl+qp5Y9mf3Q44891TSUtBwUBaU009vUKI8HcIULKfXLVXKSKNUKEjuSCQHxXTCwsziLSTxPgoC/jJpav6Vau0IKr3a99jyxHKIMODdDklYDv0Fz9G+4PmyPSKJDp87eui0WAeRVYryZXF+wqJ4OrHyINerOUvrYbgzAIcgfEpWwYERPB32MkseOklmJMQ2FNKot6JHUvmD9wla2EpNrUlw55TcU4TiaqP+qMa7BnoqYf9TSNkH2FfcOemT1/E0n//awRML+/Q2mcI+bz2rRmj4yxC++O6xJMFMBVOZTZy0Fb3YwxIrGA0nikY0iyaTQWiONOscenM3PgV5tDlrisTPaKoNyzi+Y+x9yyjnLkiJo3mU/UWPCkaO1fgy4uGFMerqCe1TfqYjbX77BCnWG6A8fbFXyFvgUAQ0vEi7NylP76aBsbCAu2WlKH3p+Ke4IN4AdLr+Dz4xRQL/J6yyDZ6n+uuhn7DBLxmjhIba7gTvOnX6dOYl+ZhfGDODBCr9lOs91ej9GoG5Ss+4N6lFx9GiYKeeQ+vxCGR8uZFct6ChmCAxda0KD+8kFEotU4lDk0hL/zSHBjmyFkh4KvBmjvPev1HguPeGh6zM2xMNjT49i9IWnqQ1S/tE2IvfD8kg5Gn1RUcQCI3Rr2dt+YT/rGAmWHGDsMmpCdjF1qOiJa+rR/domP+3DeucV6sP9AiXKWOt2b/b+PpTtAFfkmOXOGramhPCVGje+t2JDg9TbAYT5fXIyLH+ZkZIqDceDesJD2jAgMhQvWpb+6nTlgZxwd+4D6oO/l6J8i076cUhskz5Yl+Zj3sTx/8n31JH8Exx5RTlAv8fxNA0dHlEnPDTFc+91DvV2JHGiPx7xqAcbmdct4ayBf4rbDZZ4MAcnasd4gkc97boSNZXC9WngJ29b1l4fBKEx5RyKV7QlR04AYIbpBVT9ARiqDXCuM5fmOi9Tp6t0WLEvTUZhIEskdVULxUB7t+zuUL5qW+AYW/Qm1ACKYYEKChKp9VSCZLBAwPqvdJDSnfDne3mgA06/p5KWkVcaDhZYHPtnebAsobGYWfQOv7OOqW1bYO44F5txBqrAn5p/Ksf1yr/qdUFTpDTT2j49bUUrFPxr2DiWt5eXxVm/53X3lucmm3ZkkiWJKFALRac7oGjdsPycOtx2jlXyoZ48MfwAdNm8SDBoVsT/pUo3AO6SchRO6y0VSQhfCAeXalI4p1nDbcoS52auJcFIALbrp9E/DMAESDKWYwj7cm71kObG55rSEM+4n55TAeuTjwSz0E/s4MO+BIh8/uO5kFQ1ob5IEh2P4QLtbsqkHqNu2i5qa5NIyE0h5xd3LBaHiHTktiFRxlHrV7oweLPE5I+tL6r2eX1KOuSAH0Il9tQG7Qb1I6Hpj2jQl27tGkfalew3+zQI6Ojwz4Yhl5rXJMwX3nzfiwtEFU7GWEYB7K9T6+kY8iJCY4Mb3yaC66Kyg4nBoC2tKBcAWykzU6vvYBpz1f1ikboDlcXsrh7gVoiTDlY4vORem7dhAVMC3//uAuLW7j8eE7WSj6w7vmV8TzmZoNAH5PFcc6qxYaGI2428qOWwq2HaR+RB8i3usCdi/Gm3kpaEZIuc7X4t8bGrqWBCqVnklRY/zu5HD8aJq31dGW+wqyNmPGly8zDDTsfenIuOiGK8JdN2EwdjBCb+b3cUzURWzPqd59BFotFAaR3ix2i1Klj4KxtGFCWgoHBeifUYVco1zyXBGndwnmamSw3GwP0i9hgDVdut5Tyn/Rxd7PS+N5UzwTm0zcxESGY9U8xTHNdgchch7wPqziPuc73Jr3KYgVZ/jmfoPhaZbz90/NTZBv5machiHkauKxMTqBlUxPLjZxHDPTKL8p/818NkOkpD7JGMiKLUUwimjBRJX2ArsSMAAK++biqj0H5UHY8xVdEQfj5MtH520cOdC9t5uCFD1WbxxMbyDjEmewNEhsTQMLRcKNYk+irmvhtg9DmekDfgBb/0J6+hl+OaVnWNUNf6zAenzvkFbNDpLbihCBtAkxLj64QpBabxyxfoygosaTnDkyk0/G3dXKhaOladmKkhAmAgJ4JvyPgr2HFgkzQHk8bo2/QOlVvp/U+xT2YFlEX9qYOtCnc7oaoeOkimCMC+qHn4nmYitwU88JKAHO0satsCRTLLpdotiET8SFywpGr8fXMIUlBr7sZyiPvhrk8RcXFcPQdDI/qOBg+IqZa5DEpgb/UlxyZrelih7GH+N5y/y4Rv/IAx+IpNk3Amk6SXX4GqDrvkYZ/40RRboqeYavHpl9qTtI019god9msZbpB9RmbYJL+BMmclNmpIZpzmV+N2xIubVVFBbwi+QMKs6YpCCkzL9CYFFlBBnS9Axyh28t+nWgIOU5ePd4dYA1YKyRaDErp0aKProg7wyKIIniw6iHgQt/NR3q1sdQh3W+sHeEO6NvY231zD7fJlpvC7vwiALnL5prmoG3zqjEkyMhJ3NrOu3Uby1TQFfFWLc0/Kh5eg3CXQVaY4x4fyQeOZd/dzKn+uJ1Sx/fKRxkPZDQEjomi/Tsu39gCGTpJeVtRVIaxdsoJnjT6OfCDlfzDhm1hOut9zQxBKm3nqc/N41AehN4Wii9V0cSmpwzvcDo6GXurg4dIKuAkPlLaI69uCL4JpoIvN8/gUdmALU4EHnIWR9yS5ZQ2yf4JeRzn6tNAAut99PQXUassUputDRYA0jEyDFZ15BkO+r7xUJWuVm3ghaH/88ZkqI26uAdOJdxgEp31RnCL6a8Wb+gsZ5EcLEat2bJ9Ce+xyydH0sWcHXPRQeJ1nP/xy5UVw5Y5la6Q0BLz2NN+mB1D/1cxVEMDzv1kYWXcc7UDz3Q/NhqOaKKb5Q9Pn8H+y6tb7zU0AoO2SlGh4L/PiK3L+1jeQuVfviIJZO3t46jevUW5ZBp8wexDnpfaZWrooVNTo9k+zvtAOvQedmlD4LUHjRFaroDtkR+5QBg6SasbnNmmUsVVnGE+rhsf/HvkT1z32p/WDjtqJHM4J/Ukq+ON9k47IO9REejgsaL53NAaDrROe+t4vyeCzLUSlvgTj0AxM8HoudJH94MPTF+0RwDgrkf9ysU/LWMzfVaANC1OJZcCAAJdadN6CPCzWi++dlHQ0K1s2pvZOG9Id0dJa/Y5ZkcjmrtKqyFwPxIOeWsTDyDJd2BjS0RWzTmldxxqUxw1zli13PlpgxFhvlG/afsjmXRkD1oh8U7YD1AXkqbLoMrrV9pYGUNwNcI/7poeneZD0JVqb874Q3fUwJYjQisySucswkW/11eODY+53OgPeJUyWyZ5qQKWO275OVUsnMSzuuTW1wpFgnL1F7l/OpEZmWbjjZell3ebCFEMsOxEC/Az7GNe1ohEdhKGnFGbCAs6u1HhXXUxAaDEITB1sFRGeNjliadj1WUx3dqE3Do32/HeTkWcUEEzXc58xgB1Lf4l5g7GwDF0iwfPLRq+IvR2rg8TX7wT9Ll42fZHFJ4fwvciCqklWgQT22I+lbVDBhu0dmRJHpKHF7P3P0ECaajgruxlDNHLk8xT4NT+S0iKVWXhbSvESOLwIj57DLkF4fpmim1w6JjBPPMxmqhnDH9hn7yWzIuAPhY9CsMv5xEuYRDTww3iI0lMItpVcFw1rP5rh5lmBULsTa9rGkOQWMRHVeVUbcAR8Ch+SxPwf0Tsx9PVQe9jNm4PyGrxdnFUSu2GAyRutA0bauxfMAF8SXJ8GQTlfI7P0G6TuXf9HTkxZJi9HSIQmH6MB7QTbpu0j1ZGl5r2aMacZ7XlrDU5IDQogDBgq7/ab/hV6/crK2M3LV7hX9gUfIk+XjFur1cLb0zr75m3+oU5G5Z+X+H1eA/stk1oGRYsdTfmVfIAuScFKjHl9/jI041uz8XOWjUap2UAka2EpQn3kSc9rNDCD7/Uc8YBhqvIMaUBun8JdDeN9K6b+mCXv8GBZnRvf83W7lhGMgInDjUocsQM1JnD8IsEhSo5BTNurob+ddCH+K4L4gtNtnj1zKvB2JiWf2pbeu2RI6bfBNc9fGCi8kfX2TfHLy0jAr26IIxPYSkN/9X6FzZay/ywYZcDyI6gTfS7Dh5ITIHKQSIIXMzpss28kHBFudK4A+j0//Hyw1oGm/Cq9wb5dSHwRTzNpoTLYpAkwRvmBNP2LKgu2+iXgw3VrBFyyGmrUxJyRagBeNRx230DyRCxTQcQi9W43a3QtwLi/aH//7kP8PeckgKyHM0DCZB9CNzvCkB1Riazr0qvuWlDhs3+sQHbIpQIsqygf7SGjX97KBkY1vo9sH9CxTxkXOwZyC9tZ5oezOx3GTcK9YqOHTERqOZ3RclhNQ884bRdB6P3TVVU5ep5wOoS+UCSrx233QiMFLw90r8E1XcY/yd3W8nFitRHciRoIABP5mql3E4mERG1zXTjfjU6g2OMqSR+Lz/RdR8TjLbhj+jClygpT8HvlKTXWsRNk9cKA4eq7lWrppRXcSNDVyU/OkGTuz22dVoN4aZkSuN0pTl/S0H0srno2ibgT+GP/ffCdN0mX9ci4kGsUtHbfFtXeFVHN9WTzZnWZX6a5vEYaPuB3WlsI1mX7DRNszp1dsbFyn6IGs+1nJQumfxNUSre0OW+Ke9v8XNzSXF/dHpz/DCXfTvQtoIQzZjx5AXxqj6rkDEb7vrtHmA9by4S8YrLTQGzBE1GI8NJx6YHFlb7zOl03SGKnbSRfHsC+FOUuF6XP2fQsDnAaZfRW1Tqu4Sb0OEmwoGvfgaMHc12Dy6bstEnJUT4guGhXTrceo1fxtKjz9wtaCjaebgn8+bkMISBXMfWQTkQugTovHSnIV+wvihydO15w5CZhCV6jzMur6syVzIg0+paYvfRg2oWFLGClJihDYmTsVQWukuA0q9RiqrNaxGHqCWUlqK4qmrBV6s7W25wbuF6RQ3MjBjmTUbNZCtTiZvAtkF/T/bPbQ9BLwlgL4YAOlzBgmsFNWylSRs4HfYraQuLulnMuxnmYN4U63cgrdHwCzdjqdCLiIe3t8a1WPj24Wc0XKNBd7+Bq+EtLrx/nH5GE+LjJBHz5V7qYUjr91CFSwqus3gJsLEGaxGXpwFUQ0Z5O5v5czUYmx75EqNigY7jYt1TT3TZizIGSE2gSf4vEzZ6+GLNnorrqGiHiIATYEYWYMD43MxF41kJyzMY1IaxlPugj6gpasEPlJP3fudB4lmKg+aheLAcm3512dxNoQUDbPDRAhNJU4NwyP4BrQELagPX1xsNxuFLeRY7vTZGN7C+/K1R6DBV6FRBjpL5cGFWjTEeUqltIr8CRWpEBsXwQlc0iDnOID+XKp4SehRjtnXiXU4sXXESLDDoAMP1QcnjGVXm4JzMbZVNIbe8/5mXdRd7qBumNxwwVDIqiZfbRG8sBjDk68zhavI1uDBFCNq9GBgAxxpTsffZsDHUTwkTECHymaDM/y/FAofodeASpiG4afI4HOFvsS/N4BPN+o8aSG3GCZ/mEtlzOGZwQR2ClCikmNw77/h1nJnr+PoXwoodZMDLYwpKiIBDs4as0fZ4iX/Z/ZQOC7Kp62IpW2kDtQYqVIqH635P5RJLZK8LZBTS17u0GoeRGMZLyg34agCL7FdMVssJR+jhnWiVvhZKDXtR444JJkSRl+YGBk6yHA2UakHLiEAKW1979XfSOs9rH1YjC4YTqPcFKLzeQ5JXuqNWeARTaRrU+Pj6PKNln77ilK0g6zBflwgJDrpgDQYXN2TCnTa+hAPZThx8+Pajgi6O0Zj7lp9h5O6Mg7IegVektD0wMoFs62D6Q8ea+965FnWaGLStxQhZ7UeAfe5dELIL1UL0slM8Owz7fLVdhjnat/tGALRlYldIGS7X3OqEP8zvOKqgI5aY3y4M+/aQJjMpcJVWOyYpL3+cANseNwja1hNF8ISJnK2OhCkcQCdz1Ne5XUYiTSqpeSDHkLnGwOcHKWKgDdghnYgM7XtLMJ2Cx4AZ+LigVHT00PmlW4eVEPEif4aC9TR1qVDZj4zNraKfAIPgism4cRyUAZonYRfJywlziHsGaODBZytXcXxnCb8f7DXClPG9hTIAuJuIkpQ0bW1xaPbyGUDozJF4cThl18rE2WB6d+3hFYM9CbIK1bLVtLfl7Cqk2XochwVmh4oHbcKlTpgbm6geOvjm2qtfksE3Q3JU1ofyrcSbE0YqsAml7RGaT/5+c0+0M6nipun3LplqNMFkM9dLzg2XrgzfAzm2mDqPxhT8DZW8xtWJRa++NovkQ+RRIjzNfYhJ2+8idkpI4MNYSebHtJCwpKL4DCsqLoeKSMkvarsynT03JQ6N8CiiWr2/Kh+1mVYx6UsjZxc0mgcqRoZJoWMsJOIo5YYUy0X0+SfOkih0mRPnUG67MoLcyqogEZ4yzL/fJABjw0VcoldnIZBK6MNRCpy7Un7oq7uRsMW4hVxkCQlNNXjQicrU7ThHX761KUxjnYPrJj24f3Y3l/9SdXwDu0PVaziK5zCLxcv1Gu3ampM0362NdBrK4mvkjADdMGNSk89Ob/oyA8lwoPLPR0rl5hCnSoWRkrTX4JH63BZOykXzUMt1HOiLupWPvNOiAnQY1o0P3YiGJT7GJKk/jC1WMbajtMGtFIOivveZP+dzaD/s9sHaNcsaJfOJMr2wzuw8LBrdpglHt8hkBtxCKISUx+jffiBWIDT6lyLA+4VQcHFKDqMANSTYCsf5V7/wpXLy91PKmd4814BNKjYa4DvuRqhlRWNLWLIpyzcMB28fNoAKT+8iuy0K5ahvZ0DVa/5T60wvp5JxSDWKgteV5JIIRJzEA2I6CVC4YQcW83YoxcN97uaaAm0cVIOQrBsAcF2JX9AWCTo26ELL0UPRg8DdLfbhTA6BHdskCuF3Z4Jp0xCsmOKhA8Nopc9o35PhuteMKtmDO7dqHnHLT9MgS7/NETSseW7EnLOwwKImfjt9/SU/PUtms5Dd7XVK4ulvP0enqyk8fR7Vvi8YpPLr/zg4mxojSCX3veNeiKuvJpbw4m4d1qpsrIgxUCy9Rb4Yr2bSAyYYZlK36gzC0S4VGrARwdiE1/fyNhUJBOO5iG/QJ1tldxUWZmTRV5huFCR9ZNns6pS/ylbBKJD5Jj3czAbUMKp0foH5ywYG46UnPal+IGVphoLminPZgq56Zvf7JhNHdowwdDE4MsKnhy+tPkLvIjxReErbUbsj2MK6UpYswtRt4kHBhMDhXoMcuYxc1dRhrUqs7SwqjB2JvUzBzvGYD266ofJ5AA0C5gPMPBCjiTq5anKnWOC19VA1J1Uhk4vEu5NEbP/fndMh5iw3nPuXLqfpub77fkKELnmPCFuFysMAqCFqp5rvO2pwF7ByFFmCg1gAOwfySDO8PnXpfxxZ7a5D3WbMoEha0AU2SBdm+Zlp3E/8c32YgClhSwyfeXN6DSwkeHrpXcZEbJA/lF1tYxf2q00X+uSEB0iPFOO7cvf/xLjwaBML9XRs0279fPDJXmtap9apZwUNitEOCykqEquVujpLuaEwgaA6Pz74jMPXYMQdVEjScv7YKTmRdXBGvNC+pu2xeUirIZ6hIFTAP7kuu+4CzJKcsBaIawrYTJU4aRjUUB+N0BMgxBMcVh073iw3WPwZ4cxQLiMbJ7BcBYwWOAPTFuHTvvL1cXNhpAMPKbjjfU/lQ3FnzYrKfbyyT6N71KuD8HT/N/Bt7v9QmiaLJ6ICfvXBIZEa7UsyaN2RuGK9C+lnR37MjHl4y3GmBmAQbpqJYde7jE3KrM13e4o6YkYp9rU0CNS992pyc2gaIqzqUcUAJLGlIXBMqh2TlyXXLJ1ci9r7b1mSxorrO9cMwx+JBuRNY7Kn2I0axnw6KrVOYKmAwJELoQptD370ARLrlL+mcJymGTTkeWwGK6K1151sSFf/IFwO0or53OvZpgKL+AUy2a2KJ6HUtHv+IdNLR/3V7pU1qJakrN/tdETEZqKE9sRgJGtc7mvtE1qJEfhoMrkUYgeXDfhJRiMFYXbnhl4xMLHoua0ht0qUSnqw+VZEEpPrTeKdjjgLCb5PYoM6BbOnxS7DdSj8EI46V14/t+TK0L10ZLJHeuerscymfxV/XNMiIyJuqXbO2VK3WRcgdrV6egsMLyyogcwPsoqGjjhKXF2o7XOwzD1+Q1JzYaJAM6KHgmE02Ewh38poP5yk72dHxgIm72ntxWRVlrsdbvzpKVcP0KNmyDuFSvftlNfcDjFXOTholDngPzMZawSuk79WkSjGc6JsomrIl+za+wTQ+mtzwuWpDnMpeysAPX6sAmr7om409pr7m8zshn9eykR+qXM0NuxvXrw+YKarGN6VfXzhMtOUIB0dA1FejINMfZ8yrR/fprijnpiC/tPEkiCxNn1j3+rWU7w2e5LQ8l05G+hrQdwFUSdwhTEEJIc1S5/SPPbuPv7gumAGAbPrtBcjPAFIJ1hVapnknTzfkpwVZip0mns+tHxalOORI+MYLm9/BqvCjOPKsu7pnwwy3COdMdsoGXoJ2Z44Q+SJVQwEax1kCtdbqSVM1i2iESPtwtsxhT3aN344Dqja0IhocOzMDn9+QZcIkjfTpCElRzaxAsvShx+GSSUlgmGcGqGc1rfOGlU4uclkh7MYqvQ0mMSM803qJmYcbxFscQz3d8VHwTT9yuPMISExYc0A9cpdeHf2r+lzRruUvUyWUQn7VcuhmLfOB2EplGaUrGr/2rx+kCyiuBoo5qCIzUQxxSiO5bJb5f0CIInYtIVs29RyaRaDZQt+p7n/Ahf9igejx85P8/gT2zGDFs+IsBXKhdFwvsA7QJyywN9D75I7MHFELSMvIpzZEWS4IdPMWfS5mhd5SVs3K8+3IZGGqTfyDNgJ5/2NkgmHO12eyNvplnbYvfUZ1s+0Emnc4uYHQDCD97kUY0rIDUYUh4RASBAKdkumIQTE92WK5xDrRSherRSV2lVGJPHrDKApgLPzELTbHIC7DHrj4MJfnpdw36UfgTycLBzwrY/hBoE66CBnmfcx+5fKVK0dZcERFPacxbDK0vh4GrnwRPVaB4qxEVPMFFw/5pg1jMyn1j8V0AcLiglfnhTFeKJabi9lNim/Qmw12VOPdFUuc6D7ZgA+IR8RlkR6KIGUQUnW16qIn3dXeGRbcLm/7ZR6GHy9Wy8Thb0WS/agI2tAYHDKmcMk8b3qWMgNvEINN/L1grbzIrcY3DPboH7lcCmt2e7jbzOEeGdxD1EoElrB3F3pVU7sSe4r2NULqi/lZ6/zSODyMpSbrYupmtWrdcHYS7BC1lARLfwRGiKT+9nFUPog0f4eWhO7nz66bD1nD40HToX/R4BYmfYCl1sbVzVuU7EzMhcub7CndAo2vNWcwjR9T4B13QXVPkFSrhOMmrJwsPZQYdzZRuC+myNqGED5hwCeh8Vt/OCgXniRA5TYMzCqlKbT2oKlj/zZhFz/8act/qcdefJ/RBGUVFvW3rRU+qiyu0JLq6SJFn2Bemn1nNnmZqg2N69JPgLQ4YmccV8aKOmAXVHlkZAqs2Gn7XJwmiT0B50x/WMdekP2pi+Laob/aCzjtLhP9SUMA5tfNfbPUx0Eir16Wqp7p53QfSFjiBQoH0pa9AWyJXxq9N3genW2nk6eq/BsZ7FpMxkvpq+7DwE6m5NIi4t7dW15sxp4VIobt7bEeX5T6b4JsLLLd0kRrJ0b4eEcDuScVZNZjRTBT3oLTf7t/5jdMRPyS//yLA5rLtc89YosK4LNL23l9A7pLsTC5ftuk/OVizeOpb9tbx1DiohgJ1NSPgEHRcG5Yd5J9xl9fQZtceB8CdR8988OrvlF1kAbGwBT1R0PVT0m1GAiM7WSFY2swCnut1S9opHkYcALGoUSxDgRlSUKSgsKOiv3qmodYKr6F/x6CIBNPVZSxlW+5U6t+66FQlcnh/tyn32AKVmAf0lzEcySOxqJPmWjoooEdeSZLOPsjL+aUO7IXQvGLsLxCxoPS+FSb5aLTz6A3HPszUdzkI4/MKA+3jMCApW+zzpqq/gh+nG17acKdoNdaE+32CD+P7C2MbG/jIWdg6J8gm2RlitTxUgHplOJAP3NS/xj7GxUVolrnPAFtPozwHKW09zaeXnqvWDtO+sI/xNz3kYvBoW3J47CmNaFQqzEVvhmAxKheufUZAeZRN6WbC8q6PfL8NouoWEhgRkFgFhA0pYbTGKz6+g02Ee1Z8bxGorUhn4nBAupTpdEOVt3SY3m7pXVFk7boOOompqYdE0VvTUBFHoDtB09Erv3bjZiZWKyul2K83BZy8VGsRBaPkkujI3wmTTu/G6M06VAQw0BcyS5GpzQlnm42ARanzvaEmUMHicZdFBy93nAN8QcRdVI/mwRj6A/hgf4Sr6nbRpwYWnv4SiIgfbifyFb4ZNDmzQugUcACaWVd6DQjLYC5IRY3J68W4ZOyzyKOUZIr8qz9Wjn3CgpUAdP5MEvzuN9Xmdvv3mrLCAO/n803MHK3AYmSbakPkJNKGPbeEX5uxp/qDAg2tKmNEQv7mpeVKzD+UTByuFvEBGcw0xl/jMiEPhNB8+PpoFZFmZW5wvhhPyIF2YONWEYS0ZpRGicyEdBJ0kQo2ILdmRm7YqLTkvhsYo/I/k79iZT1pjfbqHkGQtBkQJ8GEnJj2CAeB2gUGaPCxYWsvMycrZ4ZhdmkE4VqpELBtgFRkC7C70i+d+BikTNZaSnjs/ai+ExAyUyIbtPKRuWGJym/MyvKajN8E1dZ+ECtGqwFlM16kOfaKBuszZrALJI2t3PiZirnzIG9u7pOw1uprN/yIeZVDP50TJl8njHhkou59FYY/iMMioYQYntUHOTeI7RplHKpZUsNMU8lFQ0kiusQf4RsinOUmzhplUol3nq6AU0XU9UYiCtt8YDforP3znNgYV5ctfkl7ZMKJllifAE+70ZTBETTIzMo/PHhDwsv9KgGsJUH3bsENRYgHsweyA6thhR7QZySQALR4jBb8B+nI77Pl2a1OP6MlMlTmtDJEMxrswY49dvKDuLdKJINvCZFYTzabasc3V9ZueaoguY6pWvnz/ZlpzAp8COU03CjMNIPZMiQy4+GtiSwY0fqf2uuu/keynqXzyOyiOJ2k0YmX/H/skU3avK0cc20RekFz/qNIEya7XtI1wA15bgRIvempUhYf6gvflUs0ObHiWpdVFD3spjVdhqt8hvZOAG/BxpDQfYkxDV2qBEX35ZgZE8NqeJJLutxIlXcjSdLiptj1II9K9wAaOKgoi7I+nP9Qos8yVcFabdpsVKtPzPgrSA6pPKQXB38NdHH6Rmyej/HHUyaNkRkOmHAv594wyoNCnZLgl3cJ3HlImooswYPewhgcd+WcVkr5GuDKcBcjGFHdAHJrK8Dt25dSC+oca+VyMb82RsPzqPEGRi8ZxY7QwbY16yzP+rFyqLGfnIJFXsgDr6gXsRqSy/1dkm6RoWS5F7QTSV+2vsdyeIPncEBZ1YMq4ImuBB4rYcwehm72l1x7nAGczjtg628m/vsrt7PmQ7pydYCHplE/g4z/1tHWXgxAp4Nl7ydn+49cbHDiLz0lt8YbhY6SSUPyg1cDfG29ggguGDr6nu9W9LzECdZIkNd/mwvSsesm56/mqQQ+RB/Njtv73Ec7PleuM8K3wBCkfNn5IrcIH9Myy5y/BcyaxA3FFXrdAEDo5iHoAyjZJJF4WfgIDsZUBoq9DV/UlD3Cp3lFkohj2scrzaHw95r/JHkxcUryt66C3xqnFNrx/4/QQPUToy+QctZyNjW3uD8mFNQgFsa7sxvL0Q6atUxab93t0DRa3evWbcYttCLc/6sShQsdXNZxmUloTn9P1TFfmYuCcjNQ+DJpeC+uOfvJNHRpILCYfCOW+aHPcOjwrfMWoR08QX7Q5XwSKy1VwLjRKZoqczB3i7seGU8jUXZpQTOQb76r+LgD9KKo07tRR5VmCoArDODPfpnmX2uWeWliZeKgqg5UwXJ8Nxn5oRRFTr6PZREmt5ly07BwBp6VPYeUeblKjWVU37cjklvwcUyBaabIxAmgt3E5sZR8QT85XHdRWBBG7zm5XgsiXUThs9NTYBmzcfKc5gYu6x2STfqRK29rTYudda3ri8qrV1GeRE+CkRYW9PSZxNeWtdR4WUVSe+ufuOzG6PidBT0ZslQk2fFU7R/2P3kIdVIsuHPiNzqRfG49yWx94BKTcEIdV3Ndpg9kgK7DQe7dvwlsCFGWZuf0FgwHK/J9wsM8cycfFAHp8QzAPWf4dVk9Y9JLQXBzOE1IQuPmc3GjzWDJy3NFr8ifsL70LSBSjq9cEfjPvxAbgWB/6vGOtwJ1pxJnYeQKrVyianVsfP1w1svpaeripjSQkPrPm2nLaQyzmNrqhzJbP9dYPqOxtSDg0wwf/VeCjQAEMydWbtQTeb13F96effd3n2YddFgDl6kxQcUGvdVrRjDUEjjMU1E0ShZ8S87ZuxJDey32sqFkN79HwnbH/RDXUa8Y9fPLvCjy9LD8Zl9D7JdFpOLmFSJz27mGsXbHeQp/vagyPaKsw8z08Z/mQ6b0LXR/64fDNvEEQdqGVnFEWz8lPx72akzdIr2KLTS5SPYv7N+2XdiDpcR37pdM+lamAcJABwFwhYoHOcL2ZOMd0PnhMD0sNDVfgCThibk5eV8Q1IX4WpmTYl9x9UUl107q/w9VNC208eJNszTW6yL22O7+piGUDnfpL6OPp0dYEQNEnw/HChxa2xU5wFkcAscHHBgIwkQZZwVA8uTxVT6PJbGubNOPgjVQemqH3uaqQ56e1HL874cMrKrDOVBXpikKX8yaw5tRVRuSfWC54wVSyr5A+stcKhrh4euFNuxqBWK26+knc4O/wUeLc2sIboo0+0gBG7yFbWShR7TXkAXxKpD8mKr4E0aYfcvmmFEueH3gO4gt6x9+q5fbXrh8VSN00vaA5t/ldctuTDGbXSNSTjfwuSoWvKUAAJVMaC5zu8ekzecHxopJTmSDTdVOLwPfJbJx+8I7DgDEJC/z5f1Z9yfrPdfm4LCmmzmGI/QTZ8hCJLRaoI8YiPW276G8NJnKRLRmw0+hf13yvKQxukjNlfIIMYTArmUCut4g4hwHSZXab2bADYZoXdlpgLEIu7RUIIj8R1S2fOrNulBjLZ3lG3xsSCxvf93WSznmvdlWaoFVttvav06nXxCoE9DwFmd7m4OcP6mxH5hsxNKqv+lF28g5cE3frDlHv61W/7NWGtP0ZOu56rL/+4S1ZSbLokLaiywVE8RoaCF4JsIQH27pUCfvcu4xepXdpNwkkpXdK+GeEskxlr1puF2nboQEMQQ/zfWWzh+1vg5WtuEE7VuXiLXdBAC8jmyo4yIhJcidtdvcfTQHsGu5eh/DMF1wT4wuLI+leLtzcpAgET+spgtZ19Qx9jooXJWFpca+iDPZy/UC6Fn6z2Oi+osm47K4egwfFqNwuItBzJvLXBvpszndDCciR9oMHUYyfahJGGAwMdrSdf0Ieb4b4fX2wEJii4HQIiVOlvkBsPp629Yl04akfacM7u6zy5G56fKgo/ORY+pXZ8NZGkDHe04T52MigB2tA8I9+cL81Vk+VWRXOwCsJWDfAD+25YVxKAKDP67VNh8y3iAKC3VEV7k3Bcx5irkEqEd8D4jEzSEn0dZi8XXnolwB2BD7DcP4TeUUkhN6cNzEFUOSNFlWFSo9dpJJ3+mHhG6FdCGS1bNu+B2BCPjJfoZ9RpWBEmlMcindHfDhYgRqG1538rA1769AccY3Zblr+g/zAlZKwIg2GUNyLCi9xcd4MEJ1mXsNHPqz8F4JdPphD2aiLZd2x6ulSbPhLZ9Z0ceTq+nd47Nr4hkfa9Ftn9vg49IuPxDcZns8Ioric1d7WQxFEjVHWHxSoDxZkmq31/6/B7aoc8d7yto64YNliN6BjFyd/h2aSigXRMSUAXsV4daNRAt+XLvMN4pr5tYZ9cRKe0cT/ztP+4q6/WhKiIibj9YN0Zxj4NUZGqgr45XvyF3HxvloTYgDEa2renW6olhwUYtU9P48fdWWfngwmvv6AKx1paYCzm6SWy/fweWKlrm6xU2ZUUe9uy4aZ6hHqd/7DbwhbfrOJcTDi70oqNGkAthkADXtquGLgtuWP9TQqc071NnDBZZwjDSFjB20pfhXr14UnjPnle6PijCSNhDZBnf2WuXJDYB3F2I5FRfZz4BmrP6gC7zxNuyb0CFiQca9iZZPQTQFgbDX1kqtaQYYu7EBCU+IzFrPoZMh1mx3HXEFfcWnYaBAfmBQzNSgC3VXmTwqpfBLRM+lru4wDiA9E1hA2bGi3ijiN92urggib2mIbSY/4MnaLicmfFTkOjD4QYbPEhHP7SRQ06aOwkJMK/UBM351/BK1I6sZlJsw4WU2cKQ5iuweIPV089W4+mQNAihjsLtq5Qtz/ihPpiNsXev7pNu+AyiP07ETQRbGbYmwWfmmUbPfqUjr+CwuTqgbjJBOEjmkeOj/tTag+4UA2NpW61SoDz0GsiqsrqoujZUhU7Sn3PRBrTeNF8XIYmegEiFR0BMaw5DQ5PX3JNjimIgIRj/DqK+/LySjotip6b3rEZ6OhrnuraPkqDDJ0uZnkq0v3YsSoFc7Dwb8c37u5QzmG009/7LR/kbz69wS6p1GrSo9EAQplgZ1pcfzncuO5UcaVw/9m8Utd5qV7LBa72zgAFZzCgFdmIXNHiXKvmxYWC5APFpd1wH0I63ViPZVrd3oUl1eVI1Fsd/5I+YH3ERnx0hJahhMmMKPrXZ1cigbIpOhhixI9xfBAC/zcA8n/+930E1Ll4O7ZKmc7vNrpYFCx+Qa0EMw5ni+lrcIwfDzky0req+PbG1eSgO0bDBKBAsWsqAN8i13Y7uXYTDtB6bYRJuWqHtmG9z53RdaY1YT6NaSU6qCD3cRTOdceeL1Y7zw5YqCdgI/l+WSfJ+xLGWLXhQgxzxPBWQfD88d9a0+x0nOgdy/Bz6dA/8aKvIxxo3z62vwOmfCDsE1gdlolCtDRiqreyZV9lTN2uG5KReqRELnFWxpE0aUEJsO8X6tt7eHpu5Xoo8/dtGl+bpcMaCBP7p39IUEeFM7K4aMN1aAL9EcNWZYRM2ZGu2jiX6B5r+Fa//+uV8LONFKeboEc0ZDxFO3L3sqjy/OTypbORZUvspMHatjFumvqwEI2aKKLI1u4TDiWR+OkShvEkYETWIvaiMz1hGyxTiYt+68lfWz0h3HJLv8YAGcqSajhewgLzl+tuh+ZCLFaECwPyOg+8lEszUb9APws7Mm+eV0JYsCdrAwitG1VvKIPVFSDcAvCW68v+f3HvxUWOurmFsXcBQQUIcOEvgpcjXjomgHJKxt9MFKEyWB0yycgDminqxtwyvaeuewgtygUZ69FdSCDLvyOmMCgwjY3ArgbRfld8zdNEuKbJi+act/DSNF78sjti9+KHgry7/E0ekc5H9KHQsb71zXxIW3MAchLCBVFTGUwmquI3YgIZS0kvHgURlT3gfs/IaXIfiM3ooNPI+esC8r2Xpe3a3fK2ZAo/0iR1w09hCXHOIm49JGt0mxwQZZaNPtR4dRzPKyDHRxVVsItZc59kJYxg7qesB4wIP55zpQWCUluJkE3LLdEIIipSpRZFfv2+DppiVNZnPTYdkcCE2NzMozkajof35sH892UsKdBj6CIT8WDppHKaOQeA1FForwaqck8tebYzP0f8KEd0mCwHB8UkAUYPA6Eg1m+LgmtXH91W2GueZnDa82dHJLuWmi2GjCo6iCj222qHdZ2bqCRWRc+/Asye2JAOhiHZ5OYlOuWLsr3UVvoqPSQa8rxk8yI2m0CslL3KJ/UzW/e06hhzzxN3MDseTXydsDpwndEAbFvyRXm1iXHsti9y5+/9TqyTMp0+JxM2kox+B4Mlkwq32W15BkOUuq876+/EvuqlvZbAh5zj8WWy5aEUTwpj4SrfKVrfue2MRqfVEqVuIUCtC2u2xPJX5a3velB4yZU1MRJwL7lO8FQ2QAH6R18Vy5UrhRnVGILaqe9UUh1HW3/mfMRKBgxr2qSuS4tbHPSIHSTpI/PpneTKu0c2JbCeX46Z4YTbjRhol24LXibKyHpqiVeL72NwLB4dLvkIkV/g6Msz4hHESrFn7Y+n46kgzIAbhPrYWaUrbNyl1O0LUUnZUhc9eneuvYUnFNTwk0h1KSP1Kfy1F/I8tHih3u8dPC/hXnbgk0Z7ymKSBVIexEMgoRLfINZZrxwdRZ2EKKnCTces9H94Eaj1ovme+c03fq5X/SQ6iEbhEq+GrTaHIPyVTY6tcNaflEeNd7iwlw712RxrBfa3KCHQjS1HCbYAFZAisYLGj+jAdb5O7pHWQcfHFz4LOQzpv7GHPdmz3LAMWzOzQeelevdD/Przw1ZeF9EKoEM+KClIMKpCeNbUvnR9hyUhde6LgpX/c3+rLUIoQwkaFpnbGCKFTe5+Rxr42Lau8BmG9oIIWa13PbMZGDGJL+0TVl+eF+QQgwlB27mCJ3zHKH57eyQwr97YfqQAimdNHljNhHIAYQ4H7lcePRMXKwj5H1nqAxKDxhbYxYHf2fH6eHQtpnOxGRz2/fYnWDzMzlGmR2X8gcluUJOZXKnKLsVUojMfvmvywPdwyDUyVZaZemN9OD/YlB1Lx89vpbqDcL6AtogEThzBuUy4DtnnKuRqAMUnF8c9WTPDZxUKuBjpBymgPd3gJwUvyvs44poFIrvL64B8Y5Rkaa3BAuQRgtbxNAyd1qbMdAsmuzeSFOGqZW8wm3j0t+DB1tOWQBAAUWghR0w1T7viSHZotWVe51EHHG8uySqe/IovRtz/PRTeGNimozL4QZI1ehneF0QTLz7s8CBH+FgwVt+01dEVXSCRyVSK7EClVa1+39anRRlSo3/ZPece3HKICpf9eaIev6iMwKA2N6oCl/wLa9ldumEyX3YcTyULohdr880awS+zraJgRZLje5txXmTzHVpUGci+TEbkbISq715tKmcg3mJ7HxHiZyeFJXJ45S881SviQnZVr20Gk2sI6E2392RtWve+MRptp+G9byjvzqBQkrGgSG/09ZSyUFTiTnc4fFvs3tTGiuZeQBPIYKB1XFi8bMjesZgTcJcFd9kTqSioWs/FI7YjZA1k+MfsjQEtMqciAsUuhB3rdaBFTJo0eggxBUsTG7JqqWOTEOSicmqdWrpR7bzpRv+IUh0XPulx+G9Wx/KVnObFhtfOKlcYtMMjSF/4q2QcGtfbiAOuPwNGg+OmjF1wfMGFn+Rb3Y8nuZXQ1lZdUF0Z7tJpHUTAwFNRcxFcLiNlaziK18lbCGkN4LTMlT8Ygvu5N9UJDf0kbkt598kgIVvYX+tsW6q8TTurTUIWvry6HmRCQUHtkXvqJqktxxjDs7dgPN57uCjFWucIsRHOmCBrAXe/fSbeql0XRokAVouExY5FRFSh/9oZBeNoipDMaivDIlAEvy459Uu1BPzExTXpyLWbsfJAsy6fpNFnd+z7tn9fOtpO79HnxJ12KDPHWWEZHnAScSz04NfXnZ8MgjpJA6kyfKQpt74M6PJvOcDdlOC0anwR6PePihHjfxNo3TdEXWG6Wa+79UzBCJTpLFsyfCeoKUMt7640xq76HVs9UeDaH3YPOTmg3KMIQmdemfKRIyiMwROb2PMKWaZABNzR2H0AH0F39a0Ic+S1zkcEAdpOhsZAAllSayhHMj5EUVv7nd6/0AmfrFsVZrCmjCBO0fjQj0GR2Dg9wEvBhfgieiVlEoFnvOYGcJ6mhcgxBXQADCH+BIgyerV748EarTL4mPDuQhhkbaAoD4pG+8+S+Y64YFQOhOoi2Pz23UtdJYEKeNssrPDUr0vqH/Z09bGVmLXdg05Bz981vLZljrPpeMEC6L6v3TMcqd04vpi+CvG6z/zHmgsg0rvn/o1NTG614VH6o5HnKv28YBiHgkJacD8/lUvfAysQgp+TwD1/RHQumCIrtLbOyP8073d6UvilVpQtWjXRLf3vwN5eRwt8h94G4xSBEx+3t+TW8omM/gl0c6iIQx9xYLZjOVPQ9OdORCvB8apSeAPJ/niR84HzgRZr0sB14mcVivd8rARvCvaaNp1NY8bVKA4n5e1AQfXCPx/3zSSCZrhoI+Q8NCd7hcyl5QPkvyfyNy1ucIiJHZIqBG9vKKh/X6v22skP1UxvMlD0PUZFR7at3PK6xVAB12y2vZOiNC/Rr+B8BEtu06ZDOwMe0ADZM0qZZP3nvWODWqhaIxCZMUbrzAVmFbPxgQ5jOXPGlyjdyQypMAktYL1hfwkU9FeFP/dl7RzWKFHJUPhELjggoRyUAJ5mIX0GODWuj4DUqUJ0L57miWHifQ7QDFM0t+/ryEyvgb+kvbx6yPBPzfyIZqSm+td2Wms1fpnX/LuWEc9kQrkjsvrI3G1v5ICdWVSP9fbfGK70zXGJRlT+Kx2IgOG6ILcCA5iNLCXNVom5xbvWWlYALAp4H0BpYNcwBqNyprhAb6na7sYsHUg5UWA7os4RAwDBH8dvDmVy4LJzh6MlZ6hl7PPdzKwnFTbBR8t6m45LoaQghMffmELSEIwCs78vUOywb7MWVadoVZ6CRs1BoR8ef0YTzIsK+XosuJBTSvkRbThN+xmeYoM5rOvCk0EVAySlnuAXr+J1B8Isrxh4r0M9jsErWvc4/WQki5Tun5OSW8pQlfPVuULJqe4Ym3/Sa5hP4Hw4I6jkxBENy02A93X2/bTknbKzJG1sxM/Hh1I8bEkusu4QeMDFVf2Ch/T0CWqODBVRsMgGuf3X/h7Uov2xNm61XqvkgYvkd9LIKaCwwZHk+dCTfPrJO1WgwrsWhAwRaNQZjy35mxYjePgpXLNSlejEdleGU+TjiKz9ho1DRrE1zGrtigsjRqk/FPRzFYzpO4idcLZDmOkEQ6+M9ysFV0yoq5nSplZJOX2fa/kbW3CftnA9dKcBUypUNJWC9r7EmoCpYzEoirat8GOjsoVWvLT31buKr57Qx1VIwOu3FQOTseoUwfFbyrnR3YbyY9Zk9rGTwYUnodPpXx6OSPM5EUBM75XWxvYitap0MFnYxJBfRqCp/sYsG5ALm1gAOEtSZmYRhiwIY2piWJJJqCjqSxKf+eMDLDVEEFah/7zNWhXXQ148xjItmufZ2x1AMStOS9gAUv4bshYZpUyCq0Mdr0NflxNvogXyavRCdpY4mqUuxSUFO4dCqqdf4Cy75iNX5PsBiAZI9CoTS8YtEpva5QfGG5lvg2VUIv6xVMz7fEUipkx8x4k2TGGUo+dMDin84e8eYViuCEEqfxtvn3JVhVT9DIX7iwDu6sGv+yD6r/b0H25LIJIhX56P7xZbw8MyxOI/eLMSad9yTaYQq/dfd35KzC1JQyJoDFSYnWlyMZP4Jh6CQcaQ6w7WA3Nvxs+iank4xXLfOhG7QlM3/Vl7CU5/96VBF1vKoPgBjKTl6O9nsYSpAuYmEfSXIsq7i1Vf7YusIAr5ebBHKPXxjQqVD0MgBvoMItslOfRkgkFs3Yr79M+VsfBhG4ab2c7k6OR6w5BkYUudwS6t1HFJqc0EhgYXAmL0ETPkdE3NJk3gPc0JXcBYgyhnYZL1H+8bWBJsV8z+SZv9ZnEh1kG+Vn2s/Xv24rCFn9FYtFX/C3L1MfLFtH2ygbcB/RsZIRU2MomS0lPHEN0Z+BemMZPOJQwA6hk4f3Y1hoPThHYgUJitTukxljpIZBUvvddR3342YQ4PrVJFyqTGTJJRhlPsca/RLD652x4n0AiKypDsdMAtcQavaCfa3MeMVztvF9Jdfk6cu6ixUL/Yir/0TS0NbqdnURRelsHwPqSCK+9+xEkAJtTwR1P4VD3/wPPx7X3ln9anL2xgALnK8+qiuN1Pc4l4xMwrUJMzb3ZeMtJ1+5quQ8ZobshLrWqTst42N+dognjBS66wvNqLPEo3KhaVFCviIgEBLjk5rR5bATLJhHIJHSZYxsaZr6FC1XxiZqZBkz0NMFp3cB5OAd/hnTCm5da87ZwDh/RVKY2E3DrAfblaOcACuowqpuwdwW4ILP14dXuqBLVsVnNbL+FZpHGesMZwEubYey/FSAtKpUHFfbAxrmXS14hVYjC0oeBS+LKe4Bp+jwLWE+OG1KGU29Et9dxqdXbaEk6qI/RMqZLlMW2514HzoH1pL3NGo4SDzKpgwWTaY5GjnERcc4XghCedzE/x9utzPxJJQrakYOX1yZxc4POAcujID5mC/oD7KrJK9qzdYKfmJ1ZffZOTQMAjg06iq98DvKa1NKmj9zafQKExOW5veA+GcaC6D/K/ociUbIlrQLhkBP7/bKAhNcWYIY0nKhIQvMw+8iVQj7KkHvFOY/rPPxXa6cbFULzsfZyAeXQcpn5FPJwPU10n/N0Q87mNEdo1WWdq9IQ0yhug2h7rkpuBSmTxEXehMwCymld64XFMa1/xjygeQLgt2fYcY2D7OJy/p88ZWgK01h5nUUf3h6iC4XrI5qzVxApQQuvCjyYvLSvUSXgZpDnuELNDawIx3VtLc6P8u0JqGlkAqPZtflIKsTAEuOENgfu4RfSm+R4TbQEkA0Pe61l8/dlJo2x8JBlye6/NOAs5/PtO7LbHNX15pjpOr/6Z/yy2FhTUc/2hJ1D9srJhEyGVUjAxwCGToENCsmvc2YX2Ms92qdl0O+QZtKX2/2cpKpDbUEpaBAJZ9PCJuzUwzP96OjqQxiwCqGHRE1oRvtY32X0nUAEB2mvrgvC+H2URyu7W/msiug1KBQzWjLGRQ4I5exWfmp6Y/47amBw1Na4iWnK1waaWksQj1LIWBxJeo9Q9gNaYgZV37M/JFuaMu+lC4t37mhK1Mehn4CGW9MVf/gh5W3P9V1AlDeJYEAPbx+RS4PW1DfLnlEzSopDSWjOSwvkKZFufSItkc1H8gTFUTb/lb3/m0hOT2xaNqdOUjIal1AO7extD2bdypuqYCq1chRoFDB6qqZ750sNaqcSRY7HdZakXoP6MVn0CN1xPk22eT6I4Kvgn5k+1sq9elVmK6vUQDg2DreehdIY+VqoNQwx6p3KPCYvceAybsnHdXIp8IGD79Gk5MgKdXSvhFFhtH6OgUi2SqGO0tDGArYZb4lkd6VtzDw2kbBUGlbmyGpzCQClUW4PPJ0CW2zUc8fzuoxLYnYvsLcbZ+lsJwQgJx6uBbkSRLTvvi8UegttgSGrZmlYnWsfxhbO7qai47tCzapIUbZiBEszvLTcnQ1xf47vqQht7floMIKi77f6c03AsGy1cmdWPXAjCEUrXapm2zaCFur6iN9oF48yn3ItWOjjBsgbE17oRXJRrqkpG7GToUwQrbqtEXhjD6o1clnK6pt8lC8NW2IlGx0lykCN67aMUZDFX6Vf+m2RwqwPOn94SDxrheGCr2Wmb4ET+ZoOwQb0LeJGs4nYYMrENvLPkVcKphIb0mtE0WkcnnoLh+5FEwRW/MAA0E4xGyo7PIOKUDxP/JDRXqfX1W7l6IJdzon3hLfamTkSmk670hJXifASijDniE/3OUU1hUMb8Nla/XJyIARYFcnsdrbHMEEDdA/nfnyBJwP838hQ/bCh27hX7TCjjkeNsugVyFB/Hc+XIsoddcR8nr3SOvapWmqnrEmo7KlzIVPqcaY/VPO8hhXcZlvn1lmDAW8S92zlLDNLNMjbSxBPSIsy1CI8DK45QGrgHuTbAFR85sKHHUDe0FcEYy56WEJHPsDs5eP0HW4Sy/Amocytl7i/o6v/th9ZwuQrDxG1+Bd1lJie3kvVoNuOQ3WsynNLHn3/9VFhamTzKCsYh+bm9nCuk2pkk45wyvTaxYvhkBffwx72kWVCQbQTmYLEq6iafzAGPstFPLMTJdbLTnTXwdilofmUOSBhxmPsDD5y3Z7Nt/HPbH3qUQE/Do671WxcFxsSr67Hf6NKIP55FdXNjOmfzXgVz5HU4VSPa5Kb0WvQBJfnfTpHfRceCnisfDieeUDiCd+/HUhVuLDpvFuKctBF0oiXLhh4aRZ3c/tJbY2M47lORya8vgELs8PDKdSPDNOyDtDErLEBEwG/to7L7KkjO8dTi8Vp3y/Z1X0bSSSeMNNbiW9/XCteqD/SAynEEXd4he+a0vVX40JO7d9yVl2mtO7+AqkblEKH271kr2s1Vgx1ZO0w2n5rpIAd321JIt6nO0kq29Zp4MwvTn+P5DrkgYrYvoznH7EyrEZl2VqcReD8hiTbNaCa9XgGdfQBZuZB+VXQnRtR0ghzMeG/XrWLL67z9NPTD1f9GRgkRKiU+YjGuY37g2U5aW7TJKtUwsdgfT1NPyvGVYO/eC2lc+9wAgNu3k06r9/K7AMYPtoM5S5fjXZNFrTzqxAGSQKjA8CdeL3D1EkDAhU+dmUGFUDUKllKTYxTFap+dIuaPYXgygPNE2fitr4eAm+w67V25OIDCnOVjBVtgftzaAHfTl4iKIHTn2i/cetzCVccBYfQtohivs7FAC6cOm2pkXX84AIE1Yb6UrTFrsZweT49MdLGe/83P2L0jpP87KJ08FlMA21vdeTxM2sqrOkwXrDOQpelpX2WOjon/hyX38sgLvWgJbUMyirPx0ybqFw8AJiBT/FoGg/U+pyo7loT2TS/dN2e8inERJyRMdSEJ78YPhgdOVmLVpY8gUq/8n8VcKhtzo7zLhoHjaVnaG3CeJdxWI0sX8IJMAsdYuUuFjBBo9kQ2/jH6bLAiVAAx/NoPKPv9XGnIXZ3Ea5UwPpcZC9vAL7gMDg8mGPRygsbz7oKA7NKjGsG8J0ad318CNoHwl+sS+eWXDva+kZj3C4JOhFAydLh1nFIDufmnRJT4ONDouC2lbDn9/3VvgPo7I2uFShDsr6oDgro5NzfaiPVhpC8NGEOqLQk3LBtLC5Wr/ZyoO31ESLtJ0tSz2p6dNeGpuORusYoVe9D0iBKGiruZJ7elVf7dgt6LPnubmNYK0H8buVzzlWIzKviDhksUNTDKX1bxtfdKmbr77eyEf5ajpb/yKS3v3biSoh5Y0lbGKxpueqoa7uSTlSO0Q7N1V7wZLEKz1eOj9QUEXUyegChqw8VEej3B93WMQPOSjkwR7xrITwpMAsazshgxmqbdmuD4EU6jRQNCbuEAF/1Dhmp9KVUMgT8inKz3jdHNYhta35uNGPmrbA5imLeyCvYw8dm6Tn2C9ZMi69rYcsQ+vMCrGMbdN9cZCW+qsRfHWmvAodAf+VLyia+udZO+hogdiQj7Cvt4XSYTmDy66+c1b1dl1zabj4yJGuv+CtBHP+7vWCcv0IQ63kJHYREU3gRn3C8bOkuvZCy4w/61cyFsmXcpB/d7JZdQm0cEYaztgbKgqmzZ8H5bHQhmZIADIj1AVjvyWnMWkqD08ePHyMJN79oiS3LA/bB7PnsomWSkH5ObtXZqfoIvTHNsqddigIdLXCcXGGDbndEQZLOoQ2UCMq2wW7zzhHu1/Wd7Dfq0Tg4J4/4qNpGjJvKU44WhnLTOtYBUaF/xwIiq9aO45wVfYG8owTU8eZSEMt23biCs1PgVOhXegEz89ePkwJac5VjAcJ1be17oRpZMY+GKicAg5BsSkxnsbC6Fy5sfUcD15Jo2wfEuEsja4T7P/D2jpNQUIubpQMplF8bT/lgn7wXupUPue7T1TZ2H/GkviLFOno6qUul4nBkjff3jRGKNvVln9ipMO5dFOzRh3ZpvHHQK+buVJCf+ZE8UgXmrOEXPip+u8ZlF3UI+n3RqKNCyPP3EYB1vKa7OZCu+CezmNG3NEKc4imy3G3HGkgZlE+b8laNDiqdjRR/2uC3vm6+yZ9d3ngV+NWY4CbXvilIoGH/3gmAZFo4pdyRHjTSGNCHN1tqBz2nDcUiZEr5HxlmYPnMF7Dm4iEwrFWyL10A403abPPNnE7FLn3JZ1UFr9DQk3b1M7kEpM5Xrfs7JWjBuAzdlus7MSP/BVc9VG5QTS4ZCnbWuAblJ6k5we1fjWojguUkADPjj9cKaVmLmokM7rVGRfDRBDHb2EEgtJxTUlJB5t7ibOzZXthd0+lWSsFo7N9g4/slIOOh8ar3nbB1wi6EezdjFljWmlZ03rapBJlCmN4AdlfH1zs0wZEbejQmXG+XSTx6a9QK3JhI83KSfdYJciZF9crHKi3IGO4pJPdv3f4ipeuUd5fwRe7oWb8vAASrDXF/GJn4g05/0RHlTeBKce33UC3FfQKZWht59inLSnAy+Io6/+EsrIBpLWy0dDXsrafMaoQhpq1a/dkXlRlmPdw5vGXjn/+Luos2bapB/w2jk1l3fBtItKX/ymt7S8+zCwuY9ODVxhJTxNzm5TzYYNACh3hLhsnCS0qDUNWiFkrEGeEI4TicCh3Lj90xX0oY99yWH60bidgvo6QDWE0KOOyjDqXzDNTwUJdAlIy8tlgcyVBSWS61TqlpLCRNMS0Ej4buJFaVsIopWsJN/Kvwyy5dsc+PJsvZEiRwoNTSWNDbyTjIYDbKkqjOFWOKuxY1Ne7xrdVgIcpq8jpwRD4Y7Hwx8SG7WkAJnNs6WgapYcE/R84151uXKm1I+OrXW9H7CN+5jnymXkBTiFMpHG82LEOi+uNtwfnbCQtwizZ0A0bse0SqyyX2MZ+603w6WACznfT9rE833UH7nMsss4wEjMxedBduqP76chQ39zT4tXTb/k+m51JsOC0DLY5SY2PyK+Af0FGRhSZs4MOGV9f232xe7cAJBSTp1lrajJ9N361j261v01e4vCNKULx9IWdhkIntgD8vEC29X3g2XrJjexgZ1uPyISJrnegc/Hvt647vwpE8rE2fGGrMgVTPcq9BDj2yrwTYrKNr1LDqfpceyJ0sdip2mDSI10z/Ycs+OAthojKgw+I93znL3MeO34mkfiwEXyBONkaNJJsSlQ4N/tj91f+nDrabQF99xXdLAIG9wp8/vzb/xtSoFxnduG06/ZrSJCIwZF7DbER9bXNQfO9F+mP/ZAzLWIhYuHtkB2zm4519D8hsWIJJF2e1xP7/JdBGICxxV2IVEZbWr/ZOjlh7xDqZfbmYHEsgxvH2++6mzuULiBkQPiOCynX2I5nt4IuTLiJvVZdqqib19/HEwi6+v948iwwznBmvHzts783nyqFEQPls/RR5aF6HPrAVRq51qTyLWAJLH9fTIR+dF2q07boZ6zmVBsK1E7PkYEJ6fIvjJ27qbrnHOHMoqvtvn8BYdoPzOe7NTwUI/hEfLfLiElQCD/q8FmqeUQULpAvhVy4227OnvaZXXd80P/cx5Kr/GiJVX+sNlisKAtMPAP1wJbFtF2tZmRzDv8hZyKaa4CeBxrpsJC7qWwTIMCJseifD2tL+JGMike73wR7bB0TrcZwjhrhpwRsWwBEUbxvBNdI729cbyvXtEB1m82LPZ0Q1mTM7LfgtevmERLBNVUjlIEthR8eHXi72fSHXtjMSS/fo3/7S9qBER1fiGKKdWdca1zyJAkx/CfBr/I6cBeMTWmMRb6PBwVVtUCoSJG5u0M1yTcmUf6Y2fFGStJZMiiMESF71kQ7eO4IY3CMKFTTsivFidIt4k5ia5WXQfoe+/iVx8z35LE1wfZW9OjAKu6LEap5zsvVuGqkHnyaKKDCaPWtepEHVCVwJTMS7dPZFFstF2th73Ci+yolLOwlwuxfzsyX1QRM8jzjFuezLxWwH58IgAx0TEI8G9XcoXW3lUq3UyHwj4oKUAd3oqWHWvOy6KTpJCTn7DLmqGS5evMhKTUEpUzGU7GdacpCgV8jRbs7rtjfNvafSSi2omRkspikp0gTUdZdLf7DN47OT+vveU7vqXMqdj3u6ejEVSDPKLzaJWYFFsbW/4pqg+zqCxOOHPmG9WtrBUYXt+9cQNn7So5RSZVv5I6hcLKLBZLQrpsxZf/UIuGKAHHB9zIHvFEWvRDvsjGPd2oXlPmgVBV+Mbp1DiEFszjlaGyD3OutYOo53ImYwX01DMSqhwOV1fazDWXLuLyNuRnlZITUqyh7v78vmdiwD10bv2NcXzCnUmrUalzi0WC49GLiLmU9UOfY2r8eBF5NSFtvHjbZd6ypKG/tWxw+3YFwTgVdqrNWw2MMcFwpaNj1NkKCpPf1DZSwohf2hnJsgdeYEGKeAPMHF1JlormdelHBFN4BJCVXASawMAZedkL+u6cATGmWPjtlMa2Sn/BJaViY2SnqPApW26uE6SLK6ndZxzP6d9tsWp97KHhQm2mQA7EMmjsVMc2TrJ2xzjE15gLJcQD3GkIApCpOalczONQXrjS/GfDCKDJTfzCh+3F//8y7PAmWyEBxSldkpTHG5cDgc4RShQTGJyxxVBKiWQaL1fPJxNk/yK2NoCH5YHgbaDey8Hy7YdpIIVfN8J7Bi20PhrSN4kqEFK/rmbe7+Ge0iGZ44+y4VcFsU9VRmJauKODl2MxyMNNt+9Et6I12wGFg1IVWH2zKYFeR2NBUkjftb33r49EysgVk30mUncFli1075juajph1SZ0qkouseZqYumtcdX/JUM2JfShky94hbbVDjQ1xYHxYkwyGd9I2vFILPmNUNOQlW3vAeH3KvUNayBJ+YZWJ3X/KL7GiwDF1db0SkFEqXGJ8U4MFcjGPU0FbomSJ6BWueVFHJGH7YKEl2QHec3oSLmO+bEV0aUNlvZdzhk/76w1jMZfqv/kfzFsr1JfVg3ZalrAM1QCfxH0lgB3V+0N13NnhGwgENX667IaTEdntBIpPeBmjlG0OBL1ltfIcORw44D7sQ1T01Vv5e2yLXx/JlIP5N8gFCsJY0NrfZN3555goe02XwDOgkD1kzNZVlWdNguXr1TLWhDcy/XCq16CRGosfhhhuMzCuhtB+Kn8Bh6HjJWxCAxOWpRBfg4rsay3JfANduqOVtmMbnxWWPpBVYMHFwNHh0rHJ1bAz1Rfg4mkRxcCyAVMHINg504cfe8Doy/dVv50eaHLPC/m6+urkXfMbLsclTarLTfXfI67QlXCa1Z+HagS8UovrcjxBhDPfbOU1Mtu+ONO5MA9HVDqNi3T4dEr/mLHUEgx1YHeX+v7JvGmtIn584wrvV24AxHKcHOLtH9v/BKBT3rJ0R2qK+R/sNMRypk+1uEFzaT/5BrPr0a8BsTKOKmmHJX6Rtm6s4yZRLUG4yOwc03RPMJRtCoRKONC2HDHDoU9SwsubddFwLO0Sa+TpzqDP8FsVf7cc8XCtuW9Js/+Zzo+alRw3Fk5+c/1SuVSF9ytO1lmMmakPjF+OhYUhI4x8EOOpsy+Vrxnj+Es8FT8r/IVU8aMrOkROYxyLa1pyitcPzvbX+KiY1CR4N6EmActoaVDqXJJ2gvIE/YMSC0CGOD2NWYxbwM/686MrQmNRdCvyv4Zqsa80ymIbaoKBZgsXTlXabwUheRCClGuEQRsVzfkrmRQG8fV31n55LVWWSi5bb5gVa3ZILj453FMaBXBZvhO0kT4gdaysbQ9qGQPXIRYIBI9H4s+Kz0kyhO3jrCiyecelNwvJSFgFyVP0cZdj3hAeQk2VTM1JF3iRD0ne3nwog4uqE+Ni95fJCOmz2I7MMyNSZfGHLF1Ze06Vm5mRfflJ3Soq+2UEm+AM45hNw4tcMNFvxhs/cfpnPZ73dzVLcpNUxKPQXatWpvsast6wwkB01+XL8HqWWPmUIOsJG3tCeCL7yZDTCUeDhPa4P9WRNRJSlw4ZsxTw8Yxg8c1+GUFUKHHU6cLVAivRanm3LVHR7mzmfGQxjb8Akm43DT7v6O7abdnb15gLmHhPi5Cw/AI4P5Vmzalz4v54Np+lU/vOEf0x4Xe3b2KNUPSFtKcCvA1qsLx1uq+XsVSVmZFr4XUxahfcIuI+BNfmo8vcdEo28SvNM6iJNpkvJ92YIpL0/OSl9527+BvX0IqfqJeBLiEcGMBAKPSsqoPC/CGQOAJFH7EkRdXX3dfb+d6+I5XDFNgmZCiJuO5ENbTmxFG+CehLmI/qyJtRATEPxJwJvlwJmiwaEpItaIAA/x9ClYVAL+3VXqN6cd/xdBHz0J7xnP3QPF+yQ8eeioKKUqrIY749PeSqBZ0CzIwXFlnp8dnSOEXu+6W1HzliSWWryRQjLyWV9e2DcRgqbbi1f6G6uqc4R9nwgr4T1F762TB82QdF7rH/1MUs6IzLP86fJ01P2gxRIAk57wS/UR0gedXsu30gUMDRXtOVETFH3URMQcsRt9Qm6HHxqOcCS79oxPvoB70SAcM7pdhewFXBW9hhzvjMuKX/MnjeSqO5C+3gwcNVv+HliNv2crLEJd/wE5LJTJ51eCp7Dxy0BN6Yl/gnlh+Eq0ALTxn828gxhykNt29os0xp2AGe7D8OAk3mUlMgZu4K6nopwdCgBC2qXkwlxl6b420QxrOO0OVAv0uPj0InVKoK90cHWtrp1Tej7wxPO0NVqv6Za9fgIjFxtvmPXoz06deZ7hmGsHt59/87qBPGAp3RMAFj1faPbe4idGPlRaxqZDGBzqnvoEudFtxyn3z+3HI5ndlTUtYMkdMFOcl6q8Vm3bO5DSZJSMQMFQEqEmSv10jPOzxcfamxs/kYeSE7iacZvLdEwFfbaKAGUtFKQJ1dCCx7VG0HaCOO46j4d7uKMl0Yv4a2ttQAVhVRjsWFC+QVf04hVBM5Zw/DfVpL7PCrdx7CPhVBCX2ilSux84StGhgAcOmjeF2kYWRjXtBYnlHQzXKeMP55zIvW+eZ9iBuzA9Xk1I1qrJEYA3OImTIlPMHIExCQ+wx/uDL9KRaTTiaqseow+QILgnvj1psGLHh1jmCu4tPXGg6/c5VuMMT03QFoD08xxDJqCU7P0t4ZfupgZwXaafk82yzHXKT2ig8E4i9jCAjMjk73wHWkxQft58cL5CphOddaacD1fQKmOzsJQDXjEnbA8xnJIGpd19S4BqW9SvFLmPxkw5X7w5ufvlauSkxK7uDg/XgAdfg9U7SsyGc87Z4AURqaZfcuEa4h3PpNKisIv5MmV+5fxHO54Fhf9r3qto6Z14GEDIEaTGF5p4B6950sxKrDbl3JTPdkFZdZuZevbFMIPoWPSlUmQmf00TsR1E+vhTYxDtp22eMJTf8ZdHgSV+Aaryh08O3FmKKTjL5/geeFvUxml4DoQpEj5wK7Brmf7VD6bu6S+f31hVfv5FWjFx87P7qi4yGPuisxa8+Hh7YtyODFDDonM6ZKWtlyjyEINtseJYDWgwQzNe/udid6b1+VZF6qb91aynoVk3MYCkB1E1ia3+7mR+HTA12SVxh4AoArEAukE2CVgMN/DaO60OqsHLzIZp75eT6OqR3Juxbw0DnoRoyjxoIpXw3IddsCSTiTdxgDqEheJxNvEOTeuVXQlp2nQN2oEDhAE4o97lwNejyHHEL9D6HJjBBul575gVwk39n+jB//jaE1c7AidxJ9PjyXj4YAp/FNxu5y6jbVVq3w1LrxQLnMuqBI2cuKHtTjHqOUZu6pA4lW9PAPJZ+UgJnyqLXgyfsJndjfUHhVRgXyrh9I++uMZ8R4+iscafg/I8aqTYvCReTSIdILpqgzTwoCu7U5jUmGeDHCSwG+9gSq/7mISQjSLBIE9gOd6Ym2yKhUUWlOBxmzIl9yw1aGJ7VB9vjV7Kwl8O9eStwXvt70gaPgWgmny/z4CYGrxQxq99GS2YPq/9aJSs/3INmRduCmoyHRKty2u7onA6FU3JPxW/0zIN1vQyZgr+NhMScgr1kX/9pkl+BjtFQX5wJJnxODjae/h55ffGiCI9sdOd4jJ0+9AxlumZLLgoFnBJoeBKUHW83ezmHHxAgmfZF4VneW1WqHVK0idBL5Tk8uUWWit8dng5/N2wBfVqLKnjW8OWp4VXZAWjQJPkysOrYlDpQItWA762ZsSLeepQz5rO9uJ/GWEPwj9NpHD+MXh2C1lAe3ZucyBTrFhQpkDOwlQWt0kI3UlhoAmX2gHYP6iU9FeqZCXp2mDw+/kFgDVlvWurzC1GAsWjzjyfmexI1mP939XjTOsfoAeUpfGkT3xUgZ4SEyThjxW4VEmqwbbYWAC7LfmZQ+FhXHRRISUiwNe0KIdQ1DRzLRkh1CmgzBOsfUbmHT07L7XgL78Tc1U0UoJ+u73fEyGw2ueQFiJQTTVhdMy4hkICQk6SZCL8cusEtLDJoTx81OpX+Yj/u5iFR4LtEba8QaDhyH1DsMOY81Xk5t9uftWV7rHZZQrO8bIv/+oBxAqEwIjHSuplbfGluFnG73bCAa/CD4IZRmFruIF2UF577uhgQIEP2+AyqXPWgna5x2xx7A2Qit1G9It8Yhj6ute6w8CuhMaKgE3JelbQQbsCy8VkHSMAV6QCZiOlmD0oEhjifVh2yvutQp1LvsYd/nF8FxA/ZYB7JGrR/gBVDQrMDNhZ61qBozNu1Nipe16U2AU9oOqF9ZlBhUH41JoMuYLFiE0Xf1GzPwgeoJ/KfuOWz43pt7ARFqm4vBy9SYvTJq0nFCy1xsdKwFc2muvAi8zq9WHQDIAMQSiIfoRGW+E1FDCgDcZ1G44O3TqjaXQzx4S+SJj+2eaka0ZzKBb28o3aGRtBDn5FpoRCSa/bvcHGol8VMqNEHB8yIp09lfT1s9hugpviOg93rKuZh7LHSseAF/+hW59yEgydbiu1rMy4uNBe9B0Qb3b2yuBqRdJ99/icsghuvjjFBv7OxrGv9P2Ik6zoe+ECjNleb9AdsvcORIibxaHjIw8IEnc2Vdjz0w6pHhq3efFB84W9CED4ByrRfEYcP4idqGdlrLkPpux9C0y0Gi9IK3r6jAeZ6dnsI3O7tieq8vdt9jU2mQUfSF2FRCqqjCL33SZG5LGbYrH211gJdnqhzRHoBKvg6Hv6OueOe/rfhJIu9ppDcVBMcyscXVSiXbVXeSfwoQL8/5yAxgvtvG0URF4/XNaACNFctWbVsohr8xHFlCdLxciEea5cqadNYUaiI0N/zLon/zX+7rge2wEj2tZUnPmYbtnrz3r8MnGyPzg/2nkP7wJhWPiQW9k3EhByFwqptmksghJhpIzad+QXZGo1thMllpTWeG5v4VKf0cfXyDXLFDz0Unol+L3+mIU5ICVlLlev7r7kj4a3pQUefwYQbG9iOnwSkHAQq+je0Z6bjsKSYI8RKlJKShto0j9CxHAgudN8OQXTspZ235At2sceUl27AlR1xSNYpxe50UWLYL/7jxq+2ICkE/f7kqVTawIfAoP1vhFvGYa2ppGqdwqgAMCnc/FpCC+upg386Kp/1jieDLGcgZGIc6gZSezEeH96RlqzsRp4F5ne7z5KEpDIyb+7AlR6AzbBUdlo6vF1eASO0IpgxxrS60hZWX+dn8iarKiedIVq/JO3Y0D1RC//sdbIvFkgRLk3rNnpdwIdDhvho6gzCAKJqyUvss4Cy0Cpa0iw6gV5h2TEis6MgQ8LyHgDMkPSnlT+t++qIz0jOP8ClBp/uqCmf6/J95pFlq+je+OeaN/8/ptEq3ZCPfZCvFeNdU7zRxIMpJDkuNrMfzB0znrotnPvtn3KwlMLEKrvtVgk0V25MeewG1N0CJp0pG1KlcpTfIolCpSlKfyq68i79c76Gl1vhr05DPFvNZM/HoDHKfGHMkhuO4YgiyB+j7GZE/e31TZSj/6ceVee/FKeeyla0lkgt2yjtH/T7Wu0k3D60L3HK2/YX4OBycxOTZe5crvonFt0+i4L6QemH1tc1zvIh9OuXN1N5kJmpKZDtZbnT8i35LeWDSbHiZo3o5w07ARTqBUOOd9sBJy3YCnBl8IqAxFTgciQsEi5s3yTSobtVxwAJG1ox78eCw4zkvUI0pDq+10PF5eKPA6Nb+8f+DW4ubilQkvs9zAS0yCpCdcAhuw1Hm1+dM9IcWx4W3o8QG3+VjlLlzitzg10bDyKGsAPxtCgJ0B8G9Yq7499tOdjlRuf//ooO56TeSFtHX3yZMqsie1ZBquyWwJO+QOSdpzBk7XCrJuJbmWQujdIk+BFVvDpA9mPvbuamO+UX30QGijXcYV4GYJfq6u9/0EV0GLpAMgp1ub+gJdBWMwGjuCMBnxasdB42qAQDWEgfD1kDzWJP9s5i6Rq7j2dMNfMvfUzioF+LxkjwO2o2qe7SZJv4UpyIQ7x354udyrHYDyZBkOk4hpBUUIoz4snUZxzFZsmQrmgzp1OAlqyAh9ttgsP0DrM6y4T+69Pdb0yEl+EOyXyo7gIgxV8MvjqxFZ+4OS+OZAA9qEUl22Vucb1cOVqF00KUSe6zDI/cJWpM0FZqVBBWRz2cx4YgeANOlIgtc2gvmBmq1f9TPIkJk5KDhagQhMyLchPVr3q1Ct0bSYY6QFtrCWiKfutEzRiTYBz6tszpAV8xXGCCvAd3W9M01h3xpQNjGGiYrtEZdxZ9uxg2L/+9Pb7Ksixz/Lkf7Tqq6Cy9FO/nXQzP1R5ikYLQBZeviFm5nBuJmSDeMFJvSgswq48qBhzHOJMsazjnJFhhGvIBXciP+FDlBknpEmff2sQugCqf185qiGkHiEA7ZfM/IMO3CyhC4SO7cpBGmPbmzFCVFJ6KSN67nWp3Mw580v5+dLQe0kxs8cmLYBs4plDvnZpGLR4lwngQdXHiqPYAYIS/gwmGqRbybgSTn+xj2WwTUqcxOJfxWLww2fYfk71Bb94/FWoSg9j88lV6IjOZg59iGVuCbYY6BePAQYbQFFTlfMg/YrYHFbDG4T2CbZswwLVLbYKAqBqMprPYnrra4wIxj+NJ9HHTiFleW4ASDSt2OcOu81cT0P7CvpIiz6AdW1xfEMibr6o4o2/reMCei9ypsqzJFT7INKmwMPVW9+AfmNhZNGZGCrzkDotUnlGwK4WreM6CYxSRK4lsBcHrVcjYRirMjddqGmOV0y0Qh20x8b51Ttl6oTDCPgNxGNlutOBh9wLfq/AebQWVpi4WtvnchAlRmugmQJ7Cv90h4hLCoKgZw6p8OECuztOnlaBvU5bM7hJsVVZzGdTajAt/++6atO53wWyaiJt6kPqbdPXYQLxmBDF0whrOzldQUlTFbw3NEH3rxQBNa1kuyyQR9TuASpy0BIKGHCkXJtmrsxPsa3AGS1Vy3biB6Be0hYI2kOrhB7kuKTpn5Ed3GwgZCaVC9+G/as+ELL7ronQPnifYN4ah4IF3bxizYcR7A7NOfSI+uZ7tFpx0npPUgxB4PowzPsbAHdQU0jU/4zBQFO+sNpuAddvnr0hcUyu3xSG5TQqQkW8veIV0m/ZmQur1v0/i+fbJcGJFlVPcM4goQ9FGftWziFZBkoNSKL5BmLVMkLLSB93hpbJ9S8QBnxsKNHck1YMqSrs+XCxA+OoXji54RzKlYfUL2RydJpLTDvXz2eJAKAHIQJDD3MvsS1aJ/GAdCbI5LoJ8Coo8oorEYoeDqX0j9TwuLTyM+ZSzKS8KaGZAZa5dRAyLZbpkVty/pbTXetGcYFAm0v5xKVHTNwlNS71WnXvVEpKPxrByTaOs30GoaNjFzqFqsf1MA0qUOCbLKZpJ5WEXQ3XwSx1e932yJbRsoLYLEoWPHaBq7RNczJPF3WGSvg+VJqu2A68l19NRlaS8KLp8SdJZR5tkBmF4j9pIf73vTPA7B4EvYdRhgBdequ9ZXwXzTGrpiWgwqFffqOhfIcSsTGYiD37TgvBoewNq8GLpkgOIoppiBgrd9GYd24+IvpWhZ9KdUzLO/oYyRIwORpkUunW8l3+Se+WKpq8DF4LsRtz/i6+2+8SJV0Ll9/a0aSvCEhW8nxIRSh9SYMJY7f1kIqy/BjXf+yf06jeD+QPIYs09TM5MaVKAIHz+J7bUs2lerjj751TeyBkr2weLiuGmpvVMIyW2n/Ei3uCbp63d2TqDDP1+IPeHl+8lbunrSrnJuT9ahBgVsY+J30REU4hWHTmgIBbbGeug5TvyAouHmIqDMeoo+nqR3eEXFxRLPESB2a+MpwGlJHh9SvM8olxyB9vacBwNmySwBEmFh3y8ivq/TN9TD3QlPhhw1qEMI0CEiuEgM95oLTiQugJkYfubA0mJDQRTjjlYu2U9lSGyGp0xpYby7qXKyBOR2rd1xtCEW43waXWeMpKkv/6njgCQJtz/s8fLgGdJ2uZQK+4B1i/afHesG1luMzsemv0DQ/UQoBtei7IaYT2bjzRMf3UvC46PsWu7vyXwA6nTjyt9PmXPgwk7ocR6jSl5jNg1RRrD4WEGPACTcp2MEtnXrPVXDLQvwD0YlNx6CzGRJo7T+U/LJkJFEBkQ6RlcZifnkgqwp4Shi1wEf+xLx9i9MW/bldc+kbHZxklGcqU2mPpaz8W3+2i9cZ/2FaWQa18WpekO/adpot12c7UVMsHZIfaVTIBFa1DQZcWYSkBGujztmOH/to1xTokdNRX7XA0tl5MfaOmBnmnCvMxPC2hglMVjPHH/WgZUICKKrp/Hb1SqdDlWSS8eCXCq5g/24VWEbIFnDi60dQAK9kTt1umwI7UpJCHJ8ijTD+ss1+LhU1KqeLfzZ9OasTHRxjIRsYoC1UaeevJdmi3prQRkOy+m9Rzt0i1v4Eso2f0pfyOo9Fr9jaR27E1zu5qwMY5sW7QOMQmfC61YZyCqOSuQQdawZohOaj8tIPZ/+RQ4sxDobUmb0ZVoDWJ+07hJ/AJi1YGZNJ4fR8LsQDdbc7wjwdFC71sJFVSrKR7JoyoCJeLAe3ZhJYroI58RcMpKX/6b+RBKGCqYcF5woAKsDNeYGdFx2GxEykmLEBHZQpHb2EjhXLus46SfMT907T6xe1cz2QY/CFt31/mQaquI0TntBjw6JQ/OUwdgurr7oEgdCPt4lv4Bf7WiH70PFUAgVvmAmmzSh0rX3QeY2zy2Og3CUklZzHGy9lVIBoM24a9a2lem4O9w+oX6BsBZPnNZ6Mep7/3SbkJHqB2GwFIdmSEXv+j2iWmnGCvqyzp39ykzTBu5LixD6o9Mz6eZLtItC+lqzFsaG0DGjxqsyhlh8xpWdn/X2Gf7KNfp1Iy1K3A5XmDI0QZCZ14js2Gl1i1kEtsqfxICz2tQFROo+YOXKViTXWZX5Q9oGYAnGEckF63JuNfCtmG2f4KJmLWBTKgillzeNWMzBl+jLxl0ScYcAIEjKjgHXlvUqahOdCK+gIYqLBdP+AJPISUbtjd8vHegI6KISCiqk9LMK6yo1sXiCgyCS3mB7QLk98LLux5RLiz4+k+GJsbkq2MEf5jKwWgoymaR2081Z5qbxrobZnfkLQ6NirshRt+oMIoZUHYTKA1AVVgRwSgx0cqwCPHGaVlPLuAt0WduwoTUs2kS/CJXsVEq5HAX9/n/KyR8cE4azN54gabmllfMVArC3Xu9M9oBhfmr4rO7v5+ERXjDo0URFKiAy8CPChVOyIPaNNDWmHYFLYwC20oDZfMLn8hoqsST2FaMn4h/wE9YTiREteow+10vgHzAtFiDQ6OZ9EvyvboYc0ro9fwVpg4Kb7ZZIP5UD5OieHJtm/iNzQeszW/Z6IDUhOKgLNlw/0BvSZ+7Z8vtM1ImbtN9Qnf7sHecpQKtLfxw0hL0iZXH4o8nYdT5ySybC/VnDueqGDOfTo3tBzCtqt9+YUp4cbNRPrcuXR4a3o5pPNRlNYFm3Jka6093xu6oZ0IQVDpymM/8StVKr4zr8FFsdrD2RcvFOQnNgQoiP30VYA5GTopXiCHQB72delCBJ46WvgMQSVmHTlK0iX+JGr6WfCq1O2mL0is6J8zfOK0sMMNOSAnZ2KXXSHpRyDRO/dK+Dzl1LYIHHk6mYptrmmgKuKPEJucpftTweDHBorBtA2CzNz/LetNn3/CoJTEngCDHLmPsmTuEJ1DLkk5Ixsv3EKl0l3v4uON6l2esakIxQCCQf0uKJ97vNiIeGM5ZAgC8fmPP1Q/zpUh2LgllkkJa4+KmUxPLTNVNjYjVunWPsBXCY+elWVVUX5kJzkHoaHfPRIZubOEsafeYQKiOgRNsJDghDX6lpdvqVmvYIyiHQ5i4b4nY3/MEW8h/ezym6ZwqEG1YKtu1ZZOfT/ad0PWPsT68ZvbQORwRTwfRQLOEKLSpLR+sc43VeSdbw9pVvtpoK7vxlouU+Vl2h7+Ys+Wie6ttc1+fSQTntjdPxWzq2swfnn6NtXazjydA7VwJNngz2edl9Q6kIpiOO+GraLsmkByG6srLe2Mp1P/mqyZQhdMh6AIPhZUFVcHAY+0xJb0fN/uce1DvIramx4W33GPjWvGv5Zc3oxAkA2ByVuetOsyvE1fCVP4+XBSdpynOLkVu79uzY28X9Vjpi68Wl86J/xMU13ePoxch3pE2hPS8j6jRfUJS50LF2i79Csy0lNgk1KuxtvFzUtP68L+Wc87cyYZ0PlWxkFtKAnlQsOcY3mwJ0UTVKhUWVHGfykORqw90uSVzfAMoPmSPOeLluErjlveFGyAv6e9JwC3oGhjGSQ6sWGP3nycETA2PdEIJri5SC1OurLZ5dZuh5wZcK9loSFdbApAK6YoCqoq0fRcsd1n7Lle8UD4uKB+Fdf1PBs8hFmstmVINm//71VTKR6Q9TXDaSHoGpGaXvucbI4C+btixzNq8svsc9KTXirU07qh+H8sWC/CzCeQEJm3Zf0S2z2t1y9lZAwt3aiIO6caVzX01PshYL9UxJ0DekHCNLbr9K92zcvGGbrHItx/+vtE2MQgJA37tmjiY73ZkXrxbEUcffYPQAgGg7ZHe5jNg3qr2D/3tWqlskAD3Bd6eO9rcf9kCyCgpECgoGfl0wFOS6ozWzXlvHexdsuRl7j6zeYgIgOh59Ehx1xSvkTXOGOBRJeHu0N94avJ3C4/jivKiz+Rv9xZyvf1PlZ+/pkIytVjOX9AxQzs9JCE2X/alh97XSZ84//hBlxlAzPCNOFFbUy7yUxQJBit850z7DsgiL4zTBWrU0YVjM4rUR2rWIkt+T9UVrUYucIMF3vYuos9wsLZOz9rAOWQPgBn24cP8ts333nzEsWjwIQNdRZtQzojbxN7LbquVJb685gw5u/GqZEiDyMORlbd881lTnsMRlajeU6mc+1pIWKv14T25I5gRNWruZT8DqUhcCyhXWswVlBEy3UOwxe6GNpGC9wFFxfOx5ysAwXUXfhgaKLFstos4ewQEZqOJd9C65mAyhoxSkP7GnD1DLuEwiJAh06ijfq2H9MzLAPnK8qrq5bzFzDlFy98+hEzldoC62OpZz3b+lu7Vuk47CqazCAK9/J90QNdnj74IQFqHGSUiawjSYV1cPtQm01yupU2G4iHaE8JCFxWSdyg+ofbW8rJ7YyitIc9uZdX7e1rOpC37wCWMQQzZ7YSdkzxQFFh93L90ync1U1y5NTuTYqbM3EFr6wBOHj2eigzH59hGtnFTF9Ah4PscycN7F0kYBGLGyDk5A3ZiivfXtJ0mFegfKe/wBPUS2rBRbDCPPNB/1ImvOEfmaNymWaSuGl/tGwo0WdA2XegPkL6XWPy3NGtZO7TycoEfDtEH1+glfazQGpzskMNBiIDfolQooK9T4aYrGu2KDruHG0eMWod7CBg6YrIi3hWOuETBkf9ljaJJiB/ZtqQdFCsPD/PFl5OLLtX2GxQIKnmNtGRw+AEzWHNnEVpzrzGtca7Em+6zqY4NLLztznkjxNSTkJmwUhuVkTmhoiQrc8EBN/gpWFEXOiJC53nIuCbwCIk4IRy3CCoLNPsiP59FcBzW6SdldnhoXTZxDTEAjYsS9uGcMPYyPLrnMvRmzmmakmhLOzXIon4+5GdszmJXdlkh2CtxReEp1iI+76n3XBHI9BBn+Ee+rGglNN1Vu9WHxpyj43PO3bF6SU66F3NB7m/NLmRG91rq145lsOGxn1t2TdWNwm97dtumw1cpGQfkV7hrlWuazJtTvWTW1o11bW/Id1q32yXT7RdCJb8quC70RyB38mHKMiKNPOgMlwNkRvY495Cxl2nD/+809fTf4ZRlle+b0nWFNM0UCD+6QEwYUfPREtWbQQjcrwzK4cXYtgwImes9PYr4IKNNcKyc+hF/FdY4Lt4H3+eoLO3UHXh0bsT579ABi4PXOpYR0595Mn9sNxHgH1lXke8Cb8NiknP32qixrPpy9Qs9qP4wsFfhdXtymkNWQJvjceaFhgzb+1ATFt4uvlx4Ws3xL5bL4Nyr//Nf4/yEEfGg/9J5BPEmU4XkIGfU9VNJ19qlXKHlGz6zod9zDG8zBgYXfJou7eQOk0c/RboJv5mfiQeS1Q13KFalCjJML8Vaqt9PFRjwKbheqia0UQY/dQzq/STLhYCze0PTzAXQEecgPmc71OsLAdh2UGLi8fqNYBtvmqWgrqURNJZjGr6lous3TdDppjWBsBBXrQX13rDUPgfutHTxqXk5Ee3YXBSuudnn6P8xhd2L5Dh/M/4hDK4EVE2VnmLoxNLC6h7/Neerp+mYlZLN0en/L/SzMiA9QmSx6CDZR/uuFVG9YA2uRIJJjTZZht433wsIoeMKyRfU3Dvt/rauFxOaWmqTUkUDqUHXyzkmxLQCRm7AR2FrFf1od5HEH0+fusiIpmpOMlD0lHjQjf7K7ZGccQnGb2doF5CXHfEDuLX+2KDMywLQRmT5khPLJeV2Q9JVDiVp/GhwWtMWWAvaFPASA/bNB3PII+7Cbu9Bhnc0rN4SuwHXsVZmXWZHf9Pg2JPUcxXVqOrf8t8UbHJsTZRyqVSgIPmmsost40YrcNkp/3/yd/kunrV2w2dX/TCp4JZNWgdnIWzDmmvpKKTdI98C6ekRsoRk676o0Yqh9fVZwDw2C5YMYe3xKe0QdWosmM99q69b6dxl57BqiZ03vOWelgYBfuRxgPczjnV7ZKwfFunkfG+02jhuZmIveqg7Yit/Pu11mK6I+CnEZFTH2XkP4cvM6h+e73VWmQ5fmIoEaeG1t6hnfcMx5zOAADPF2Nx9IMQHsw6ITwQPWpRaH+Bl2Uwv0N5j0Idq92ww/sqjMG7XfnbFxsu4lTApqASOsdFnZeVMGyjnlL20ynEhKxqdaFB0CL5K20B/nk3fXavM2+G9Ui6mKf7PEg8QUoTvahBMkqviehouLtXVjTG6FihKyT3rYKt2f+keemMcdVXWJHXCeS3YS5tbTc7jp03cSB2IFalTSkp9X3goZz83U0AMvqtG/8U9/Z9OQQEujiAhD2xDF9QJZ9CiKAuMNWl8SrgYW5B3FzNjGqCtSaiGPYdNLlqDDfWR4rw3M0gpnk5+qm6gIp+CcgQDKnXusXRjwwmCzQunENMX29k9GEj3KfWtROmpDVmelKcim7/D7mwNIe7Aiw5N1gubq7cj+iisQCWE3v7nWafJ9/Oz7SFV73sr53CvdZ7F2W5JpXxlXtEwJRu6/2jY7FBX+FUE1TEnu81TR6OWDwtstzW7UDL/osLD+gmv30k1PfS77aZFgnn4Bvvg27wTtEwn6LG6LIuaqxZx/rBqBarJ6lvxBmbNdfhiOOL33UVxUbN6AMAcHzvdnJo1noRBQ2KSzIqaYKJTD5IyYiuWjp8fvO3HAnTmk/T2NkUPdVROBhPlxlZn3dsxnhaINd/mgi9qTxONr3kzAlgMpBYYGPERBGZyc7OXcv6rsz5PxPvJpQ2Danpdux4mUyOBg87hrTC/Nk2H4OVKM8t0cEcGv0cFSpg8vq+GM+E4xNxFf64p+9zNEsrijFgQI9Nd/ydIlqphHE+OhM1n/4+09Aq8FwGIV+jMIZnLhOEIHAoBLSrEqvi5pNhJKNqhlK0kG6Z/TyZTqSoG/lGtPSzReEniqOp3oYwWGg4rHGnPaM5KJuOs1Oo9FT7JqHTcypavsl86K8BGLdnk4lC3PBNmwAQ/TNytCkuNlUlROPBol8btWMTGY/XgxX9z+5z5o8CGqdCxlM6/Aqa8lKfO/1vLm1NPalOzBYbDxQIVODcpV4541RcLW70/9kI1oBmmXUq9gOkpDbRxhPbIO7rjSMVgXlaSDFo5PfZs1ALsVs1mC5YtwC5aDybCapW82/2//IuWu2qeOxEQu2XLqQgtg5w6jUvPRKJ83qNa9AbeRMVcM0oFqIx1QrfnmAKHoBhBjdGT/3i1l9Z4mDOWYdbuWfLtoJ7foa8DR7bmmy8Xh/YpchRVO0BWlJNlXbm+SWHf0439jv0/5xVGtps7vIC55If6hZ9r1059Sh8pqUQJrD15YLTWV1jap8JlHSfesX/bE9Dv/Qhdf42UsCAYs0S17MRPPy+qq8vRNgq/9KrpatEp4wYQwXIXTEergBUK9Zx8A2bmbSOzscfgY4MK+RvmNMJrEIbLOQWvJ1YzmfF44C6wqZIzBXNDbJy23UZQVQDnVVJ/cZYwJ4gOyg7yJwNy8sg8urGk/xvGfQKMkwxMOTwPBiaLXDdFu26IIg6YQdyF2fCGBEgW2Jvw7UYyvAq6kXFSFOGXdZM2syKCl/uLhVxj6ZOCIO6vusJ7XdwppqjsU2E22j6eTnmo4zjy0kH+sHmgkcFqS5QVlVqUFTMbyKAvLbsh1Do2OvDF3/Fwxb705tGQ5z+10ZG4lRabSiOfZACrR7D0ZvVJflzQMxc58g9z+UzquSO4f1Hjc3mS2VjzyaEGH/ZfSZD2DNTv6Whtnyudl9Pvy/Kdnl8ZYETVsT6VEDXrhJtEkw3vbkD+/F9am/rsYbNexErKg+rna0eLNI4Q/4GSIQNyoTUeBW1NVre7NMVxg/WC7kW4DvtnoEE3ADdaQU90tuIVTDw+XS3qyxe+OfNes7jKGfCE2xHan3YaT8cax52kRZes4aADmLPpPGD9LF6V+7bgFEQNHO8/PkMY84K3G4cPFfzdoF/RekIN2lqeTPAkKDULephYVCTWpG59gJCbFVzOZs6mTvbeY5dlloC1e7xgXo/N57DqENNfXEJvrO5mvynwb93NFgBXJc8erHISSfjlFkCrH9KgQXjH/yd7BryudmWWo4qdKOWFwBCiXph1m91a/CVF/PTNbgilM7OH3n2K6g2UtU2sIY0xJgHPv9pEm04yYVU1aVa9C5qvxlQ/+0bQvc7ORRwEhD5KAGDS4DIXRAEFzP1/NA01Qo1dFBcgQ7mFsYOUc08z8iPEq7yfxHWQaFp4+7N+fOY3o8JFEmRrcU6EbOJ2tjV26gtzRTdFa6A+JmvYzmRcZWXLhWe8GSsyTrJGfSLLleAUJfxOfJm+eGoFEElq045bWPmFH+e8sX+JPqsSF6TXbNd5T0OR06CcAFtovyIujmscAd+2ZVSjfJmyQ3wr6HycEiUwEaA0L50qOw3FFYEkn1YD2CAB642flGYp6SKUTkBrAkwAyrn7wvMXpr8+oTG9jwmCVJ77F0kvOLP6aSs8aDY8+DKuuQx5pXd57ZFHOFL9nnpF0Xdj051ci/fz6jbbSHqS1x/tgUnTE5jiTQ5hzg8IwN9kDevHfapkZbZ2ehzgYEAZJ7Hwy5JO4fOwppm6J0EJU9gUCbvb8ETbx37zsF1m5VUkamR2mJwLgrhPJNJsjtAq8RUL/TQPgIjcqYjkXK1B8OSNCsJghyy3uooJOX3KtOzuEsbLJTGkP0e0KJDLigmdsIPE6OtFNV2K20OV14jnxM85x96bvv2m5Qb+0ovUfuGKvM1zwynQDPKLxHovChMIOpguRMe7ryVQP1HU6Cx02qFcCcXrsdQAjHingvv55s3VTo/bnHQXFePlJqM3ambbobx/Uq5R649Sv1KVDBGWSOm5QckSQuuungH6u1D2+AIh7MJVDX0Np4BImFp2MW983bic49MY9NUJbY8c2oRqPZTXV9BFmH7w1bwIMtA3LrDOR0iB9OF6pTAKQl6lA5esrnOIP/D6IZmA2RK4RSenCeqxLYdAgfOHsX5FaSymIcZWX20hM4R3BjtWSs/seDNe31MFPJJTPHG+SSRhJlAynU4iTcwv5M1B/886kD+vR3u3aTyVR2AZyhfxwuDVV2/ZEu1URUU2kA3i9o3/4KRVRwv0RgIzrvSDSv/nbqFHcoVOA0zTsSzQexoha/G5/nb7FBFeHvYKM1SvnwDzymRiKr8j1jSTUerOF2UMkiXUuu6P+gpcaPsrO/ahp41hrwl5Ce6JUW6UKYmhmthYDwYqm5EPgOzEpdbPGxJ5k45PLj4mTbOvny1vojOrQvysbB/fMPRSpFlKVIDmVIijGpyaDuXWDEXXkulNmt5B8IrCMah7FilxPYBXTAi39UM/TusF4afgV0YhRaNOlSLvG6WVLfvy+ZI2YfHYshIG9LMzRplvt9Rx01mHrbR+17W1c7QRPaLI2toChBcpEv+mz8O1pRFxw4QLnz8CYWfXfmYNIzDpQfTHdyJLFLeN/wLXRK1I2Uu44P7yANwiGudunBtboTOrSiaeX5civ4qRvwDJ2P1i/CfwikzAjqqXWqkXReLU42CqyVRB7ANSbzfpcLoItUvpt2DNFuzkDqPzvAdn7jjjXStOOxJHz1SvlnUy71IMsM75v0WdtDCsSxs5Z504o3EG1R/GkGiKfN0orNDlzWzPYibW5zH+Kyuf+ZLHxfLI7kJXRsakjIT4x1bPWlJYoSgP3UuQHAt4jVFr1WqVh9PGMtjqc3cA/zu87YdDmtqiVlNiinGewCto5JtkcnSYg+Hk23LgbHcks/dkgg4gNgoRuIIjazMuq77pyFgFcKnRYUn5ZirDkifXkJQzgZ9t6nD5GmNSz15KtUiNuLAwHuNPHn85blT0OYx2C/YIilxnrY/9SKqX0GJcdNY5BgQfu1DhWqv3oDNgttZ0yO14TdjPrj90jpD6kfBFY5D4pxdKtX2xrsrSbLBcFbyTw0qkbnjbKZpozAfxNiwJy6e9OkERtFLYgz6LghvG6XC97mC663teeW/EKvLSVhaYWOqf/r4dAmZ6cpx6pAg2wQ2lszSgvnPUm5HY68E+DuCX71NJDPb4h1WM2VU7h/8T+EBBeKwi3RgiVXGEOe+5jlV4jtMkawVi1VPI0gAUTG4iX33FCLSj7d7RECN7+HQlZDW2sShGo1FV4b3Xzwc02lUTH5mmEYPIWazbgaZvi/uLC3r6Hu6aYRMMWeYhN10q4QXK3FxtP2BhzmATsrz0UmYFb112mQTYc8QgYfo+g+aAMIQ/qmRpqwY5/O2pfZ/aDSPeWbmyu8k0VLKNklcrvGVOobj5vv4HMXih/XAY+CClNVZDURqw1ItGooTQRj7S9RhL3vqzGVKLLUl3HYAVRr2PIbGnWqS4kTwPUIqGCx9Bnuajh9rgdvwNyLyOIb/pgn44XELongjRrBI8rIGT1UsnF/R5v96J003L5jEOkyzMlMJTpxRvZR+lqVsQNr75kZpJ9FyESmtjGrF6J3mDkPzBhh4BG4Q0eWddB1K/9UVtmELH3PRfIx35wvCPXcmH3SkhKhwZQgnJj4A8+3TyeViGlz4Tgj54EtO5bbtXTPY2igccMix3oXXw2exCvOB3O1Or+Rs7/b0wJd/jZqroDGlNY27zOnHy7nB0SS2O2ahoqJANSirHcecTs5/DFJfgRCeOZiKaUWcsdALVoZ1Q7dTE3P7E3pg6idVjw7orHq2HKZtGfX5W9cwb20FoK5uVnDwI/ZdaGHoWzUsCERukC9vuj2N7wDVPGcpvwUzjBO3XLK3dNc4Y7UNE+3vi1cIRyKF94cqfDJauBmy36LC3AALccISvNNnq5ArSCLquNQ59zS1ZTziTSrldDRW0E8npVPJp/p2YNgwtjEoCEuL1KqO1n3REyi/8Qbwy8VY4gkOTAIk5r1kBOVn6sGYc4jOGphbpSuf5eGMQmeha95nllRcNjpBvjBU1qf6P/Hpim0IXYRAPOviziwbK7xRmjOxI3byTMVrEhQq5MpHKarRgUY6DdrcqRo4oZmylFacRgqnn4XPS/+XymtgdC99fZF9OcKlUnRSYmEphbIQ2q8pudwdd/tqDYoKM3JTu38Tup7B1T4DjYj4dy0kjjpkgKIOlD/9OtNYYo0u5P9+OiZYYDf2C3LwrAlnToX/NfQxO7ZwzFKlzJ/H04Q8IKQxMxxDPDANZzG6Mb+QnwUQ7tR89ZYLaKr3UrrdwRKZCdUSODJcav0zp/UI5nlCustk9focDE7Tut1cdfouWyGYCrtgTz40biZZ9Z+Xxx+HsdCOi0sXFs988D76Xf73U/Zt2x1Sj9YHS42j/DuHmQR6oO2yTEAMbcc9TITHcL2+Q4AgZSbxZZilHq9/Jnw1ZnX3T1sqiX6JgwMMcBE9pBxksXcRYvgL2u5WQUlsui8qz1+xjzsBEV68yoihrhMOqxRwugF9pD8QW9TnVpI0/zoe2H4SbCDb29We2oXjBIKvTTNrRn+7ooVwwWY34VLA289OF6CELm78k94rwPAtVrfp8sTrJQmEtGf3WEIollJX/L1ywq56SnPcn8jltepaaNRMJN3UeyDRVTVEV/gtvrsZq5sJ3c9yPrphIBNaf0/6t4j1T+0hXzcJ0JCOU9sqMz/xi9LrNA4Bs7D7XyasVOqIevuaM+tcAhf6sEMw8yPHyjP3rinmGbtdSNpvKGor4RgKi6oXTmzLCy1sYPss290bfZ8w/Ip6nTizK8WFJ867ewy+MZEi9fJBDC/UWo46Z7UOqKvVheG0uIb/uvp/TR+Ji0O34tfV9tkAHCG94JJFXDFD7ouYyZU3hiR3ZDJ+1yh/c3uvOPZ6t+5w6DLrq+GY8kJAjcMhCtvuV78Z5ETT8EZ2/RklKlVhAbkGrAjLijTKnfJZT/cFcQ1DietSjwh4PAoIxbfBSX+HWnP8rHrlkA28CkPyH/L1Kc1dX8lLl8UbfhVQyd422FqXAiC9f+mE4EGf+YneqhNeJeCkYY3LT47FM0tJFMItYYPfmH9NxNWB0uJ5OhPc3q01N/AH97H9z53/9lMZDsPpNRFUaweUqHqcXUdjWUlEWZhS2qlAFUz5G+UbuNoAue4hRigljqDPgJ3N9Eruh7LZc9QvItOqELYDGUO51h1OqOR0JXpMBb7fWwsS6SywCG61cYi8HwV6bjv4xj2x4eiNx2HZ+GOe75Ty8F4fAPEioi23IHLHvyFeRiW8LvMY3An8n37DCSf4M+CkyrLBMLK0ciTIDHIYYlbp/8H+gvsui66hUQte1aAtGUQ2LsK4yAqFKURqWAKgI92np4CVX3iJ3iPw4vXy4MVjOXQcJPEVEIzH7xv/h9Ee161qFAefduNNxflAt3sgjt9AwFH/EFbyXLjeBbGj3IDWGYnqVlLQKlvBouL8JPdQ+HowwduUHnstPQQ40nM7w+EI8+0De7yHw5G+43vXdog4BLZL1j1yVWPD5rzQe5uJRAh/4HfPLput0SFYDf18xMjzKqg3ARzke45vLWbAh3sfIZb/8dnF/Ytm0iyWI0KmZKcGPH/tbYD6s1o7dhu6GbBwJFLMj/hVgjpMK12s/onzYGUkxTXT5MsggYCBHw7pSZpMW5yvgNXI2wwh0BmEcEXCrNy1sJtE7lL7z0gtlkxdJPMzCDzgGP5JLUlaX5DDx6BKhvyWDFXro0FDx0EK6lwnJ5F49kUkRHQDtxlIBki0Z0T1KAcHdwUH+fedSbPHTRmvOCfZkRR2TmOy0TEwb886nFQqZjlbC9qQCT24o1+93pzWjr37v/a1z/BjAl185h9RG4xGhNDUAa4pmPEPi1r79iezHq7DwPmH78lsbAiMAyG3Q9WiFzxJJhicpssF8LlypkR+sxGNrFj6oMsozBRrSlTxA0S7SsV/9roi6gDC0KVghIrE3lddzG95rTgRGlyxOyug4fo/StaE4l4VX0/v0+viyzA/dhVJ94voz+1KQVuo5kTcvbTHkxeanOGSYFsxT9pYa02UpaRUncpVNHBoBN5bzJeGn/TDBvQDVWbxNcJNl3+nw/bGVCHH4X64pvCXfCX4DsTXv+JCxYx9A40kjT9tb2mysmtmFb8WwDBVg701RUi85LnLKAyra5S8JpQRegXH3LnIxkC7kbPkEhFc+Kp2Be9bn6xu16PdisEEZWJmjY7dHelJgdDoKwgocoC6Wlw/+bKJZop+dMIZyz4919oN7MBLY3t0xUlvXsusxs6+A+xW+3pFNA56HP08o1ZXSYGdgL9KMxldd7ahsdlOGXSkJMPLp4ICOFJS1B5anUPmGpJF7W7mgNcb+nOIHt7wcbxximPkaXCOabZeOKK9IXRR3C+w5l8UaLYvwsp2N7ocDk8Abf4+/ywa8K/PPlldomqZwSE304UcPsSfg+1fRC0T9MZ7Ceab+T0Mbx4g35eU3UG5z5+cSt7bISFPSktS0zzIZ9kh612Q6mk9aAAPNJKTYI8swZt05WVHTSJRyXURLq/0NmJLhOiumfYzHDm/LD1yD4vc2Lpz0EqbCCvX08ukzs6NlZ//GKvc0goxw+lxLDWzQlqD5c12o7Hy/pmUmFHQ9g7Pz8T1pg7aMLR5IqitRSL4CWN91AcA2H58E8z+lGeXolt2ZKih0/WnEKpzr15aH6F2fdcorS6sIrMbYL2dtstsS6ocKk90etvaGCmvvY07NNBiR+T75M3rp6lBRWdC4MTldjr7k4OAE1Ea0gnKANNS7NGSo4JArMCexysrCgKP9A9eZiBgHHOsJO7P7MCFD6dwlx8k+o+Jj8Ybd1T8Sx/s632eq13JzYatvUZPpQ2U5WYw92XxZKXXduQ64eSdgduhgTCjPJwljjrdbkogHZ+W9YnCGRwCvBHFSa5hX4XGB55HJ+KMCeNtcj9q2eScnFyScsAfsbdVcv+++RiNODb5cqiUDZzsuCJ5042ui75QaH9nnMz++Gx0G/LTnuHlWPG+H9L9Z1pIeLP9iaxMJ3GWb0bakESCfTxZMVmVULFSv+IPrLJEFgoedErZ+orcWOUPG+SzbbWKI/6MBorhHPf9R42jEWtbmujd4ma80etl1XK2EXyMSOG5hmF3gXfr+QMHNwPgxHGtzAqWes+cUBjnfyMD5SnDUNZPonUqBF4GiV9lz6eZV5BbJUBlvLFA4PqMkU+2GUmUICVSJ13+GXImMGjxExOkbLMxsyPxPao3WMhkRgQ2vkP5kxzfxXO354iLa0ii+TIl9Uef766qoS2wQwSHwPK/hO2NEcA9b7uEsKcuj1JmsEXLEGNxrvBax063VOapTMjK485dhru/dpp15fLdrtXXMurUc88sSon4nyqjbT5UWvXyTT3TcvYXzGYxV+gyu4zmoHRKnQvCLpChqF1Ri+AvqbaNhSRA2iTJ7AKyS/UdfjJBIBYgsEq+a/94bVT/lEzLBVXedPtLCd43JoFz7rM8Rlktz+s8lZLN3o8W8VfbAyY2TTSE8sEB/dDGNrbbwLXgKO54ZhpHGf+SG0VNdyEQq7vUodrt569c1wUx/SzaflVy7MRsJidV4TyBH3XeTYrFef3UpZ3o+1QfXl+/3STRh3ITECwP7shyUF+lf6kZzX+NncDNMMfuUHd0djI4ZFYb+lMfLKklpX5IQSlsY1CJ6N23qHZ7GWsytYNdo9gAwD7syBptowfAVQ2+PdlFPtPrm1qxpCSB9KfvJN8KEC4JOSYBiehYTTzl/6aJ7Rrxwp4JvhyvnEcnppA/5lUfr5ZIG45PtBS8eP3BRHzkGbstn4VkdWwQG2mHziPqH8wHrkl3NTCgipbCJtVxgUhWpgn5aZOjY3OucMUAHFKMyzFZvOhUh+Qbbv4XsLeIhjiaYg2z8+O9ewnbB02ayHgtU5o3i1++lFlhlaWzWv1ZjCJQ/Njj6ka7pnhPS9mC01kVRKIhwfJj7KdQWDsoMgUIww86yOBJwpYp+jTIlvKmEZW8y03uSPBYhZBuCGJVThx5NpwOddaIpCWa/64vG9WytY2oUHVf2rXNxnx6OEblaoCLt1+JXh94C/N260RGyhkW/+2T608SQTQaI2NEXeJQe9Q6iqI8290SHfA+ER1Pqp6zucvO4WHJLf38jyrPp9W1z2EmDMQQQnCvOfSPdX8OCLojRvY26bMoiBjT+elmEBA7THJGB/6vdRmqCAvBVcsF/07UHTEOdvFMb5z6j34/eJReFaPTEVzdIaKcLJlYD1ajluGnOMwZ+IRgvKVOobInmDnk+ndb0H8CO3orcuVe8MzsaLQNTbyhcQxBRd9clF31+Pjehik372pQfB2wkkcRvn8wnDPlhkutsfSXzDaUdgsezhIucSw4rU2BqjbYFekrYsAFmygrkqaFjx3T5Dkwjem0PygWOxZZ7Y8VJdURW89Vg/U/iiHTB/jZIpBp6IlMiqUORsGJca+TM0CMQ9S/wK0EMvmxWQhNwlT4SSJbOVaDbVCQ0VU9xZ13U+6vVhGehE/ZerSYsW499PRigwfWRHHAfWUabOTr66hnSGgkW1uv01HT7UxRg0dfiKpSkk2wBor5Zsc7w7YegkjAbHsRYw25GjizpdkPf4nJzqiiDbceY4mdP+pwMejOQZys8U5FeGkk3dIbVVFIa1weZb/9LHhrr07HFpM4HHnebMxsrakP1cEkpdrRRTndnl+4073X0iViI6q+Gsp6+aQvuN2yXWNK35sAqqNbrHlruojuIBeKtW05DVB2oh0QhZENjzrzJJksm98YuPuI+uH+E0YGallXfPmOpIiYUSxNQB7HJqTJytWc88Njz3fwl6JH08PI+Tu4CW6u35nIu+tSt87/Qb8iZ8P/wca68plgs++pI66Taj+UgIkqbGnjIMCJvUIXVUTBdivhj/lxyJy3QrMMy5fcuLaJyEWjSAV8TeQCUXu3Cs0Rt90wHD4PoT9dZaYpfMUzeCDBgIyz1ozGPejk5zTMcBkcFGrOUlFVDLU5P2EXaAPQ4LR5Jr5zJjet/8mEQe8ihpWb9EbuFntwk4d7/dDb+X6/yBbkQPv1Klq/uXSfrKZcPmJAW3HIZklI2anw8o/CIt/nUpeitryqoaePWiNwxjvqJESPTM+AgGS50cdXYuJeC1cx756kM3mSqCnefe2ptdkPm1ZKyzt/X8xgSAfaYsW8yhS26d1b1snUEf9w11oxW/7BvICKmz8K+CfTqcGclzbNfBMHZqWS5CzSm8jFR0VjL16o9q+EzTyY7QcX52zF56S+58CUa8Sv+71A87+N5ciqestXN2sXRsC5dSz6Wain/403P7NOXJM59Rq4D06lLTgECv46RkXlt4500tfGamNwR51HjQEUUiFsOL37sjkV/pIUNdYqgIIwUCTa+mKmNuWAZrfnL6dkPJq/gZgJV7OZ0I9WKWjkWrptyLmdqg5jFAlS03NMSNAno5O5/zD9mcsttnr6hCohp+KynFQ93zy96WjpeEKau6WzzMiZQ1zE41b90l0FYde2tcmd8Ieu++lN56/uD42hQ2EU1ex56e+Tp1430qN/RGhuwxhnyrOL1dN5coD4XnRKrKgngpy6luF/1bHEDLg+T5obO6sOEPMtNRlPPKFuXoaJ+M90Y5uhsHAa56kbj8jVNsN5wya7/vPP0sFtxABg9q2BYjj0sxvFlsvTi7E/gM/9h1vW/eTMK6rYYzGRl5U5zhZTVRr5SbhGLwW5k4jfdLyG4lNT6AeEerDtOT1hJLJ2rhIceMduhKoXjmR6BLs6hZQHvTF1kVkIxc1thA3nUhtMk07iR8TqnsQb+nq89Bd1CrKIh/Nb1qaFbpjel2RcE6BHEc/IwJR+3inhy2/IWoI7/vronC380jZiiHOfpEgDNVWlLhURWLluri8XZRXuQE2HtnVWodvJgfQ5FOp3nAq3E/cg3+KJf9EmVe8VwprvPBnZrNcBU/GotrPqD9JUa21hJuLKsd08dVpvGpsoqyAcpKlGK1J6bii5k8hYWuLhibmN7L/vRZBDq36bx7kPIuYe1EYmIL1QxKo8bBKuq08JcsaUs6HYe2iND3gwUcIN/mIr5vpLnaCJyNtvDs9+WkLhR9T7ygCLsfgJAalYavQPYw+vQrxBD2s/KHySNFWEvZbxaNwTkGAnSeUoaoB7Ata2T1Fusx2LSVAA4BBFbPkwlu5GYlzgCHbD4+bphy+GxJDpurf69uZHNmIdl/RRNhH5r9zbM9OdUTsBMNx5DVPn4F0gIZc1MUdcPryf0ytyIgPeElNMW1HY0KyspneFP5WjroWq0ANAnoMFbROe1nDdX2czsP0dGOeTySF6p+xDWLMmOFAa6eZprkaqvEsGMC9UiMn5fRpgejxjYPazDInAFp3g/b+p5+6apyQInlL4cMCKoYCmYTE5gIlWD91A4Fbg9wVtOfjjeelqIYDJJMJttMcuTgsWXmNMM/Oz58ynp1XcT4rfwzVuNUJzMld/9LwBs8bg6M2PuAOCks57qZMRc1Mk4tRyOz43d0Z+0ceHSOHIi+22AGvIZ3N/3bJ5/sY5Cl7sG3r9jLzeRrsw1ArHj0fKZ8Qz+/QH+jBnLRfZb3Vi9wvt2P+PJ0nGoK7BA5IIvrlcqkGDh3vv5LJKn9W0VeASfTXEIxNw2KXHycnNCKX+tMEopGb/eAujewXijlDJ6JOBd2DbqLPWbLyL4CBl3+6VXElnU/xu0oDzKLQH2AP3GHKHDpvpNmiGiVp6bbXO6B316U8G4yuZCWerl4WOc95T9ef49f9Kh25KfoOIBIBzN5BxgUmzhAi0ZvES8VMojoYUEwAB/Tm0zn/TUtqwsr3MQhrmdomiZzKa1u5V2Kye97yr8hEAqm0txMLl+MVH1hP+Xdkm7TpNjg+XcSqO2avI3+sBdvHq3Temy5D9OijbXxiWn4wtVr1S8G1f4w1duV/M/q5xNXQhT98VpZyKdbnoCjH870UeLqsIz1h9W0I/LBKx8XQS6k5Zpr59BzJT57y7QHqBBpr5wUWO+gXnjRlBELxrn0WORC8upQxoIwOiH8C5jHwRwpEDA+VuYR4e6+PeutGdC9vmE+JjhrV7BiMVjjg4pLh72Zimr7xahrCmnnRS2aoiD67gDoHk21fOBe9bhW7Ns9FhOHY/K8h6aVoV30B0Q3NWX7kONvInKjt01GgaVWl+SeTyptJ+vY2i8tj5G0vjBwpZKplN7uc3NLicrWxW+a7tgJlCHm3mnvG3aMjMCAEWnrvDciAIn+YMwJ4vYAH7q3S6cJi11sbywWyP7+gOI8PS0q7cGkqfBQK5HS+JXQ+kYuxjRQQlRV06R7403AJ3xj2qg9af6kxMavb9MwFTg0/3Dl3h5MgpR03V3o7IjNaipPabfLstTByzwguuTnCXqWd2y5U2BzwPCjTt4AVf432GfJ7414KlusSaCK5rcnNKB5ALnlkL4SXpe8G4VsqVpcGefD2w4uILlAVsmFMJVKI96X+y0Md+/3dMZXfC7knXx73dZbYMaxGVMgnBlyq0lnh/dEnV/MaVm6XK60j+4fcM0p0zMAaizqyDbLdKLu+BXQ9qgDTz6Q4UM5I5XRWdSR3bo943aXJmoxN0OdC5QnD1xlnjk8uofQJpCW6SlluiCKGdFYcDoVqTX7HBvYgroYrmuVjcfQShhS3knJHLQ6Lgno1FQCFPzfRag9EovlkimF9H2chVWUvyCqnU9XPNGFDcsAALU2qPOP0N+LAIOUJAkFbpTneeGQ3QNoilzXd/xI63yz0BVttLtQfNOnLPky/9h4/p/0gLZXwz+qe0AeeiTB9EyrurpmDS6d056TfLoPNhmcxlK7fzaruj4joWhbZYydpGbuRvTC1rfAyaI4KQR7Q9+VgT6uONwZpkR/TYF2W2AmTNUgaigjxGTd8LkPEPtMD3Bn9qVjAZgCVw7/b8MKCX7jxn+1PDZhdf0zcO21bdOtPw0xTC8gkoeR5u8ZaUWsBcr1WOD3lKEmx2TYxM0RHvpINdJ9M3x0IjPUVQZpZjCR0YFrYJ32AXBE5S+jQkYPwjVmKYWRc/mvDOMlfu/t3VTY+uYtJhnKijVWLPx1HGG2ShfF6ilTf8kImFgKDkJcQXUvnXYEJ72gY83BUpvGjJ+sA+UAyCpb80QdU65sIF5aSYoZvM37ZRyPIPGUQbQjkE2ZlHILK7IVwmqM7858OOxUjWEG//89dTk9juOQuZ/89LS5ON2gHEwYMvS/OOHtiwriVBbJoFFkGxleykXaY62mHqhA5Gc/BqOwideQU6bzjmLxOzhJSJ6NQizW6u7a6/K14+u3IcoS2zIpSpeQipqxHad3OhH2bJq2eZWKQULhCGQROtGPnqpbzooRe03wdUvT0hSV1aEwotI6+7WvWGddoghTeyw/3mOXTY3szVyrBKK70NWWR+h1oUfnpr0bN0KEQjs4SIRpZ1MhrxuT9mGNCSaBpatB9BtjJwQT92QFp700LXspvcssarB+Xi5z+cYxtjnU5UX9amNR7jBIT9o2cqpF4gmRivbrJKQHKSdo7SC87fKmGD11+an0HxEqzcTEFY8Ufp9aozSMYwhwpa6lylc/CE/MyltLR4869fEzfE0zee6RajdrrmQtPnGJA3sxWoSYdBZ7cQ1vFCyITjLaXYWzgtRJq9myNKBObImlBfz+AOTHqnzEeK7NZGVMS2AOVmcRkaBffdmlVOEI3gzVQa8fxl3Yz7Kmd1vz2sEPPmhbYO/Y2lqjHwM60d+XSI0DiJgAaUExVpf171VD821j4ooRjlZTRzOarNB8GZP4kZElmD/bgpk/fDtIJZyZ7nfZiVjo7destlT3IGLq2d0zrat74FNII3LsYqKbFBLU9VVuDM7emoDpUMVBKZs9EiEtPx3Q8NhOPjIpfzXoLBc8OhFlesPGyCTBSE8D8r+llDltScgU9MdJCkvg8RRaw+JiPOL+gRAZvxZN5z+1apj4a6zymTcIbEiYkwdV6REYUKqte7dV3I1Z3fj0bYVZ0eBn8gRaEiRzOytDOL3WK//muvEmwW8S2hfiH7LzHsYIwtmWIG19lUCRWREOk951P3z2OIdTw1Qw1WoXRfHHmLKyySSWmCft0haWzg6c1mrJBgx3ALthLb8UzOb5CzQTYI6oXWYo8QBDsbEXVAFu9DPifocBpHZl2/hLDppR02U8r3m/OFqM0dbvW2md1iAULBni8+QFNWm1F7d4c5qeP0+lGEei6kZ3r717DZZZ/18WUBeU7uOYd2RsVmoIvBQx1R9gyRnsiVKgBhzVUtheOWAO4zUi4TnIZIZRop2mupwKVrFS5K/srCOQcwlSEFRO1EiD6GcuE+cpKJ/ercsyLVbe0PbQza+WCs4WC+hsblU+nKsh0zFxBx443q9BVxMsW/09dmi38qptyqicPKWZRXRxQuQh8YNAHInfrRwA8DCqDzRhCGKWJBLGsG9KIctJNvgfYgHmWtciblMBg2FRe2w2fnCyEReZ5sf5qCzakklGivway/UVpYYWXERCmgQ0kOKkesmR1ESdSogZbCMsYorIcaANRQooi4r50OctRIg/Y3wXsBS6v0Y5YP4ntUYI7GwddaYd1Bd2dntE1l8Qak6PBgoKy0pB6lKqpGxmWjtg5oJ4/prOdGihY3Kqa3m5o0apRRpS9JG68xCciNORjdt1TTHfQExuVuLSI/sYyN9bxbhKPwCTh59vHy7blQSQ59ygTNmRlwtbXQvDlHaaQCVFLr6ozKpLGsVq6iGYi0GuagGWgRP6rxwL5N2LFSKB0tnpIoya0CaxlfaCRL7pxDUlVd+f6FXtMlilQRMP/C/HS9o4aN8w0M6JRcpqFu+Fo4Z/H4QZOSvzrJX54bFnzK+koUqsnyPVJGhxi4MzpDLrldHkKTZYgZAFi/QeRdNc1ibY+Puqp4geOkJBwA/OpnvMdHn61NrKB37GvJ0FcHlSmz7icI+ZYcMuR2vRVm3cBXxZBnBtKWJ0MHHlP1zbNfmug5KQOAqV3Vu6goPsjKIVHOoO/8aXRIRptD80odPT8tIaP3uVPfgyZiUP1WFiG5j6G4a0zE6z4K94p6WGwoatan4E16XyWQpApQxzVFIbnonGJdV8a5tTSmZNZLOEfQpex/sY9SZ/AX27tTVyLcwgP6lZ05gtvUAF4a0Oupur4jT0IfR0C8uWx44mGiiE8jD70sr2dQRz6/3/bAjfTqlFH3Ngs8Xh36On9wkr07qeCkJLV0XgLwepgl272diCnY6V8fJvXVARBdymbeSzeXM6TiSCIUS9P2eEnxq3SmUHyy1/OUnUsY/M+7omEUu0i2l6IuOHtIMPdSboOF8p8yVGb2mCPtObp5A9sCjlASgwYa2sKQxiT7kNgvQkmkX1W92Gd+1+CfBS2avUrBU0l1MKdKM0LjIWt+Q7oPPXvEiTqtcywxIWcAieYnPlhkGdzkGaD9ISmh6uhzVQIAEsXue4qT7+1IGUXWrRSDNkmYngZ6TyRE2IKSCLeU7Xst/+0ZZtcaXVxKyFbIFc0gEWv9haaJiZgZCnLnTeSNKNVT47uw/0lCa0+zHXNTlQnhxV+BP3Deaoh4gcq34W+WXSkmJb5Al+NoYWoOvISNCW5Fw50JigrfuPbYAI6oPL5snzSkp8XiUpYQYjT896f1SEbOT3d4lqskKdO31oKQdwLvxM48XVVLhspCCI43L0bzzQ+TCvTQddqZsT71LJGjbnzAq3Pf/saKWyxqLvpsba+15E/TAATgOyB3XB9ZEcdGtiIksuIb6rZRd0P8wyEyMTm0CCfEsFsc0eA6FWTrpwhkKPZkT2y0Fdw/mOBcPN0n1RBCLLZOSXaZQ2JnpAeq1quuN5RxTuE8+30WX+tMkeW3ncnVJ3jk+WoyMijt/zqSKW/N/FRb1bsBr/F+00z+XODUe0arOYKjH4wAyILE1PdJpAbgjRxC5ypZuK3w8fn/gXUCI68+cevR+HsXIXlkQTMADB90EVnStkBlMyWMED/y17VgStYSDPoh8Rpyw7ogSBzJZPFBoim4hRKM3RulylDSwCCSx62B0RxjYWLAqjyD9zcCYwscrt+MoIBV3N4YJk5jziE8gQbR/YYr2c8GNkQX0xakVdbpFJsVO+j3053W/kfoKpNaGJndHNLdCaufLdpWUSIqH5Ts0K59w18+Neay21NaWIuITwcBhjMMIhx4xsMwRKYg91s8fF2HkWq4+UPXT0Sl3T4AHeq6+V0gDFkCsjIYAlsuZNsjLvKyxAhxbOH3mkLO1o45LqU6mPmKWYsa07lZTp6gO2T1TuShQfUWMLsVfyv9THIc/3xKe1vTe0SVAPPN7JOLU4SlyF8ZYTzTYZbjhnkd5OQ8jvpEA3frqsogK8bXrnQ0rfefcGf/9A5PeML9W/Clk28WqD8ywqqOKzj4YdNRchTdIGROCgevhcFtbA8wgj3H0ho0XyD6yFbj3VS4aJ8olSWH/x+nyPXtm6m1fkksvnJNmQV0djipd43vslwcK7HDx5E/y6pdwXnUmfl8JSQlLI+3bdcgwKiui4TiDu1yJmGhUAzwt5ZL4qbQrRFB64SU/2gmVZUlAcAROABLKHyVwJJS2QItHHlmLzXbWeca7ysmcdcyPIpZzICSzdsAhslr6iTSOKCMMXpdhwfuI3dWEKGVw3RKzHYYFUuOi/nNUpewCRcSrW5pN2nNoKVk2vqkWkpZrrzbFbEDiYtEW5p8L5hCwQP832NA/cLZSQL9L0zFZX8Voua5JYxzUeQMoBmxWitwc0Jb5Jaz+3vX3iMUAkLGziDYHY+6P3DZjB/ypmehhDA7jz2tEyCOT+UlPBM9Z6s7P84liGiXFmiBAfhsDAP/rjgDJXrlPxOIO2HzFXkTL2kzkURig9dVL2S8Lgr9jFyrgi2fDlHbADhV7+Hejeoj7kTrpkACB5q6PHYWI0Vs6/KBTeHW3tQpBRpdxZ17DdA0Ovm+ltYeKx7j0afIqz02mll7pjH0MQ29rXHpGc0s38XTZFxkGfNqdgveGqH2ryjf00WDXxEU4dXIPnOzOuLrRDK0WVQ5AhzWuWInCQ+vRH6a7UKq6A6RpJ7Eo2DZTUnTCrcJ/pHU4kISyYMq8SnsM1yV2EijW4xryyyX3yuNaowuc0WTJXxDnwxe4rmcCO6kkOPJu2laS1xOYtkrWF2LV6LzBJldio4o2HXaL3hwWW4pubQGCn3wo87LJSAMpV3TCGjnZsm5qB6lvwGsv5sRsVVdZmEZbdtcWzEUs8CL/9zsUXYGhSjYU2i3kE+KO06K1JGuAUw3T3wSzi2Uw3Yi8Jw74Hbw4QlvHLKrZksTrNfS27dIgIGUz2/xQ+gSlcg4QYzSQ4SgoLPpp3stFotx+0IoDHYWgPr3TG9cLIJiRLDFapYlLGvCCrmkP+9AliDspIkon27II17bSeMb/bOuILgpgE6YKlfqe07yKv0LKIOJNyy5w9F/pDi0sv67hJeFwW0S4HBqcm1V8ZNazcJnvWS6rKhignIytTXrthsqvJRwsU08ql0RDljGSjXp6xdxoRJidqOYSMDetHtmFKhsSkQVhV1Itu22tidDY76HT/OpowBKqQHB4POfg90ywtFyH4lRjCO3HCtqhiHD2KIUqovs4wpg9KXWRdLwDFyXYYj9iYI5i2IMVw7js/CYjmvQMeZUHWUZ3fVoEp00oAAITRkTI52m0KHx652t6P4QWUMzPxnKu5GOSu763Zbs6eaXeb3azLm2svHfQd/XrpgPtEmYyVXtp6sTgvHFRBkEEkk6x/ZGw+wWjNNJjdVlAI8zsu6ykwJU9600JRLSVfKo//U9JbcfbeOz/1MtGXy5MS6OVdIHSzbuLKiKdQyFUQ9K9eB0Qp2U4CbRZUgxVlct2Bf+DdHogm+nKqa8EXRcWsSOJrVSbjw6El9WYWJi5X2uCCy7es7S3O4xja+9TaEUzWb08rHQLVCwG4f0CutDvlacOKbWYc9a9guHA2HeWCzJ2EMe+Cd+ijwMC35uFLUKcIwtPFeHWRlclpvRGGryOfHmiCiJSPXS3TpOyZYSNN8jvKBFM9/qN/gHY9cR/NTcP0/PW9trI1od27swyNegXOiWionrx7g7GVWVRZdxbRbFYMq3kSTeERO/hAtdeLgsCZLQ7dgRu79y2ixmnwLOiqxuAJtCOJOLtr6lBxAh52U/cyQEAhVQgt7eQ7oo6j+oCoYvS1XRfevfQrEoQavzP6gJ56Sy0gjidA4eaSISaxkFFzjr+mb8PDdCZCOZKNV0AP+8hu0HjigEp1MmCXwgTBdwqqUT7hRFxCgRfK8hM+TSm6wBo9n3xy0I7eVhfYhN02AiUT52h+qKRQy1PyXDWrzWk5jG26nrFFPQUUV7iXz9TRQfAFuwPZBn3dIXx8AkoljKHQtMcZMlimhH27MMhcSASTGhe940k7j2aEFjfDGuPGFonSs6RAWv5IVg09NphSls5u6brii4L8bzHJJXkCQe6JTzD5nsEYqzbtUaWQpf28Q6dPU+R5/CatD/R5q3SbeiVbkAXtp5RGT3ijy+3tLWIpxX8aaGAoIdfmilXFAhYBxFDHUEiLRyVjSUFaTWHqXI/hdyX+O3Zgoq8VRqasW4MNyf6T/DO7H3QQGUPTZ0RSWvylUWiWrF8HfMPD15QgviX90cRK2qOGXcqAqa3eE45lqav3eGIu4DJn0RBotwB6xk8tp1WOGs0VxtJYP93rpJHgbhgH8VxthIKOXrNy5mCM88lx4kTjLM06y3yR5O/+gG1Sjn2VA60+aahi3IFuN/x/7BC2ffzvdAcKVHT1qqoa+8uRBysgSgQ6FYCe6Srz2k5fGtQmBknQkZ+w+Ze3QYAmZn2pJROiqzcMNhm6uNcnqNirLF4wgrorVBFZAchZWi4/HPONMUq3HkqL7X+O2+74gFg8MBNuZVfQMbRThuJ+cIb8E+k7MiL4zzLsjGNwHvDVe9KaGzf9JrogevBnIFro2bcYlWsGujfjD2V0fLu1V7yydULd1Y4e9u5aJLlkLu2+s5qt3o8gbK8lOE1Ejtohwek0sCxpG4vWavL38vhhQAMeNwqESss6Zk+OJtFb9CzIHeMyEkRTUGNxLeNApoNeqbhk3XFN89GEpaHdNKjGuRXbLzwzb/LtZ2WE9C0OwLNi6l+P46O6j/SREnkj+H5JqLgSc9kjbF3Nt5SRrmlIZ65lujw0sYzJnkwos+qkEF+ZtzTbZJATgEl8WafDCLTues3SPFUXdakmu5m7P3IYyuOd37+QAH8gwPpalNlJghX1VybmVbGpHrcHiz99P6KKUOYCr79tgfYcga4SAPRTaf5ibe0RuzHF2tte50q4KnMN6RyEZVCABCCWq6pG5IM3PWgU1wG+KyDgPCd09N6T8TqSJ2r/FlzuC3TS5fWVdcq7dhCyj/Sh6ngyqfka0Cc4m5TH5Z9XhO1gHwjWHVgGatt1m+vpCb4zkeddBNI3CDt8hz/4i0PgA4VB3iUqXeNOZWAS9n2UF4MjcaPcGS6GmXWPhVBWlV1FmFsDxUv2FY8YWrJIy2jFumzDE8qlaDuXJl4A0W9PIxCaHpI0n/PO57iySHZZBIAbG31q4Zl6SGR2iYHbRJfeDuKh3N/VAssyoUNEC9FsGTYgMNZX4m0BEVZnzMZZmdsCOoiiBC23Cp3G96W65SjrnB6ErZsIp9Z8zW2TDBSQO30koEdnl3vWNA13aLwfsgzjoxcYO5TIqm36GJQKdMHdjLCpVeVZmwh5t6TPuD9TKnNUAD05c1PO6Dbt9EJWrLkReOjDIVxc8oeLUTzurk5rYN1GUpIHxVDuuDA6uxmxJAXe+jet99JfkriOEICSJy5Sew/QCHLsB8XUTyU5oHHU9fjeHbY80rqo1qjWvXbtp9TKQJxv/h3hal7hm7wAzihgMsIeBVZ/Ilxa93WR0SuJ+bXXZkjPEqwmrgyfJYsOa+cjYfYzDSpVKgH/mvlJ7C/JUWJNq51Cyd4tWFNi5avv9rQ+wzwZIqamZnV1FGgIly4OkdKI4e1QdJEzqbn6kefscuezJ+1GeYiHpWVYlzm+6b3gvnr0erwyRS2MQxo7eki3kedjLaSAzs6TLXvHeEzRxsZ205C7zQ68wciX4Eb3nO5SRZctuGItYl4OqOkutXu4gyaP+XoQ6DRLaBzpdRcAsLAvwgQN9XwIIuMM+kA4rPQCzeQyPb/ImJ1hQ7xn3WtUi45hAWdfNk17uL5nIQYJNCdHX+OviJH0R2DowXMX0OaNqlEjXrQ8HA3g+Pic5AHjKerzk+lXczP+IvF64UAmOLmnm+5XuNhyXHEUK1BlUFF4FHByhAqVk6yodLcI7LV6EhvfVcwa+exfl06TOn6LY3FIji5xiFbeFBpR9X+F090U2LJwnLHg8dwzzKKZg5rco9ICutRpBOSDlXWUdNwPeyNMl97ZWT6E7lh8U8dI4dgwCl+asI7U0zBGWzZAKVs02qOl2bZiahQMM2tiLW8eu7MzBDPr2ApSztnVqPeLYWX6MdllbxrrssUjJr9CI1Gh/RooNEBHkl/Dx7K6glRz4HT4DyCMnuv3HwzWnJmw6xUngbm/3D+NXXuFKOzNNRJVojKSHWGA8nFPHLiFAXCZLNqf96vXrBtM0i6b+kMTOyPDbU68NCxgLRbU/W4IyVoCo4hNkUW2llX894TbWtJsiT3GxpjJhYo12YBDEQcQPWyNd8zviZJWhEUcHewgXFsEm83ttkkEPGbA4RylwaANtVMf2v+RAnptLT5/2D6Vuh+yeTAZdKGth5P+SEUE1/B2jYAsqA7d/2a37x22ATcx9HBdRAu5YfuIJi50lURaTFqTODFusYnKRPbXHRZKpNNHWrTE82HE7ToOoIstcC1ivKuyCRN3Tj/fZ8cc3ZIvwA2XQXQ5dXWhS/lnZCIZwRFn9iqax+xD0bZ5qFIH1gOhQjYRdTeqlXGUJjbZ3EXpawtBcRmdlOHMOjnlbs7J5p3HrNQRU8ya/fPB6EuU+M+59n9AiSJjvsd/oxRgNia3iaL5RrPRHmFQMh7PI+v44buBaO4lHiiztPzZCwXrgItPyAQXGii/mPy+DZTcvwRHaqISN7HPNoEHUHSGuV4P9SL/6C5p0USQvOthvlZ6C5+s6wlUL//ZqCGxDgW5r8fqNR+S5Z8XJM9k/ygOwM5PkDtRsgAGnIVL/yfNlyohAD0tQ2F3khmvXCLWqDhhDhOIJtwEYYMm/6MBs0BmtZHQpSSewdywvkjIjVakALIfY0f0biP/ODMum7nvUAzfzQpI/TYkC0zvwFarMPrlM/4o9RfMy2nVn8D+jPitZgFDpHVXib3vh9uIXlJTiKvW0DANag7SKC2YJFCuRObN44H9XHWx5eo/rW8f5JedH8+dv0r8ChZ5lTs6Fx7eSkSGwwLVdyuQKYTpckUtvRHMxOjOqI96saAOdYu0iR334G8wruaISxaiQHdLYjvnZgb+mbVX3IXHPfX8g7Nt2sa46CsQZ3AlnHn6tlIl5NKTbAQFRRFuf2gIcRxr8GtV+44arrIYBtttVe7gcKyPx1Ocecjsiupka1J2dk22Q74RWgpDwVAwxQ1cbFUbu8D8AwiOVhKAHyMSzHaeKpo5tnYdZrNbJMRXbiRA3aNOVSrKaa8pODox/kOaKS6inIHmoNDwagNJlYFSoqycsPQgqN+BrDZprop8YgCCcodc06zmfIszyQg8kPuDVKDxJ/Hx7MKLf1/7hlUH5RdiBmHRxL5GZ1KdlEquDGW9xQVwYQTyQpxZpGNxDFYS6DkXLfC7NmyaFgTUltt90LZ46VCAvoTrHYzg8grPr6YL1dk1cipB4Pc92KkTZ3oR5AG1FGJgNZ4ojg6nJl7v2hA/aXL2VJ5i3lvQmxYAq1jxeHgiZr6NiZ0idZoJ2P60ChXDSy429OaTTw1D4B6npRzmQiqcnPtVPLi4+gi39V5O+PfMfyHqrEWMB4GWtTLCi6f2tCri2vBOB7fmSyz1l8wWX2nWLz8OHO+L1xWzEeyxdkBW1DIpNWfrp7A4aSA/54wGXDYf9bxL0H7+KWgS0j17Q+wVw9w1wsbxOw7vv1qS8resSWfEbFI5egnsH+9d7ul+T/XqErEk7F77RUxcjd7slvbCinqlYwJaOf+cvDIE/6i2k1ZOtvJZ6gmK6oSJvi29SG5NCZTGrQFMPoVXUF9w+2B+KwwzKsIboFwFrt0jM19Xpv/sHQHXgyy0FVbU0ks+Bk4D9mX6j6TRQWxlKl527PkexxVXPibAMDXQ/TmmG2kDQoStBadMOs4Nv18BrcPIdeJdlQ2CH2F4BlKFFHkA2OBP77Gdi3HVxLFh2WbhcHYp181vQzzqDE/Gn2yKrWHGo70jwqcAPRNii8st4xX2cKLXeWCJQ701YW5aMzFKAN4s0pfR+ITnXBI3V4R/0mu3hy7qNlgO3vpoD2nPUKLxVYu4Am7rWgrIh1hGtpdUj3Rtz0JmEfOYYgYs6xuGUqjYduYtsZKN0kOJFCQSWVLYiKj+EQ7Sfg9bQ7h7NIOh3Btli6q/i/WNFzPjB/0hT6QxPBjv8l1zM2h36ydf6lOSdy14/s/fCiOzSX4xalmSTrVW+lzbc6JGpJl9mGWPfXN4EuhlJ1VOxyawx7bFzbXfxN0P3sBVw7nscrk4TU9ajdsmo7lbFwzO57LEIVrXCmNupJ1oAPaLcR+ZkdFbIc6XJQZV5ZmEJu5kz6xJS9L0aOJjeHAJR4s6SWAq2kI3ydn3XJg3UnuySpUR95q1oJ+6FUA6QLuhkfhltpniUSN1YFo+jBbn2LFOIaSo3/x871bWgN9SfsDW1GxkCkZ/vhDP3QSUdtVrFHvwWN2O4AXBLLnMWxA19FM/fj32JSCi0XGnaBuHBXQmfaTRZxFWB3C1lqzYzTJ+FpZBpID2C95e5tVHTp2nOuIi8KXhmL6T1HWwMryzfr7Kq+1li2zi2akUNH2DWE4JIyElRrEDx5dY1ko1AcUPfyJpD8ueHiDt2UDPSZDRqUS/b/unCrP8YoJgY/A5MzY6XaOwq8kTLPmLExbPIqjQ8jLZtPyyYDLX8RtgMy8Z8FEIw7Ja+H1+gOzsDMThsocx8jqqaC2sZz0wIID4nNQm81DWeQT37mw9eTqdTe0y3EzZAnlJCITcqE+kUaZO/BbzlvO8UQCYx+B+8tHdynhMBfgeXDXxzFYjs4bswCDbK9Cn6NT8Jzvpu/8hvAfWT1i01RkIt0QDoe3DFGPIVX1yNLAapwBCh8pnoak2Vukt94Lqd/vW+wF5QKp26BHd/eCXlZbbVasV5d2mblMwJnuzDeveJqCGAK+ZFF5JQYA9O+iGBNJzxGm0/31RTgCCgsnJ3dN7M0j2lI81D/JZEAfnSbi3w1CCwBOMCpz+mxJcU3+/kqkkubqpSBxNPeLUmxsyED5rxYigq19m7SVeGXNm71daIRPRuTkuHSY7FxJIqJg7N45AFn8CXwsSL1CxE+69sw+cEk4TxuXJ+mC5gUyY+Qs0bLbTIEpFh0Pdeo6uHyczxozxByEblUxtvxQ5FKWMMwCnCnVzGPFGacDYr7vubsvaRmtf4ExwqTYcg3fcXAErloVu5kXDOMUIb1JQ5mCMJO1E1EUG33fU2qye5OlunPoRrIDWD6pTVu/dwT9ETkD27nYR93IsHeEAHy1Tae3KIEqKp40HVxuwulM/bXcBxy9waYqc45OlI1n5w0HG2r9055CC49877Qd3ZyiJQKhtvjcUuTSoGSiC4i3w8cWUuFWjSbMlubn+scWPFNZbeDpL81tw3ray3SuMDemd762tRcwtIxMK/zJVjVhZoMw8LpR6WLWeE8xPNDEsCkCmZDI99xwgnwOdBTr4X45bGHiIdMc3f67RpmQVMM+GZJ5WxhdC7zxxdu99aH50OkrtWgCtELJneMRZFTTjrJJKpA1BaWLORFnWFBXtDiEGFBpPaOrLj259f8eyKxJFb6MYe0lJJoz51OgjXfBMhXp3a1VOaxSvrb9x9N5l/rdMQAGBC35r5suo9+xh5IT7CNJQJGGgW9+YDJpQQFQFEvrIFyv9BbAcfFIKM/WuLVH0ZhXkLrKeUhQ04yNLDwNO73ZVp5d9vkvEshDqWeBN+g3b50mJ5kTHVaiDWPt4TgRe8QuF1JsLgUXibnWqCHY9xjwPYzXZzFm4qdfJrOtsSpjdKCfuFUUSwaBFPtusyXHR9NlaxmjcWW81fq471FD+qHQSngQ+n/YbqRbEYvXt5uShXR5rLXK0p6ApNQ4s1vGFz+S0pYQxWOVVqdu60H00sU3cUvbbVuePjPeG8AMP7Vjs1Tay5OGVBAdBW8utfB0g8Crj2ilMaeqOORKgzhXIhAuea7HYfT9RDzQ3rZ9B5SQ19PbC5DWCr+dmvfY0vzLzMQ9sSk4UqA1B8BVWBL6DYm6sojdQUBYsvz2gNOkiOf8StK/044pcwQJVUxsZR/t708SqxPgJwhY48tVlSsZ6xSaYHPNALaLJOnNnz2A2+BtT/9mVIj0HY5QIWD/mVEHp5YiF79FW7j/PqjpSjrrWGbceovWvsA6vInlod0T3WbXTf49m/E/IY6eCKU+zWsnS59SfG0BBmcRswOXTrgNLg6I+ZujC1sE9K/YeUabYrmga4gEeK68G28wTzXO92ChfRoczyrGt9Mgu0JOYgQthsnFrFkX9SZiKsXUEs8DrJfoMSX48XVC9SBADYt0QQ9Yt6DpApBwqxOw9VgRfF1Qo/LW9bxptsoLRNcmaVgKKzVE6uZU4PXz9v4YU+teme4+zRXnmbMzA94FxnRp7bRd8sMOSFWneAgv6DPRnfwmkspI7vFsnjTM2BgrcuBL966mggBuxSNtV3+/lHvrQNm4B+3eOSfa9IKdQ82rMHMVt4FtfsSbuFVpS0+5CgQwwjlKCxitGZSRBMPI6mlO9g5P80jtj8XWmqLM+FMjIUQ0zYTisKLZMQ0M2gPlxnCYxtTaoEepLOwdulnGEZ0dAUhtX9EJnJtGZcKnEgpCqTdQRLckVrY1u4mElItD/mUAjk702+s/A8Yf+SuQs5GNJ391OeL7t3zM85yPU6iVYj+2O55LBMkV7voarn7fs/c7FXJbFEhDt7OKwI7vL2mmEbmnbgx25p9AZqm9pWzicrYgRcg3gnPMlE2ED8j+rHLBKHtvXe3vre+Dlf3Ss8bDARgZhES4KAAlXxfgUwvtS4aXg44zz/Ak9O5BEzEvfylr6LJSKiuWVqh/Irjer05wvX44R+CsEnHTMkBCi0VMaaKoPGptt1droums5hWs8/KyW4OTn/QSZcsSKTkEKEGYEVIiRqf3YxGfNOcV9nxU6+XMU2nOKKbiYMWRKtB+QR05AOjsU3tJG/VYP4Gy/6nnXisNDgaqgGMfWejtoO5UxLg4MRs2llT93tAacZ3o0IdwaFi4kBnHDAMeZofqG+hnL+Ni9cfcgtNqZIgpuXxTk0TO9gRoks13g8+g69LyFFQE3bPcNnyif1cwTxVnaTGpVdQnrkgxY5NJ6k8sR2sP9suXXuIL2Up2enImgyRQNyzH5CEMll3THQ8nEVFodcgcEhSu6JOmY32KqoNWvDLxN+bIYaxHKes9q4JI7DT1lCLzKd0y+If2+W8MpsA+qZbGpH63IbtWQ9J00T1PElYOING22Wrd0YwH1yRfw1uM8GD4ULmY0EXwq4NvuOwecinlaGbl1CxTw9w6SgPc2YxYI3Dzbz1WO2tt3ZGQG0ikJfp4YDUZ3yYmsAXJb2ZU+zaVwMbdr3FfYbs6HnlOzTM5q95fHYuvDKElsDIsqqYpmiFSJWEcUYATuWQO581pqkrob4hBxihAzKvti265e8VHNsmwL7vxCC1fAADvvDuwo391IdPyFDup09+S05qmlu6XR6hUxeMUdWB96EqdcCMv9+eV0Q9py5dk1ZXspPQ9EbRhEY5kt06kUNVcvYtXLr6g6yK8h4OeYQU3HieOQU+eN+1l3t7KpPZsInVeNEvIVeIZoospwAyMDQ3awprdUA8YWFqw8FRj2mNwORXikkyyfdQVCyKEpM6M0sMQ7gtydN6U+0yJND4yoZzoCJxA8lfRp4JCppH/DFtxuz0dt1E516q41Ig784ZadYxpCMdWd1y7YiuqYu+dh+l37Jauo6Hy91ErSGlqQXQBTepNao+i1g7/xX8R4sKEagIx4enaaOFx7D5sGoAtY1sayF8E+LcuIEBE8EqvLWCKN896/c1UsW+2zWfqXvF+vYHbWIU5sMzQpHejtGyWtTujOWvW8GuL2bI1j40WMa+02DiIsntyh+hzktZo5kaizmOci25eWYTXNkqRx44tBH4HF3VBCboCQvSlZqgXKuyus7XGOU+KnjnCE1je0QS44diaPnMOUXatLRq4ek3OnmXrhP30qtduYhDU+LTb2Nwvi51OMY2VDCOUBfYbADqQboVuWjzBa1/dEwgiRLA9UnVTL/IADAP5OHFYL3DDB7jVqDZbXgmclkqW5txz7HKuoqpBatjuwSJqZTecBICzHZ7XY4EkMtnZqznvthiTgTw3wH63txvmhXRAvUIxVddEgLWVZXTPaqWejmTrlDj+5rYIjlvmBPwyQFTW7bXfUTOJet/Y6cfDsUFudir+D3FzI4jK+QbT++bFR6n/8mkIj9bz9YsUjZx65oHlSVKvECkQQGEULo4C2E5M0cLnnpCzCQK77sT+GCVKL/Xy7kcTOOgKUM5jvwPbSywPTK0AasQFhyvUrvbKB49fVmccyD8cihWOSvqH2WR1/FZx5usAKiwZHng496yuTt8mGKW/xLsq4Z21t2XpqVP86lqjU3+sZdV0QgHIdDelu7UemEPHsWiQ8xyOwlKu4M5k2Q7RgfIvOKAqgHoEQIWGbvkDh4kJrta2YpC7qmF8GdxYgu+r1ubbl1JMnV/y7nOjZUHykbGMg6TeNSi3BNML3NEm3DjfJ76BQYLkO9Vz45htaGXvC0zlfaonzOj4clVu9176w6pErVEk7WmMrqteyGvHNCq9VrLaZbFF5b1ZEvXgGJK+OhMmzy5619ZxNRNH+lnilEmH2if+XGHnN1+IIaXMBdB/iQbSP5are+oPE0GhiyYJiPQzNYHrUnWnBs4KLbJzUDu42AdaSALc0oXXwjS0gMu6Q0WL64ioh4qZlKvMxmra5tfVbvAUkDVSPypJ2yqW9dH4MqT8b6t3WD6yiagbZd2u5AnKBvAbXImYFARoFDla8pNk+cctwLGHRQHfnGNBzlHPL42kNEpPDbEKEzzpf2pgfU3S3pdiv37o67jzULGm20FSSk8+eKhFV0py+pRkAicDAG6qXefnoWMtbP1kXbMHNm2lwFaFkfwg5XzlS+OHf22eaNIty2dIsWJ7PNWqk2udBt7raZd1aFDbXH510ctz9iAEL4HITxisOSKUXtOEmVbTun+0Xkl3ppDLydyxn+ereQwRPGn7XCe4FgFscmI2Ber5K0W05+V7aNaB2HTXY/cc9prNPrtnZXbUl0/xyswLw7JrTO6YZEZOla5WsqCyKHcMikb71LnEa31WuUiS8AFLECgiZWELLQL54A0/HAnTxLXpjpBWfjPwhxXgryGCE+byoq97MW9Vh/u71nSHCQsK8ALnsOzYPsCJ4nY3UvHn5dEG8xywk5HUNlM4GVlYRSECcnl4KqF76YmygNInTDZVx569wlpuOtC6sqsiJv4K1H9ALRCDi6URPCFa19Vxc8xol1RV36npwHve0KpIZ3thS1gZaW0YQWdPilWI+XhOAenj/3S346d9eBPYc3aHt8DO8w4eW/Ead1pdlOu2LfywgI6J02IeArvI3PZyG63UpUI+L25xyBJP5bcmHVBMO9lF5veQ5NxRqQbJYgatVjzL/uwtvBXKGlbUQj3NhZf2pL/kWrGo/N7WSzb2N7WJOUv8HtviKz4RVkGrKcz1qX79k40vGT7rV4gG4s1U5spFRmgqoxLvChiUvBYZ8Vina7y2MYDU8p6fsKpmtaz0ZnR2J0En/1s4MdlBg6EWTGCAWQC/FVwr5N2iipGzCQlEJAlqDCn00Kd8N80EuvKW1g2oBmXXzg3e8WHfa6yP5yB3wwgOBpHphSCOXYymzGLjXEVDa7Zu9cgVpF6uXlaQcOU/U9SBa/WrpPXtubA+ufYr8hNaIxXKQ4KPFnDhxHzrl/1/UNg5swmu1GX6Fodu6lVacNijE17/EojadrUqgl8Jw5Xs5bEfsCo3yie+bMEVse48nnowq+MtoqCmXYe4rplWN+z/1oGSA0JovFA+MPqhGzshccF72chz3y7oJnutMR72nkeZobrZT1fTHHwOHMSI6oOTELk3gKDuED7qkP1Ap8LjwBGSaHV1QwGqzuAquBA4jgwhAq/NPhTlkI/uKl3TvXIPo9rG0CnhJjr6DWy9N6eDcPyuFvgA4/9pj3pWMBNpesWw4iCmFG4y+03WnSaCVAxZkIJ33DSrcNCx6YI15l7sEp3KxNkD4J3FdKU6dv9SvUb6yUY/diG/oCLArN5mrdCmIEaTl5D/LWpKy48GEtLA+8u3Xijjd9K/QnlDrnzbqSjGQtbQSkFSTx5uZtMdhswCUC3hjeMj1M17VrqwAizewnN01SxMxodxA0gv25buTBH2crzTBGequszqC2F2w8xKIfGzUkfGZHpQCOEwEqoGUmQEJtO5tnxZO7UYq1lAOZWxXLEvnP3VSWttYiUeAMcYVT9Zra7jbRFQeC3+HYtZ2ZJV/cnk/1cnX9BIRJ4BxxmyFdiubE8e+Pke6PELtyUSIqNDoWIUYqVcie9/0lE1rO2cmAyGiC+jaONjOnDRWLbwO1ggTTSoG8EI+Nz7a7rZTElWuhdEZ9u61m/FJiJaTKTEFJSvIlSWS0ee+hfd6AeGsRxT+aShbjKC4JEdVOBEsIf1pMbSj2+3vTVp4ZiY+89lK0BaqXoIvkjwtk3XiP4mFJ5F3pNuF9T8ouAj/ZYPEXQ3Yd6VprBL9OgOQOZTvkpMGDLo0BRuUO/mGmjKju65bg/B6SxbVIOh/9xvj6OYZSo=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TAGS" val="1"/>
  <p:tag name="MEKKOXML1" val="4HooU0THZk28POP9trq+pbTvvzd/gcV8t56cq85kb3NDTsUhojRA0EsgEHHMH7oYP1SYpn09ysXVivguJdhTvfyVMsBLTGvcX7WPTor/CmWiWcfk2RmY+GE6Q6T90sFUr0lg9IPP9y8umrse/9AoLT5R0GKq+XM9pr/aTyOTf0wptcuHbHxeyqBm9svU01qeeEM1v0hpSHUgirOnAK/wurzgxMGUtEYaqWY6jPtrBzZ3/KcHTciniXfDOpYpdRtU6arCjEc/sjvOAx/lyoXwF7GMgUB/YP04emC39emjDPNHI7ch8MVU3cKbZTjFkgtZoBEyF7KhLP/eqdQ/9P4miG2LBzPiqF859o1+Y0WnImACOwVaHCXMoPVxpgdQfF9/Sw/WnEayu+853mBfgmSHjxvIQismOkUE18+7XPj8v3muXypR364oFSeIg1pQd72eTQOOsRJE0qAwZxdIgtDlUJmvY6Uu8PRsQpg8PgEgSHytzL3A7FXGGfZ89HazpKdnnFDjorRgeCEMhGrPRNADwHPXrranUfRmQTACJe0rOekwK+UX5ERuTobtGPBVU95ZUsAqA22Bvye41jRNTesB4Y7aDgIvqSt5FU1bMSJBmybwQHbxbViMUXA41k1eKV0Ox84lpN1e3z2WrbE2Fh9hgmfFpL9ivGJc+K6Fevj7M8CZzFAqjlgjjkPu7ja0B2ryPb1Nw8doYyZZ8biEZDO3AJdfF7JzEqoNQ5wa26kay7S74g2gfv+X2hoqhLaNodLfwQKdGYmdQxirIxQy324qasqb6wGKIiBkbnR6/YiSnwuvIZnbcT3Wfqwll3Mfau24gQzX+fiLlVQFcV6Po1ngYj3t58JzH971sI2jVcoB9dP11ogtuHRY8GX15EJa8rD5yLgS5cwkhBFzw9dCnoaSxf1D7J9h1hlmpdE+4rX3BI35NwwsMkgkNuHdlR+62EosO9IJ0hQrGe2aTryKNoLRVJSsGSr30JxcEp/p/ZcwM6lgv4HneMNmoV0WBA5IppXP/TyY/T/+Ec/haFmXg5V2GnmupMGms0il7dxfY6se2a1PKX33MxBEgSExnZhca4HGnxgv7ABnlXbJAaxuZdiKhWiLebp8AUTa0s62fpUG8CNp9aC73t9ccGmwCpDGRRj8S+G4nDul5FHf+Rdplk6mUW/vzE4HrvytnDcApSolH7FkR+gYN280jHrqsQLPz2+dlxLVTm0v8T43naGpoFQvuFO2i9vAiNjEui+U+kaMGI1XcrYMC4BCO8/3yYWak9F+6dnqLVy/l7Gm43dMJkTAJxfVmSAT99neQmRTjOfvob7c/B4PWUObCWktjqjM1fBs8wgzsuel+7NvCK66HGLFsY7c7uhQbTqIWMzI7repnrjVUrg7R2vS5ILpptmLZiGNSCV+QKkyJNrOC/5Q3Pty3Z9mTp7CJ1Bzn+iKXURn9+KSxxjyocnBb3KJbpTQjiit2Js9gY4CLGwLwRWiKNeOScxKk+FBRbjCWM0JXkHtN+ylonFy9HX6Wr5itJGEsGDAa8REVCxe5fKhtSMbXfl92+WvwcWhg+y4fhP8mtTc6lDDZ4IB++e8r9j56BCBvymOlpEah82imTe9y3CQnyWkxnFX7yv9d2unS/nLf5T8taFDMG3uWqSDwUmLnQDcY31gLo6DToLUilgw7Yt1+4Y7iS7X9JPwnNQvFDKs1JpQNCEdUaQodBgQ5dqPf3EiSsblllzcYk0zhnw1Xm6aUqqx3YSv7Y/uaNitW5/FIxpQPDDUyhfk40si5MkLV0OGtWwFEwvuNQNn8tDbAH1L45IVTlRNMmSrtxn6Qq90cwp8rjpBics4toJB0M+lMnE5XQ9bf7PZ60d2xMwChPmK6n0bNP31D0f1cbNzeG26JUHKmLbJl4L5FsZ37NarSKyzlxEFwv0PZ9YAyoZSZmg/rH9i/+yg7+wlW2L8eR9vzbE08PQ1fmgOlS7o/N75YGLohppyiUnOF1ZA7eIbhAz5DCuJf8yE7vrEZN056Y/FE8pm3XytNwJ2gKQla0OrX9iXF/o2iUmfJLt2X2RmtST7ek3IFpa2gm1pTtkupDIyQCg4Sc9lw9Tcdjy0v6+fg5tpWucKBzGb4b4fZ9ccElTFYDEhYkCcH032s+BXR8WDNq/0Xb4IJ9Diw5IahgQF/fGvkUtpzJZ6OdcJQM7IMg1ipc3KhxUp7A9N1eBEGWWbul1OPugcib221a0th2r1ODOdfVWMlfxypCZAQJb7SQnE+jvYQXnTmOo5tfRnbZk8cAsCAZpKR/IPhgqaAtVo0+EOjmRPNqUI8z92SkG7l1RGQGkXmMR4E+XAvETaRw7C0etC8X8fT52+gdsDdFw9GYwMFK2kaMVm3jICUEHI1EP7cSkttOSIuLZlkRnt9aIYKqSvDqNJB3FmjqUxAjJTdziKN8GycdzbQFy+MXMPMNjHx0cDz+5jYc688BvC357VNPmTnAl/ihdp0Bw9fiJ34wk84RvWnp31637Q/FIYxWhFSTMCcbxoeB/kRA8Dp/SkoCYK+SKpJ+8oyPurZXFhuyyaghLYBQfDBV52T0/ge1uUCUKC+WurXapGfDQ//O3U3sDHV7jiPz8Q4GZ6uEp28iZJFHrePw3cS4l+isBvuzTpThRHGUV0CPzZsztKDEl4RzKgCLtrRbvThJdViF5Gd5I/gUMgugU46QB/EL1MKfWmga8/Xl2Ys1un11AFTWjI3wtn7gkM8QQq+oXRSasDITifQzpwOUf200CHv7s4NV1VKlrLtHNpCG2gDZMrIH8NnOGpV58tTK2sFmr8eKGIC+R/5TyyL5klAVKAP4LDYoqQNoPaBIwk+FVWbkqn9ERD9P31lKpMvPbVXs5Q9M3lIzE/sJHsZNjtj37uPMRoRhzBvGEI3KZBhLFLifot1qz/5geCoIHy8FKA68PUBVvLYNbE0+2vcZ22lbCgHlW5yWKdRhsw0t6UFsIB6MDlZayx1L+gzwQqIRjxoetlhoofHYBw9u85597AozQ6qB6fzrkiUU7N60bKtDk/qgIN9Sias/hNEuOmWeigP9HRITaeJ8S0RH8G0UDKH2xPBp/KEvty+3h8Cmep9LRyf68+3vvpxSynHgE4rp7KtNmAtqTdga7GEpmE5wCYiF4FGF1kcd1Ztul+2GiNRoWKaSFVv0g+NyxHBv37mKMcZymgJVMw3hzVjcxBEcwqOolHxPK1bMZ5xvoqkIYHvjLN3MoN1qFl/30NAaT4Zn3T6jn0yq7DgDHfQz1t8gyY+oO82OhS7HlmZXJOtVcwGD7AYGMPoc0HLx1yp30SYVC99Qf7NvYX9NHd9tR8Yb5d7PZqnk3YI0lEZQbjU4g6jEFokDMMy+1NnyjwLVfTM8OORXEgeP2H9WvYeOqx02S1NYQ2ng30SFVVCZK+anGb/nMvcKcJkur2JTurYtUxp85jD4p4wLExExDdbb+LOh/ECAEYVji9jm5VH3ScErt8d8HoYZzau/H8d9fqZfsfbkwFOjgfeUFQkuTEr6NKy+qN3IDZKdtzY5nIFruIFEvAOTiUjP+VzycmlrRf+fA3nRNxxRv3CxFVArkcTBoNCBYcklEHNPO7t4a2ZUgtR6E2/w3XmtK357iGyVb5O/bfVeolIAOCRUtkpLxlMobCbcZv7glDoCOC1MqFTsUlRoJTBFfHdmkvIxuGl0cBS9A4VF2nbIugX0wN9y9Q6RCKE57uNoB55OiXmtv+wdQoRZ8jzyGTK1wL098opqztf9SHwI+mqk7aOuYGVQtrIMGW+Kn/W/ODlTNvg2dC73gqNohkZENGd9mkgf1w+btyrjAqNjXK6rwkJkduejq9SWe8d3YuuSZDkntHcDevFwTYcYZkbTDgV/tkyPGdxwRLvurzH/2tpStywfRqM6R2dp3oGCulmDXTbSijfEfOd+SuWeoDgPKkPbjy2aA7jRw6ehhiznB1Zsp2mea44igyP50SPz6x4KjdEY1UbD8yv9pLMo2Jq/I1v8Vy7wSaS3zf5Q69e4rdiVdaj9aS3GdgcllOi7eND7/A7FSBQtf56aBveHgEe0xLT05aNWI99reDRU1liVvtb5xP/LlaHDY3MO9/n/K4d/DyrjbP1RFvzKAnJc/+dHoyJUUNBfk+OzIFPwHpK8tzYpS+EqPIMYWrNcRY/xiwnGYqkCNQ3IIsu+LiCSjMapIKpTteKCiLOQm4T1TkwQV5t6wOWK5qLgiKzy1nhPIC+QShbS7FQqVWL2JHiHKgV+CVZYf7se85RkVIT2IhR8DxB5B1a/4fw5AkSATY5DkRGgOjjv+Ipg/meoHzq/WAJGjDpFDd2KjbMOYARz7xhX6mBJlagecNrIf/ozsWVAr46vmcqjEX9iEWhChTTfLZM5LSki590k60rfLwdrNMMI6FU4NY7jWIeI4hy+82P2wzQyuu94qzDkHJ2s596/p248heL4PvQxRCNcNb2yX0mr1pIT/OvbOLDQyrbj6mHLwQy3N9+HKKHIX/TCgA0rGhhd8P8DU5wqhvyeQL22iSEMhRt15IZDrf19zUuqqBV/BPsPGAFNQBWr0/r6yx58aert+PCW/3Mx9AcgR3pHuUmjoMVPzfEsjm188hgF3A1C9lp5JWQAx5SDVtrz+fGIc1JvMTKrX4wrvt7wqPh004NcbXX8Nmwr0K2RcrIGhAzLJWQ5CZrrmYF7C8ALU2FkSKh/M+ssZljcWDLKTT4MwH6FSfyQd7IM5vYRtCLNVOZz5T121Wc8RncQj48Z4pSXj7jj0/VW78BSFhoK02rziajoI6ryYFhQB2UwoafnDO876g3Qvu6iE1BwX7GKlp24UACH5q2PfXMVAqIMN4BJ28mhynrfonVKzukW/I4auFZJwURZbs94H5zgBTDxqYMwvgHttRDaYQSkooSA7Jxelw9IRPX0pOY3jdjrO3P52tLd2nmYvV1YZpxipY2GXzJS3pLKeStCFZ3BZGSFwBct8RPWdQ84qyzeVDLhkTgLKsB3mn7DyypGCx+NnuTv8hH7ZMhHYuJy8+nBWmwYuMZlumtwS9/Ql0WA6tLXFvwJhxOG/6pq3H2XMny4+WrvzaTvodd5MCqjS1+5F/xtOgk1docQGJa0hyTMl6DcdK3uQImIUQR3S327OfFwZajIfAzVbFoloTV31mYy/UZiohHfZBQMK9Sv5Usmc+0b2qApzaFLNoilpVB+oCKaVW/3N/IVkSJiHygXMr2x6xIkschQVkfiycgLeCSjzeovCZTHDuxmZEDCxN/TumPxFHxmNLEJORLvk1W4A/H0vcII7eC6BxNhUu/0Wl8iZaewSXaBr+F2pvxUFckIR8wI26vfqvzvoPUTNhzA9ANHfEvFp0E4Y/Ec/AmeP37te1vJC3V8kXdgjicJpUehMi08el9LhvtxSLjnjPjmgyh/N1vrUq+7TLzLbvIl6Tcaw8SdPV/CljFtlkvqMRiyiuun+k4ZI5JOswr2lqkL4TAipxF1kHyYKVzjlkbhdLBqE8QaOF9C19K2TfZfKXhkNhQV8kzDfk/+tS56xCzP3moGDueUuzbpJjRXdZmW6P5VWsOO3MBtu1gSB03mqHTIF/a7V2x5+Hr+bGd3zqOAFoBFOid8Y6L4rGqshAsqw7h7tp1OyrFFybdgAUjcub7eWJA7EtGx1i7ZUpq5Pq88RKhBqTgy81zmYzOMvamjYGmrT3kHZX4HOSYzTa+roEpJHf5LIXp0DNFszLgUKmp+VKWazVyQa9lAqkFErO3+K5OHaHL1oEse4NsXsrYKvDzn3LFeAkCULkDhSohO/wPGCbEiYQ2EJdQQ2Y1sjxmjsZnfJ3a2nSYoBqijBNLTkt41FU8eCay5dBfy6EZ2MgwBDKKU+XcLNBW5M8fjIwPwwNZdeogldhwxD5IfHeKOXwkUWqTfE4fLr82wx487UAthQcBghNF4rvMOrOd9uKff+tQvc1EIOaFQNxM4V/moKNnBmP2GG3NpJMs49EEQwdJVl5XCszWr/1SNkV0f8dxfqsjBU8YeYNn3x+07RwqJfpBLQxy/hzSUbxTzPX7sg7nLRvgOuBrjHIdFznEzz1+9RyEmRI5ULk1daWXh+6PGqnCf2VmkXZfi9+lt891XmsdsD7Zwv81wcsl09zg5P9zg6j3FtsuEHcc4kR4+/7B9C5/4WZXHsxZvuzYrRMBoSJg9y/ZWwdhqXgSjHVlg0QBrqGB+XdmAFSfW0oEjBGDHSXdsZ/YLOZLRC1OGsVTNxVKhT/MYnphaUaBWaNxtYrCdNVO7FiMHMbc4YOcrr323vxF5oqX+PFkfzupwnE9Gunj20PyY0B8NDfeV3tiFGLcXIvQAAn5CCFjHAoApB6lGLvq4WHr5cn/AjA01kAMIE9geybyVXLrCmtr1arhZddvBk34JwAEajpJ0iZRk6tPe1bRUblIxftff4FrwZypEl6Q4BlJ5394gbxRQ/8INmrUt1cQc8pVVzU3cfixpp1ojVZ3AesjHiMR7BUNlHf6EnnYxwJUgXmooRarZ/v5VSYeqWwya0L93yfxb2XuiICMA6i2qlBSjC3qlulWGSmJBq8qDIoL2Jwz9/+2wfxuntl8gNqrNmO3WGuJZK3hgyjO0FG3wi4ZJVwy4K7VfitFVErRrfutBKCagOuMM2VqH/PIEhf2jL9xJpR7Lq92iF5HEaRDv7A1RFlDL0/Xp/jsrH8eT+rqA22ltI0CMFkICgGFd42PKARGMSS/aHYGngyvmzRLIXW84TZ8S0G826ue93ZR/4RhU51NhbYs5nLYAyx5ZlHw35a4X6YneYeb9QC8hpKqmImOOi/cEVNA+o9XX+H+94w/68kW7S4lfFSgEYIxHtWLoPA2CYOZbd+zzs8vI+NmUcXw6B7WZ8kulUpcfXFGDAtiOwl9uCPgqustbm5sta0qQxiMv65I6SnaCMs5gTgUVrSyI16auh045WELcIX+SowxeggWENVA+rpBOqdSy0ZWUJ/a+AxSdgY9iTeQsMs5lszeRzrhVtTsH1pIVFcnNltjvsqErHJOUiLMm+UaxclEWpuiIeUZ+mdmsEyvvxBWrIpdu6e6UGPRIonFKw9xb70ln51G22TdjAM7orQLX77owvzmSc0E3lp2Tcx2y3dyDpttP0NhW6jo6G/zY3ibbEtCdw5atZ+jTElQ1svrxKc2R7rzp7gK7TifjDoZ6omJlhAObtPXyX2S6CRPPzaLDtmj24+6Ge2htK41m+3/qVyXOLDLEPTTweSsMZgCdWv13QtbVzD/j2adhFWWytq2uFJuGFMAa7ZUmu5fcdxoNGAxAlGGm8rhSsj94b0LPiEXdr7+QUBA0yJv64mBVlPJss4wtBNQLzTp29TJYtD0xfhJZpdcADnlHY2d8oE/8Q/t8yjg5pMmXWXbTeDBQMphy2iDgOVYHuSbCttwUnIuf03CuK5xPHkn/57e1WP8WkxxUs2FbI/9ftkRJOHFsGSjD2U5XIO3KdQHs6xklSY3mneHRIWlhYMHNCjXPuDbTd6msIwXusMzOU4nRxUPCfkU5QyMheGOE/3YKMD7Bzp7Gerj/3gKNDr0kmg+yA0RTPr4gCcm7YhGV5kaSw1mzNbTohYavWBp1FQrOCj5POmMibtWucL4as9GoaKuLkzPDUHTU8LGz1aQY0g9s43pftkgFderTEVLCAlC9yATDetKtFEkYpEl22W6speidylgl21cdlM1V+JH9ZEe6W9Q7x7aAGjtjkLfGjrwlIqHT0U3RDfjDXbM3GjbwkZo1Jf2HmGQoZeuoGsIVZ/P1MkT0u0RGUvSGuu5OnEVZTnQPyynJXqoOf31YHld0FVsF6pNkfEIqOd8MPpOjcAiTzUPsz0lvDGajGZnzenJTXtSjIap3NdKw2GUUF47WUlgBCeKChJhLs44nI93AqyGUphEyMMBAM+LLuV/DL1pc1n0UYltNBi8Ejt6X4jTKvz2bofjndQEmbxkty2z2Y/17bCxyr76E9EFxrBRpGF0fthockH/nRkz388PZq1odxWAJrAt2SxT7QBQEmEM1IZTHnP5Lu5JOcfpXs/3pFDJ1JG5w5ZC4m4Kj1gT5I/e9mevfNlV1Viz0N31Y2DmGjv+zdNoPWFjuZceujsS4TeLEiYyyeMegALApfRp51xlA3WKMe4578KoVivffeh+nBpGz/RTa6W1SKfRuOqLFwTevvmlGi7XegQMgRBmryDOnIJzlkS8ix2P/JiMALbS3DSeO4536LtodaSZjHW13WOzO+eBAHMdB7QCGe2M6oQvvjR6IZMdkIr7Fy6QFRur+jLBBUr6+Ae1G1gC1bjLmpTTNGHGAIFQGXmjFnCawbs60x7UzT2WCyciI8m8DPnmF80K48haaQTfVs2bySMNH/mjykDC5lbHpR3UgvgM+2Now6752duSR4e4vNFjjEZdvXmO7/K/bdN/FIzWt4Xp4wUy+5UZTHeb8ZsmnoCo9hWwSSttxNJJAiix/Y8dDt2hOaJxnb+BK6YynYffZCEpaG5d7q1eN7eJkmRCZjeztYMfYq9Qc0P6pi/J+TG4TMxAScTi3Mr7bHX9pnfnsLeUaOHH2yEyToaR0MPeFic89GlbMp9OtUOGd8pi5xrVDF9apk/TO580vD8Vy6Y3MI7RVBzOyDV4o/dQ4Pe1EgFTKhEKT74/twnQQuTsfW6ZuyY40YrLZQNPN3uP+v0NM5J5MXYzgbRDMWCy6Q/x/1eMhitjuklJxC8tiuf3Z9Dj6pY5t4to2C8hBtJ2KjuT986bNLoI7mefn8G0lO/vW1MeV4sLQbK8Y8hc7X9VuiUxz+IX0ck9LkVkftNAM5ye7Nj0PXIHEAR5j0kXRIwC3HlGMpFqXSVOI2Aggik3/4SrQwBb42z3804eZB1oJUP+u40kfbmWT4GEdx1t/ILTM3/tn+RfgT25VqtBzRgm9eWEHaHd5C0t1m9fAaoheodthiZCVCoTgEtyQcMwkVfikZ/IKLtd4NJy8WKgSPzONRqMa5yyHyzexuHqWwMEE/V0l+Xy3TyGJe4QjFhlM+nj7ibbDmHVCjHU0AzESq+2gutusQWuQ8pajYqscARDLoitSaCcj5nXN25w0M/7vIs1gqWbWHOdeggThu+kkICPSPY0mO3lEHae9vFQYZiojiuZNx0cONXLjw2JcNa2MnwZAuKJiFRQV0Fh53Pkxw9MnzSV6ESCqcd2VSoVApbqoY3X5TrQvqFDsjoOg5W9dGKdvctazGKzkS9oUymG3CqR1BM2sfdUDq+Lt733rUxGf+8VtrCPTvIT2WduosyWAeOW7zawzx0qwzte0XIFZMwDOBp88BwnMxbmTkhPYFTFelRtFDFM+60XwwhO5xTUMnzdMASAQvp0e0QKITch47KKetNz6JhUfwr9iyhfmAnNiq1QGy42KzXv9sT2Zd1k/Ov1POIsFkB/9mChqWEpRHB6DdU+bBLoDqQrXMMbso4hnY3pxYT6clOaeomEDrfh5WxUU+v8YGSqvAe+yk/OJXMpiEFcBY7oeD6ZPiKJnnkI2fdHyticI5bNNhFP1wwCB/rB4BUC8cJ0Srlz9d5HhL4KlDRoC8LKqxCwgH5OQZWPVvuCk45cC0s9hZyhnbOCkyT/IsvWvWFPEQZu2yLKgStgP6LM21TW2WyAQGhhoHe0jpppcI0aA5EoQvDcJdkQvTxXlpCACmqu1SBuGzo88saW/hBXesDBMlXF3PD4LWEBtZI6I0kath2RIFIAckn8JG5CawiqX5RiUT5++/K88ufVRVZrxzaMVWvL31HqoG4ceippSKQmmJIUpjj5HnlRC47psRUW9lPYCLCGj4tvlL1lpwI3DoPsVrZ2lFIP47jjDn1/hWFGdOuSZe/ODH9EIjlKGteLgJpfjOyCSgyDxQdpS89Dw7aYrQzV8EJXjbtJt2Vg8tSP3umoJX0/rL03mZhlhH0RCSdnQZ27m2sYjTp3k8xu1TSt4RPX0RUwiJ8kcb06Mvkf3xRNp7jhIbpVsufJpXVzr3T6+yY9ABkkxlDDKT2La8dxRnU+cwTmdoYqJEhkPpUfuX4z07tZLoUiHC7w2LgHLSMZ1F+ZbuLKn2mG2zog92ERWPQB8VnTl61Ywf53f4DhRv6Mg95QsK70UETO7vjYTsfnovwLU/sxsuWYuiMCadq70xEPI9sdpOUnZJYUn838rh48QQg6arMnHStzKgOYtfzqsuoCYEZ1ljqnlsBFTQSQkNbGe4z8H5773Feda+r4QWIIoz9FfPx2a/6fBnFRW7zwBjF6aodlUtg00fWFf/JmoR9ssSgtxGP8aukRqizi34xoV30F/AI0XJAz06TTbEi4ByPWM7DywBoQWXN3UMyUjBnD35rokydJf13cEBOWtWIKZ/qNLV3+tsMs2Rj3BhBBY7oHkkmQjpGmOLs8bLhwtcdPR0VwhPQxYQVUsrDxiXnJYrMsvjAx4Jqb9Wk+PPaYrp7S1JG9MteuJ1aS5jUn1M6igF9SIoc814zdeTS7aqy7IGJvUchlYChGx+56lWGBwkPkgTw6nFOTTPVyk4IZlmxNwmcT2l0g2gsnC7uKGcVsCIIBamEzxV1WHobachP4KKzAY32jMVlwLY6yX6rMu1rQI0K1qcwkd36WU738b4on9u3ISi24lJKiX6KdCPLUg7Te0k7mmXPc7n17WXfwKuRg1YirMClxvHhiyzC18nJHoOcS8y7M6H59z7UgglyNqcbQoYIO4hQ2/yTf0Qmlms6vDN7tbsVF+8EnAEaNmrG66DMPSAwYqmyIV8ipQN3IEEV+p3BTKvsljnSMW6YLYyLhDiMgrYV8RjK6TwMUXPEobL3aqJ9z+OT21ECO+rwBcpYVPx8B/q5L9Jtx78923H7TXJZZM0VPx3Pxo3FzchUdbM1O9cARE2+K2JFjQ+IuscY8StkhCHBSCof2R7/DRPJ3YoMJJfFBTiwLirK2pFFzzMuCOWDw4opVZpBFc7THtXb3md5sNlJS+FSGEeArrqpLn6VP7PwqFjt1WF/SC3Pw2pcLYTljR2oIEgywyclNESrMremOZISk3W11FpLZd4mSZUa04BbOU3d47nN4JlSercucD/xC9xUcIxsT03sHexqiEZ+4EE/Qv9/YD6qPVWFXBRTfEPWHV5AZxfP0vwMrNZXpHzO/ZH4iuQSYTcQIKfnvAjEgF9gWCyVNQbQ6p0sMeIHplZDJ56M966vD/Kf9Mp5fwUqMKyf9uwaFDglOcDcAe29g5kmK1vXFC/rudvekBfqdxiBmzPphtTYvX4XRI0W/FMfABIVFSi22aU59qp7YZzQyZXMIYnAjaPLf+Z/RbO74Xfx8GKNuLPxruM7559VJ0BXKeZjNRy6bA27m0V8HlM8jfs2w5r+TVuzlh6VPfFYVsF5IXcFZhGK3dx+dqHfo5TK2qkjObpjlCuBNMj9bUUa/TeGrLfF43zsPrKEkP6Y9Pk1jwfQ9NdZzH7N/0rkqWtKyeTqy7CxzSACFer4/gj/BcyV0Upixn6Zt5JUHa7CSNGF7u/K/WTYl9/kb2bzay79ognSAUX7SQijKNh/xQU5EW6UQH4PilksDJOEdHMk5SoJFLIMbeVWrxgRZVGk7yW4g69HElrYbaUrZl7qLG5lQtJbQnR4ZeH8suGJpsvbb6jRC1ktlGGxVmpxbIpBqhA2Wssn0LUO92kKM93ZsT90gImr2EeDxQofN68UghhvjO2uiX7OEJIoXHvwpH/cSg8mHK1x+L2sQ/h17wgxw/Iz+ZtWsjZuJ1TfkIqbvYZCd58Q08FKmy7WTEVE5Is6rzzBcoQ489B3s0pN+ZNk16h2XRKkeKYRyvelWa5wPNJ7BORjsl3mpuRKTNw9fHV/vfqDZBkqeQP100oIMRW1OMs/QK439LrEshdUmG1XcvC63RNWJfiT8+WCaWVyM3BWjURrpPxTCkyfUH2HSL8TW3JgFhW3D/bZAoWSKJVv0U6AYzfvSFK9NVz+k4eECJMkRMGRTJ7/fUa0lSsfHvO76RvC3i5x1yIHS/KSzOjTb/mtFX743yBnP0NCx3ERElSyc4k43+x+IjZvZ5LtjCUulnO0N6/5PK5b2z3QYqJXkBj84HUoxTn2pW7HQKZGiN0bwYSRqM9vLgxQdQyDzc5q9YzwyF7T5pfFGZf/oNoMNjP7iytXAqTYcpRZtbSJqmShQH28vX0uQMnYS/ZBRe5r0HBpVQ8ZwR0xoQOl64Tvmx4YJq2ek7sK5vm3p1oeF0fm5UfxmpPYms+S5XFVlbJmTnDHdrc0RPLXPhvvUopshQTECkOsfxKPwWMdvYx+1BWDOhDQznQ8XNAmvyJD2i9s5fm5NjAxICG8PaTB4hRihCv7YTeIPlX6tVJ9xo+af/6sgI8Y/qRuoPQnJSSFA3GT6p1vMi3kRkX21bj06AjFPTDeAibEbymvAfJnvk8ZoLjRLn95rOEK9uiu17Q1OE7Wxo3zBQdOBo5pvA7vSDuoNOv2q6znh/SkD5PD887AUCxrFgcckv0+i3BYrIdZ3JK7VHyYv4HBAFhSS1XLCug+Rq8AhFfFeGETpHZIF6nKwiD2kT0VKd8NykQAReJk03LiLuWnJfkBuzmQ+qAApSzBBW/6qA+XV8yQUXIob1bscbHG/TUaBl/WHZzX1B6kYykC8Ex8jRdFBbtNBZq9GrWcqG40PyVFmMyLbZNmHzMaM50oeMFTpSP+KKUPofRgHoY8lb15JbVIpyJwai03pJGx7xH2zrhtwkz1L2zsEqbBGs6Mi47iWqtFuGP/6sjiAMNOgqrM2Y11r4jF6ZadrWhrWYpqCUAxh5XJHNVKRA8844t6CKBKiNuqTj+uQz/wc6/ON09OigchenLpluYlMV59lmrvEgs6VRd/J9iiF6xHeYBDJgdhdNvzuj0ZZTchKm3SsZh0aDKF7ArSBk3EfyBk8ShGeMdmG2OofCLdhIM+WdEyUy3cxTl4qcUhF6KKgO9ovLnOZ/XjkfMdziZwHa9CjVV3+CGEblo9xMLjkEH/PesZRFFzC9fyyrUoLfRpOtFsged9W8esy7oG8A6thLgdB9KvIjSU6RBpAVMk0Q1ILjJ8W+S5KZjq9W972qSlLMvpToNZhGFcL51XWiZpGzGHnPtIUr3bYOUVdXsJyJivU54XTV2fNs0TjylFefEf3jxBeRitXzVjGHW8QwAxEGmmv60bK6gn+zMihEIjRsHoGdTR9+sY5znChQvS2YGg8vUCQuKCgG4EUZDuofOwooPvW0MyqZHXFUA6ijLXdAgDE5g9hGBoUegUKNAwScVZD28iMF7z6cUG8kguh5/tjY2lR2mv2gFcU02/x6LirGEML4wwe6ZPZly5gXlq29vu66zVffUQOhUNOsE+9N6XlM/437CHjiC/y1C5jVDYXZYLc6oR5c4l7AYMvK4HEJ0rrn3+rAkor0Cbsp29hkiF0Etrbwjfr5cRzN5TWMNC+f8KQJGjFHCuktZoiMWdbFnOlhhm1x1MfBcY6mIc3vcmaQp7D8FfbxQKLoQfw8t8jc3ROXF5JVdvy6V61VmMNMkXcRkcsSAPADHVNX4ca/qEIMODvmyZRJ8WldfewoPRFZ8U+Sco/z0Q78iGHj6UScfE+AfVOHlGgg+wN77dGg+RDl+qRzPCPNd58uAkqUAnlpNbWRAF92YEz5OFKhgUK81TZAW0q7HjSIL7P0CTkSEdswD94wXFQU/lrfsoKLCFCKDPxBToqX3PeOl+mGpZQgcoa/f2i8IGBrhGfa6LzFDmQZuIV6KuEhH3MMdSTEkVXYGbTQ1iE1yHHPSwuTOFLR8lzWPMeRRMX3eNzdW7cAHq27n/nf+b559VoJ3YRJlYuk/k4/1Yp9oGEZvhrQu4cp9hc1ZEyIlL0U088eYdIzyHF9QqSjJss4OkES/bv/8MI65MHZruWKZF3+LU7jJw9vOVjREl/o/uhn83imWVnHk0AkNXF/sPMq6u4YzsuA9Ykgg4U7/hV9jXJsZzcFfYU83TmahGz0XxpLRbrU9v4YR2fFPY/I9H78SgMdy54taM2u8yesC/EmkbYXYrWoHwc7gSug+Dx1xgcjz/TVxBoajILKNn1Q7AYuoty1N/iXmqWUoBm9rxLsuZYUKBzO6nZ6mJtVcTm2JolB7Sra1gZx9UvOVjfxPf30QxnES2Gwz/fLEewDNE4Mi/xBWuCUfUassubx/riHvxRpW15K7heWtAMaS5IeiovdSL/4i1AyAVqHQbvyybG2/9+bxNTPfq5tunELw+vKuDcJKVlM57wjZMZWirV6Z8neQxF6JfOSZ79siNzbws2OKKJecmwIUGGR5qM95ock0WPIWavdEiCKFdSr7QpMjSVda/sSCFzNIHMhXCIYjSGhMQm5YOLQGJ7906cg3CG8gL7pOBgFwywrWc5YAdHCwsWMkabeoClnDhZn2t586wKzbYjpKpzn6omUFuU18w5VUeTFjQ9UgI2G95KT9Zn342xqGkxIcf7eRUnZdYJMHYTczzXNTzThHw55MR6V6GeYCtM3yMOvpa9+b9r/lmuJDpLTllCAiXVY++LQPTP3tRSBTx0PrwJfoROoiW+bb1xvYQG3FFGy5tRI//QKS/RKiN6tdn8SlbEc0XOP78lEFxfvhMfA7q/Hktx5l8pNwFlWDOl9UPikDvQAKMFUMgQ02XZod3FdBVuZEifXAjL/b7eIYugalNOa1fXIav2kIoUYEr2vGu8jxMaAHQziWEKlqXC5257MLDOECJ5IbvK5QcVECjSIkWzGASPdKnlleI8ikcQxURWlfp15nA0uhHt4te2S8ZEc37X1kfsJBPnipw9994YyCbP8So04OAnpx98da3tGaFdr8YiBNC2sYGCQ3aEqDPrm9E5UIjYRIbLuAcuTKcg1Pxx4XcnXyp0+T4GnfsB79NHWfGWHif7NqyWVyR7nMrTVjn2ypuxL2Nc91nFdKGiEd6rZME1h8FUt7+KCSX2hC/uDkKuOf9TmZjEO/D2nEpA8mUR0rd+v6dGxMmHwevv/5y5NSTdzOwY6hunmVnV27khtxR1h/QElYzPw1UU8JfK3v2GCpMGgva2W2u/U+mvWdS72VIjtVR5yDoFcsIxNKA4npAa8bz7zpjvbnc2U6D3p8z03OfiLjgpTgb8bmOqZbHDA1QGQZRU/hKKgM/uFqgtXhkrHS46B60V98uw7Opp7AUW/xRIoqiyHLrR5QL9MyoLwyPZYBP8ohR4+OPebUOmMyqXl5ynAIzf0zPzpNVqiQMi5SOmMmBkNHLebbu60nvXVfRPmfKF02fRu+8QtWvJjrJU3z2RP/4/CV/ajhrbNHGZbKR+EcIf3CRbRBq+fzEBvDk8P1zE7lf2ATJvt0b+D4vjUz+iHeKRAGUBZK38gELnlpMRRGsedoIFmBjA/te4kqcZQaxis78B2HG7w2zVwoY+XNrfNAsf9W7yg9OC5TUCUUy7umHsSOikll+AiFZ2Z69lEOAHDrVnkoy+egqsUzP2HYzL+ffjm/5IJhJg+VV6wnkAxadsqbOukRNudZJIpeFSu4cTuL37RKckWAVZokZHArw0r/EXQoL3yD3AtRAplBrbm4GtgaAyRvF04ByMdyblManAoDCb3RA2js/OaadGY1AsLgzmeap5g/rA8CYSlWCSQ75tybOq1RnUhYAQ0NifGN5a9ob5QFKM+0c+PDxpGqww8VH1Huy/NE9pTHxx1yxxG8vK02UM6rdHn7K2rO/e2Tm93ayG81KgsE0Vr9wtYuIWVSCyzYtAdufTaab3XlvJgQPMfyBDl5YrNQ7XMUsyMNd5wtJK84lLOhHlUB/CXwsRRIfU34KOSSApJPyWFY5BUHfFJuVq8FzsMMo6OVrU7JiuZ8VPnVsUg0rDIgfmcYRHNZsm1BlwGhj8jMKZk0BmJiX2MflOn90d4icV9q5s2FiTVF2dh4jkXmqqw0KBJVHIDt+6V7h/HJT99fxOqbr+XNDWZgJVRanG+6zyKzn0dWZf+rP2Wns24YxjCaU27eXzzqqKJawjr01b6dyU2k/2pmVDJekOz8eQuf8GICbYd4A4f5Vu6aBY+Q2eDETzpCfIjr4kkYWssQP8a23hri1qx6ofKuvP8EKsH9jqUzA8PaSM4VyAnePRJ9TEZ4ZgVyEjPyJoLxTshIvsEqOf9ofPMmo1yi2bldvsCBcQnz4f8N6J7fUoMSWcyJkWmqn1IPiqF31jB37HRMZlC1PgfhkvfqUDE56eUKzkGVryqqe0r4alxEFgmvMTezFWYy1WCXJj7PE8ETMXNwOtCsc10Ck4FaQIRMVrcoHCwn+HZehgS1TTUJGm7rkmEplARyBCylxNc/fOh7p0QbLcDjeDWo4BLv86L7ZmPbFcYAMwaAyV/mYza1kG289SruI8AfyTeNUcggCGMbcBMPRrFhHeotaKcnPb2qE97fxs+l8O2AlOlzrfnVwaGe2IHldPzDD2n1Wc0QDIm3Lsqsl8DSqq2aDv08yp7s0iT4hBqlEXzli40QS5iHnDmeAwO2TSSEfEaQ64tetDUdMl6697UG95y6vejj37dsPIYiNlmQK5/vPUoYeMZOnpsDXDnQuize5tFxWfbmc2WFpfVZtf8669T64CKRORZyULdH+VwJmmR2/3zslSOemaTNosKY2AcJIo2CQJ+9e2lKa5he49NwSDDodIvBT0plZ6Wso+ef4dD4DbD11UWGCtPcq7xCP22N7ewWuEVZ8XJFuGdrN5JmIaVg9xcZE5OV94CwLg6KLk6RtL3ytzYvL0z1s2F6htIwToqnLfSKHCeC+YLd/DEiQmdr2Wq4dbJhyd8v0y1C2rAuH+tioPSdJuQD4oChXArqMO+UR8HWSfp+4vO73R61QNcy8GyWBYTv1u5VXtltXgUM5h7wYOTbx+MLiKPhGFTlwu8lmPUDzCy2lRUr65CHTHhic9BYgdjezJp/wKsOcG56erGa9EMNRU9x2FOqrkCmOdV7m6Wr1Hnc6D2WUOim/Wc2YmOLONZNZZrW0oBZ6xiiK9PaBaypylYLOKvFeelRA0In5LpaInzdoFTX0/pqQoE8U5XW0Grx73O9bIQPXcDwIilM/R1kO1nDLeqYWw3p/OxEqb2yYKOmIoS6CaikFMIXdZ6a1LWeywcS47Pxe4RKxJiyCiMn6PGaV8gYYUXLp8wVinfPFuqi6f5RS0RCf9K3IEwGTeXFOiGXA8+UcSUAFnvXt7wUqX9XvQU+B7oZYoNREVfUT5bRTvSRpeWp3wDdK5qVKytkYwk6ugLRoMuztCe5RTG6SM6R9yEmlqMd+z1/r57V8vmRdpYb/dgAFM6vZLn7bgDNJvIoQ51Ct0ff85zWlhNjf88X94/3T0g6uhHksmdkxbbB1vlkvUdkV4Oj4egBgUFa1jaV/AMkxoXJAGJj+z3Z3WcW1bQ4K/AlcPJ6+o/I+TtD5hssxqrSarZtpd4pPcv3+ONNEeVhRu2OGH3NhwAH3GIqqpN+dzNCQlW9CWN5vS4cgXcbYs/YIr2kGaZAzOti1GuOc9PkQXYQY5ffKEcXnafXGLWWP40+JxyT01wNbJnMYUPQL0pRPSjCtUIA0pisn0X6TF+CKUHOmisxAdMHxWx+mrNqde0NyQYtYDsiLAlx2cbBKjowj50kBTGTutLYvNa2cJwdd6x1fu/UdSHSu2joKB07UVfAhbGhNFstN85MIAa260aEwrlRWMDKbPolJyUtZrIRA8XOOvX5mcMA+0yUBBXcMKrZhemC3OemaMVjRy0dIA6wzvP+9e7Se863OM+H3FYcR4Yic/aQmaqlOSoiS4ko3sqBXkBabA/2fTXNBUz1+qLMElicuAZLWCuvO2sLN1Ab1ZyoasS6yT7qPQFYPqO19XwViclUTCNO1fHR60sY5NUndIYmhGQLpq+neZzxm3T5OYp4JWItTrJ8lXc75OmgbOjquS+I2mt86AClhBqngpT/hv8AaaP/35km8eAXvfF+4VETwrEG46MmiHBiVPtXp+zL/o0j8ewkGO6/2iJizn5jjxo5i1OpT/hqnlnR27tgAS5vDK+tFqLsn8aDqD1Qq8IQuou/ErV0b/S4CymKJxglREfW4+CK3eBQhacJUogZdwWkhnvhVlqwrOL8IvBVmDYBcZJv7N+9Xh0kKpOPhsds2cOsPUuyKcg6RLbF8jqwNuFBDIChLLY650bOGTwlo+qao+OKPBGicjhgc4RONbitUwpGvieFJcFxfbTccqXmbqURBkkgTpklW3JBHQHdp1tm/3/Bt9np7gieDFlD63ALZVP5p3Y5gipCU60o4vU4sYhgiOast2OfrEt2KxHATfo2aF5+GyRpspoJsvwih+cOp1ZC9K730UBoYqi+65uPgkjw9RJCqsAsDm79tDyzlr/3tfqXetN0HcPRswCosrHCFAdVUMtTmr2z5OIygq4UpYuA4QnZyt8OeA+8Uv7EDd1uF18/4yjHE4lMS/GcreIuLf5F8d8xlcSJueU4f1v9C5kKP9M1T8wIQ9/4rQ/SyaiUW17NEDhMJFImvNeX5s8aOmn5ApA3cnKOtrKI9stZjz8S9/WYnhEDU/OXeSu7aCZ6IV/MukAa3RLhx8uRmqbv3HUFlZQPJVpxjjuH5zDyfg5Rh/qNNrirjrMpsGIQ8qthmPKdEsPogdCA40SKr8wKc4hZYcSXCQxvqx0nHSHrlyqF0I9Gks0ShnSr2tgZdRSDYusfnUCufvb5eEkukjkicgSOLzBaC8oYT5e/krpis8stvbXbXzYAGTQw+K2q/1a3ZJDdGGrRLkpoMVYgPbGY+IGSpjJkZMx8YxOzddicq1Gb+6cZy2ML9La7H1OVyzkIvWly3ADnA3ooYrhYS/xi+yBA5InejleXFx+uL6aXYiu0Zo1qpkZT7xtCziZn+So6aFeIxY+0OxSKw2p+PlBLGM0tIC3NBY+lVi7MQIUhp8Qbmah4C7JkMHjAfQkCpOIE1iez/p8+l3qEnbOqO09lPp1Yf+ePkM2DY5muUK3cMIkhGWjFexsVIkF9bHZ/bDh+cvqPEfPYug2DEuBwbgIZjxubAjS19gv4G2O8jgcpQMSeZ1UGs3A67BRjRdPbVKgSgwfjHg392E0JCU4Y6zGJgWYmNOEVAslVXgXWMb/WxGwKhgoErR3W3mI3V2gHMKkfLk2pQfxrOW0PUyAQfj0Iq322AeD/wpIXIX4eaCHBvZHnWMK3D6ZrLgphkseN7aEuixkHoAosbfJtocErBtEOhe7m4T8M5tI5IsBF2l5yBMeffLmR7iVO7EABaNhW6qg5y8YnlGXm2dcBv73MmayYbow+YJr7G8oENenTkW6PJzI9AnU8KYXSGik7WBwjim8lxX7S5oL+JSKxCUm8cQYM3nRs09+iUIg+YRySP1wLfvGr242g4SVrlsGNwucXY18vAOAhl2k6qI2nmTk5XrRF5DnyicSPXUJF8NXM/885UPihpk1/zHIWBnXcSjzWmh5lgWGJej8wwp54W1O2BHEtnggb/Owm2K5qBeukN3ewUkkOypN4X3WnG8E4fIpUlT4ruko3SZ/9+lzRsX4STmh14nPNV5yCyRyRf/05OUPodACG+OCGmjQFs4tiZknR7CagpHOlu0BRllaGx68OhTgUfjhmfcBrs4jwypFT5y+yCzQlyHsuq5qPFypExmZcVkrkT5X8yu47qgUt4QrdVnrNyJx4yloIbeK2151NHKfhKgnGV8Tnqh9r+QWv/ADb5dX1Vcg8BTCCT8HkkeIqWmIGNyzNkySBy3GCjqKL+EaapZfHbxIsQxhhuXrvreoa2UH2u3B4kh1FBzpojVi1miG3UelMddGZIpuN1sCVHVPhVe+9tzO7Kcf8IfBe3ZR56o26l1phiF5l3syObjXu69CgiVkEqEoPYpxDwIAdMhgFnwFIIRy409yhLiKLoGsUopBPaZ8icZhrDrUl3EclyCtEXeoNPBs86MXe+lGKbChEWnAqn5EFSPVAtOFZuXaIk03ljO/qVal67SWObWzqVmCscdi8XFIXHKkm0RHJldUT4Jep0YLKh7a3VdCGEBQfFQ/ydRw7YuC3j6uc/Ijj2792LO2QqSjwwZPXUuqYC2JquJHt+TDbUoXaipPSE7ggyJEpUj4kAuGxCqUOb/mpLcBUGYYAR6fNQL1LyoN2vM3vpVsyfveMAafyzkt6dzptalRXd7dZSJy3cj3Fx+yy7O0omDuAZsbjyfmZyFl6uOBRN94jo85qw4KLrO+R1f6Zljcql+A+XsmhHNd8mozU0rGXVpgE0+OeQ77rRTSqcuPD/x20R4nlcV8qwNhxgJyvJc25jwxTpyKVVCjBA2/TCuYdKWvHAAGFspfuTj3OxMo7Xb863VSO0EkUKHYijMKUJ9TOOrs3C4ymnrhkm985IpP1JEPaThGUY2jyvnFb1yI1gO726Xr4t1FCDyIw5KulwlcipNW5kAhl3Fmq6M4x3MSlgOeMZ12jM1q1MkdcH0okjRUngAU1py5vMqISmcMIn/YU4ze0oIL2infc8y8JFhRwBehE80VTrZPsrIdKT0zSJmJJfBXMMINUYmYDUiS5eaJog8uo3T+c8mWnyy7Hm9R68EgmlxliNvEQJ8Lk9moUFz4EUsKCBhNxMYBLGv5fxFGUqkEXX80lPDLSE+kDZsx3iVqQWfkg9IEPZipkcVFoC2lg8Fq8Z1+quOMRjxkA1CwLGg02dMze/w3hSuDLUsjYIHRWj5xkSmhcJlqYD4E7Ba9TPhps/2tX4rCQefPhG9rmETi0S5uamxk1fdsJi/br0ycxTbxvtIFiuj2TFgNr33omwbihMYTUOiRzJuFMxMLrjgpJQOFK6iqrREKV7KRmcE5WWII2ZVKdAyAWnSjP0cnxd9Fu9S3qHZY3i58bxrpClcttvYt8soUVaaFRRR45MxEU+qinZIx81EBYsKP14iZH3pA0nyHPwbYcnkMICML0Ai6SmwGPBvn3OwG0omRiXfi/Izm7KPVnnYR8MnRxo/Qb4HxOCM5yy7FQihkco8biPDpn59Su8sqqzQTVPiDN9Hm4c+X+lQtDjjJXod7vWIrm2tr4fC4Atyxh5fvzUM1T7zZ9Dd35Zqy/xHln3sudDISncUVHJH3vEwAmlnqUgrj0v51OTZBSLS7ZoW3Evd+kyPVqaC9wU493lC6V9WiqqS+XuXmYUX1HtnD4gKhd50GpBmndjU/MmBtj90aqqUHCzYNoDQGMW3RrBcKp5vUhAULZq1XN6iudP7DSYrYdkfnRtYmUHgrbgfpbsrjU65hWyCiph2hl1Nb4Np/QCSKYKQMOYTrsAbTQESSgecCfFXgydGir3Ue9FOi7kM/zZfurjqUOYCnaq9GDbe97ycNDxuUhyOp2Iz46WoBOvYk7sHsdjSMlslv9tjGHMUcsDXom6IYecph5kaaH1rzpEfhJYwzCwR61U+3s9wgu+4JvXzZVaXlJ4Y/rlCRBjSGNzzpUHWL5RSyEjyABtuvFIMOOvECf6SsewITdnMARNEuD/3mhCGHvyA5P3M9nKqMWC5Ey+Fj7oADVHya2bFYxJKeQWY7jX1Gb1R3BJVFNiSQFahhkefLuwHB16uW8PyvGQ1yCOli5iCf/f6WcUHjkLnP2T+IUAN0Qha2Je0g4MtDAwRdyCXzB5idphnHYE3qRbiRUqXf2/wdUxr6eKFUg9HTS20sx2MgsQ6U81kHe5BVqekstBkAiSqTy19WMCYJgAyVwrT5Me4SWtrZrod59ux4htB5Pb770Gn8WKbHH8I1qg/t3/ozud4vnufd4eY8jJyBMxTWr3ElbOP8jBa5LbakGf39wlE50SWv134nmTfQzNuBRNGeBzEK5p3jyGH4iwARlrtvdwk6qiGOjezmcNSNUch3m6s4fvkSSdHz3rXwcwuCUZ8pltbYVoy9vwrkoQYVCnONResKPPcd2tkpA8UOOtj+p5jHjgxJlA3MNE8sjonMUswwwT8IHIEmcKzAQlzpmEiBPwJEQVeEa66UkkmxNSe2MvL8VI16ps2XC7CYUNsR1lypB6cfWVC69DyAujt1wisemeFWugOUge9AkHhUUfrz3jBxXduzcz7UOvWe5NeVZxKJcIUHWCvQG7jT7uAyXh2E8466O9Ie1jYoqNNoCU9YpUvX9CGi0Lgpiqr3dFlVu5SDrtACw8M4QpDuyNi5g2D4vj5YB9B1pE3wdLHH654iU08tvTuQ1iwJLXiEz77BRBdRE1cD7fYpgF4dOkkS9IqI/T2xNBPlObQp6QBJNvAoYlkWNp/CKlgaJgBFdogwfk2hdu0y3wSG0tIgq2UTx5HO+FvTb3LDYMTmhp/lucM40bbK3OF+NMG68sCHgxo3/KDpGDxlj5os+miSgip/TL79BC3qR+UOj/HWtmaNqLJA0Pkx4NbS0M19hSoNAkPCA7q8JfP+wfiSuB6GkYmYrwDQYuBk++xp+az67TZKox29fbWtDqsvI/PRWxLgk02RP8sGmpqnra7LsUyEKfHZ4KVAWE4+OycrjrPYHuCblfXHcdwr5VQefGgDhWnp05wXhzvVBME4tjUe+hd7WoAJM7Cyvh55zULXImCRXVkodQVG/hE/RBm1IdFn6ZYeRohtsVaQicemV/lAMIP831z+Fh/oDGGzMAXwsEPV9M/dFXRwZfyYcB73DfThQF7RLkaJBHLzdeXjzczfeqdOItyFildZOX23+sU+xOZ5aTEb9hJOysRrKUloFGxj9fuVMFdT9AO/+3IdmcHtArRbm8v/gxDF5dU61TqGsrNlmMrEOnby/5Bq3kDqL4ebl2cf6ahMEP5FneXMh/L0V8xH0ilf69XRlQFyj2HENfhrCyRW4T4mmuMGvqMW+pOuB3lrzCZvgl6IQIJGv9cYZ9lxJ3GWG9oWrtdudcb5Alo+h1CIHiaAcL9MbMYp+8wxHvTrUcDrIB3IWzuj85K/en4h9fsh15tOVkN1M4QoblEUtLvUOuPQJJG/oh1eLoZtXua7yibDbDb1hG5cDtu5AaLtvau5pH5QWF42H0ckN2JAtXzRjdaQKmW5BfqE8Q7t5jMU23gN6VRA44177kD2zKjU0o03HA+COBS1SPPqFsxWYI5SLhXnYv8moEAOfDMVOowW5oMy4GZGoimZ5LpX3OwVK6yYo9gFQGa+CCIDKb6HuUeABaustDYNY/HGR3K5ddxj+XFqs92hhqzxhAMPBvfDYRpwzohkHnGD0MxXgHVzpMPBARof1OkkjLmq+Fr9QscG9okHJdqVdyBh9pxUqMXGmT9bAZvptuDvAn/2vRZdKWFyTRDxux2eiSyNVHXxL6ceK1h0YzH34KadvPFlaG9aIG4vghpinmgYGKTH5SsVncCY33zvfUJlVuLQwek/Dg/RhSNhY5MXZwK1TKZAq/MesGFGEChA0n3wjFYoK7wQKi/dHr2l+p2l3qz9AsjeddUWGBIS9QRzmS1hnoK/nI/BDd4NT3+zBWjz2EVkk2cOe2gZ2zZvn5qC8XkZmmzhxpcDgZCjpYeZ6vpDjzEh/36p/lXdepgwi6w9VOtATxQOOFPvqVxyTZL0FjQ4lJQozXXfNV3jwVkH3MYSK1DxFh/OpPndSRwerYzmer5sE9vB2Rty4okwFcVJNtb8zmVvEQGqUCbdNQzL2VI2Ssuiqn/uBooTp3wjBEIbmo4qyqzaq3IOK79cMfA0JQDenkIli5/CdSwtP1RI+qvOiBtj54ckvOR2HB+x+Xl71pIgNJTzUQc5TchIsVnnB5kspcDHq+0lKFikh67rKUNFgH04HjyOB1wPpdVGLDcGktPHHBA0Bo1CzjYUL9tgvaJbxE/Og307+hwPZpXr7XERD8zuyqAMaRQgG/U13CbdLTRtct6GMw3I3KzLNpZtrMr5+wnbW/6pQauL2D/arSmrOr3JQ/+E0SnRsuzM47rMQyJ6OzGQexHHhOLhiAT0/c+pZ0Qm6JxguVkjaPPByd8LQdrKf1F65o1mIC7WCF/8pF9WtHpGBCXfGFYgGYFRV3Rv8FlOm/ViSRKPKwZaQIZm0Qfc86RTgdM+30Tc0Vh89o9P3nJHJn/dBCGc35e15my3CFHYg74dX5NET0z+wH/iz1g+DWihn+/JIth/qGg6RrzD2dbZ3ntAad3W+ULHIXoarlgwMfgPE1ee3zLq4r8QJiRM0ZQPxNrwIlUq76o1DwXY0H6HuS1zmcgD7ORraRkoAKbOWx2TgVPzjn33ipjgGNHj54OF1K18tykQKZJN2CjhmdIBTOJ9YG+JRE8elI9XKGVN3cXdy4Im/kxHlXRkoHjIk07hMi/FYaCQnxp7CVAMwxjG2gUKLigshAvSGif5cT1ZUbOl7z/17WQBRWHUNxgyMTZh4K09lQQ31w/22knPrxNkbOUJwR7Do4K25BGsv7S7r3efDO1BVaTkN2czYiF9bd0dEI5x0/eXy9acUVxZ6/2JaP0JbmGi19xatEm+llRdm6YbU/TtIT8sAOQIPxnN5/tJaKifPj9L4UHtTLEXPEyzXvJpwWLPfh9KPvN9bN4Vk5GL5o6ePVZCufZfOgWal8H19ewe7z5JOl1icd803RkeU7Ze6ohHJ4zxM3zqintBLPXeuEBantuQ2qbIn4Gltcx8BbNhULQjoX836/BJ40GYxTQijkcwgdjnvBtqlGZQcMAZ8+Q2WTd/sQ+y+iQKbDjl0+Am+dZbCFKMe424iGO+kqPIA+AZ10CRKOiXK1/Dh8QG76vAWErgpQfHcC02IJCMRKC/9q/Wkg12IJG1HKtS+h93YMDA+/LVTN4vqjOWs22ZTSUWAxKkUkgQNbvyRheMPGv+CkxsaLSLgKEvge31coXPRkkNAjJ9d6T9Q9bOyZvaIBk9kjbDlMgUzZZN2m7xOO395TOlbeadDRbOTg5tGJJp8Z29WCl8jhtLKBqIvZfDw21CpWl47WH//jMP76JMHjx4srxGTjPq6DsVwkHKNDvoAbbZoplEh5HYklqLl1kIlYtZgAMTzcyQmoG8uerNsZXrtANSsgoSXmcaux1XVQUwRM4NshJW2qlIq+PPj85QcRwEVZrUdg6skeyG4iXGVqYnhphOHiJOubURcWaIzWqYY8ZdUiEsosYXNgm4TIHD8AFWLCwfjgTl9GVHNeR5nIVtw7DnGg72Pj+wFg00F7oNzcwHfS2Ifp4lG3dsBuKFVftQ+VOtQ1oBUZLbCbblArRSKeILpVz64wMcnadOJtBQd+I+jE/zx8sh4VnGYZXp0nA6PXOrvumbAaETBDNXLv30Z7clXqnZ8HlW+OuqY5FTN4YBuXdDBvtPDUpMj1C4JzjWQNXfCL2rnOUNIieR+xxlXtBGl8aMxSctUwpml6cQYesmc+vUrcO3AMTTYNPPFAlmXu+83Z+yYfQdXG9BeIhOME5bDVSEFU9lHVKUAP5ttfO/hmrFk4GNhabHmulhydED3Tig/0QSsbU2HY0Nvt3eQ019qTBiaw7qqvr5ufPT0OuvmxUNW3Bw5zdQd3R+TNce5ZPEJMZPzb5SjWG5uS5bUhf/WPykCVoePSmuxvd22uaRQwElM+FL48FVBXlHWCXvg9lcvsyWx9dWZwUwWM1HzZbIGQcoHIDzcphHp/H8kEs1mh+MJatdWqZuzPZVanTHROVeIwIFpi3PWzNgUfz4+YpHYGUr9L4pMoHeXuY42oYssMAmdKKtT82zJXMof1liByWrMr3oxe3xlO+ex0/lu5d/1DMchtsw5OY+f+xhaj1DkFqtzBy2zH685LkhkV/JouKYx2En0+5ge+rqiJnvwjsVqEnZHYQUDQ5KSUdPjphhB+ERtAIqkRifEgNEwtWpQtfgWah/gAbpl6w+5BlH2NbyofUJL5UMr0tqKVK+bMCo2Y0x+jG11MyZhzbut+wCDSj7ax33OiwtuUdw09E06wu6tuq/+HeN51oG/kHq9b4hVAaNZK8G7xj0f3w60Koyb4u05Jk1r5ckld0e9YxBo1z1x77mFKngW7gR4xJEmA0rYmnx0vo1ZMgAfYbjpCD80Er/fs4/PiROLfn7YqATaVHP530UHS41TjnxhEnyFgwk064JZt5TF0yNs/+z3Wv11h9Nvz0QfDLjY5qyDTEICe577f8NHERQvbu25i5HIuvqokV4rNxfot2ldNlikJ8csmhA0pHvhCVLwTByilPnOztN4eQNsZMYvzIGbKIpRsqiMuPYYLvO10/KNve3Cjgj9cAZfP98O/n78t4OovQnGWvDVjKgljVizI/SEXH0HoaNGQKnyDE4uSfrSXyxHLYIZ4US6BubOp9IDauBxWRv4M7/XxgJ72h/kBV/RLCoq/QYuPjeiLhf8a7fora+zrLConpD1LSWiFIy2poqLFvJ9AMI3a3vJ/nVBQxIEzaMILR041SmQzwlSsYoW368if/Fbb3O/ySLiDtDMsiKySZGRcSDksqhXQoV3UC7WsY8o1oiNoLEI5ae6Pzdb5cqcx0QCRiurDzgCbh0w4QF1wgnO3dfhz2xBPkiEqmAMuLtxgRhbJp9PAO5TZvzNQ3XU8qTf8lbNtYHN7l+zuBs6Ak1tYzB+sn2AkUQ8K9+mJXzLFKoAS/R7wyhF+lh57rJbYDOsu/hlRIjJ/cUVjBZezwHIIxAs8Va5OfGDrjJMkyhf1gSsWouJx/vhdRGVas8I1A7JAZTNoHVbw22Achz9qvIXBTrS6sspapUCD28af7bxXr9d8WxX1T4dcGp7DkjSr9LVNp6FcAUQQ/AoqSB3eLGJ1DI7n79Xvpo4vqs7356EE6qmweegS2SaPUmAqonNwFmcLEFtSNyPRIl9N9pDyBX1TxR2Fl5Y2V3Hym8X06CsOvbhixgfGNFRPlgwglpCjZ+KqXh/0yZqQsFbyb0492jv+Joc0HbRMPaW1yuZpCNV54n5qNufwo/RszmcbTD0JG1V92j6+H9A6tG/uszrehN0fEEJQeKeOt+yBbfl5cIBXuRWHAY4QE7fzPfVR186Bb6O38xD5sndMT73JikbRuumfJBeji1aC5i8njc4tDVx8kPA+cGYS9KItsoVk7r/J2+u6krACSKQhGMMzHJbtHAVsJcPh358cYqwdUskGeBh69MQKaSD8E17d8qLIK4NKwhGWX7HEKEzWvuA2KooDQjmZP6ofchYdWTIeaZyN50pjrkjJJXzzLmFpmwilCKPrAULmb3ijw4LRa8btKnv375F2p0mITJoAzEfCza/Htqd61EaeYHOnathhwIhbqz5KQdd3wKentcI3cGBlK044lVnZsCNNI3pDBwwvBYHKCUCnnq4gLzf5PdNldFJmqZONpZfj8R8V8nanvfEiKfXiQg7irQ6+J4/f3P9whcvjoE9PnUdAFKoGFxRLgVfoTXx04L4ipcj0ju0jjqyzM04DIrYl2UbT/s8KNqWAaT7pft1ldVTmwneCHtB/pRQ7NYsswndsBBdjsb8skQtXL/5k8qoe5YVaf1X0pu8VzSsAo5xnVyichrm1lO9gwIBMro1Rgh0FdULGsp49LR/3cdLEYwTo93mjJbLOVakoDGAgzwT8rk3KRcgp3I5DUzCopczQZAlx4rGkDUvELbQGPQ/Z6aGApRjydX8QgdYU6hP86CDYTOMJexYryTy085s4nK5FopX+uX5QL66vrDOP69+/tkIUM+4S2CHqrJUfYtvT2YBtrPGy9FN9hpKE1H/KGdfG9U3VjUcUWNP9or0dfyaCoHsKCaetvtOdV3rT1xICd5kfqYJaZ8A/e0fyx9wyW6gWBomtZH5c1M+GRDZS7AozLHCD/j1lkJ41ecgI38gNy3QfmFtCoscwtwEee1KOy6evhKjW52g1VEROvRgGE5H4S8hc8h1VkmcK+oEuClDfzzerxjZBb8Ez/rb3YNrKHlngZJurdjm4oc6yEQ9MweLg/dLe37UU8EHCIMZICrrtBdL3orse7Nb/ynOUY1KfV5fEoThZIIqj4iGEL5yjaRw79JP01LnLG6aKHcnscAYzml9b6Z//Ecat4RmywNcVi3DL7QEAvfGYxsskZdGPjmXkJMnBHVLpTxmyymu0qSu+BwQz4F6y7cedesKX/6rh37rE6ZSGR0dUfmR3GYI1vh7HX1JARPV9P9XcdDcHlbXdcNGAOLl9ZbWO/1CZtv6rLMyb2KmAcmqro994WhtNn9Y4FLtbuaxrX5gZfAUNUdpWvX6ozjtwlqtNN6oLWXxkLbIS9yOtO4hWPD4YkRgfmmD0FUWrLaJicaHbgwfzSkPxaQ8D6FOBDMpdRIToBEmvJb+d1w6z8OPy7LZ+YirmKW+o1Y0i9Y02Ek0ns0+FV39XZ8Au3XNi+37sdqB5EQXbDk1t0TTWCvOwcA0EaBssRhWZd0wJPZI7E/bYaw7QC27t/LvhcMW8ktNcaI0VT8vTfe23kObw+mPapl/vTmqJWXUljoo7hmJYUIdgTSWEAHrUwW57Ih4pjlJLtOuWrsZtkMNqrBnmfWtSBAZyRZKACwI7TY+zMaPiM17qTbfrCrwLD4EQZeTYbO3wVo15LJDnUwdzXloRirPDNbQqdZRMNrNvpzwxnITCyDOMrDhX1rKhcbeAUxFcH810iklaxRSfM4bAOXp9xmCbw8ypuCqCS6B9leT6QKdShu3aA5zF5SX7TIdxLZWmoEqt2S0PtUXx3vXWqgm3+stUbT6bipzmrLPTxW910j2jfggJ5iMMD4Mss8rk9TsXv1pfaiBRl7+sWmleuEhpCZLZ31eXeTfdUt6uhNnERji0g1QThfw4jy95oVgwhWpGvoK8htQQlFFCWUMuYOtMx1iQlodKk3MO87GanJlk0JD2W+PzLgFj3FT1Jj++xNANXAjvnPSUuOV4toaVwe7e4KcRrUSGCadzPm5mVLUPGYIAb3UfjxP0KHnc5fmXfg6Q0u8ABzFB64RdP5tDk7HMcQRitljrrwAq3oeBKexn4WjKH+/fcMV7G4P3KKavMClnigWEqzjUnFPlxNJvNIRDbDNhjLqbDre4KPKrpFKCtl3I+5vbYw+ZGTOSeF9Swkl3qDPTeB4TYbaNd3Irr8vDWUG78ly/+U/Vbv6az7SObORLK4cAeqTuN1if186NPzXY/NAUWNK8IpnnS9FPMf4mRSsiBuy5ZnfLmZBC2vQBm73WvIaO5/hYfcjrAx20bCksbxCXv83xy4Bb7nWSnY0Hd0zlLuPdQoxlK+1Ky4YhW/9juxxoJBDOo/RDDUw7z4bl3DLn9mCPk9W44p0qnpMcel73YHgBJ2PNXKZRaXuQwPjxqW54KepbuH1FoN5f4R/oDV4POa5bSKcjwAvHOrNcGTfjuME/TxrdzkFZhqfYEtBnGIMOZW5z8AEAzkpKwsQJDNajvvQV8lBt+t8E8mVOClWjX5A2pvTU147X7bd546Z07W7bmilQ/aSq0WUTBKKkizNZG4uIuOrlQ5KMAQomXRUfRuo7uwCxfUYmYdNIKltpiGZ0JL3OgfNDJKFgGB2FsqJa92eOaj9YOBRSQYUXAZ7j8H9UsSWANktJyIqFg9SejXRnw/c9WpuO1LdXUA0xH7u9OJPBqUaWm72bF2orzpIWOdwO+PVBFY5cRaamiXvcrolP5wD1DXrfotOT92gtgyGpRFK4PSGbCGvSY0ci5plxBPukWzMgbZY8d9PNTbhuGLUWT7XklWkuBZXDe2F3qWIW4ubv6x6yTv2cszJK1N4/ZPaQTpvMbhbnhOO2n1KI24muzkBhTg7A+eRR+vM9deiOZn3/OTc4e94j8fmQ/OP2JUlcljJwf0QWNBH5MW0Hseo9fdvssZEAYz1o/29jS/V2NZLrRG1rBZ27FmyZfC84C+Cedp7HP7pBjcippN1ko2fZIoqpoTKj4/H8vOjLkYkWRkzzbCG+Xa90UkTw464BmiwuksBaWnJ5BLQ+APwCDEoq8pHXJ3v30cEXwuCT3j4GC9iFXDAbIyroV93hYgq6XdgT/EQuerlKoyATkPNwTgXNEXbb0GzkjRFCvuU41pj63UHTtEJWca1q5IrtLOqA6a5hYEVaOvShOgAtGYCYDrmeQamw+r+mwYD7q2xF6G+gFbmiIqkJcCGFNr4VkNi2G3BvnVx9e4Y8BOQQWMkdUH40Lko+DafXUkD7E8YPT0sS9eIixjgCj7XOavpUnSwA8aCIbTim1Bvk8TJzclL+6wkDXrMifp0rtQoT+sowpGkw6BYxlYAZ9i+rSVqv2wrRJHTkZoNtZRQNHxdYsGIdwiTOqxPRiJYusJ0Vbng+oZeMJzl+BC14Dt4L3nqr+si6O+tEVPXvM9zssWZSIOIxM+oEC2o2Xxsow3Cbc3spjoiQmiklgFpRvSTi5F7uLrhzEltVUZmy6Ps/EtfQUcQNWaNTiQCRrowC00xADyJIwdK6Z+qbRz4O8wIhdPy+KTWxHhBeA5bxgHKKGqtbfSgkA4/R6KBa9fwf7tQTL+I3FPnHKJKVGEkoIJVNxBzKAeSAU4aZMacZdJmWLXgDuIXp6GtbPDJQFIRKPrw5Jui2h6Is7krv7e6BqzjhlVKLas1JnkjBoozF0d9K+THUl7FfteD3HrrChrBWT6lDFLLlcNCRSfvp9Mrudsq5S1GnSpoy1OuGoM3RmqXqOA07PdfAgl7suSGvaSEX+hJzVHe2i1VWwA9ZwqoZc8PYEsfM09dPTg10jHdUyHQ4rVXLGqYFIu6iJ2kxlGp9yDnvDK/4U40UkLZE/zd69EHfGVZTuNvU3pOTm5dUzFreNWXxJLM6GIO+jMI6X6c9Z8yuAwbLALW63a7YnqzXlxE+pKk92y2ySBSS8InY8zH+mN/hd+mlNidmM8NOQdeXQxe06x0NFvXfOTXDuT7i2CjQDwMyW7WRc2bp3YcKlai29EhGEAjcYQ8hYfeLhica2loqxoJTKESRMdqeIg1EI0Oxr72+lQw+N3ceD1o3DF4BV4ohZSnqNP5DkaEhqbplhx7GjrPXeGaiFwZyRNcu3JuTFl9YhSZMIjCnyYVjXN0pAgi9pdDksd1P1WEi4oI6fCIosThwq14zLNn5agf7aeqdJrZX27v7qIJ3Bf3GJ+iog1SOA/Pjd3KdnjK52gmjJe2aU1AM3wLEofy5ZVEzlcv79l/b601Do11Yq6AkpCQoLleD78rZECPE2kK6n4gYliaT2u3jRXyGKTWMF/8/nxsO74e5svx/cNQiaGcGUOkIoBQcOpx65N5lK0HkU1UpFgARkO2C/QBWP/HPl6OCKuGjRotFcJ5nz6apavTr0hneA1fhfn1vB0ppKZxpHWIRb3EsDB9FtcBE6kg3bldNCkNWkARPyEGp4aWaNH1q58gBgn0RSlXcw4k3M+1HlFeznIe/NlO1oc1DTpOm9P3+57/hDMRJIQqo1ZSATMGoHnyJe4PMHo+PLSrRnNUEz94GgR42qQRoO1QU12gMv27o/SR1b0I4E1kGe5Km3T8UWluQfP79cmICGAwTi9RFf+an3ZqbYnrK3xJJQnmBFesNWfGFIrZgK5WUYqRR6NOdFLbFeVNeTB33b8iURXr9oDjqL9+4TNB96jgp1aFWEulNMYRMKvktwvj5M/B9wOCI9oymRVuN8eGFfAbyWyIre3G/5uVefnsCGCt07B3ckLcTfU/WWJVIPVlr8iL6eTVHnL5LOLvbxiknYy732ZRssC14czoUlsc8cUyeyx5pXftCo5JWCibtDjFDDsgPZENPXk/wZCmUKfDwm3/WVvmcxQDw/3aPoTnO2YyS7kRyl9XYcU8kjPKPE6f6oMgUIYcPmAfshoGraoy1HAdcYtyojWVlDgaoB0tDtgTb1oaLEWE30/IGdvMYeHlXssKBf33rfQ5jCncZgH7hy6+EN+mmdrIJfMjDC1GZiuqoUX9lsEfOGlXBtkgdRttkK8IhMnhoV37nL5VJYDdzf69ZZ950X4jfXftI2sC0ScJ8DeAGnsO2VcqodHR9RxyLiduERRgwlR3mgVH2K1N7ax7UX77VH9fg++RqCU5FivjkdnvBtaXvijolh+PBdf3mnM1obHrx/r+Q8CwSBIV0FdcFRwZYR/fXhKXaQj0mEJUsMbDR3uL8SRVLaluJ09H96ybsFB+P9EP8h2lxyP3tKgkoRhFvSkFsEZC4iwhsRnN74/MpicwuBmHsEhXx5ZJDq3eB/zsL4aF6G+BKNJvoVv7BdHwfVqCiGoP6tQ1KQeD5Fl4PgPKQQa/eP/aoU5MewO+9SCyqcNIDNhTUeesN4OhLzfMBdSiccrUChr0c7XuiedieXnstf3zgB4XaHuM6pIVeLly9bCP8s5Izp8errKqhBJzILmrNw2aCts+Lz3Lq5KR1mJPhXiaxjYsSk563bk/QBQEkCrfX2+hGvc7DRvjuYufkqCfUXH2pD3EVo89o5Dw2yBu96nkAPMh2DgCtDz5X/EiVLVftqKBVvAgawHVqmudSVCqTgWK6iUrbLa/r5bXDZVfjFO23mv63jm00Ug2gnfDyU5+tx+BLF7cl5NVv98lm5pe5eGsKntGm7Ci65mU/zVIBNxHVTyumT75w4s7FigKk1atEOl4BDXRb79qygcg3a67nONQZgzlMB+K031qrztYE46KOMqp44er+Mw+JCiUkPIg9p8DD43pCgB/12bUwSUnenk8Z1bUbgefz/B+zTiZWsrJ9cy4V4IkJsavLLRvBeYbG1qtTzapie0od0N7tm/UazH5IOhFY6et03fLFmga1n4TBeCRf1UjHnGUL4uP19lfGOWzs2C7SRHoTBdpwELMg+ebghDozWnlly5bwnihR/8QUdvz38UhH9uCFduAubVLR4RtrFi6eDABowJtejMUDP193zCszuA7VV7H8aqx7NqPNgWpr70JoJq67lC1kTdvK8xI8on8LnvNwAenn0IGhJ2sNJU8CKAeO9oOGDk/OBYJgZuhPo14gyA+RAuzmAAUCy2GRYoCap4BKur1pwGC3eUXxhtriwc5LQy9N/t8fEJnTiJn2hkR65JybYzV0zqOWcDCjFNi25fcPb1RI5+UEehPoJ8xsINq4mM+jGIuisX4ascJOgbFbWnN2btimIS5rugrhDVpVn6b6d7YDIUOGOwHi7g23Q/47hs2eOk32xIPr2PU2zY/O5a3KUeOfS11Hev+mbcmMhKo7QAi1rDH2ogawjwoOZJpAGX4YGcthwEIrd1zRJKG+j4sLzx6Pwa85zA2SbtPJACxE/4VLLvNAyuh3E83VVtnPg6lHGi2eNXXCDEDufXVetrhCvarD7IfA1/+LBK3xzgfx8ty6Yhz/B2Lbg+0FeCBZU61xjlda6aTk5sUSZMW+yEFDbBE/5j6y0MzmVXcVCB2sMEYb3D5pYc/6b31eeNPn2JJ5cZ2jjUYhsgjLUFyODJbNwCcZuPVgKtuufZ5FihzQ+SnY9xKrqziP2DxP7329Amx+g+y3U4w0jXC1VdFWdnrmwvZEEnC+sWl8v5TTCwwdQAutTaB0GmG4CuffE9bpzU9eCpqIwr75sR3o6UrIlboKDv5ziZJNCmoSfYKht6smiHEt8weW6senTbgiK35iIK5kkksPpTjsqSehsX4Zt+PR1IulLcn4ObTapuWl8kaMElyki/NINAvZAwN1od+vDzbD3Js+xBIgwnfc2O5aipciMgI2tpPW7YTc9/NV/wCt2ts2jI75Y9CHijrrgTVYg08Qwd1/eATR7mAPWZeau8mXiA8ykJ+XqCiIQ+bX7LevEzM8cTCjqIdcN9Dvinv9fLD2j8HfLOjf7HsvbpEylmaHonN0sW/VU0hEHAyP+5hNvUP0bodASyNkEIFpZXcpCZI34xarmZhW2I+kWZeCfTgCiF8CFN/Jn1DWPHCmY6t8RMBqirt/YdLmPKPkifyK3DxFxUXwpIuRdtqZCgfcbQRs3FPTp7FgX6YCWxQx4hKcoOqmZgmYwtCU7/USRQAQvG3Vg0UeuFgIdd7z5V6Rh8x6c+yhSixMUX/76NO5yC6SLevlci1bpfSpDDLFOOx2x4e/KqouEb/1JYm24HJxVsWoJLISEwJduMqSNVerYXUthLDEFAawDu6E8Xu/sO4qO0+r62PgwcjgmTzarnw9q0FkCdWRbxkbWPdr2ZKiLbugDkXQoifv/8KNR11Jx58zuj1a2xBiOvpdDA1bRNm5TNtCsdfhXNoG1JkASMBMDTM23ikc4IzZn7RB8zM6flEAFTczmbx8ZCIsLQJfwMF3/3VegO829JHtJCmYh4UpQfbmnKlAv6SDRSWQ87whPT7iBOPBTSQu0DgGdqqot/0AJo+0KJ1OYwomGPVdiHIjXsBUXr4osQXw8pC506OfPQ0n3V/pUeWc8ANmUm35w1pUhqpwHphRpCo3xWQCMFJ0vtUDuSauSx0M3DMKKSgk2ZfTKRKgTNBTcjPXsdgg4lSo4yuVMqJvxSNcIeF4I9JAiTalao2mhJmlT4WPgJ7h4pjB11ar+8mG7P9TJnofKESwefViECAXeueqoTl6JXVUoHrzyhObFkUTw+n8P0rxWaPbo85kRESHXEAlmyYLUTfLzPCKjAn8m9amup4So2Nf2gr0X0SULT2EhMA10wh15V3mepiYEJRnR3Mykbs7wmA7VrJUSTITEf4Vf74MKF9cMGqO/oCCTCS7BjqBkNsSSuGwpC8cW5vFrrJBV3ZlV10Jh9EBJ62ufSPwBo84IdQQVses6pk9QhYBz+QFzQCXLKFQMUpJNXy2zih5iCaR2RmBy5H8tV59VwxnlRIwIKXzBKnBspDLbNymGjR23Kseo1CQwSKyXHxFg4TzNvdny74oTgF7DF0cebcfBC82LQ096FELCzL1fIx3SZooCkWzBAMl+TT08iHW75kTNohuqNqaWtwBG2wG5/xkoE1LgpPHAVu2lwjKA9qhkmZBqFxbVOyI2dQuDv1E4svlfstmARTud8aRVM+i1ZNtXR6idt/27Wc0HHJ8h6GmhepPttO6sJda8U1G+QdrFAICVWDPjwWulqpq4ydoJcMzCfDPLdL2734rXZsmYmBaknsSeW98jLMtpetRus+Rf7lfDrZTBQYVSaytnU6p4yZFz+i9gTAalqe79tkLbsi1lYLGFuw28cK3FR8lCY5ie2TqVZgKSdUALNR1bVqBKsB839XLA77oC27x5xin8nHuLwxjdskuDiwY/2l/+DjSU7ziTipCfhK5a1U8u95KhnKdKwlmF8L296X+uWGGcmCpwbDPpFpJVh6ONbDSlHbCCCsDsH9cYzO1ECetXufvi4ENqCQ4gZx2lCYJ9tZKMnrkeyYVENAe3Dq/FG0iiuJ188xjJlK10eouXLGV8yHYn/GyTFN5/LAeRKhTbx7hLWeHmtpJjB0a7/8GHr7JsjSHfXm1Nyci6fwNxNBP+7dIR5MBgTi/V8ZpzzxCtSKNhQoXN9ReBR7v+tbOeATeaBh2bZbxaWX9C1lYHpS3+kRsHgCueUqBlX8OLQxYh+hRi6Cdu8Ir/7V1bpSpkYheBgqIo3Z+ILKrGz0ZDglKw6dXbPLhw+9K62QzR5KqUp2aCajThLAzOPkCO2cz3PRhsRgchqOkXEMXhtRYn5dM1/kAa+lYQeeCzak4Wzo2wzW5lhqTS7eTOxgtyl2MuSJ4fOwxnbJ6YJMXM6WpVRWfCcHePdYG6aB7YwhAT8YKf3/jf55UJNSpw9XGMi1cQV282NqSkzg5ll35dcNoPXI48Vmy+0YPTq2cc+C5KTekoGAy7UrKLrPVe8uvOw8tlPvfSa8ED7YZbcy9sPxYYUPfctFsCVEtGBYjVUDxNOUX1RrrCu2W9zNTyp9Nc+EfiS/s0S1SfMnKEUj5sU83x/CISc1MNUWUut1anTmlku6e9qxB4NgKIvjnmQP/NmFCJwuYt9bA+/q/vZ0bilnYU2RlBT351Eiz3koZFms7hpCaow6Y9Lvh9xLllLTFQWIwZ9Q11qRK56MTrye0eq2k8P436LpQsCy+dAY225WPVwWIWS/9FkqpCyDpOO69kLoDo6hXG33uwlcE3F06qRuLxr3ZZzf7iPiSpAqHj+aKyVYvZd2P1H8wMaSRdkQjOXHQGq1a/xTkitU77airKgPjPvlO+ipKL+8V8IYkBflQQbI9UoUc0XppiTQVWnscZJDO9VV+OwZlRDzmn0vSdRkOAaJXrm7kraHMTrMf9TtT68/h4ucQFnZoAwXEqlHHq4H+6OEe3BL6s7/7mCQRg59gTN2rObcZgm62zU1yanklKi/b2Hb2VSYmZLFNuYLtD7akhwpPXZPHu69Wkdk+X/DGlLD04LEYHq0ZGfGrpLNnn5elLpLVQSlEVzwxlfHj6bbXMBE0lKmhEByihjp2AcZtu+G2eneT9mnR62Y4dUodA521rDgOrlVBELSN0gE8kV2IcQVEv7ZkgvgEPXT/N9Jfm7/n5v1BAhuWD5dS1jMe/+U/J20C5RguUzyX3M46zL5OrQxze9+kvwqCEaIqacQj2KgcUsdzNBvckT473OAXu1rNhAAZEJew0+sLcN95Tyr5WmeZexkj/NgSOXbragzji2LdnudRJMlrPWX2ia9KJw7BUDwvZqOcLGv+CIV2KBK0LWAUywZF7pdIoQv5M48honrOj9Vzsn9fDiLqNyx25cVpjBFNKNjb+p7Yqh0CEBIFsfaZLoguq3DWGUJ8fNX6vWLccHN1IBA1L2ZmS7weABJdC87bhGiHVeSRbe1WfiUPPsmslIf5EXUC4dX3CjT0cMBtUT6iqlWyE18HSht+yaLjFpMAMFrUfPg49i8dUa3S3jWg038vz6xnCH+tANcsGv2yeF8uZHQNEKeTNGqR2nSrWf2Fpw3XLzXDdJTIdG0/M1gLupZ9YhwHXEOfcc8bKPWyX1hY/cwH4pIZU9H0q0HhzlyTPDG8do/wb1QOnL2oZTpujlzPYEGfpF3SLAq/+vN3SA5jsxUih8WbS/K2s4rDZqIBq4uAslaH07x5jkxKReOn3x4UzQLv9ib/omBv+Le3WWz/PnLu2+aOCj4IX8E9ZTlCR9ex9VX36a4Ey4/YI4xINLzBkINsxgUu5DbmiDOg9pSorQR//Xg4+vvpOmhey/quxGNZ6wUC46WzE808UHwVjy71Xiq0ymeUKAX02mR0dcE0SBOIjHkjbb0w1MSGwgwl92RIBTIlbtd8pGrNEFgcc2oIEsBvwA1OppSkNHQtL94FY4bDkPUak3Dc45RjFfjAMI46QY4iigPieu8KidLV07Y9cIvbYqOK6V8vG6QmEop4OHAen52Uf/b04NCnFaeE33dCp4fBu/cMf/1GYLhfNO0BUVK9OGwcvqVRXhqXc1M4VjEdF464mIQIX0KFIEIIfFmvidW5tHwLNM2tiRb512Gmiw6YDt901qXrXgj/7mnTofgx/v5uUZRwvtk1/jm+Fbhyhd4g86Pj9k8Qg2yU6/6o/YfhnD1r59/2rGKyoQ6rJVQyNI+nk8Xv9mM8TyKXLW5FSGC2LXeHBfR76+aPW4pKMjCH/2bbalOp88ZTXL/nuX5zG/W/ve9mBe7K+q0oBx0up4VpT0ZV/OFrtPxew7CTNyK6mlmsHgw11wdL8ufucBZjJknRulXQOMatVbire0qV8LZgkAp6CbcaC/gQFUu/RP5mHD19WBt/JgJ0OWc6RWDoGEmbL5TE7ggclH5aRICe23UyS2WMc3njeZBe4G8zCONJOxDGuYwzGrHjHA4sF+VGhEjsWuIjqTgutxikXP7J/aPLOlJyEju1+EDwNfztfTJSX1VFyovhzx0703pINRq1E12P3teaZGyUf7abgom+lKPVHBdSa6CvBag2zglrJbcKmdg2GJkjiAubW6ultWL0XXKqNd64Kom6j4i5UOfPjC3+y7TzuXZHSmpvE+J5sF8AChAN0FBumC9MJ/+JLEuIH/DT0g8qIJviJ7Gekb/9sH/GxB3ImI7KRE/IIKi/RrGYX+Bt8vnHMiXx9K748u/xOFcMzttgtd2t9bwqxOQeeyF4+/zmv7TKQjjE4L37IyLSZFZIb32pFl2b9V4L9B+AyS4ltnguAkmSDrYNf+iVI7WQlzAcjW+Twrdaj2aib5I3EbWYNWRlLUS9XZg4WfdeuM4q9hgXS+aKxvY4nzrCrBFLdzik47WMWF2rWaf61dw4P3csPzo4F5H1RrjgCvgZ4h0NIejGv69CIQ1nlerr7wp1EPMVONhR3LgOPswn5Q5ssAfrSyOcBKd8c4hFJisMqgzW7hZSURH1qdHN7N6CkPy9Z9M+Yg38CeVNr//pKW0fK71k0Y2pU6HE4xCy5yWOEFSC3SwyydfB0Z4qKoo2IRJZBO354PFaeajWYEdqgplVqLEKxsn5RXrlzATpe7uPn7oAnwYZ19mE6p38P54eEW5soe5Y13YJC0AIdpekX5Yzsx9LGZcTN6I9NzezrSsPosUXy/Y5oM9xsA57nmucMZYA9AY3eG/5QW+tH8Gz1beBtFgjfLXDLPqPHE4eyGN/3bpkOWHeT2M8k0Zui2CrkySJpnG2zWdk5xGdes2msPvt9V8lo4eSrOh/HFtFw5jpX6Lrw3E8ljJST8dKd2oWkBlkkF4qlrQ8jG3VP1FMTDqla4wf4yy1UKmLYj8hnvNA3gp3qn206i/Cz/JrOw4WERD/U+TRa/YKctF422dUt499EPpluWTqN6EvOiQpw+0uBPkvBrOb1HjaV6WnuV0ueRwyteFHi5iRu/Dmbi7xi1WamShV38XW02Q8rTayou2VIhMP5saedV11x34kF+/fJplTNtAoD6beJEdFcA6XI1y4D05wQQf0McHyKaEHhMzSHxa1aZ19pWxpmGeAR61rdM+4hbjtsyCpQyNyNE0r2lwl2N3myi4XSqd8JR97z76ORF4ANm0AnJbdD2HnnBmbnyzLncQmzt7skLtPuYGl9ERXWd6aNwXJjgeiw6w92ic7lz4ZpBoogiDnmcoE9nXszoHiOJqaILUp+gRhMHPKFmBfpYM/iWuTYWKM8Isv8pc5X82blnSOMvllh4idwNmrvWYly6KZJ9yesQbHUOxZ+uX5ivtPqoYFSFYlyBggL/Sm9Bvwaf5jHpZdNZwXjQiMEuvmzQ22e8pWKZpZdPOb3bW/OJAc6/6kOKaSB+pUdWei7PdSXK7DgU3c3w+Qlpg9dwl4haO4AQoWJTXjw1ZZfGZDXoMHdvwjlMuI36rrFMQzolcDVfFUlII4t9tW2cV8QLKDZFFRCsJnwmtWbLKKrPLARJfQcR2Xqsi+vyZgtRTEmQ5U7ERmYY/TmjZHm6riFHAOk37AibJJGpAPsHBdBx9KxBtKwhQaDfOhk/zdXvhRUwOVx99TFvLom2n8bpoleGs6xh6KHHJZXlGwkIOK9nbJvqlhBFGHYayom+aut5l9FQvBWdvqFMgmei84dOph2EHPQ9OxJ3RHyMT33C7y53GO0AR8axAxosS+n8xx8RG243/zB18ELnvGdpftIe5uLogE7gx7ooLeJVkED3Yb2e3Mkn7efoYo040tnwJDMG3MBQ0HPwryd+hbpNeqkKSOGYkeT16ykznSlmTv2z9r5Tf85tC38OreLfmhrhQWAt24zVgDmxoNKmJ1V62ThPRsrCwcz5o1nFw8NMKzXkWZKxpzU2cnKp65viSZSO/009jUQt1tgzLjocf9/gi4z1PezO7wwcJuFLA67KFA8fh7hmUqF3Bzx0tETZQ8MyZpfyFHe4ck5BIcZBHxC7lFqpewhgCQRtiKPUqe67PPHlnF0HHmrCY+N8WOTGrg7XUkWya5N0sO2p72SyYgyQBTvdjaWwCxX6J688kocsEEn6XdilcbBYN/ajcKSVJHNUAH9rgVTlqA5wAhl+yQ++xzPdh1qaYjdQXyd4EcrrnrwUBKk/NfjVG9Eg3NISDRbSqJN9P8UkMtmKyxivMSdOIOI+zeFHmPOnmn4OkgHIisf6DZTXH1JIloaPSCOiFyW/pnumNBcWe2Ix10QoFl0wIlSKKu1y/ITVS7c160VuIW0TySOoahftnj6sQr36psj0m2SrMz+Jdj94eClM5S2iVTedR+2iuHX2UMY6XsBtcAkCCdZnKJqoDTy1SIkrMou6bEKESgBpDUGGZYREXeRQlbhNLd3fRFQXMgbmdowm3NvfxEgwCPjyTEFmW+fIK/k70ceh6P0XCNy6nHz3oe+EU61I+kBet9oWHe9OQne7meeuZUelmVu/WO2EFVMvYiyQ+JKMNc+wXH9pSnB4JxHbkXxPY3ioPCaZnWa+aLNjKuEEawhhArcEZ0+1MVJhKz9YMoa1wHYEb3mC0C4InLIdsslRlndD19Xq3sFbZLjTknc8jAKeWGFiTIhZJnU9M8wd6SN9W/dk7NLj47Jm3BKM7xtRIuTt7tLcVg+luZNjuUt9pHDlemrbRfaXdqnPgMeQJPWHMHDZSq/OhKXQt70sOsiX2JFTHccgnw35iKjYsl32lIspGDCvfMn12Vg1k27LEI/1QYNvfRXVRYX3HRpe3GKRaEvK15r4QLqhNFFx/+7IHMHkNj6SXmp7vc1wYmQ9V/4ZmHZJs0VczUHXvE13vbhk8zb151tzrHE0onmyJRmqpKTQ/4EokSVE6nu8tMRfSl5mlp/MLxpHzIT0EIm50TGRsGjkC7+NhvdtkZ95WcxSFaVIzNdXRRVmdENmxddANKE5hl9fn3n52hrxHzRGBaAjtMduFbA4FsTobN7To+HYhVHFhQiidgej3bBPu1TDBwz8a6AZ81yMHC9aL2BhwhknZcrp89+c10Y2Wb7pPyFDPbbkxGT8voyLZzsyAa00Vc6W5yeE0a7evvrfqN42lbRObKr5cL+PcqQCrnHjCJisGwIFYvp9F7yFwW0i2GmIYR4BsfHr8MZksQ0jJ2pY83OyQLAPeRjrSoHT//BEzupdpbIHgvJipw57q41gQKs8IZJAHWI/0REie9aVpx2hgTNloqqc0dO8z5/+D2U/K3+JSVp94g3lOX9L0v8PJUrGbFqSBAiXVWATW6EMinL1MQWc4w+Op0H3X5HQ91D21+0zWR6IX4sNoArv89i5Pom33BMCBS7vElqutOiIhjPGTIS61RG/0kSfyT6BeIdCWzhnO+gooSgPNc24DYuBBgoH9vSgdio2L9Hd1clU+lS8pvJTWWtQ/eOAd/9J2OaaxRZXHKgpvL9Lw6jfpaReSKRjDnX+gjrHywelijyEAfwPnYLgdvKoDOTabKeSF1ia2FstMuXd0RxsuwzFFxDbzEiQPcQTbpDdbCuc9vQkCa0uK10YymGeJAzv6hICrkod3c49S+YB5Ly3YHTg9pxXa1aGtNgbCXu6/bo+PWrAAhzkup6S5PgGwJFXKPVT6Yw9x9yEsd/FVXdiOesKZtxM8D64KfQYMXy8AFLCGAYsDlsdud7X7Bqh8ZZpPWfht7BE+XVKpcsYaXQrFUSMk/RjbbEXUfes20MPePs9kYtvfjmnEBl2E4Gs8x0xFoisS8CNiQGpGrKuGBuuDmyDyFF2j10o5ZixlrTDeBZmsOqOBdt6bqEQWNVmx7PzUfiwo0VAZ0teJSYjlLZMbmlIfK5TxNj5nTo1ALLDFEbEKlTpGFxzncz0/4H+6oLQwgANG8o/ilr/d5K0l/WCEndqnlsStFebQ7Ww6L+aCakAu8gRFcApKa31mzjaRCVAa1v5nKrPQBKejRD/n9M1Q1gQBMiB/08MoiRG2xRBkWceOvLa9Hb+P6TebsS6kfoZ20j+OVLrTZQ08pV1PrEFnHe/cI7ahxAHCpFC5fOcWoLiYohp0kX9dyT3FkHNJlAozfiVflofqCmVhb2qhXp/rBPFyAQ4e0my4KUkks4j1ipirSUOEJxpkR3g7J/tW4a+A6HemPBA1jTBTmBFkokiDffVtq/flDqn5orvQHQTyou92mBgsEw2rlWiQsjtlfFlmbhaXOuO9mKoSIC+uibsxfgW+XpQiYrssfd+s4Drdey3a1otx0biuhcIpyd/0qiZSpsbKDGYZVbtVtrF5MEZsxBRB6b9XNFfYkF+krPnQrM4OPrfZKndlRcnNyqJgO1TP3uzAEA5L8BJB/hjeIMtQIlPrZBj0BFf//UtDdx3ld1NN9HtACbTt5nMVeysU932o5try0UGHDmVSyTGFFzchMCACSHPbtV9E4IIp+E01dWvaKcptmpBXf09lEIL3cAc0hbq8scyL3YR9wI4/bJNQkIhTMVnWnOH6ccSMHnEKKUxBe6K594Pyp1c/7zQFgL9dU8AQkFhCiOruLoH8RSpCo+K1f07jnxo5KfbO+TyKc1RS2VXGtYpUlFd9AfyCDWz9IrKCr598cvoTPkHCRGFiIOAug+DexvyyqzZwPsP2IsXmPAvsRv7v7/8LyBpWoFX3J+XSQknzvsoKoFa6fBB8IJpdCoSakQDFzb/FIuq2n+tg570BL4MFMioC5jkDYyH2acggt68M6fmmmKXdzkHMplAApFjHGEmPrWqmrjJQIWVI+lZVkDrv0+8S2L+HwWR1t+addI2En8iQg4CWTlQvwi/MbrdXyrGX+EhxmWgPrjatfJWUs9mqSGq0YOHRyeWE6WYcRyBDAeBa7vxhkvKye3WJfK1DG8A9WnfxDtzjjF8xIbUQ7DYt5X4eXFmCHMl0rBsjn3egM3XjyRpHCZDOC2NhLeODKcX8WFS3uGvP4BV20BZXHD6KJFKSWVqZWEpgqi+31dtjpn05Y6QUGFPvPbvP94hmz42i4LmHDkWB9ePkygRBYULJTbvnqY7Q9DvaOGr3yqMba3i5VWE2v/UmmfdWFV1qRuY/9spnLEl6RM+Zy6/g6ZrvhQ6wUydgN+FVI/GND77LB2A5iiOv/roT6sd3PM56evjdQpAWU4/8sAgj5ZvgHJQ0t1cIe+DozyDZ2P+ATo5zsPUr8Ktx/rj3tKWL2j+1bg9+AtWRsfTIwO0rRbtLHWa+vl0ZUahOVxqiFbhPfg2vRH8EWbDdV8MyWKrIswsWlve9yxS7BwsrRr45+gu5F0SyVhw0Q+6YDwgv68j5FNyXcuwj+dHrKmTLYCO0DcZVOKNt+GXclSNSyepvjdq7Csuvgt2b6dhbNikh358w48Mofdf2WB9yNsW0NJW55wxffdWGDW5Yz+1bkr59qQH3VoS6K9mo/v43I0K5jI6wlT/TmzKh1K2NOezzy9uCl/CNaAnF6ZqnFUOiUd32aZP0+pgKoWJ2ELU1t1RPG7lerdEjVUIFgk6eTImOjGZoXJ81eMU3RJdNaoI99rcQjPQD5vaT367HSBzHFHOpstS/eQPfE/JM2HILoDQlvxHc9x4sNdvVOVt6yY9IN85Y5wNioDtcL3clWpclMH/95d7e/SSOdo/JjEAEM73udKg37SyyrWKHrrQnSWEJo2SgAzKydRzREdhOmiRcnim1B76BmVh3ytArF5ryvfPX6CUu3WXGXnXGDBx5wfQB2p5QAi9NilzuD79Yuba/5tzHjySOyfV01tEsKoxknDn8to9ANAjyYw1NBA20qJCXKqVhJae8lebcUuXv5D1rpBKutQTeu2u80AwKkr6M0NW3OS4IT38JA/5RWIlP0iuFZW152AbKHC3DyrXNTy7mG2rXuyYB+l8a5yVg1DYXOjyZklRWrt3Spk4ga+MjrKT5RoxDjOfmKbKhaKHn54wbFgs4lin4JvjI6NSEJgZGV9sGmPLs9s3YfJW/MVAb2iBidWX7AQlpBo7oDC/6cf2JeaAJaav2GM6L5xmQDiCGkzHSVMWOu8qpMaAniId8i2Ok9F8+Bo3jV/98ZZZ40z1Vg4iBAOLZU4XT+n9et9RBc4rUE0XqVbwLwKKdkVNxonn9cQGa00gIflok/rrjV+GSqXDcwH1RqIx1pYRkYNNucaRaxidSisYFc49Z34fQkvH1RMoOGTl1H5VPbql0OXiqwMz/luwKSbzliLgQyPVzgAtCI43eqO8vL/CNp5sSCXdUwgz6vR2eLmm1Qt7sT/B9V6wpP0X3zXP7R1+78I7Rl/ElL8ii30vn6c9agLUN40xBDtXEqL8wK+YsyjRiLrWCSt7eluDIMurCfeUxZ/c45hCsiwmTDRRKmERqGH1KdVixh1J5Gp7jHK0XBUMRi0n6kqyCfTrNIGCDzY8Umtl9ft2DhY5wFm1m3NmzuqqFdhyC7kw/Nes1yEAR/k6XcCjFShLfV11zYHcQ8eisT0HdmI/6DAk1j0699H6VZ821/1cSsgMC3IMj1hBF+qKIZF2tXiFP6EH5Ev/n06jWbKYS6g3nWu0Ekis8l/Rzxkps/+6CN0AeaJhLp6Shs6vnPkUmfgeFVDQPtNhtklpev4ITSNnDYXpbz0dZxlYxngL3uzvjVf2KOzeTeflv3RvoaNiIJGbFWDJozk7q8zK/Z9jt2689uGcHa0SFWCpeCYNglU1L62/5scnCZecoeOLrAlA1/xc1fxpHj7YKMFRwhP6cdvQorqVsEBtqk0Ozum/1DVLGoBd/ffeTO3WhIslkdSDGGN8Xk7DXqKAMt0l9Cyr5XH7pK/ttxNY8XynAIF2Tr+MW57z320DAs6ADVRuH+wSm284/qo21S2UUGrxugOoYGPe4IRGsaJ2GJi8HKNLpmwc46ucQctDhBadbe8IiFhOtjASRKzCnuw0zzTywtf3B1BuVbu4RKk1BzR2KJFiTnRf7uK1KkcV9taMIaPYdQu7VVXxYdOI868yCw2Yx4byRCBrsgkhltaT4vNiHzKJvhtoPVltPa50/D9vxXLe1JO1eua44E++bOtRcIRIzFoQATt6eOP5RiNgQombtBn50cywtEJcLpUK20Pt1GHm2OYW+d+p+Qf832eNcqLIdHgSBS2i0g/BN/IFekqtVV/9jcbcctRBAYJxhzONPjAli/kj7ZHrrh9SrtK6LC0nDZCiAkoTwlSA9XYWRIxx49xO9ZEzTEGUQ9bPOh2hbmTeRZfJHdvhZSaK8t5oIfKrDcGOvjvCEin+Ef/cmAVPCWGze+CsAvm2sQcrvdyck/9ttrnaHYBnMxLgFIaOMCfIOP5aFKgSgYJ8aQWFB08nL2xvA8OyItzhlNNPbokz8ApdC8470It5q7rZ4bGt2QTiVFDxqUau2MIwPkRRPYWcTAcYwnrAkDqSWxPFq0DofvxknkrC2i/mOV5/FZZXYW+5f3e4owCDh3zgd0ONpYj/ODRLCahviWK31VgBw6j3ceubmoJlxGGWslaQpIPaddYnnMRXLFNIOexxd60NdztyAzSg1SohibMPE8wtoE5Wqq1NRQy4tCO5Re57KC/LzgnXESfGOrJgmi62dixgeb8V+OdyAz7T2oFFVh6qOBxOxzlNEJ12fZgiW7j2fzGWnqwvFAqKh/lqht5HCkVC4YSTFNGSLEK/gnoF4NfOljLmER3tqrpjgS0FJsHkWYzCuyWHxBhs+lAyb1gJxKsYWS3LS+BvZxxQdk3GGLc76Okc3IK2s9gICMuBMOiko4tlC27ogVl0TH+nLFGHvw9W2xvm9dVdIr+1oQKDbI/Dfdj2VUXs++mjBr3OoF6BV0s7iUvLEXEpZeDJaENvHDXsB6fEBABuSEnEs0fQMT9X65wWKulotFqFizph5KJ0Z/ZUvcyNe2ccJOnYAzCkRUYFWwHv+11lBGfXZBgoL4WJt9i8FrQjcIBzPoKdfRIv0IA7kBiy84aIp9y7aVeU/WgdlypmchVmK12BX1cdCggZTWGBgJfznPeIuVf9/Xg61umjXXnr3TfMmLPVRZCdlp/MDwZHmZouliAqj4Mvj576Qn6sfrM8Qr7IFDRLQGnKV3nugXa3x4oVphZQFtLDr08iHB7CI1r3JNot3uPMatlylIWbpxRKpQ+GmDX/SGkITNWceAiyMEnuMTvi3tBJ+kF+AiBYWo8kjnlbsJI6dluROlMIiKap0zKTzR+qzhGSyj/5J8a98CA2TxZvW8e0dlVwGozKJbiELW2CuKGkkygAMSlPox+9LqHrVMnEPvFIN3SoWiVKexGXhri5GOpZ8kZ4+fE+iMZs8KQjBd+gUCKYu/0diJdKs9uccna57ZFXaMEosgL1tMRL4XHDkKj99wrCGHfgpGcIQ7KBKR7MnkrrBq61VDQn1vpy+uxKJhucYK/0J4KpFTvd8aYiXJTyX83hhPDyNoQ55UsnA5WfiqNONEWQQfGgHbpUfw+BeuC97m2eVXSxb0wSm3FhFLeicD092UZVwKNMGfh8ejLMKPvN9Nt68C28cnlQ7f81IeK7p7W/9TNmK27t6jBuCH71si5nziY1UqiS71yanuq5ZiRuSO+0SVqgeMzVisd3K5KB/GPgB3/A61wNFTH61IjYQZyILXQrtroT1zTjgiqJ++UVFSU7scjqPLFbQ19A0oW+nDGJ6on14KGOWbMVsDXCV16iKExLqgA7ERDJkWdBTUGHFjbTPDZcbGRfsFfIIbzWahG+ZcDjHRP9MbSsgxlvcUd6QUsVHjw2voO1GYJNZXV8Xg4c4kTyCixOPBd2/bllVT7Ff2VGcEhzT4Xa+KDPcE3YqvID2B9A5j6CuTz50PBo+uhXo1zuZMdn0y71TGTTPA1/cKk8DKrCbtXStMEx1GzqI3hfY1sqhzccaXLQzFrAAANARRNk91rMnzq7351hlKW388y+OyYfy7rUHe5ZqeHdeLMFgRv+TR1DuZIE9AGXOrOtKaQnjEN8rf6OX4PPLQnwrVgXq6k4/RXegj1DRhlzb41PTmVDivEcXwzXKrus2yFbstQuDDxcqyyNlDekH1SE3JpUsa4qmrsGQwM3cvwP9WDm2q9dConTABxb0xhDHcBvQB07FScWDaCTLo0W2kT/L7f2EyEqgMvRjWkRy9Kt2BKKqWIUy76YpcDFvYXN6DDaJo1OTatx/LiBDZoDW3ohiYQKxQzaBT4p1gyMf4XfMJd5SC55YvUfrzntxEy/leBX+CcYafTfwdEVPPaRvMbFXi4heT2bXRxtpOyhalRtqTmNC4CwZOu5MwBnCYm/T5SY4/ZHU3dHrqfkgJF5iP3lkNLF4DmiyTRumiVQpVCoOOl7238Y9ylBa5RqP9LPOWP/kBMiUDqhwC29sos3ktl7Sm6LG2MTUZWCov2tE15OZ9lCwzv1Yvk3hA4Spo6gp65lwsBsm7dN54UCKRpW4sVeUuSHfgc3j1FJQo3SBxPc6JoowMG/p2B6dwGjIFYXh5G/SNWYHXPPPye6tQBh3HjF7fk4lcqjcW3H7+NYmZUKrsPnaXal1Wd/2y+na86kxC0K7Gnyod3dzsIOUlYfR9O+qsWjnluw2GoRUUtIsy66k9DptXPfK5v3dINUQAzNyVtJsn6lAotN0l7VTvwgjCAQ8EKJA24jAo2glDY6S4f7Ta+qo8EvLW36FUYFnEc8Kwns32WYPI99yNyXdpE3Uh4X2nUyVOLkImrInNnXG3wrJCsJMEeAveVcv/DvkfCZeZJrnZ5tXXM6TLXJZOUoVb4KuSKq9A0TSAq0tkzA80hgm85ATsYmDFAhc+uSd8m9dPArue2kKcOIeu8G7MdQlSwJv+nnM3LppRg69YNX4/SFI0e/evJHNhu83H7jAaA/FFh0Vnr2drD3xILHmxOWuNGAqToS5TCEaW6iaVyyCQ9ilRFZw3zCcLKO7+FccYZpWt57G9dnSZLUTxN/9ydJN5zso8wtMCxJqAl50h44tnX4DRdyDXUzamNDwXYKeJ0UEjEibBgSWhUbAneV1vmbVe4tHfg2OpsOSkmupDSFUFXziD2ZTpF5W23gwL/DVU1tgxzxl+acraN9IpepGfoX+iqusLPZkn5AVHproP/Ek9Sx6I8EaF608v8pzVEXgDZX/W+EE2/6or2OES3wwNHGOwxKEJNOj9gE3P+N3mX8b2NmCh+sFuXEcgjRONEGOa5NCp9m+jKYxl02KMcizy4OLchjLLjo0Js6zma28+YHIFbcepvTSzUvjNjPV9z6ibV0xxP4xHKYKDigaVbhr+cOFiR0+/GSFo9xQbKBDhtLyA0jpxgIsU3uZCfp/K5AVmX/v+sXnBoSUIPwbbQck4KAV9c5EDW3wWMfGH1HANJn6Yjw3EZwiEE3t5UOfS0ayFudGCpJVWlBX1DCUE5zhdVpb7dQBMmkz31Cjt+U0yQIPUosN03YUravMsTS7ujQOKOVFD7/ACyvY72NDB17cdC4mN6HaEiyJBrGTlpXAka+NIw2kBfkrc9DxI92SjD9syR3lj7plD6eNio/Oix8HOT0hwnBx4bhWlnNwiqk9WWc6y7ZNgLNculrLqDpqJABl20oSL+whzaRxv5C/qFdl3q2rKgwWMWLqwSDZGk911tuiI0D3oDia52QzwEuBfgT7bV3ixz2Bau2WEiAjbRA+aWC38Xtk5PyYS9cO3MSgWjJ96iW2IBkcqBxCwv+dKmB0/R68GvLuBEfjEzS/WUnIoT6/3nprNoYlgAiFpre8k/drNPwFno1BBEGC9A/Jww0JB7mjPydDWqbqOhiibJ/iVbhL6hhDDeIc64Z7zOhzD+rXVjQoXZXilAKMmsp3JUBgxSK4pq8Zi1cp0m4Xl0eLB1lN6i7/79FDQzXFj7oXw0qJTmzsSznFBDhroCn3JMPGcZwktJ6ViD1V8OHmDit+Fuj+fvmp1VX5JKg7qsVX27+zPgsaR85RFC5m9TIDLYk/v710CM+5jJN9Vh45bJUkf80kAI3Tag6FsTDrUNoTiHY+PfoYadKF34EmKnA61pVaXkfuX3eRQk7WJdAIEcG6GdrQlVJtSDBHp7h3aH1NxKT8A8/ehh+kx3VNKEsJK0nQrjUlnEMRK/LHsdJSRCMUZItLc5dB7G+uH8nQZOyCE+9Nc1yR3SZmq86VlO7fPHsXPkzUA/fgCajw2tu58eskn1+y6GYkQuANMWr9Djg225PngjeoiErvBKEvK6Ko0hof4fKZuzbQXP9JHkrIOmdufLSh+F49n+olsXSPYrI4ESyAjISdX2ryrsT5EyflYAP7Jkz9Y9K6h9RUiwAZmEVWROt9dQNIIBk6YfnCMIFJOxvU6ifRkZrVAv1XuvrQPrIRxNm+SL7A7HYQKeGcTvqKNj4LMRAWemjWihZOjNLXGizyBVV9Zigr1ALHeJJLsPJ72oPrSZwiKZX2HsvhzIfdK79KROiqmhQcOa4O4NTUV2td17sidm43In5pp1MbLj1Rwg6QaishnCUOMz1z8IX1WzITzTmdusK/anGfImKaic6xgQxMjtS7OGKxHMUV72VSAEyLGrN6YZTh0LEogSoWAUD22T8/qAM3gmbQZvebNwxlCOPOb7B37VWED8CYhKvll94YYf3J2BVyeCcv3qBl8zr8Qk+a3+ara4J+Db82ZunSKeg4VnvDv/XEe8yLo7Z/oamAQDWfatDVCNnQUGas6OAIpYF7t7QGf2ytjVlhaY7Rm5FrttlQ+yN4jICeokzXnHMprAHzX9wYv0XC25ex+XXTShHRflxs4OdQH3F15GngEC0y/tixGAoKqJb0K7BcSYZh20xSkbNkjlMHzR0HK6/JNuRjvRjIirHEpMCcNc1ruWW2YU+lzPD9qB7V8wuzJ+qttHI67UVNhpjhLS9rGSgaGlAi1dt31LAzctvtQEXzLnZrHDfVfW9lzD7ekp2GRKeESlKo7kbxMgAxPEK9n7BTwhPpQVhFyI0NJ5voGRmyTbUeLIsI1O9DTAdej7QGvtJit5eHWZfjJ/Z94wYNwM6fIDG5QOH6s+7RizW45uUwEkr4jaijqqMt1KSqMXB2v0hpSGwkzXp3c+c40ThTeow2fbhjK/OUfRAoFSMSSiCqr1sJs5nJbHnbO2H2WhGzg6sFh/Q6coYCOB4TbobiTS0mhzf2y8ZwfOcHdZaIWtWmXSV+zJaUcofiABhL/p9zhTJGrl7cgmG4C6CDGTHxRR3buCV7M4NOM0JdbMVvib/nYcMBXQKnEjABhJkjQraZLJ6nf+HHHtnHFhxTIiG+GxzHZQ3OzkNmZqovsd8m36RNeEOdw6ooEdraCPiU7ZVb5lMH0Sfj68EOe75oo3vZj1CkcMBv5YuKEBWBPQxXGDavhhvMSMEksMXI6fD7CZ4imkWOvlyVdSGqrM4mtOdoeoBTTaWCdoRKSYTt2eE3C1xuhQvtZQY3LY7mTcfWVSb5W70Y5m9pUttDmHtY1hjMWxXGN/LX46zKmLt7ePkTaa/ulpbdo3bpWCUTm18CGuWFCmnIJm2FNIcJb+/RBOiq5h0Bl2b7pfqTnuavSxdTY5/ecPaaq070g7Q/+4ELtAKzh1iwk5rBURCbRMlMQeOz9fEQ8x6BvCMySbE9YlVbtzzGgBc/cWXcyzRAwho3N72aSaElI3/u2OINlBAXaiPFxxEg7jN6f9Rpq5FK+IlIOhluvFwyVBABNt+N+HSnFaPpe8kpnMiewu/+49pdjGJf5LPV1U8DDFTzMNOQDgbmDWY6LlK0BGHGZbPKmmzcifAplbfFt3Donf3t0we+ZwjGRjqGGgvvVzHHQGL+vDSjZu67MyXYnfiKEtcZIWHkxSjmy++dGlYOfr4Yc2KUhwyOl6hnaCnVA9rcW9TEPM6coTiMUKkfR0HJ0v1Xx0PnEJ981Tn6Epjl8Fdwf6C9p5z3MY+oaTOQ11UONaZDNRNYvY9ss8bc1zidO2JdTVAIsBtdQmqYMCB0CjsLMVodpew7cg4oF6BZZZTYaDOQRSqO/Y5LIc7u4WwijWephgdqd4EKb1Zh/LTBy9ONekar/5rXk1JlHY9nvAnlbhN6xcKQgjU10WVG30RM3NAQdiuSVHEhnjXmALT3bHK7AdIV0crHrLESNfBJP7DsfOh60an4VvXV4phQpSgbeihQ1Id6hi0G4+ndl5ZWfAjlg/skwHlxnVt5yMFUCTusBlEZjYap9MWrSNYLWMjsGgcRcdP2SBc7m5a7y6PZFn6G7zyOG+HcoROoqZ3GUzjgW9kLXZ/urytTBO5ltSjfOnhz3OxyrvSYleMA6EXF93hxn5StUzLWZEcN3PYoBSqllXP4N8+6bAIwb3FiC3gOerPznyoudSf0PH/kdwSlSBJMSFUaAe/8ofHr4sCmAjPjp+GzX+IpVyQc+CpMjmqrUg6dtYj3cyYB9h7GC4Q9+X5jEhDsOtKE00n6lORW2NZPiK7BM7YmBDcalPFX8lWKPJ+yBfnQpgWqWRDfM2o5gZCWIszv83BT1cnGwOmiiteO3jPlU4W42ndjm145SOjV1m7837KFFVChivgNcCEoBRbvRbaGsQcdQPxszU84pcGYSOo8jPS0GuF11G9XVhiJN87ofWccy9GrK4mGNU8lF3Owu84YJfk7zJBirAcyAFWJitdqA5WYGl4N4A5MKK1FM6nrxSzzcGtdVl9JHyB/8dMWP2jhzx4YPiG2LbTfQHZxggQgTL8r9+Q+krECBXw3og85w+yq8JhuzJ/WiK5Jv8g5uu1LKLcjxlMscQXkEjnn0yuo+fiAheoyr5ZZkR4VA8pw5KS8wx1vdZR4sM6bLgMKgBDM5JstmzNihKQM4eL6JZfddXa8xM09Gho2/TuPOz3qZmNDAkw+yhqDm3o9+3h+7SafZpx3tLZs1TxEFDQrGBGLcApWRW/eWZnVA+/xkMVLuOCIX3xfpY8y5WCtFCqAKiE2AnV/Q7EeQ04vLmNS0MVEes/msnqk+14rghFsnEmMMx2eECIbk1KlMgxy4FlU861Lna1AJl7L3vfH1IWVAuecTCbUeZxbaTADH4bwupde+VvvB3jvoCq6sp2PPSJT45kPB8U/X+euo3ENJ3h51hCH9vyPaa7jKcuJxzzicqLWP7yxEayL0YozTBJxDsP4Ix1iIl1IJ0wDoy9QYYUYlePtlqDRRVbUXryM96FlKudwFXFpwG1chu4w6Ikdq0kFoNi/BIJUWNevnfEy/4FypjBvZx4KR/9z8l0lwLPmP3TdJbzsdDEdw+kMBoLrCExyaXQx9LiZIYndLSFiGho3YLQSEj+kBUr9A/KdKQtkK/hLlvmQNlLIJANh72pdz1aobQ4LdRs4kBiHm9dPHY5Zji2yLq1ZjIx34aRTwuAvGqsL31qT5vRpiGUUivwxZiBhkazRlPQGxLPHBOvF7hkaubvmi091IIjS9s+Ad3EqrXaP4cyefyjPSIBcDKFQFubU5rpvirdDm3vOF8gfv4+mhA/EktA7/4BzmwDYxmrTIvmmwntH8lBx2jo3UyoYGGYdh1Denk3Q6j4pWuzRw9gjfTOTvPOHIy/pN4GtiyDNV2ej8jtoXejer/PjlBiwScPA//tQUju4y04Oa+77uKfIpd6jjOb6+IxBCjnNYUfJVvCf+TJpx8tjMHFwsF/UBWAhkQLKdXIb43FJrQpidjkZ2HmeB/1ZY170qRGkGdEE3eU0BEUXP0rhRW/m+vuKr5hzjJ86QxGhF8RefgFyPe8VbcKkdkx0KjhDcBe7TIHRqRv3a5e00QASZPtXDNLLv018xtTo6nME6USZ18i92ceqUV/WRF+6iyCyWKo2RHCNBI/O2PGQUmVXkvLVJMZXx8H+hoCwLU4BMUpnU0OYH2Tkyvu5b9v8ooOgFMPLlAuiisQRCZEMQh0dMAM3o9AjSono/fxGRmhcFjP4EgK3QusmblREezxst2hGiQVFyYe1EJqekYszbKt7ueL9QF4OHMjgprRc9QLd5KhUzMddGfZS7vVdTkKSZBEiD7//mChaqSjOKgT7wt3bjhWAMWqpwkoTLaq/O1NwkX++TvpP8Z7ZEglyjYdhE5447MD/Cwnp1rsYedat3zxe3bD76OpyKbyl+HggscBXGEiVkU7ciaH3TFY1JvhHZwBKh6pnb+l02yqg5xL0QZyN27Y6HVbJ2FwEPUXvL341d1aYDgZmq4s+XIFeR4sm8ZPDeEas5UM/n8t9fb3zBK6DLg9QhT86O3G3A8aLWa9P8BEMH3t0Iq69bYB3gndTGtITrIJdkvRxZAHZyMIxKDO384ZZZnf23Or74Qn0RjHCBgGFOCget6B+DQV2555RjiLL3QR5T9JjK/M+qmZYqPRE89+oxl9A6XHquJfBtOq4ymfFM83g0tZsMDZnWNHMlP1N8pLCn4gKwwUN0KiU61nJFdc7OIUXBJelDgCX0xaX0wRrDrY18h/VuhDFla+3C5eohIZyOXaOXJM1qgNbf9M2HO5ltiDfaI87bEElnQ0fHud0c6UyQmSCFIUqK9ySsoNNwIfl6cml6mVX3dlMJBH+FsgstCtI8eGQnOYf6KWTWhrEw1xuCskmI3AKml55KEErggvz5KDfRs66ptOnIFAWbsm2/Tc1bzTLLES4FPk+skLOJNLNfscXibPBU/4lbwyIN93nuDvfSnWTXpKM+Y+Us24+Hk+Zbz3hIcXNv3Jh3XI4gleKziUdIqIK1PwwNE83ykTF3q5r2xNkuICkwNQMGtKG8PK/0JzEYwrQMOhJStgXzSUM3aiU5nQldJPPDV01Ue0QGtuxgUW5K2Ylh6iPbKW+l4kfGi+jEaFpANm1q2TqUNlnROBJeqSnQoSC8ScCqm/Y7vwF90hbcZRxPjORLOOfSdeldhbdH1kTAoYdEkQdRr3RXoj7+/Dhvm1mnXlPrsw83H644Y3VCDWvZN2w7uP0HkFJte+8PeMoCRiMDmD9z32McbSVUVs8D9sUqLJFPbTTfdsGceiH7FsHFJL4j4ZlS7kzi1rwSUcgs2SHXLgFVcEi640Lahg7FSbQBM64RGakl4v23HHKu8k1zn7BVwKt18etKPNXmgIe91wyxdoxIN48S/n7SR8u9SSYVzamDgzJJCRu9KBagGP9sX2Asl2HUfonEPLmxP13F2+N3b8Ttpkjs5xcmsFFCC/pL0i+fFGz1Nc8pJz3ZTyozkGt6QaE2KyHSVS9tvd8emk1PKLHvO1y9t+lWNqoXcTuM5tqdARYjT8/d46I/jvNv1R7TVQi0RlmneGFXVoizuxmieR31/faZ5/LL8QyP+XBs4j9og+vdg6Jx7liB/rWpKy4kpEvlJftgwlO2OWOsNEwILIwNMDhKNUtemi5x+pPlPdIrsGafnDyua8Io1VlULkCSIrF2MkApbbtKoeOvCVjne/tmdFMTHD2XL92tkcumygHBugnFgog74X7iGGYhDzk7KJPIbLi+NYHDwFN6AvYoLUj1emyf3zt0tMcOI9dWkz6FgQ3oGGukhJJaM1hPtzHnMlXMi1SWmFj+IK8NpJ6pr2AFrmmRy7nVkNwaFRzxc1BcXtxkvm8RzagxbXDQnPCHYQAcmrYIFyMFljrLgo6axpD1kGGy05DKwvIGbxsXJQ1h2uY7l6RfZxKV17OCFObzKhOMlrB7KzaxaRi2rwjNGnZk4SlX/zm3KIHv8rj7NqAq61WFOudmxMopVD4hDTG7T9kBflO01n58fGoDM/rO6BZAXXdUqt2Xuc81FFWtvNg4Qeh8F0ThGIdIdHKKWgz8xZSputjv7jWSnaxaxibSSJbMsmauGd8Q0xu2IDPsBEjCpegz3klcYYSt87mDVVFjW3/VgdPmVv2Nqu7qpRgVpXX972xMA7IWlWfv/wo3c1e75xzwTc0X/uDB+Jj27dqWBeQgraY8YbJ8JVP1wTX841CCksqefzkXLh/RG8G10felfvXPe+3X1gBpLEGf26Boa3N0O/e/uuDQeF09rEO/vVGw3cVNVC4mbidP6cUaksEANNQKCTBgObfhFIVdYVpF/2mJ/7W03rh7+aEeASdwjdWsrMJh2Gb+NDw5uUmp5IqpR0zoM9bySHCefZ5W3bjplK+bhmNCWlueL87UM7liRLA1TX10bhWod7nEJG5Qr5L3D+o7yBHROPf7GYtjlv6ex1LHSCtgnBIY2jFd924K4wIAGPlOL4yDvPaxOaj0rV12SeXH0zKmHTDiFvUmItJJWcltnAG/LIE95E3W161wB3leQaTTGDQY5EgfR5xg1VjE6eZy2dxhmse/8fXd4CVCs/sIN8eeHfuNTG+LaqW2efQRdt6T3FnzHOPTQ66fhs9ETzAnJP+TvN11R0V32Qs8hGZ8ZYX8B3NgRFGFTKS7dGPFSHkN4SyJEsiMZL1Iq29UcFz8cXYM5krfqIeAHvRZIgoiL5pR+/3zzpGzt3g/D8AdZsMMfaVFfD0a/BGf5MQyzMefq4mbsnds0ZuSlWrIlaiZX88GUdNZWZ20H9jymwe8s2N5yfI3A/6GS0IlzbgMnRItvU/bFxv/uE2gPo3jGBzPao0grJf4RnNo4/wDny5CvFFqT9dtWUocJ8k70eQPgADwsPAq/a9pihwtYszgRMByrvFBfI5GMXV0X3gC5eW5x3tSctXKCqRxwudiGZyNqInZUNmy17kKeSO3PiC0oCLRGpKH9ASMJDzkItyi2otabHcasHZKEYsrltO9ZcLFJv4JbyUORVt0SeLMAV33OkzPTKA3NNgmVyfcHiR5XqYaS1sH/TYytSqeFOj2GP4ov6gXAiky+d/D3sB5BkTizTGufOs+y3IgxM4FiBwfVau/UoRnd+LAWhkxpRE2cBsf26obY/3HiWWvLlDsVElcDAnU1+soNBBrV3UFWz2rjVS/w0vjOFsIBOhlP/paapzFpWjGJO6q/OXnUPJP2kW3iGY4mpR13d3xlsaBm6CmDGRBeou+qj4qSZMv03smDDd66vR+OX6PI6Ywu6Hpa20/doX0JAO5XgkrbmG2DaOUfF5fp6Qy9i+piPcbDv+WmOin2EtDWsKAcKzXqbyZe28WaL2U9+P0+4/KUb4BjpdSNdRGfFvZn08eV84kJIi5L466lYio5BfiVeazm03HYENv3yMyGBolNTkSkSkVyEcrGFnRFevoeRQ00yJSosGLynHwM6E7XQFhoKCi10PyeueKVaMa+2sJpSs5erbsLOib4InHk1TRXtf9QXC6hXCmdqQVYj3Ff9QOQZoJNFlSSarsWTVqhPL/M717v7bGJihvKlcZ08ZgYAdIbw9/Iz4aYgWwPhR7yzND1lfkJ4h63SAlcwphMdXtvDV/FB4LT7wqAzGp8mkJ21Qpn2DRp1iFKh7jTuOiPdjG6hdz13YjYdhLOpZmtip5105AkrdV4Nrp+4MzVT3RDmFlOVhhI7ryNRCjSKjd0TP/pm/nnxCViHf4MrO+JScgS7ib2Z2ykVhvRX+NE2NsPru04ski83IfoGFkexQlOny4AaWClbrDXoq3m+70Yp7PnJDkbdKPAE/QV1Tfbakki0ceWI3ydfktpWttBfsM9KYiZxGXcPCjbYpqU1Vccegjo+K9HMUVTjCzkYlOGwARlfSmrsx/Rb8yNNePoYeposwWoxGneI3+V8ktTFUa+O0Ncq7C9zm6m/PsI1ae13/kWxUjgpIfNRj5UGw4Tx1zLXbHcl/V2t5TfmDLiRbuarAd5w21Om2xatpLt7ETnrnlX5PrTMTuWZiqn18+uLQPWpc2UvcxXtkai7bfySs875BMedKTutPxod/vqOtK6lXu7xK25FH5kTd3xKSCFQuV8tJ91OpzzTCnMeauw5/wyOUYXLmXe8PZuydyspiLcP3YkurTZ7tiETSGNQKA/ZVV+sMwOLmj+LkauuLpaUrIey9u30/UJzrAnJAkJswRvfDeUTsmJfZnMkFAUBZN3ZPI5Qj/6Mi8L/BVRlVUI4Zta861qLuLCbnSRZPhd/FPOCxvaY/zCSdSo2S50bM2D6/kGQmb5M9f7ZcdTgv5E0FaEMZDSKaT3mvg4WX1jEJSlYP3Rz/95DQPV6GT1a0Zc6wLR047GM2H31WI0QCVjEHXcYgS5fC23bQKla6wILbdjk1uECCEhe4c+lIZByB057gNbsUfzOxX3cdqUuuWnd5TW7VBwvOkXh8HOATft0+CsYobCwa4oTnrpqQkbVGg3J2Z5IGKTwDJG/iGI4pegyFei76t8WepeIurbNxlVulL3qE0zmObZIdPRfGa8DG8FQEXqx4ZBXWIYp5PsOZwxEF1d0N4eUBhgvKA8MUUn7kpPAQhSXiuCXFyc8Fe+TJmhVtREmp4TUmhCkD5y8qyznp8SCZBTY5tIzgLfyFQR5fVOQv41Z+Ugs7BKFTMe0TiZsgY2BVYJ36ZyKJ7KYgAWjZUkuYT6CAUzXMy2Fsf8xtOxrIjdhr+sJ8L1tnKteBNo7Jvmf418QHjtLsdAZQAqftKCJGxPv90LpKCK+BMmGdTAjijmloPZReSO4ZAhNuvTNhgyE8LuWhVPMPBRqHwIKDvNAGR4gvhWvhnLwu7hWUwfZwRapOQTDCmaYVAe2luW5S4Bv80vXjwC25jQ2fzMaTyThdTHu9JWbQwtrE8ItzQlCKgB6jSuIhzRVjvxFXP48lI9R4dwnE0RFVU6h45AH7ki7T84BWH4zXDpHWd0eI2iwJ5rJE5+u14qqz6Gv3pePhTJiYvnLiHi882Lww/y3F6ZuIvRNZAfhtx2XjpKfJ1D4YfclMURjDtuK3RrCmIe1sBoBqaEgifYh1x2RJB7iH4pRpWWw4qstIN5zC/+jNEfA2QUHAjj1ESmtbOwbFgbWA3EQ6ZT08vfAiEldQ7IpZmzyFWt58nardha+yeqqutyaJ8b50hcJ0nQGZfd2aKG+nSpqDtuV20Ko4axAsNWj3F/C9eOxEVAgw9WIZqxEAc8K6Ayx5r2mV9St2aUneEeH38ZAcXELehS3RqQSSqvGa6dotgLY1/GrRkJkDcw097xdDN5ylTZ8RdldYxWkpFiRcpH2G5t/DUJpFRB4SlxYEgkgo+lDqHeFHfD4FyENp9ADyj/pzilhHnVTnnnBKApPhVQeXVzxxLIdOGCTBq29GjL2UBSCborf2xy+Gfsz7Hxzo+eYizn/lXBJY0m6OChyeeE698MKjR4b7+lypi/6i8Yx6/rqCqma10PXbdi6JfA8XY1zneJvKPAiqmRzOdB0qj3oiLzqH3RttSJCADmDVOlJEltBESzU+gbW8Wl5zMn+7Ewc/4W5fphmx63kCuH+3Jf4RJ4SPKHdkeIFpaFpNoPqq2uusfi4ChMzlXTmhMsICNKO98UnDZzytca5/7Z5njOiPkOgFXNmtGH4tWwgDJiHQniXu/EsDeX0HOexXP8qFx6fAhFqd2yaP1C13+hR1l6p5EST1fFCkWDCiIRdGYFw+EXcgkXLHW49FZUvacXfEFv4P98Mui7CsQFNuTFQH291drailGKCHr6/qgPX1LbvnOHm51glQioi3AkxKWJgjLHGklfu52tIEIGr0TTE/pMWnkJ/ifsEHF86FUjwxThhy2MdGV4J+qJm74tl2NtxK0NW/DL9G9Vy5VKMBCU/LFZudXE4MtoYzg6Hsvbqu0x0YPdpIqvNeCX2WNqn70zPEkoSZBA9vrvUYf3BNnuRFRqrh7JHJqmB6QERSKGyc6tu0eSnxQ6c5n8X5EmOS4KBOxJtDhH9Qj9ir+kkhTzJBav7lzen22quRKFQwngwqUm1PWll32nGSS+4dUBanSvJIA422bO5v6gaPt2nuu0a+FhAh46P99LsnQoIy3SQmhHuuhLX/LqSEIBox73+yDf0LBjRbUlctR2TW6wBj5jfQqqvBwvfio1/jqWeemNQ1X7/EmTMHC97FaXiHGtduCwateLC2FXoJDrqsSypiVByNRmv01JV8+mcqmdse6BtVUUd6AqvvljVRLjvhkxgETrckb4zv6istMyxBjEiGi4RLwd+/EHwt58JyHDbe0epMjEzgtixwEUmnS6ZaL/VyZ4t1ZZF8g/4Fyq6E/m9TiBqZfsQVqXHTucTVa5w2l7+hHdyb06y5KIR6q4nhv9ZhgMrNzcBQY8nNWD1HEemYQ9RSUOEvpm+yfNZh4iomivkMLzibmomZ5JYqpAe3aKTMkqQq018eKF0N65F+RqJV9F59+1WsE//P11YZHlDe6Uyiw41KWAjwpxpsNcBhFOYsze+6xwJ2P12P3IVYovo0bM0KMB7I+Qwh60CqSCyEZyGfX9Ckota1oFXqyk+l0hAgSyopUo6Gx5iULTTv8GItiaaMFnTdhi2pBqsJ/k8u/Z5iF6qw4lAcjZPND2P4b0arUjT+4PzsX7wUGl2PzzDzu8G0Plc2/+Uxv4hI3P4FxTZZt+la6FKDIPqdt1sktUPE141NcxBLx6PW2OF41sunhmFcWX0OBZ/ArRl7mMB/QhX8/Q7lb2Wdm0puNa3lEc/idMLY92EoG2OO6O2ew8PWqhVkvxRp7kTfny4oIGovkwfZ2CuwmQKKDNC65dKxUFxNlyu8kcBM1sXaig70LeXiphHUZgs1+UDOuZnP3P3bXMHK591QVWtlsPH7GZT0mrdz97eC9oRfODRB1Q+t5Clx5KoPRn/eJgxAFHDJlDCjXftbhVCWN/4mVFIU9Kl/o5aYoG1/IrI1CMLQe2B2pp326Rn1RRr2AazP4+WS3+JSL6qi+hTQV6Q8VAqZ37M55RDeJbRwDgIjgnKWR61jupHOLBVskaGHU1PzhosISFO6BnNXiTmzjNPFBepnojFWEqPa+h24pFfEuRcyQjqIGJVyh0nnvzziRncmY4AG9lxdJi/mUC9Fqretz4zORHkCnJN6pu4XT1vU2Fm9438hogW2PNYJaUymSK6Z9eWVX6rcotOVfNgY68t7JPPqx+m6FomhruruQbmrYL8lxYfdQcKWD29FuZDHP0srno11YCYULeL0cBLDdZ+TncTVJ37tot2YOr1LZktIugh9yvFsMNl4NeR3smW4LSs81ivpAtmq/ms63npYXz/625OgJzHVqhEAD2zWP7dd6o9iab1oufRRhoGgaYNQGIF4dSYfkl+PontktsEhJb5TCnrcv8pEne0XOmQ0Jm1C4aF+tB8NzgfdZK9Dd6IhOImwQNa3bxJ65tNvf56HFcKovx/96MULjznEHJS+zAziuDEDt1mz8YBYG0pR8cZLG9yil0SuIu95zGtY3dO+h7keWvUdYFK4qXtJ7NR4rKXz825slZSP8+mPZv2CQOWmU64RTu5g+alEEkpMDowcCNGVY2dw67gu5KIJ11O2S3RSkfHhuaaW5LY7xExrU8/rHaFTYHAlzzdSuKt30WF1a9DfNc4i3Mx+7PX44JH2J2uWwk6+69xWZXai5+YtJYXV8mQceu8hXe+hQwYov0/MD2pisP0lLmopHYfFHFsneBTplWFA1BdSNx+0Z+rpzcMK0lLWA9cQiRK9mbvACqSiR/6UwnFNeujKSijfl0uKLz9i+zFARoBAL9jAGYSk4uc9J7y+fwGfKH9FVOHKvTy+JZS8rBNAWxwj95ivkXoeDbI1L1dlI7mvHkim/IIGI+yd6BhEjZn7/jl8nKtzvBrfkH/yoLAzNc0iD1/aG8VCJ/lTwWj+tE+Zx+1XTTXZQAR6gPuUpini4ZmQSJWhguB5ofrngOh2xt7Pa/rWoQzq2hCOwIRADYp27fiKv6GM4kFw9d4hyZ5/kyqif/TH9J9C+XLefEmg/3x5axkmqG7sgZbeAH31IqbYVwAj9e1GTTMh4sqUNdwMUi7nfsTaXDk7/pLlSzHEarztPqaJ4TVeNHveuPbx1P8GhYQWRWJw/J0SIHffberm0wBMarSSgs6j7uidok/DmEOS/bnTc6uN1RWYhyUuGIugAJtoY8uXzjBvSSfTTclolvJSg/ZWd0q5My1Vc4RbTpPI8RIwANs/AVFOg0xYB/+fp/49Qllo7AOZPV4g3uRHlJ2WBwygdB9/Htkn5CTsk0DqWn2OpPkNpfkYms7XdwWCTMQmTAtL7uBM/Qkdk/tyLP9nx+HckwAcIVPTOh3j78D6crfeQOSd9dG3zn8F+osBPFehF9aybNZLbjdE1Nq6xIufuswPHIj2P/MluBTagonJ/ZLsNVDR8lIANApDhAipUiUBXSjvR4apB97rq6wv+ElmS96msnEoZZKq/kU+UGaBu2iMc30+cqozsnt4mMMZ5R6uT+5zwaZZjS8IUDKpBPXMLnVoJJILjX0g98UInG1JM3+u8cHjogRLA3xWLXAZ0D8VV3CIbfRWBr0Owdcf5eMDPKZ7MwF+OzPpoKo2TSTkey41zXJqijVZX48zr8q7QaWXjzvfIO4xU92lPZHHlRb9Pm5h1YeqTMp/rqO93Y3RRE83ZiyUEKIebBrzfBE3q4++purfksM/BVBDBjz9SICEvPzbbCuDsEDdRsxpPunATnYe7t/iK0aW0ambjStEs4098TiTmllxirflT90swQ3WTFaoSMbN1GOug8Q3zwUCvDrZTm+iiTApLyG64e3OW+fWhgyQc6EI9Rcn9ITueZ3IzRPu7IYlZQR/ofzUFnCnYqavW21wo0mRfmFOKvPBvod3Dx3CeHTfHklYbRHRZKm7QlOUOwr/dMZpFqeRHieJb1lDFfHDlXuDy5sU60SyEgP2Dp9z0jj+gWPfFPrUnzinakTcZaC0989cd80WzB2px9BO3z9OGOgr3+BR2HjK5rijhEZiKD7x8/zQQORgMMqZs+1rhxgiv9CO3D3082lnCL7NG3X7xa2EKsS+vbTBymKQ/wdoBr+dLYlEprE+l7V7Y6bXw6efp60ZcH03I4Y6NyFUplMxcurOx9Z9nZ+i1unsN6dFuJwKpcqJjdqQaViXr4HwDKJRXVWCWfXsjy0FC3RhIwfsa6eBz6v7ga1bfuKyYjrZfHc/fx1Pyzq7EuZs2U4nCeRbdpQyNyjlZHmCX3FdxUeHY40gtSnm57JXllLC4Y3I0JLVpS6xr7gwu0oCBou18t59cUUmX54fsGFaeXfUfNaSdvWj0ELmazYgpJw+wIE1w8hbgIBBL7Y0e1y9FKIjSPfNsyJcSMzdNVrsnOgRoP1ctZGwm9EBUDGb5xrfcdeq52JJI1fIFREEkHwbMreGBDkgIgZrntdJ95YQLNkuaniyMR9gZ9D0zEQI3gQSR1N2oW5JuYYcGyTSwNnqLpaVv7W3oO5Lbif5HIh0zJTWGGJATLW+EMmvYhi0wQPEJ927InL9oOSQd/+2lajt2s3k9pc6Qj/Vn124K0eZI6sEpXh8PN69eW49agVgQuDcVE5RzPoY0c3xWgGes/bJjOFIec5kZAX4z8N83g9kCUtEg+x0VfLCrWmbxUW8kyNo8XwhnMBlFvgwxb2YH0fEbn/RuWjPapdoHGemgIQsyaolF+s6TgCpzmD6hYeeytGqkBhIFyG2pwpwrBaDdgx62hSgXnbhOU5nCQAVxKadIHey+UQGEb4C4HVjjjx229W+OJMXXZlta45lQfa7QeZGMYOT5gyrgx+q5+JdSjm2vLyby5+r93HxGVp9h3DuTHgSmM6yUl4yQhpATGOs2xYUMWpUAKGoODRT0Lvt/1Q3JsRd610nD3qddFAz2bSUZY8pQ7jYR2sq+TMeWs4BqgY9/tWjA0wiX86r7SjJ1SizsDKS8yMepg6vluoZr8i+Hy42aQoEtS2ZRpes0E0uhThrBWjfoxix0VxhMO31JW+6d53YB/vNOsv9Yy2Mp3ssTLrIIFYFIqQKPDCmfXXGbNtziQw8JOfEE0t+wGbAGwUySo3NYHri5/ykCyhDrTCwqp4oEXskiZAYglj/0iWzQsmMvViK4/wBQ0J2Ois+EhkUMG/leNsR3m+5eHf9ldPXQgNOBwh/uWMlVuJsd8TiZxMKhPvICiMDGgWFe6GcXXmt0Q45XVIxw7neLCA6THceu10gqySc/ssWDMLPj1FIU/dAltvYTYbWfn4XPI6U/F9Pj1qJkynZl9tqN0XU1i/mcq+twypRDOIIpzsZmUPCcq7LQz/iolv1JGxW/pyfsLjT/RN5BFUu1G31iHBz0ePTMxDge8mpfjquHSfoOrKNc3dTpvwAjKe5ksBl2LCkA15vRY7IPEjXU1eFFYpflAfQQ/CXKMTxwF2/tMqWOpSjuHGimesQGTze0TKHhl/LeUH+EuEU2unam0ZdY48qavvUzCBSRBS+0kv4f6zA4DlxkHJWneMMU2N0ygt88xfGC4ZncOty4Ymy9CVaNS0a51qt+wrmE8j8odTybtDM8Ji4YJexVlDa4mKoIazpHdAcOBX7cQr78WtF7xrS8jqkHY7bYOFCR3M5PY7LYfmFzAIYqi+2PbGEoYjNiNNtfv+dMXvp+1vBIiPAyZMaCe4eAT4vt/YVDBmG/lgv+1gILOOT0d2hwhaUGaL6b8OzUjM63sCXw95SJ3Fscn2jln11Z/eCNpPeazjWwl6/4fK3OwZ+/V9h/JNP46xATq1D2tkRLhts7ZoeBYyEl07xmIErA4LA36MysdnMoqQMqz+rZU6JqPmj1jWvxWx5Ev6w/IZRe2tfjxxdPmkwipSa4mb22Qs/S33cG0u/inYgT5jb8iGwPfm0aBkcRRtnt2RPUP20AYu1qlPVXyS+m8+iTbD76QoSxoVsDXURhfeqh+KgnbvBN+oXXIV84x95ifI1rkgVsQDhxx/rzJDLbCM3STAd4kq24ZXZ54cWR/C5VncZhuEQ8fpc7wWEZdLIdgA53VUqi378bV/eyuRUVFhzIck+8hJg413JC/+E0UTFW+0vOqRSYYfpa7P8WKJgvG3Jh6JqLX5JfBMo1inYJORPtAEIdbDS9ybdHqZGhVbmkecvTESYsb6DzIp2esCiH5EOU83kFO1DBxrzJGlL5Z55nWuRUAfi779HUfqnpIGUrFVUNSwC3Avrxtza0p8MSujJv0GN94EVYQZQvy+qOc44j5cNirggtI2ArCp6CC5Y+myMfBR/jObeYd3ltXhmCouq1IgIUq99aSHTaV8m62AY04VUq5RSXeiZnt5H13Z8YGuwSLrwk3/Ww0wkGK39gelqZwmXyfTCSyrbQci19tMgEHZJlyVH9gW18pPwv8PwOMlE4ouhYnCwm7J8IXV4p1E23X6RfjA21jSM7JsmlRyCbKHNSKRNoKMYvjzVFgxB2/lwyvzRdMgkRb7OmB3ZfUreh7r3b5DZyT8xji3Kv8C/Pj3lsBMJAeNEo/jMrpY5Z+xFSZjkPb9+pnr95MzkqzV/z8jLzd/2OrDRHXf/6fFDNnBxVRPyx5TMPomCLaWRTycpwyH4BVBvccqptFodHtCOUhjyYyAK9lEvCutnRYZWBcU5nNm0IIL8eGRUa//6nbljULZRKZBs2h2DZF24uXDV8B2ZFZhglUbB3wLnKhA/hTST9eFrhzWtazHgcSvsfByPOowMx2aJ7OFiTEcV4UPO1Lq4hRLRJEmJgTAyAbdqT0IvShpV9xz7JgLgUIXBzapSfJsIM+QDfkl4ddF916+QejSgws6ouqDRQvIvLZ3V2aqAf8gjky89BR+gDx2/F4+ev5U3cmqMgsG2LsOe2wwncUOBYH81+h4K06osibYK3ln3ivyRPYkdbZF3grzM2FHoQngqHY3g0tZPnL3MsGbyBC7fMeSfX0+3v7uor5TW0NpRHLDIUgD92JHwBiiF2l2O3EPrhIGYIWoiQVHanBfBldbwACaH06dWsebm1pKjTBfbHSkhP6vrch+PsVd3f6VuYY2kHx19zF8fGWjpikfiqDNYfxdQwoR4O47wtmHMmRQ/nFMQDUfD8ndpO7Nq+qqSJWA6Psf//YYH+zfqLIsz9h71bbDNV4U7uGk9y7Vn/6rJG4Xuw/LnY0rK7CpQYYeKLT+TEfjV2F+bNAsVHUMfVLIJ+lIP/JIsRS7cy3PE4bjcmEJW8qwamuzMOjReR2TDlrB0v+O5Sg6YqQLN9l20g5XOpiX6+bUQoRmjDSCfhQQ9VYgmoXOfoJYs4HsJ479/LmI8b8iJvVFBW4/gl68tH87+HUPofuVsREFeemYDJFSpQKRyUpzZ4FEzhZVmPxLFIY2ZStpwUECnBufaRMDA3s8T9fIg9+Iwugj8xdXz2ogSRzPqOqe93pt8Z90LkyD4qE5kjeBWYcSumeQEq28Wa0DXj97cTSiWZGIpem9+JfwcFF46PQGTUfP7aNzcLF9QuWTC2ZGcPJ/dn2aLVBd+rwT5w6yMAnWQDzHzW5ogthcB6idF0zo8AKw3UnKpHYNS08tPzwXTKAv1j+D8mKi4UQK3VgUnbRK0wLa17QngqFuE2VDT6UmBrol5590loQaK53I7FBYth2OuDj1H9fLNcrcRXS/kYoxB/WlAIre4N5Uvi9FXJ8wc84joV5BAYRFL6Q9C4BXa5dDqh/ETw+INtCd0dsEGCvTh8i70lEkAcbNcFSSE3j2Tf+tcQsrrf2s4Pjx+3xlUX3emp4hYsfyw2eWojR03LS3XPepFdSzh+i9ePj7z5eYnMPonHkWHc6+mCayEGC5SKO8/7RpbvHYg8rmpBzkXLdu7foaXi4KHtkIzkedyzKgKx2V4qbjQEFOovnQpjjIUnoocYuSWRH+Kp1pQNsDgOX3rN9gZV6kTU9R4P4T69IxJ3ac5S1yXnGfUkRe4SREGqVT9bHs9SvpA+KCmnR6q2XNU/kzbpNU3Ux8Eg5dFYvOtd4QYBvz+tA9Qyob7azZ63gQ0kFcj9ZdVMM9opR1fteMJBj3bBEXy7WRUqGJGv1p3YoT4k6iloFTjGAZHToLZcwM/NTUUprwdHgghJLYEeJ+7xf6of04PNFe6jUDF7QXlE3i3ULOerWmysX5DeRyLYLm8UlhD3TimRsPr0w43yYFlUlmtzJ18lekdPLJV39AiVRnxfP0Pe/iaO+TZJ20MXVQFYoBJ44Cr89+4iWSn86uL4PB+K7qkYibuRTwvFjWvtOuPBvDPAzSK1f692bvESmP/Ml/zOcF+SI+4/b6HjowK3ajyr7OKuyjiFT/GYjhJFXq/4QJmK4H6XByJadSfte61PC4i635t7eW6qgeL+u0Zk+pStl91f5zr8KfLUQ2tAmDLsDmg0wsTPzBaoaNo8z1lS7Ui8xvGvRk0kqyM7keVr3O79FO9gFqLlBuq9h+kFakfMv3rlxVNWhtbrW6djNdvY/ZmXN7E7YmpwesEW+Yv2FBWeFtVG8hQHJ0YKc9wwybQHdF43Iepge81bFIfvUmEKl2qTvCf89i6DwCED2e5aB/dfjxOVj2FsDQWSxXON2M7JJ6RplTXS6rUWafVjAladB11FdLrx81XXlzJNOciATkdH9UNwZrWmSSZ5HRROSU45tgmWIZjwWbNVG6fQDPtMD05j65Yc9yuqZCsrnGpWHSm3aQMo+YsTn7Ns8d6tL+kPW46fExW7lxfRoE1SDrdPDMJsfMS9mcukVfg2xi1yw4O5d/PFMEaWNZ/WZiKz6reLnMPxrIekcQ9AtbOnoLBPI7/cNu5mnPm/+Pn1f17JycUhPfD0skcPqWBrA3SSNAZfpaIF/Gy0WRglKsTw3Y7We+2lJFpGDpzEzM8KZPW45+rLn3DbzwcHyRkATJTHKXLehodPDuAQITSRj0aa+NRVZTTaePBMheKRm44+oZ1hhg/5Z4CjgSaXTB0Lo8eVEsMg02X/IhycWWK4Oog1iwFOZ6VqySFSG/m1OP1XdCHEXrFky52uni1ll6Ox9oM1OmUDEgtGrLRoM6pVATWjdHMuxKc8oTHiDbebz7QiDkq87wQGvsOUX2CVl5+0Br3FGKTQ//WwNNtHLJ8wMK5iMDnvKEuSaQ6AJNCo0nfJGg7ycpejxB0ntZNVAbeOAGXDRiM6Io6+m38Dk1j1HEbGj+uOD5PByIvpbsn9t1Rp/69DleKYXs2FEEHIrWmjpUEMHwviNG4qFEqhQvZZ0bo9XJEQ1eWC7tK1KGCau1dBKWXVIlSxua0Z/K8UQr9NLU4R9G93XDS8+QvER5AXXvKWn2hfPbi4qXc2UQW7Vgq+WAZh4LNwoJZxbEzswrQ+M2bGJIXlU2YT3CwF6NtTpM7etmFADdHo+xXUByALelzKmqguS0XDhqxZWiCk1n4fvFfrHBxSj1m4kya92j3mZ2X5vxwh6EJPYQ2eIs0rGlhrXDDrCLef4hmQv+BxVEql0+6sQADYbDABC/hHctwMcjqdmi4uF79GPfbLOeeYlW4fzUbXxm8WR/z0patRJcQe8uNH0w/U/R+VsqHI0RNS04nHxBESEhqIL+SmpzfkofiqJW67e10+2rQdvxUFEwnJVy7FrAPjQ9VV94n3nlGe7CgzXmZiSvpof3qmOgd4Ofi1Yc99a3SHxpqLsbdBhpNPwsJR3r5NvOl1AtuIphzqTCrBeGgnUKr2QsEvyJ0kpE65868cKjUOL1jou+wlGtdDkvyPrTZw7BvqWhE89BrU7m0Tlsh9hFUj3Zm+bhNPO74WGg4AlHvr01stEWBtnaIPdY1zU3RIC1U3sh3yNmT6efYUiOgC9p5587nL69ghqN512kWkXzfBmqZMeVGWA8OUAH6UTRV9SnXgS77e8CGcazFAi9S/bfuJwjWq+Bq6ovTdBUiPPm1w9hDvKTkpzPqzdFpcAQTnLl0uJOwtLOX+eNDARNYqV0Zam9cyGAD603KH2NSY9K5nCH1/xh2r8+eF9sBUHQ4Gl821fMfTwqyzVWMyx/C1iQulqMQjqhb2h5hT3hziO+OgF+ccRXA8z9I8CXZoPp2rjgzJCOy6yWVm5l3ZlUGxSH4/WwBWBJbTVja6aGRySfzFIw07hMgvEcclExBCxyARpJRS0vVyXLn9g6i3Ic2nA9ciqXCXbzrpuWbnpRAfnRSGMuaAstAnqSs/gwlFZH5I4of0R0pqvicMxffWH8V16Yw+lcD2fJAW3q0AO/pp/qSGIqnhcsklCbkxL9D5sth+jaS4V/mNukuaM0M60D8mV6OMEZ/FNgS1yxczm3FDEefQJzu49weKwbpLMu5qsfWx5U5KvngVbD6RRIjQ1jV8ge0uULNKKceqKIRoz1OZceTEUI3WwaXlefpwbw4Zp/y1fxIgFkVjqX8KTurmUPqJEoOnRpybThJdfqQ/pFHnbMwijem++MJto7SBWSwb5J0Sbw/viL0tzUp8yId0Amt8extWh3yVB0+IUfRE3S+qSXJWo4cbdq94hq8DCC70Hs92ykvKmI2aPfCPb+rth6Bvhsa97V3TR0zBOjdE77eGUnaEKcpZn08Gm1sFFzHuj6EVOkVOUfyrOIg/s0bEW9bHL1pSYCWMwBPnsrW8C2h2PUoL4eVZEn34SIOA53RWLVdliHfRnKnxN459v5INVUTCovy7Bv8X4ulsQNx1ngvVmBznN+VAgSpZkAIa6ACSYEXeVVGcHf5IpR3UANJcgda9c627nKQR4+HPV61moC1OxZZ1keTZDFnXe4mSgeebv2pwULUI/Ut6mGvw0UDLIo8O8m1xrxM1jbKnoZ1t/yEwd12YsEKbHhngZVFO2XdilO/qJ49Kh7YDFLHAsxKPGeUKXbWa+VtBImpXCSemCfvEjjm/Fmc5K+tRg9ACkyRDQmceSZsBmzW3pxgN4yWqjPcK12Fg6pOAIpzAItTLI7ocUbWB94uCHRW7fZUs5zrDHlO32sBvMI5GrgxRTBKaxcAUvQjdhnJSjPXp3pJ4UyohsveRla+5qdPOg1OY0ZkV3ANopZHGiGahklk0EPVyt+Lh3C8uGMipm+8uu2nHDaDt2goJxFapjajwUyTqpD1ESjlZUl7PhSNZRAh7cBmcvBE7bdyOTDMSU9Oci/+By6lS9pKMEURbPUcZRGkopcDwuSJi+Cw5aXdx2QjTjJfIWNqkF3guxBomLR4z2PWxPpipkbzUDFz/KrSJrtw7SAxlrQai3BIppq1JedhfAvzyTh6SieV6IOZDqazjiGbkRQ49omq9uf4qyCUZ/ylKoX4cjt1dbqFmOM2b5crJaAPiWJlC/JO2NBz1nUD3NwgzYeJCZ/B1JFH+1tvZav4j3fu2uld8u3G/Kj0dVYcZqfkJwgwfqs2PhrqFJ7S9XdqdDhMtvt3jBuBwBJHckxCQVTmVSXhuNu+EkLLCve6XP5DjiwOLaKvGy15BYmq1+iAPVLUWJ6ElO1a7jQRqJjrm+yIp7bRGr6JInirT1ohY+MLcd1VsbpyO+5V+9ytihhd1dFhiZM3lldQHKwgnQdK8sqqB39+YpR2ZY4xizQCvY/MBQAsj6u5DtP3pzU43F0KukheY2U/COmRGS6+Ci4q6jC8fctOC8sfJieFYE/cuQnE6GeeXMCbgUriBpBofts+DTDiN34RS7V0dsD4xv6LHASQ3gURvKGhoXXcspQW6+mKn6vF62bWeS2k56xm0oTDtC+NNXrmd9ROsWAEk2OVMWUGYhld7mDPh1KoI18MPZA3pZ/HHAnTOC0eLRuI7XF0v6yewg/lIF+R3N3qi4eBhuQK71dT7lSMDFEzcGtpXNsXh6FBnQWj1xzOWk+DQG68/3Hr0wjlr5QKvmlIe2iiAW3Q4edX7/PnOvNDZEuoK4QgbmyH4tnKXIpaUwUSe9dUtyUHrwlnJ8c82fajsQDoGplrOPO/eFz2sJSBqNwAjX0gH28B2b53C5AiSCfPVbxHb9sz+lgEL/BBspbypGmBmtBhJ/Rr2ACqZ5fXBx+/KqIcXeqBbUoS3Q93oQvMmQBnbz6toX4PXHznVVxUKg5gBPVjlWIVmfxu4fVhIVwO1SBC91BNgVMheJzZK8LO+xDoOzQsXnSgKgZTD53OUvzKsbahTqMEJpoVn33jUyg8BYt+kk/K6ZDFQoPiTXm8C2EC9W/fSfm28De/QwQ9AvkcYTzZoGbIxcjtrCgEV18Fo7O88YK3CAKCD9J9mt8zEd0cEbwSzeOCwtE88Ky/d6b6iHMWbufaN5lQxJldysiw9cj2gQ2f7JI5hJbdkY6twFut61T2Lx1JJZjh1ymImaMbT0AirqTQQujYDiF90b4pW1aqvqgXkhMFNBWqZEFw5LO+hV0hMLZVKNxEB2G1A/FC8pVlkAqzDp/gbfDC3JKMAsf1lpOmeQJSbEV8X1sAAg5yteXeUebNUpuXLUa5a+iR+jtHf6RRRxz4JknttS3i6Z+BGOw1l/hz+jaHcNl+AWM8E3BFZ3v6vezuVGCTJOeJ9pmhDbrZ7zkm8zGv+wZ3CbuMdxsJfN/atSdgJGj2T5ScAHLousGqw1AVDYuvZpnq7VPitTVN7oOSdBUbZ/OM+QqRhpc2y5Q2EhxK7YbZheBbVk94kb9H5m8RUjRYYAVXQATjfhw0lF9A0558JzqDn213RezmyVrcgxsPZpGigQVutM3WrPfh53TKFw7AMw/pb4bJriwF1KjJF7eXOh8a3ZBHJgMbBGpX3GBsHHuCW6WdYiRLuRuv5vkq6WucyWOx27ZX2an6ncesCN97apL+sbSsGH4v9QlIITv9Ri+Lg9wLYm22fTi6maylhP8FJV5yx3BWkr3Fss+48SFxJYNKwQmyFkUvUb0ddAnfLZhGeeROFjCI2VI+pjQgq0WZzWrCXu0XlDhfHWkOUISAp24VqVRXv8/OF66yI+Md7Tva5AvJhJBpxbxtCw9AElV1gP6BehfTmLgVXg4ckze0nZI7V0VDqHM6T3ANgQArelRsdplJkeY0tQx8ZPIB6kyb9zZxFgGmZHCwtblyH2VHVyaAsB2C+qJomz842qMsZmeIV6JdkVKuxV1YHM7USwcIjCyUUBAooHICBOsxm9netqp3mk8sGZ5F4JH3UIeXo4vbLLkFDHO2HBQLPfEMPif2pZEC2PvfRaTOd3gusJmh2t76Lad11fmEs7DLV8Kb/3J2y5yVnyKPC7HjzTM8UpBYMJnCZLZ2MnrMk9/rsiTj7CntoTuD9fFqI9moPL5uHaZzdgxeCZgFbXmHob/96ZCxZ/jciQOsJ1zrXReEvihOToHfasXYEdBLLllyODtEkO+KLOPQJVHpWsh1dM1pHmYzw+JMWm4ybGDj4R6RbUAlL040XdhCeNKgqpENXwxl7abj0z1XpctuFXQ/stmUUyTXr2TXrDO8jrTWNFwVT0PjS1Lt7tH++LiYrzN1ckOKIyPNx1QwDdRwJrU6PyKNXmQsYzH/fI3Ad0WDcJgzwsivVJ1U6qe0ZE52JHvGBWPUW0n6b9omufAF88E3J3WPVS+174D9eEfWUWs/tCRKDiXbfmCvLLs9WEDRmc2Dpu8Y+4A+efC1firdOXCWObLvMvYpd3DDLPV4e5NkUh6Dt+1WIfFEUNoDTVBdi4cMVBlq9N17hzVqIrqUg9NBv/EvrrnOKEqqa0U0shG5Ki4LpM6pr/vozCgc72KhLQyDeoNTjWWT7fiouJ5zcMvaOkWVRTw3eClAIfzIfgvDasEbcuQRzdtx2HrEBYE1uwMhjnzR2z8jQC8L1ze4EGxRGY+TzaHYfGIucrdMIz7/SqexfzG79/hH8lY4QGnO7AYbsVYvQnWMUExZmjSn0UepfGzWrwf4waUBTqly8A/3CYY9M6NgZ+gqs90jRi3EMl5Gma9QVGZ0FfZd7MgY7/T4aNH9h343KHazRNgZrnO43cZAoddu1VWp13wXtWuwsU2fea1mWBs1JbT0oZaMUb8gFyai5st7yYFQepp95Gm20enoaB0awkbmDMEmzRlKJ2Fz23yKt7P2G4tH0AI2+MEbNTLB7tWR3nAqsTCJSy0uwKsj/eIy6nEBDYZatJJiud/yzHuBWbBiTbOUXmTkTCMLeFpybRs6STxo55avEhDVFKr3SgzkVByMwYo1oMjZVj13oKpzkOn/V8GMA+YerqvkhhgrDeTzBrTbX5b2KMAAW4EX4Rs/LdxA99ycJsdxaQOZ4zzZ/HREr4WEDE7qELtYnZRpx3m47cxybHUDEGnRtnd4y27IXNClBxdgThnW1j0gleib302a7ztNEShoIL2TdbHUipbSjItGvNghXqYEi5TgCOivhrM4h4M0s7rPFr03EzQCcpVs9UQECHj9WX3GbB2QdlMW88vDa5Zyh1vklWxPhtvpAhxFeR32/nktlHpcJaq7/1WdVDaF2XvGnNbXZeeTON9dwQE/DWZLtltEWjeMvQOi4MyjNP7xoW/xh1//pACyXAUrSUiR0e5rNt0sfzWhF54Lzt0RO85qQn8LheDadUsQKJI52QEXSfCUkpJ1WOUAqKwxC/j36w1snC19XiTLUZB7+9t7X0Hj8tymuTv179vtWexdekCNPLKqV9eIKkKyL02BNTwKgflUEPadjJwrktq2FHsQdloB/L9LOKmqTjqjnEBScqiCj05/Yh09URMmsz3meMYTjwyxQf17MVTZW8Drsr62Dju/E4Wr/Keabzbyu//XAk8iIi4p4BEXHR+MpyYlYphpoJuS7sbo3LoqEoR1RgSSAfQfBcT/jmR4f9pvePAIP6CCHqp5LZNUMgUxKjWqR4BcjWLddm02RHbWIcRIdehQPL9CxpabP6ikM2MjpBwRZ5LzsKl5f3jdeyEQ+PiqnkHbgXeVk3FqpKBBSCQHHtDvsBVzfNMRGH1BWIbUDFTCzc1DLOOZPCBYEgWOZBa2CVoGY6Oy3654mkc2nwCv4oLc1uMqap6BeFdT907RE7kwl0crlyxcfMe42MThM0LRiub5rT9Qbgd+tbs5aYo+WX08gbkSi6VITb5xlcnHC76AXwKVOuKwFhX9r18/3haTHoOdLK5f8Hs3A2a4VYXvE2PJyYphNfemNM4pxrckTs3dydUqK6Qz13FVFkAV+5VwBEe5/zLJ76cUXArr8nzp42kSAXn+He7HlNd0VbN4bdTUAHOrAc8QJ/ZIjj2QwsRmXHs8aQ20Z7JigpI2DSRNNIh1tywsJcwgLjLKdSnGGdo+UFzi4wHTPXxKIAaNQmlbdbqA1m2a/w6lhPeQR2fQ8VXP34+VdNAzgTu3MSes4L3FmHp0vgjYafwjmA2QO8VRFQrQd83U1m05f5P8UuEcAzNgtH+yWK6Zqc3h9HBqg5dABVe8CbUXm7ZH8ptuVmx6U0n7LTP8ccZHdPX14oWrOO/oIiHr+3dZF2OTk6UiNLDhGJFAFg6iCNwAxa+6y1n08j9xKrmIjR78NDhXYu3XQ4aSt3zflD8e1QVc/sIdBZFziX/d4YytAkHCKMJvO7XFu/2jrOALINa8WyJXhkkErEZRWX0wTw+/Kx6JQ/ZXDVl25U5EWS5yvRQwD3vSMRCqo6c93QzjVwDbENdkD2uwL3L2Zjc9p0Q6b7d56uLSfwsi1Nh1y7KuSyENOQibHH6OAKrtUyhtwwEqsBst3NiWOHUMw7RbMXpyY2EZVH2R3a1xz0pdfGVxMxaHQ/8W5HUIdX2pBrFpl5ToPsztaZiJXW+VQZ4MhLgMqdiLaY24H0r8BcAGXO7LZWJyZ6Z2Q0dG9n/EfbSGiwS5bvswzHYVkjPYnB2IgQq3rQkLXkcWnQKA1xvpwUZ4wJsOdKo7yPb7dPZY9TzExImRqBarWnPUlC9pdb0rPD7HaIFSqiZ8BbHRZBlOHHLqyeX2Zl66CXQ+kNvMIAX+Z7ibHeTuyQ+mghLAVFs0jMOuGKjV6IKdp+UuUXBKAvUVRzOWkfH8WgdbSTsW2bkzKNVJRv9T4BoHB+tdCb6vimYHA/BkRiDniZ9n8X/r9Xgv30Ec8/5G/FG90UOI4iTvP4D8T+V0CJnZEPrIE86k87veXoGcuNgOUvlEzEFosTP1jHQ2xnvAVIy8IhQnqzA+0MQlZsvFB0sM26xs/spFgurZWY+BKM5DoJ8o2m1nwUinsMjF8liUYF6mJF7egKEoPQ9BRhraBUe0hGN3IO/5icwAZLzcrfexnQdcmVFThiWyJ4XPVDEBoVYSgxtubr1cVzfs0IM4Ejx8jrwpZRESSYpGFPrusq0ftM9WUR0kPcDmC0O0eLBZvhSSAWcHimyP6DPgDSYLMo3f5adIT1enHqp8Lih4CJnOt5ats/fHaZMe7XZ6S3mfLSulsXgUWZWmCkf9HO5tspG711YVbnnFi6I4aZqFChLRZ51tdUyvWirWqYC27gE8xXdJSp2HXbQVXlvlpXwAesjtnjwMmRSjD+yO/xqWvwhgDEfPSH8Oi2sxtRgJFsTEKDA4pbgnd5PE1AkHCgSMO7GA2ajAUkn4kugS3qiIAqMDELDl0hNSlvUeLaKL/tCuTB82VmP6H6setLfZGtjGky31kB47NnDkzt3z9C9qmmwPhSnuuTBAT5JewD+e5h8LPhMIJ7UjrT+esthAAeo+/KrTMKXScG8fHfOmq+vztyvybQ0dE4xayt2QGmNLAbeMfnSHh1+F9VvEFV1p71SK1u8kMiIsjXQK/6ag/puS/0i35IYcc2D3sS15ReC2XK2kC4IDGR0p65fMkbqkOlL57x+YJ2/nvNyRAnsErtK//qoNET312AN1MD6ge7rFVh424/b7zKcfMu2ABP59dIBi654+gmZeHC2AYhLM0H4o6NCOz6YeENVcYFhWiTatj236iiJhtAIwuecboE4OAthe0L6SJhNgJ/9iO2JDE545sxszGlFekJHWUEdO5RXw/AJEVAk+wkPkpFtuFmO3osBX5B7rWgvGzYW8req2WxMj3UpKt/kYF8HExnDtduOuuFEs9PWDzvUJ3PTjJNOZD2wAoYSAh3BhBNtJbKZ2hbndio/u9DFfLltV4qTmX6NBiihdBsGOgZyDC5qPm1afJyuCsWE1NEAI6HsE8WRggqcWqmkofgapyRCyagpIuUk3ACtrVh3SveKb0ShshDPFy2b+gxRjWh+3SbQdEn9THrEnM+re1ytFr/bJoN1Ybp7E4ogADWnoUUCFMEAgQOYmS/5tUCej1/TugJgNJiUcB/8xbVOsFfpJ6/PvdQZCBjgId8emI/AIBn4OZxD+4e5BR75WqBZrU9a+ZammqO9jg2r8XTUDnGYJFch0QP77sRWkNMLL1v0e5cGbGPTpR05KYFs9oa9U/g+tw4BKzWeL0EHJTxaXUi+snae8SOydKBNWPeK5lY2Kz2D/CztKrjhrXBgX+28H8L+fMUo+sJVj8Vp419LeeG1ETYoJ73d9MsZF3bJcnuhFpku+iJv6vezfUIhRlNwhJ3u3V1WhzFwPNog+4G5Mvl/hO0RFWA5YRXgSrdDYpxAnhsLBPL6MifoOMfHDFCaMRxRLpvT7IcL2FfWLfFUHN3vXCTx5ZU568sRApG9xJ+o9oi2qIOQHqTKrVjmOiI7s65gzEe3KkVFlxJNLWIlHgX9HL0QW9AQFo+l/VKMg6+iz3/MQUgiMYPMdom6mKuUgZICiq9oF8736p9iyU+XQ2IoM50STEuu22vY0j1XkIYQpKEN7OIvbczmeODnV8HlVMPcdstvwmplkwo4w68VJG0ZTYJS9+FKN+h2YUwjLl5xMkKnRC5thBd5JJoE0jPK/8CBNemLvu7CLIGAOes1KyNLuMnrew8scrpo2qtimAFB4aKZolrtOfLYHy5JfW+yYEdF24D74RwT3l74ynHzH4Cq2f8TTUr2UHpduveld5LYDJcOqyv88H6UI+RSJgedV7E3F0iHwMJi+Z9CWAh3LjCHfiuNqdY2+yC1glvUtIOW9+qFNka9M2ngLuiTJbcmp6w3GAgDDJ+IEUI8FdwzJ92/tzo3bbBF/1EJ4lv6vzlANGPfpy5RodB1cUnJjTFuhIamjvxamf3BHhn6EFDRGZRUo8SJokX57kya1dAIoxU54WPnMNa1JnUrIgWbjY+beBYBV7OCe5wU+vKy8oVRiZIcdgkorAtY9S2ygeWW40xQU0Z9ie/wTcSwF7d8paDXIj24VYPwOSDtRoOR5wxsjn1HMDxrWsVZ8ckRJQVAkgAMoTCdXX2NJMhwRHtJSm69iXgaAJehYvMXJ+5Q0HMSVlh5qXun0qsJc28vNVn6/CZ3Up7Eef6A3OaCit/CVPeNHa450u2dpKVBn5RbPGlgMSlSKn+Bo5x1nAExMLCOC4ZpvbyX9d20FjjgpYc5O8ZspYXGMoW4rBy7cxHX4X1GkED4bge/7V+KQxM7bRp2HbHBZUKhvVlPyIGsu8WUMeAEj7vEMOXQUiduUEoAsHDCnmyMbe3JuZ1KNAZsB1P8SiSAIqGajEF+zATiKx+TqCN1CukBEo/1wnnpHgSBFobHp6LRlDvzzywvM512FQBVAiyb/5cfI21Q9F59ZTPnnCYqfKIHBpC7pvRzkETBcbt8hrUbQLg5KvzqQz4Ea9V+ul5i4bZj6PE3vZgj/O9QN+59R73BIrkpYgoJ1RXy9xWi9gURPcYI8b+kfeg/qTAEfKCdcBV3z4Tf9kak0mOviE5kguTEqfZNgocLx8u1JMVKcSr8kdNPutjEO8rknaC95kkFMxsYlhAlj3zcmQouL/UPdul8XeCjUZMKM83zLMQASIf9ZiMBoY63EgwnuQPNgV4xGrkd7o/tx+2ZkJa4qU7DOG0vB0Lxq5ZLeMMk1DsEDe4GZG7Xlhek13aEkrj/qTpbJ/nJFz+8RJLNvg0xugGkP8yTpG4GYmhWw3/GdbhzzkRyet20VtZbCgw2MKTzkcKM1azNlfMqF1x1BTLnAsTYQ57/ERK3fZLLbPURY8YrArZp7XXQMFykHFqmOraBsaPO0DF90QcZQqu6tD2p5sJeIckG68tE/eKf3qgo9lX2zT5w1xWlzIvevA9aUIQc7AJ4c/IA4Fqlu/NqXwIbhQfnqs1nlzjOmxgYUzvziQc//gRO1lX4Kck14vchuq03rFBtozcUTSohoZEqN06uYgDuJfnLd5I3PzOEsg33tRzzq+ROuCNx5QXyAarlnedAVQZRF8D88eCCV02wS86cwffux/rTCt6AmUKW2S3feOjq1j8gkbgLLzqRr0LGvOcqR6vT8F3EAfH7BmL8t4Yg9Od9w6vBVrHtMqAQWEsLnX72Y+IvikDDRl3o6MYjySjJwupgpvmiYdN8GtbiUR1hx5KZ3a0ACWf3xy4bdqxMabuYGSRiWp27KEOwgnjklQ5E+8eSK+JAnFW1g7t+8yuC1p9q7DNMrnsT6yiyKx0H32CCDm2L8FjKaREs1BmIC9TEiviNad7aAZOR38lqzPZGrlluEeQkFVxAPLntMB+hbFTSRF1nPo0k19QMsUVneXpVIjE2RvuDiyy+7+IW3FKqu51OMds3sw0BRyq4Yv+9ry1+Mx14XvlAKLtBRpZN5FV29OP/yR1pXQMi2YJrjIgcRFvdta8h6lAGGk4/TA4xHvdBBDifcAgV98BksJpbxmZ4/gkFmzQW8co7zj0GQg7HHNxil6RvcmE39klPoesQT3ck5WgPzXGj5HQmn4/ye2wsJN3zOvlvoakBME9cxGHlHF2Bo0KCy99DiGAfeSaSvbQ1VMX3lhK2fJtShSvM6p687r2HpYB4ym0cSQyvlJciH99mWVao3MW08exH4hvCRKJYdOij6b2vno+zBUebEc7BQEx2iTIdFlJVoOdMwwEdPPYPVwgCCLnLWnogNRi2yFrhVWPtKZxo8YXmctBqQKdKs1SrYSfh7Pwxo56ygOGWSwHk7S0wFS+ipBMb3g/CWpjk/pAIyNSyeVQkdtP8EHtBjUHkoAQKi/uRzcdf1RN3OqBpsEvJtRMJSdsbE0FJGR75BSFtmdgO8iS9CqQ/RllfekbPhwF1omeKqVwbXx77wyEbyT24D0ot5npy+BolpkUHQmVyCuhxFgAvsshNibM5g4lXxBIGMthUzhPER8Dq98C6fm+QyZtMx0/nO15ZB0dfVOrxro4wED9XsV4TqWfl19z4+S/WkOQ/s+9KqDftIsbLrp76j03Z0jh2oHZz/wRnpvjPGIqgRs0aBMAgCADjaWCGFboAdATuwOzlsva8YwXL6f8sXMMT1MM/6iPDdfFu2Evy/A/GrL/ubrg4yc+DKOopzurP6AxWyn99XTkHXyr9lU4n3vy0e8n6g+VIkZjRjMeBSYKLbXzC6+WxzT6BHRcGIuuJAMu7I7rmmGs6020SfZs9gQf+FdhSm4iHZh5O/jqQIFfpu4l12Wjh2SPrcSQIRR9ZsNqynCowcDuuA99ncFwNJUCWZghhOMKFFzptjrnwLHq6GW0QKRDRw/7Ji3uAVPSk40ol/VKMD6fGEWkcjv95jMEplbp8g8qGxNhTpbs3O07ZGsjSFYXWW5kspC4WiiQkH0O2rutrLt2oEnPg8flM/dUGOEed21LR368/ktqgpllP9sgyQuoP7YKysLYFpr9H5wWpqN/ahoIwQ6mIrJRvZs8Kthefjx6UMwuyDHLAyogrrKQHkuwtIpg9cokMDd+kl5xEIvEcskjwRZfTSoYc88w/GvW8fDkTHZ1gvdwkdkIp/mDwYlx4kzUnGCN8g0byFJ/tyageLrKJ/2b1bHV022AQ+cqfUgUzMNF72tKs/lsG5RZZfVR+VUljKRpRBMlLrkC5IpXi9zIlxo68nPkzfIbpB3NbdQb+LnuiDQ5bEZB+l+ZH7JyhnWHkmfGKPKASDTLKXh6Yh33CXPdU6aCEiJqx1uDvY8Y1NU5T7fZWcMu1ttwFBnVVwRZniGr+MPjHywmSmvAFFKCL0C5g0g7w8uMFRWsGVUx0cfoHcQt9GAR1ACg+/Jhay8dJ3qjj0uK2LsOPvpZDxSsYVj2NSvjJehy0CfQC1v333ZTwFCNp7TmHQQ6f739k9x0tlqEumdKMG/tE1rVRyJthjzjiYaSyJL293qrVvB+9S773+RhtxAhDoWxJStXgRxPVRraG20nwyQxNl2PZaRkjZZPY69hzG+rw282tU2SHaZ9C3tbPgO7nvuNhrJPM7XZUiBfVattCZfBScniGLKgeuwDHN799PNPyiKy3pzxX8rTvNs71oub/FSCFSg0H4YJ2q3AXqQFagTbLmL472NzySt8H5UZtFF4IrHjyrZnVyVvWhkg1MgVal0LmwXwaiZ7fF95ajtsAVMFaasGIU4jQRrODJixcwST/F8CxdKHT/Zh+PWI+VbKWMB3RIu6asYVcwl3nloKu7S2pXMrKIcAQavb6jwbJYMkyuyDM6Z0HXGbhzJBXC/kmFFT821g0Jdh7k7KQhZTQwxc0NfbjMCXylB3vjpYddi816hqZRKNGbBRYDFwS2Jz9ioOuq/pTz2m4Ke+ZrHsKiKkVU2p4Z5z5kn5ae3MlZq9Cwfr6kzOv1ILhYJ5CbZ1hH6xDW+gER+26+fK3oknmWFjgChDan2cOhiwFyEy6tYWD3kFU+9bva/VTQwqtnQVYi+btRzcl/u5Ry1kYZvFs8oGRZcrCu8xKFWLyg/JakIx0zleWGjY2dijPSfnYk0SHK0ErC9yg/noW5tiu2d0+/pHku51K41HwGFNrT1b9ElwRPMD0nQKl+IGNC6HMehw2KtnyqOMr8SL8OQhO4gn1XChCk2+r0f1RLFb/yFpAUfCvOhQJlRpKZH5uyQ+5hFfeLncRoBgitUKg26m0MdJOddQ7JGQdjXPBcUymqkRryQVQAthDO75l82AwJJ8H+f1O3Up02qIAgf0054kKlFPRFJyPEojNDqo7+uay1y3SV0Y/1g52HVWMM5BO2TFCH6dKVCjZP8SlrR5XKPqzqThxKHR94D9OVTliZMHuoMo6UECmbyf9FgPjguHih/DVcYhBZxTpefNlx1IfLffFAdEiRi0xiQwu5jV0jRNp5QM9Pctge48HIJwhV4NoHH1yzCN0XIu/sEBEa9c0GLE6pm3ND7EmHJkPuOq9csnmEp3Z1SxAzzeBiKVGAhyhG2/dZMFN0r/V+sh+RZp+J6phQ63QD45rD4xv7mWEVCP3RFIMllBHCr2mK11E4IZ+i1F/K6NMwy1hxs1+nVXGQHPsu0uShKE1PNU3IlhdKnZj5PRwbl6XrynUR9iR7Y3zWy4WP+bYHoI2kCBPnI4vPLNutLntAvDfW0XZPmrVTSMj8gfxhpllq26weQMLmvrT/Raa8+Mb4cEhUXHRhevIiBRMjNQcsvC4/j8+b1KWlVuZgNBm0Jq4Nc9SZJWAqfKHB276Lb7Z3FwkXxS4jzpA6XFhHpuzZMIUqJsmkBgIjCMzhq0Zba+sv/QgDOBZtsQuokcctLchqy4U6XGSnJhtt0eycgja3VbUhRFS32NoPw7VSabGQQGKHyQR/HYq3sEGAIZ4335DpOAobFXsFZaL5yUROGBINQdNEpmgOWsHuXvOpeDa15vbSKijrWbs225XINZi7/wzUzCs08pJl2oLa/MILbGKbv5202y4Oep4sPFrhEltWrB9UX3Q7UKKIqqx7Czbk9KE9G++sMZcw3aa6un/ZlFHIH+K+eAqh9KZpmw8XFx0+o6RZMek+r5DmR6oeSWWAM+2V3Tq/lxUfTDTXiC96v8zytiW0gVb4ONrMLthc3Hn+XbZsHEk0fmoQzeBUKbFNhecsGgYJIQlbKdDu3Js8SGvD+8ozmeFu6IxAOYmtSblGwLmhJNeJw1BZImUOowUewp9oJqdghqDT/Sj6mB5zjidT/qefMAFP7jf7P2SE9/kgvswVprYOA+LGfOA2KbDFGytqjRRzi5ov906kExV7JFehY/+G6sQjgQGCFoZMEU/b6Sv9dVTNZHw7GEgQkapDCJvN38bDip68oYlsOjFlfWOc1j920ICN7jkhA8uUqBKQmu/YwIaNLQghq2ITJijm45RYajDl27neTmrN9Czbkpp2YBielgzclDQ+oAqopjBpG/pLqALc1ntCFfEe2UEyHVcmIILxgqobgrBwihNBmnY3oTfNoUuWpbSKwmGH0SpnEqJODROBShupq7hZiGsTxCLeVnE5CowB/QjGOkY7aa4cQXxI5qGHAl5ESMXizYKk/E/pfoFCBXkJq+HjiOgysz8uDOZnkkQKAcFQRnA87XuPwrP1zj+S4qv7lDRI6Ynkj5IKLSKVHFJnrRfCmA8UP2KAtk9z0BIALe5X32hlPhVtdoBOf9toeKDW5EgSGV6jy/4oLwxFEPh9ZaW3ZeJSDYcEG/TrUzSN5JW18Yx1XIdOLdyWY7TBJJPgAn6Wz/CP6ectvsMc2WV/G0sHIjKeNavGInOZfxtNeFGmyLI/QS1nmSxNoyV0OFg5245Rp3x6mFThSW4uV0RurpdwntC1yIctV8PuopCUe0FvjYkfP/yT64AtOgivYpgqmEfEqhOWCUJwlaNNtqL/bfNUXGrZ78zSM7ie+npploQ2ivQzlEfihIjw4QsSH/SfLiYvaI5UQZ3osW2E8xqwH90EYV8/XFqmbiE3dngmReNbkH3lN6RPYM+zYTdwRjXdJkY3GkqHHVSv3NwWe1s4jGPC+UmGbwjgDpk7R+qphyZdYdyvIoQRAbn79K5xP++jUU29B50y32/afFKbkuvu1LdIBWhWxLXzQ2v4yS2xYfI2Rb2VOwjAYWtHS9D4nPV70TYu9lc6/gvGplrTOZMK6/t/F2jK7CsO2SufXdnYsb+aERGVhtGqEY3A/GP+phxrMS24JmHhJZy6wy+6CZz9QTiUmsX8LYMK5jMfPeHt1o3+DsMlBPwL6VfxAw0/tdtnllQ6KPoFdE2p3uGhaMim2NU9ChspL+EQOrPItxXlTLAqzrFymM0+EPej3CD5bcwDE4AqZen+nsns04+I7rfY+iEqgH2snCEJYu73O0adTeVT4wTI6UJKA90Q2QGq149YA0stEweWQURPAzjvsBky4JU+aDRu1uwUIIn7/zKkBPDgr3Brf8YeUnpH8hGROni+ruqApwt1ipYQxww6uLM5j3c0nLVsIIW/O7OnE1VQBf401Bq9roeBvtwooM06N6uBFS61K9bz13UsGl9SVlY/PZh0InCkEug6BhV/UeYMigHNgd+NFk+NxeGM95AVEzB5Y0j2qCWMIOODpASABNepmoRI8KzEKqomazc1YtUQCTdfFNgBhcGcFUErjH2m725uPNnUFvBIS014OOS+ktofB4aIc9jd4gKW5kECuKTZ6rPKA5UPAaoxx8aADTg5hjmiR4a8yTGRAidCEEOSKc9C7FJdriq/a6gMA8e5ih37MBs1D3HvzMiHy68QNxKcwmfgnWEXTj1F4cR4Av13cHBcvN7aH1dq+nOpQNOy9XfVjsO/EAbVNFly+iU0ZosPunifKBYTbf3TB1IruZH0VAdd/aMR+b7fa2fqoQDqeUaYa+nkiEbPH9nd0+774LxNQ2H0k4wSvvfEHrnJiEZM9F9B63/0g/PffeY4tuKke/Ieoc0lPQ01TOl1kYd2qGloE3zB9lfWX5AOqXq//Nrge+zaoPJbpdqUBCRjD0uF8eP6qHz87FZ1ZUS8TS40aiQbzK1TlXvNByH1F7nCttF40vAc12FJxXs2Xp6eE1rxRwESUddGX1AYAHZZqC46UvvUhvoDBvk9jXvwytV0j7PlihpMuw84D8ozTqF68rmg5QJhevIiZzeyMfmxEdA7UnhsKRvPsVAByMLfS0i2J1HDP/3lfCVIXHnkmkxxfInSX9IE/y5bOomvwKwoJ/aMPKk39OB3BJXikQExUfM8iHkM4j1dbs91jr7Ypt4ZqRqibDOad0Y4OQpiMyF9eXclpeTEKD4N5Tli8bCGzyOn+6w6vHUrbCmt8qiYV/EkP5OQ0XtufamjoELCw5Q8h7aCTFupIdB0ePjCDXDVnvBWAyrBafGriL7mNPKFSPpZIMe2x+OaaqInff1MATiZJIUBC1JyiCyypFH4WMqR7XUm6jTt4mdty9+RrrNTVYc/KHRxQoNiWNdV2hOpoArQMrEvWorzNqIv7e2xeWoZ+oMrsCLejuINSivXhvdyxcKHrhVvLA09mdIbYAy5nVxstdUPne5FzR4Q7kBUNfQ60ZVIFmP86GUp9k+Gqk16qTEuNwpr3FbVzA5zNVrvcHHkw+MXkdxHNo7bFAycvNMB5sgx2sXs/4mh+c3KWeADLuzCdzzwXOE5JAzuoY4Pzcmu9AoRcRIm4Cc1Q2+LDsnEgnc58wk/J8Kn1GJ3SM1EdWW9xwgVxAm5gUsL+bGlQLxtRXHUHEh62IXwF2QU9SLra/xUeG4JpUwaowo7SCwfUJVxsfFteB2LbG8xxuCYnOvIXGaBCa9tBCL2yAw0LYQDufhN1XY9PPQZzfSrMDTWL5Ip/c/akk0ycgXlMFgchL9otpA/E3lOPLVP+PlGAewTnE8POKcK09cldTcmvCwr2D61McaCZ2ZJoPt7iEkX4cGgN+xlBjNJv7wstJ0kRxSp3/c1+UiD+zTGG6V66mj4XNGXSjCovFo+U4SDXmOnKiRw/CTTFft2CJ7sUpdbUMSeP2w0SamgSJre5HEO1p6CslIf6Q3bN99GGcisXRm/V4NbhhAq1rwspm/Dq8udftd++UBBs5vGq/QUlS5qhqdl0vXUqj/CsEfWPqHm6rzaCZcpEhh4uYxqMT3bwRPwHGkH1fWIRGBkacaz6N1Ynp2IgB4+eqkms/T6W2QcDDo0Q1nNlfcM7BGVbWJqmI/Cl4eBZ7uNt+fpIySelQq/MPyLdneTexTXSf+Y0zRVwnfWszdjKyya+s10vS9tp7F/XH8N6Il7IgFQ8azW06bEm5RXSYLoaXUKYuF6Rjy5TiVNYXRCNeDpmhwd79AxqmILDOsalU+59mrz9o/eGNx1gPpO2UAGbTcPLz47HoSecsvrrV8bIkhHnKONG6E6kEsxllrnGqXQk/80pJ6RHTbm+X2kM7ob34DlKKcllw88mhhEgnbCx1gZ2TNXQIJUXOtCrQJdowSzRVYdxGXCi4ToF3OWNk6AVKH6umgnhtNqfn2B/VDg6ohMz67QFVhV3xEm0zMZ9MqqD+LZwAhWJ5KRI6NlrLogNTCCTZUaP/MnbtmhmxqzPH3fqc/Jhi+UWFG8LxyygGPaAoaetZMjtOI5iUKsxMoJq5GJzCHnopIKsT9/WlvRYjfuceKRB/oFwXKKv/OPdS2yjN9s4UoeLD+MN4NJ2fk2s4i73B2vY6pR2F8WvcTjqP6AupZfIxpcZphN0HVC6nf8B5NQw8pZ1gF55GjNxdiFRQCMSywpnCWB/w3BgeHDp6QujqrDgC6iEe/vmO0NY5Jca855uCz8sy6wn7hF/HhdVaWR7CKJgbPSxJIUuhK3FA+aFLRGJ1cEzFJfYlXniISqguRTqa0vJ3KHyer//UO7ldZ2R1EPPI51NYogAsss3a7O60+RuW8MKCA/OVwdOvBwAweUboEhYaML4PSr0FllL0FHJNWBDb2T6Nx7ZGQmWaBgxWB37JcAkw3VT7CrSJ7xi54+V+TeEAGRHBlVrHiPUFtaSpErdTTeAxkuCuD15HDxac/qRkfUge9dcdnIMhY36Sru0YrOb+rJ+TXrSDtWFtfbDC0FQzLer47Lg4FhsLh6JrthN+04xputx4K0tmCAY27bkwTwEXp5lwIpFCNRYMCOfJ6F6SYP1H0bcbg8rtdZE8vNC217Tbb37/oomnkAMqGvYyrFOuTDF+1hSDhf/uZ0cvJE+EBfYa++Gex0BS2cT/hw6ZAF9wB31VdaII9lMPPX9lHLwdF0W0FfjJwSFMDaD5a/XfuLySDZk6chX6l1N6+XKzqqR+A5Hg8TY1cZkEa0xgDuvJasdSf27PxzaD3xskneARCsYh+SkpSbeVa/KmRMst+3iw5kzxzbgK4oi3jP+DfEv1RULmQsTdaqZrE8iapkTnHNpA40Evwo16/KNcF7yXS0RNqZt6a5TRIZP18pHLhHwJyr2Y7v9hcJGDW6J1f+r3+h29IfcdCxj6wwRmWbgBnLmroBRCH29L7QKQLS+hkV/bsBgGhpSHbdZJpJGqGCW3dzGEpNeIJXURaWLvVSlrotD1s13SzHPwIb4MmqXjJWsENBnyN6R4UyP3lCwGZjL15a6wPtkNutneCiEp0g/etu+T9q0q8ChToWsgU5wUgzF+R6CITuNyJCKzgIFMwPe5ncHF9b7t17DT9GxjaOFpNZ6bfgZS5VxcYmZz6Hy3tiitawwmBoZj5xXE9KV4CshV07GK4++7qf3jqRmMY5ZH9Txb1USMOQVVrkbHoshQLKLfvgJD8aPJA8V/T9bpVxKvy53fJgNHxSHOe2g2sKK/Mei8ccM8n87nqb/vh/jQuTcvRf70pzPVveEuhY4PmBx4uZSnA3dv4DUfFSF6rSvzKGHB9EgG7yb1Z9WZMaA2FlAoCAxQlbKAwgOA1VboYd4s0Ha+u/cvYVwgJvleChUVkDCJB32/+Hj2KjlrH4DjWeObYQ9zfBDx7nuHMMyG9RbAtcqlo5XXmXdGgptgiXgLObF4JpR7z7I2qVnD0yrIdsUIQc9enXaPBDW1DCWmoVBUGWnq2OEJbFO0whEpaukrOqiQJpBLJmCxs95X6Jms0FBGP9Qf9zz1+Dw1ytAL955P/PtcmFC2Us7tmLmo+uTi8kWyKpVstUYn6GpVuXd/ZdXeqUyeHZOuLmnWNEOs9LFWe6UYdugt13ABVSK+9kOa4vEDh8cpXX/Ck5vJtgtFzdcuQAcOKFzMmeLJcgH11wbA26ongB+zTj/7M/HJhhvaIEObvWk5RTg1GFbI+kmG8uQZnFye+PPYWU5CNEiD807GYEEswhrp21dFaGwwnKU9ruEXHdCUoeWnfp24pxF9IngqIhLijW5n6QpLKkR0jHEBPOMv9vyf9Zs94fNkG6glgs4Kr2e4EitWTUwHr7VmEA/9mp1g/ElHSVjub97WonzcsGcCKbNxa0ycjJuc/wyRUnDUENX/SGpwaE4vy6In1TCpnhmfm7uYwpuhbmwLRcIUzJALu3x6Mt+FthVK9D/3FIDPX3KCXrroXvLrZVcWNpqncuPq9aPOrKwg6lrouHpB4TXybtbEs08sVKRleXb3/GR2WPOjg6XQPWhbI/thIgrcIHhUWDxvNZrswyVA8f2whT2EqU1jFOt+iuLnq2nV7bIZbr2tRJ791Xvjx60StYFB3ogWUHFj5zw7Eu9oPKDPPhOFEukw5qh9P4jK+3wejuznnJWhJrqA78a8AnaHIMhB47RNcUTlDE5/ahbe0XsIiuVTbo/kGYfMwmdmoiiKL+zbMg5OAEtpwAwQi/B2YlaWvedox476QOYmL62kBZF6gTON6orrB+QrkZMo4/rVoJo1abzp6G6UatUeZzhuAobTNWz9yPo0qlfrXWPK2hH9fnzc3gZNayrFgQps4CX7jynwNeq/yZxemRcz9u1BL1lu/hunUGGOgmj0ioQQtgyGsSybk5eK3+VUsa9s6DHpdG4tvOJD34mej3jhA1MYgs3JsaLdxG/5tauC5/iFvrcHUXG6tGxbdnx6z0/B0g0egclUam8OQtAwFiYBPZDqQjKBuOy1+7HSmVcdM8CHI/TV2MEInG2dtKyjo5avdYwQ2hg7jscRrHjIbeASRU2gXZ1Ba4uXQGSZPBlgqG8kO7MCUD6ymHz/Y4vojVH4eUicit2VRVAUKebSJU6XlH+BswtsljiF2mkbYKDfUYaH9k5QsattwEHzsgN8RkM0wZOg4bOpTBE+r9XzFy+peZtsgKsk8QT8MBO2u4HVHpT67ii8pCq0hF/Qvfx+fSzNX6/MFtClJMIHYfN4P/Gp4v02LkQ3N1IZnOejcRiDcM4vLpeIeIFoUIVm5gu9wonPnbjf4hHcG58i4GkOFaf1BqeOhEQwfTq+uOfYIx53tR7g4UvDgkpGtJN6U/ivMHC+wPVrVNHMmsCUTfkxwVujmyI7ccTQZoboCivwMNTgAg8AScw/TI3g/8P9hRNGnq1YUmjOfVpf4gStO74JNDp5IYEHhhAewO3NEjOfCpPW+qO4R6AOrd/1M6PgdJdyJZKFLYDYXjkR/GJQJnBHYc9WCdqxG69dXMln96LBCJ419+Ve39jdHPv7ZE31ZIA1i+QLg2FrjG925yXB9Lmp084CmtBEmJmTWQQtpvbtayFZ//VRBO8zvopmh8O95WK480rvDrk0rAocMd47oXh2w7WjUZOh+912ztBbuarxDVfMeNojRkxWQ9uoVLpflHGPfxt2C/jDn+nv+JS28TmDNkIOO1xGnthc+Je5o24fM+x36agPKjZye3D8/qOHfWrIvSibeJK8zU6amj1K3qPCWITAn5SOsx31XpTEIyh2m/pTRDVTKwV69Vk1daIJfPzzazPA9zNZ3uS9e1cX2SF8MvC0gC+fbGBqALFrDgUxQRhwDFiNvLDaY7TDrcS3IG/WtP0qdlNBzPg2vJxymCEx9CO2zX4RsR/QLOWnN1ch+e7gtbTNTlZf+oBRDjDGdXK13hYFDV2DPKS8YIdir0OYZjY6o6XzrCaZnk6qmkZw1+5XRxhqytgYVRbgj/AqbCFUoJbsE+gJlybGw0mQM+pvrK3TB1NuIFMeFuiYh1OPxPIEG8Qzv7d4eOkWyautnIDI9fSZUpNOSBqg7lmlWH9zf4VyFwUZYJ3Xid8blCX/h56WD0IezoTbkMHFWwtHrGdVbKjwg4kLGpEa/9JrjBbWHczWEPvHzSkwIMNZdHuRu/E36tkLvBlBy+wG+UJU7EhLvL1qM9KAJXI70GJ/UqEkb808+5wTJrChR7uYd3e1IlMVGArSH9FKQy6L1OZ8vQBLAvN7LeHb1rNveNpHpJQTzaZ70sVHIGDievCCDHxKmdQpcuic+iZk718cY5TUC/0miDC71/fdIDlnyrsnk+g4EZiXGKgzdj6yKlXp90uarnY5aBvr6p1ub3Y3vOaGbKH44SNEMFIk2anQRecJ78DbUMU6lOAU8XRnJDg6a3MMPMOZxz59hAbS5bGn2WTV0zQH0RxEAq94ZTnCxS+K3GZ6AA7Av5QJmzTe5eW2h7LJdJ8XgagLGNDO/Ja7Cz/sm6HdtVOd8NIZcSGkDPgbjx9VQ2WZ31xLPfc4aGvP8WPKI0plGlVJcPq35DFn+FvRXo372+QDl/8EHe3SLGv1XKR+XMmTgMEHpcHC9SaLWmDf3WgtoTNbRAIlDI9z3gg+EZx9pVTQ7a0S2ltDoa6G/bheDHUQdGe+KHqA815npltjDtJ2zLgjsQlxzJ0XyUUtDYryO6PWMenQTHyF36J1pwpPoa2gSE33jQ+gYR3y8tHIdDngYptPJgnUyXj8xOz2ViL2w04K3FL8+eOXyuwYa99kbs1cn2so2mUNdFe/PVm6q9GHoU1r7iQ+LEjGAGDgx0WzR2+jruxyGn+JPEUXbuBgIXGSIPa18jAIZ7FLETPISopr4BXsVPacDBT9nmfzKETUPxG++gbfpf71Zio7rzZ0ByFafKpwNLPbAjtA0F84/F3sWg1Q/1tNGMTy1kI0HYFx9STmG8qAHgU4zhbBAw8DifhV6fRyxFtRyT9OY/gvmvoBA5CVcg6R7ybcgF9dW1BvsvmNaJjJMVqqcmll+ORZoTHISZcvt22lej+a8f93osx3QpSQ4phzRn2QJ6hTqtWSGy4Ebk4NC3YY5c8i/SkiD8i0wQOOKfWfxs2EQGv6pgjqTieKa49iq91hwsXLxhLBjtjKF23Di3uFmDQiuy0/Z3irdR0mBkdSA12H0c/lFVheADw0nF9Bf+AmO2M9gWhGk50xBiHAc0ceS22RfsAj4/Ny/JyAYHCX/xkFGACd06Aa16xArTJoIcjyBU7rPrvmJRcY6ajd0Y/LB6+Xa9WFk2PHlmnHKNeXGriWWcLDnrvDjNX+eDV4njn6QqxYiLTp4OBrnbXtvt0UPxSic67dCgCsCwLnf0iKnRr81C8QoDP7NBnfA/3L2LT5mAUsRzke8sDLnuW764koardq9K7VTkY6h8KfoMII//nY7uNkB59btOlRDc+Jt+MMy+h4rxTVqZp4QV9bQpBPNCiuM4vDu1C0TxNNRRAXxc7qS8S3ZbAhbiQkRNEtgW773Dz57Ft8SBNx7LaC88n//NXcoZO8X+GYgQAX7X0H6Q0xa3yo0FHHYt1vz5wxxxwxfbNIMTSe1ApRhAcy7cvSQVGmO2aS8UOy2e2rYzbsAEASpJQBNi3WNJcnkgHZ+5X3bGZ22JBbfS3taqD8Rh8pRL8H4mSDmiEZc5RzqZHnAR+cYaG5iO93k8aOkzpC9WQ+e1u4RwXkCHH5v55th29WTSr2e3EmSBRSQIrjcEhjzvFopHLoUJhPxAiBZU6RSqkEMVIpDm+2bhjrGlLqb3v+XqFVAjLLJBqX9tG930/47aL0NH4K74YNn54OrMVwXFJJGd17jDsNkKol6cwC1JGkPMpe6TqVN4HzGoN7hVWVQX8X2U2k9fHwKcvswizKYbxYg1+nHEuvHFr4a5C/Rqfc1A9R6BlhpBf8ZcduilyQg5elOI2EDDtztQ9nwXmT8HqkHyFiEmIfH7hGjJWjUDgTniz9r8dZD9IwSez7QI7ZEJCmAGmDSnHUycKD3buJp34Puh5059Ul+M/s7WnM8Adz2cUlvef5fWeAfkkF0JU5DePJijF3rEc5j86hCMMI7QBkgWkhWp54zaea9zk/vkGeVbt3P3NFtmjiUilltFQ98jGzxLPLt7wRmmMgAFzyEB2al0SeXEmVY+6YFue0umnz0lIwzP9fpEd1IczJehIg/j2yGBXS1cPbKMBRRIUB/ayiGOHZsbNuUv0vFytgEZ69zMhiYAc04QLA2p1lAzc77SP8QWDAhQG6cnsk9nS0ysZ6FLUZwP9GehAbxKhb4zJ/2KG/FIMskWCfHB7nCDXZs2M8QSfCILcxfn0fFpkh9RDb3DNGTw+K6A4rPcedxtOl9qxrVt2t8eABzQ08HhDyq5LUksvFUcvq1xfQPO3ExwlA3cjaHReT6Cv088p0HUjrXEk4bWMf+eoUGMmhR8SsrLQDPKBC8o3gtvxglD01CQSGssT1Ul8o7bV0LV0IqV0E/76h4iVaTT84yw5DwVWCLq2bQb+AG6GCcEBH0Y0LejWgihqjw/HmR7Pxq0T2VBtnqCIdX2tHdTpuNfmu7cIGx+PwQYSTobJD/HzZdtuqaYj3NVkpRyZsxmqEwBzU03RLvii0wuOMvqVQHX3Ki67tACod0lObWRij5/+dTIQPt689kLZwSq/QyM0vv7q17GQfA11zuF6YMQ+yZsqXJwn1GwKBvSSX0I1+z9Nr9r0eXB8dlDFNmMNxzP8iPMYhXTm1bT6pJlcW1wn/pTZXQkJjMBP+SAF5JtzVn+1J5xJIN5XsyuL3I4+z4uE+/g42fCks7/8EeZz7o3msxFJD/XXej2ajiDhvLVcJSzyPYhrJmkt5wmOGrEOGz7owBEUfb6u83hJ/3nP49xCnLIlL10dIJhRITBQ2+tDTuYKv4coDrEi41xjZTrJLMbmSNttcFKguVG38Y/8x/XhpoZxvBEKAgITx7Tf565d7GVsdBpE2WZJFRuBoCnL3/F5aGC56xnaQuyvcYwM0rW05D789ANMLMwLRKF2+G/i6fXHKhADuB3pTIFFnYJTpWtymXFO7mRIelyN/CU2jIAKVde/6BPsDe7Zx56aDbjG77UWEUNwS8cZK4v5CwDSnZCPpgXC4wpIuWBDfnCeM4VLxQAkXi7q2lAHT9S5AT7Jvq0SbOxZzOFPEFW13DsvqgzKXQUAnnd4fjypqWD0MWxvIWubdQLvwxMqIp1d5BDJalCVsw84m8ds0rv0BCjBG4A/z2K0jdxJGBuv5OfPylqIAmyOjvAuov25V/iGG3Vm1lMySjWKcX0i7gYmEnjEzk55LGpkkUStBmdPJckShCg53GXMqlmCveJxuj99agmRpVPjb7tP6ezzOnWINf7E8IFV+1RBphMQjjzmST7sA7V/bkY6om5TN53DYG/iVlFkNshw5R5bobHJuCy+G3/Kd6d7cUg6EFXCa6lqo7SijmVuaIqZEV9fXjlN9QqT+6u8xD8xTXy3njvefmX5sldolY6yYulgBKPU11Wq6lzS+7n44DQ/riUTJXEU/Rz9cNCdD0MtZ6bp2zveQutpnlu4ekyDklqkIKA9OHNxbvt0ftSIDgaMjUX0X7VSYPfMWGDw73OXUv794nob5wByAE1m+IxA+pFuzQEBMZgyg7OC4nzfn1V9EDHkckkOMf0GRl0vkqKnrYGsy8gyDyJOhBUarPq+wuLP23g3RGgmRe+QYR5MhlQTji/Xb/+L1YPzO2ZxZ2AOU6v5TcjFyz89Tuig3bwy/fwzRh4FeH/mmdUfb8HOivwAk8X2592PNInTNkKcw/epDvO6rNa28CyTpFEoxJZAXMYai9uj8RTizBwQbvqPiBw3q3NiaZSuSpFhtfuPP4AuET2wvj2UvTOOfPxhTdZ7A/DtqGv4Nbr4gm+A1ssCEV7cFxvRAyyuJrgQWOlBQ1Lh+fcnCEockHk6USNrrX9nljRIayKXyXaWzsZ6/PcDgTPDmuAjdHj+lo75Rc34O9oj4MpfDZu5LC5y2dY3GInctIe5Aq+Zs3bllKL0wRfjFllVVXEPR4YRMhbtc5/e89Vqww9jEtQOueokhoH2RERKH864evz6doAJsTaazw9lXtuaHDN9Jh8tE2R1dRjOv5Xpz8i5CHwvXKx5BBlO24ueWAgCWP6xUWUBc+c9krGLQEy5xlBpQjZQfRKEbrWo4lxxYtXKnblzQzF9Eh42hdijab2tcPwg5VDvozAHJnII2u2pfTKgnRd/l7UzOGQDhB82P85zn4NdhgPCIgvVWpFMuB5P1+ENfr4c+t8oQ3esJaO839NqzxzR4xdcG6K8xxgYlTzV7gcpJtyljlV1WEgVvr9jQYS7RIdAefP9hfQsg385MDIL6OPZmYGqRX/NjzMwxbjgyVAmvqhetzZkqjpqcX7QvZoNGmLSnyGefakWEBiRNNogY6AYBlSVXCxASyMXwgor6sfWwJYLpJoJtHSDhxGeimmHC4WPiQUlw0hkcpMgyU8QjCHfMV+3XBHbluG9hn0IC+MwXI+khQuJKCI2MieLclo/xISt5fhdc+Gz0R/9+thD0nVKr+1fTL25+sWddP0Okvjbxb1D7k2uQmhdkSadkKvr0mgmzASL4nStHdKqtltmuMzr7yUMmNGH9VBR7/rOXOwjlc0aKjtb1j+bHrZRT0FmdNzQW7vydXer4Q61+TmdQ4DnfxsG73uyJ7Uw897Cas+BHShFpqRLl4h5bWoWAcsC7nNRfs/9kr0MNeKoEmxNY6FlFIz5QKJR8q8pm6jXcaEzQspbxSVCKh2BOEw4wvnExtUKzWC294nPPYU9M26d7dtOWiDid7tMR+Fxt71jsYRci0OJ001ACusaqbQAHHqo8juIvARy6fNpSkQDNbTfaGMPAnT7kP2eYECxQUrjRdLoBIHlCq+J3ibX5Xqiyi7eIp/J6LX3U4P3vm7lDWeIUnnMXgzbzqDz5GYMKkgXDhAFccfZzJTfj0dX5eUzPm83rl8mSUPuCOIInNE4t9SdTJVqzXBYj/XZl9mKJ+guFOJlP327WcnELiR8inZHZMJRjgNIeIVfeurYUSPiH5PmYdjrpDckfE4aqXnSnWq8ojPI703O8xbkRxy66p9NdvZ1a6Yixhpw3pJIrBOdicly7OV4INL1+iv2HxFNjGyxExbnrVD/rjDGXcdm3QJzuUTYHo1kKHDO94oI+D05/g5UHtVuwdQ5QBUVChEMcVbirC4RD1ghDDV7kZUI5SGtId7UcTaYyo5m6Yfelj/23ue1mfTMh/qMyzxNRia9vSC9egahQnoOobUuBw9mVtuyhM9ufHJfJxRDvAUCnkzXyrDcxrhgMOXUVCw7kNI/Abudw2cvkXZEs1lHdSe9g3a8IdgCSRhoFw3yfcDolMRBnlEVhDA3aF7k94ElbivZMiXhv51OyYAYkyWpblK5DFANFZQrOvJ5LIoN8nwDhbYUoHXHd5505GCnpbpaupL9nsUMNBHw8rUtR/krAuJwbFqZlXx13Ea3F0uUae0S+/fa+Txb2KQgatV2a+gq/CSdDeSxagJfC+3bQdAdor+xioORP45GXqCn6mJJk8KZIDMv2fcTvRmek9hsKxvXKiMQ1uqXQtDyWBDmzJ7R8ACDJJLVcv14+G0CO3SbV/5ZeJ7GpUS5E+yxuLAk0iOzCJ/X1FKcSuBrC7Y/5EU9r/Id+pCEUo/+CaIrbfB0f5C6ghKelvp6CFTCtxDZiB3NhocPVDmIAvmNAbDPpyo3E6bhSqLZhJORduKuJSdmwh3h7o2BXJIDt+6Z+D05T3HAOqhNUwlfY7W7Tilc7UdYFdfl5bR4oB0kaACTqZmPTUidvkOw8PDw3+3RMCC78kQWRpLfn2DM2cUNiRSUEsaUqK/sMVfxZHKbGZfthn+R3pnt/obv0Ww9hGdi7CCkXuJEZTy9aBV1XmhQo7HfW+kIWFT7aEwZ3loALRFGn38ZQFDWc7pRaWGKrAk9ot+CVJ1TKfa6jZZvMWNCSAjq9elc+JhTGgZgDsP+bz/8r/oF8gi2CWiGcrc3ZxANi57TTkh39ZHJhY8prHasiMLfwctglUsXmy1UAd/QYW3ko6b4ZEhk7of+8sp5t7IDt1xhQbwzk28KnyTfCkdqb5RDwTwa7YwsPBi/YhCwT6Lin52m4K9ezPhjS9TEDtyVQSiV6vnc+gytURZmCIdlTCxXXjriJ9qpPjm+bRcDE0DpOogKBXcyOdn5o7nbhYGpLhVVUMSDuTQ0B8RjfVv4GtIeAcRFz96qlrNCBGZPxFIigpxsDdU3/StA/OplF9oYniTu6gwEZe+GBNqVrGfJbxv1vP1CxDtF6eML4Fn9RcelBSpR62U9NdeECmF56vV12P6bgFo5igSniUAwHD08HPXsY19xfgjeIgqGdEwu75Sw8snhSzdbvd7QoW2JUNJSPPFvZaIO8Chd3vn7PTayRGvfAiGY7KERK1mqpt9T1374uKQaSoMqh5/YPLSybsxe1kCrusZTXaBVZ8Hx4UQX51xmbAkaXh4VHlLZB55P4/AY2zaXAeAsOQnCJeZfs0Ia7qwvd49R5AeKKQshIVtK9X2gpwz9SyX9H1LrPpuZPXxr+zlE3djEISoEg+bSh32T1EKip54wcZJ8HTQORv4/I90UCkx89CIz54osrIN24NLNGZBIA6mHvOVyEbAFCRhVz8a8pJaVbz5R8NO5pj6TltCh97JTaO1IStGYD7ftsRMwY2TIjv1bQdjSr18fHceY0rMtYH9CcNx/IOx4KD4AzI4LnFXL6XoNtkWplT2/eCo5+VO8PHet1WGK2a08yWF4kLJXItVmG2TBHsnMrGWUa7br2Kv5OwdHGrHL07VACXzSAFzTbbuu/IahCHqhDX5NC5W425HWaJv5+Y5A3FS3/XWHPrtIvUBi4jkoBl+w32qyo220bZqyG5X+883jg3Yv5UgVupDoxDYyzexGWhMfovBoo1vPaHkh7JxLsJZ7H6HGCQte3xrmyPBGSJTlLq4eaHtsOTN8DbJjMjtR0EqxD9ahmi3CpMcBNPzROKjyDtnML69H1JKvTFOmymlbp6GR7X2lzBYkWSWM0sfK0gzF86TLi9l0s1G4DoB3v76ajSTCIe28ELqi7TBPPpTwYWu5UL/ipauQ5Qf/99ZQtl2S4sTHWxJi9ozEQgSdPgcVK5al0pL9+3RFyDraELNo/900pGcuxLh09xVCYxD6y0d6lhz+MeiVQOWdSui24kD9qgl+zUdkW7apfLjeiLkfWNixAIub91YQPnz6e2Ow9D1206cQZmMq+K5hCvOAj60SmaV2Meo16LUW+V+0ssgLutzrDHLen9Eu/y67GMV2hM0Y3IPvPMsX3GI5bOpY/7RlTC7iwBokKSnCfK7ch/74WV7Sji6qqxtZXHo+Ec5WORkm4HpXb3VfhVfJ2RjAe/7k3Ezhvh9h0fFd035F1DPJOVpGFuRe5wpkFL0s4Fz5CTyq9Hp+jLf7o//m/yHbquqVE7vLKZOJcai8WyZGkPwH0mNj4xOudbAPa6LvnubsfO6+JW7XKWoxK9SDCibAI/Z3J3+WN2Ll9PPq1QvS3OsumKABzrNOAxhjYS5/IrKmVlCtAE4AHDKl50jHpDQQalv1jLmFab5ErUMyssXMjMNi8lZyOaIiErjBuKq5NL6LPEsYMVMO171/b3pngr4Grzd8lJpfFJ+EeToArQl6ILAQBwsOC4ZJNHC73hwRW/eGUhiP8wNDxHWceDqbbPTlWSCUmIP5Jk36afMvn8EC1gUqH48q59x7hXP0Oc/8XlzZIjLczbaFnUbcIhYwXRP0dyFWorSL2uHpE/0w218hA+jX+nLdwMZm2WSTv8CTYM30jJ+CRa9bBAZUY8srjEQe46XwhFk4h5yl542a2aOWgCIqMFd4FUcVFIOoRe+inORfZGb4/s0fhado/nAlIcwxeuSkdSqqxnOvDRoMkfDVgb8NCDOqn+tHlO4OJsVFle8/ZnJtJCUEZ2DD1KDtcpL27VNDj5mduXTclevZDGJxhEbvB4slefDNDHSRt9Y8O8ntqqmJ67mUk6dzoHhQyZxW0JR5l9Dc3o0kNlafUp3AzKJHT4F9vwK4QrUKFQmCBxJbvldXIrkrWtXftOifisvs1Xmrv+xy1kLSBjHrKEkIB2Sco5htcQx1taNnwCV/YGtTYYUt/b+M6aM31qStUNwkGHHjiSOX++a+J32ToJ23mnVYc4xou+r4Efwlxwnf9QPVUxLoh5zQ0z1claQFJeXAYSwk7gciKQ66dQuDHJ53brKTK1f7U53pM4QWvI97G3bCG5q4ObAMnM5HbDgt3eqGSdSKCi6lFNNTK6PYaBrzdAdb6uv6b96uDBoHMJEg4q5kelz/exMRHi3skcKlMfezUOVq8Rhh2FBGg2EkGBcFM5/K6lg/HWwc0JjA32XaWpunLmfsj4p92tBx9qcmuv+vAUOaL1suO1eriILXPzewpFAHynlf8MqWgAx1bWmVOygBjb0jwI6i3JMufy8oTVfVm5bgVC6c2rHprva1EBZT5Tnu1B2+dS8VibJKSfMRQwJnfYvi0BDAl/OVm08wbM2bW+nj9ZmpGC3EFOIdpktISkIuZ42MSvI3Uw1PAl3wW14D5gPNxGM8V65G/AUOliVwYBD7BVh/MZFyzXvt84vN43dJDUBQlsJLEWoQurcHC5EIu5TuGnXog4uSzPHqJ6CUkjOHi7bxdVNnCCaH6wP13IbDMt4+dq2qbRJtTTU+0m2Uz9jcvurenzH0/x3XPMIg6kUDJhZzg8BcBQynKWWxh1E1992PT1Ib187say9MmwtokJ0DkV/KLAwD3sLoRffqzJuw9vYARcs5z4YdRiaceBtqCMHmULgHOgW2x7SU5wvuNyNKUUH3JNjxWOPjQ3fBagiLRNK+OqlhfFGwK4b4uWSpD8E9gBNuulyD8WFApKjutMQRQofN3yAtpwGemHAeNMoXwm4bxAj3kSlg7sqCtnxOe3LUOrBhum1iaci1Ez9IFyfEYJV1cFUZDXiBjn37NSN1uDHn3SdWoXzkYnFgnDNRBf7nglYGESuHdlSG0eGV1A5M9pWYQY3TTWULvOvscja1N2wlC+zXHg5q81jtc5FXm5SDRorvlsRQri+IWy5e7Xy3c34alvsdjkis0dwEWtEpcB5nnbUd58dP6N+hQos3hJWnnfNbM2bnmikdXEV3zvQ7E0QC+B+9Sw7w6Qeu9m0jIDTM6ErDRYaKznsXPx8L7C5dlgIa19h3+NQEvG9SSk4BG5/UDHnX6fZExE/o4KFBqOv5thoUbtdWrOfFrrG1qFoUKs/efs19As0bDTQF0Tqch4NNuWCaLmihZYkvAUeVKrAV3CO8g7T+RuktgBZxeMLqKYyoGoK5uVdNPqUjXsHSNThmQDIMWxlXdAx1CQt8tHg2CISrv/DGsSxcw0ISOndeUZMblw/+YKEA3hUAy/Iku7zhqI1noxECGV5XSc2eli6SlHPQtaHNV4+fb0jD8iu6EPTPtwKxzoshANfp2l0l1XjK9GVHx5PsWHEsSzs4QwWlxuylFzkA3DjSoXajResbySICuMERmJ7Lul4g1wrYEmpw2c6JwAjcmzGx/Z66uG0yDlhvB/wu/obAO046Vhdeu2lnAUnwrOlrvP/S6hNUR2H6gOZNeymm4agK0YGNXwjHc2WgahszVsWfXil5RR2H40qCDXPy0mzb9FRoEpsZa2kO9mgX72MmaIYvnAfR5LMwIdr3B0Nea4nXxckfcdS37nAlYBVaOygTgVLRIvpe75A+d3+P3lGh2MjqPfeLdH+JzXor/aIIUHDpm3hpdV/YIMjLIS+HY0Lq8t5PpAznG02wKniFMF4IeXtkTvISaNWmtRQo7Wgcm9eJ104IyZiobpUHxCu9gYsJ63qlLTWghw+3XzKYm8JKCKflySYonBkRu//tvajTw4tZDEAkdxka4JVapUKryiBrn5hr5YVy+oKeP7r/Hcqrf1tsYHs5Lgs7/5/tH0YMv08HSg7FcaoCE8IqC1nzmBdl6Xi18CsMQBQl7T/SYpj+MqFd+T1caAyRvnqTcs4C6vXi0wwECMRFOUzWapkputqmTz7Hwz/ojaNc70XAxM9SpRrsHaCAQ26LGH9tvzY/EHIDbN2JkGGPYAsD33w3TB1iOsis1qrqXWZu20yAr0Qbg83o1VDPH1q0vDtX1ZGY4Gtn0ZR4vil/G3UuGKNlJ8zk7NEocoj8rvhrr3ikQGDLCE7aVWtOrfbverwVhNO/1tVLV3SQnCCxsMVkXkQ/d2YrBk+pSzE0xMki0b1+/9gD81HsMzzeUb3Z6RDMorWOISWhRMlPWGrB+uK1sn8lR1XRbgrh5dhAfaBMgzC4d5Vo0xI2KGrJ0N59D9R7PxEVEKdh6qAUsx9+mUQlXTKq8FCiXx8AFYyYf2Qv+ioUf18Z/t2+0nv57II0hTQOyL+tpaNo7Yw0x7rUlp2rhxBUpSZ7c3g7dKPxCTIVuUVy4uZnO95O5X5F6qwKV2MLpxTfSbHLsBA1S0cYnxFxnrMnUMpnNn4Gd/ixY7+Rzi/A+yYKMpckmvf/qZ4LEKUw4X6ES//Rp5KtU4U41kIJ/Zj38/hgqZog5VBnaGamh9xhgRhREf1FvcQqmtyfWVDM7eRHf2rknlk3LvHFT1SAtiniIG3OzQQ86vivuq5/rTcmrP69v/QaHnjq39bS62kRdDtyWaMvU/xCO1U8VpiKTRZplbKqqTJ/KemkU+kX2T+rLZPwVtcS/H/aRjOeSOxkuDXt8dF6sdWGlRmbHXy02vSMAOG0fVYvgbuo/yR5ysRigzI6nASCtDMfShsrwLUKCLu+GUTm2OTaHLE7foAgrxYyrdua6MdTQwPoKTTOonSfL51pye/T+fg3j0WOSxpRVHceAc2E34eRpL5N3uOTSX2X2kEVUi686R0Q1uke1laOT8B8IPsoX/JpBvMRVxW7zl6ICyHtXaiBg8yVqcsgVyBNigL8ZPA1PfUK/7dUkxar6eEZ/wWg2UKunfaF5xKQjXNrIzHptV8TUdqxtpZw16LYMHVe17CK6ebiPjq3fY6/lL4ael13iEJEOrOnEp2LqwRis9+d8LiTJeva/+VkvRZ3pPfuAasR55txcisgwVJFeCmpW6azDfJvKm+WOhs0gG1MaoHxazu9AXkSJ2LPfrGpVqROBnWkQCG4Y9n46aU8A4tOF05CnkJM3SG5Tfu8Y6tFcUn06wvg/Z5ddVORux0DNQ6CRiJntm2KlggqLm0QHbyYfwRJ91lUd7E6hnA0NEGnCJ1YCcntidagefPq/kugkDSOFOpSfey31BQdQyURpNxvRxSfxVRxMyaf8/UiH6H3bFprVtznOj4siQC5gx7NdiVsFiAfVcKW0/6LaMI20MjYn547A8JX+aFmVLZFydGhoBscfWawuhP1hGNWgUxtyIkwB+x/JHpn8nnGum0qbn+DeXp7FRmGXGp6L2Bt5wuxpIIlgDz1Ntwx/z8iGTNJRf2dFZJkqXxMHm6NVZbNygjCD/FXWQIySUVgmX+dOVHSSznRwMgbrnF0V97Qj8C3+gZi1M+8RS9ANu2fF8cA0X8A0hhk1840YRndNzrOFPOrPnerB7PDzuw869wG+tKhkN+PMz0zTYmdbMUYN9MWjZxySu22FVLSNgD1IBoWpAQy9/qCib5axS6VvrGGa6jmar/YIlpcQm4kit1YX9wP4DJ3rmH1e48t+n1DYctN22zAWFINGbpZJ4WlC9LyMtDJP8FneOQmbVo4INw2pZ02ROua5kCEpgey7LKXNcOdp+gfmz2QjIKaICbUERjw4tEDG6HrUGgU8Tupdu/c5pw6Gy5DNLR9QojzByqmP72IC8U2t4GSFgHTJci71nqZcyURCiSChUd+UVyi9uIaUjoTWA2BpjKw4LvBYi2TcAx3zysWSMyMxp1F6PIedsmVeYu4LYn5XbC1GT0dZKMK8/OFzqcRDIWVIHBeqvTeXv8ulxz/lbfa56ay4VDdz2iO6/5p9DNS4huElfh6b6lNH+4lJI46S22In1nwAm7HHHHDYKJ0OpFmTRjvp7Tr1GfQ0CLk+eZuP4aBGjPzr08TtG96E/+lSPTHvtIZdRJe67WTh73aR4sgvB+2WcXnluX4WbN9SK3n3isF9Yuf0ptla9TuamfPxJRHZtSwGn36BV17Lfh2LocHUtCkCMBtWSBoYV3aiQ8v3rPpnxuluvodaTQzpWF3XfGlIeqInkqajIzgSOov7LLYsWw475AluON0Msj1b2cV9fl2U7YkF7hPvM+Q8lP36k1ycw8ctNp+pZi1ZxceaHdLTBptUpB4B8zPTkgCUDnY8awnZDlXe6xnZj91GonatlV5Te10QZE00NCF5aWfQYgwvAM41iaGiODaPD/TtZ2XRY0ZFc2jjtM5Czg687L/s5vff0p5yw52ybQuA0D6p8xfas5s74P1JI2QPzoQq6+ese7FWj3t4kPcV9tZyWL8n+onoIrxE/raAhv5hGtwQHqXXa4vzgeQpdrsb/E1TVoNc7Hysvk4TU4nX1CQHK4OVSuWnWZ6L91nl3Qg+fyeXdy0s1ZWFg404CwuDO7BQl3dpe7LSBJNtFJ6scuB/Vos19SvuUxOf2U68IrYJGSGwt0Kdq+82bQAkCNTRFjUVcnbYCvfMwD57TlkqVkSpBsDd1Y9GQfApk2Us6n++abKNZhQvDlnqt2e6tMNaY63dQNB5l23GMozEM2dKk5Iuutj33O01Ye9j6bQbBc4TIBF9Q1AGPmNWfyRq7Qb5f/IARMDOUkjX61gqGYZT/o2vsOBJ7oK4xfWZi5DYv52ak9EA2FYdNwoJTM9fKWmg/S7nu8xsMzF8sUYiO88hZosUkxpTmpP4SbKWhaSdlGpev5b63LnRiudeqVYAjmd8GL9Vf2+SLf3lUkcC9ZNG6B7mqx9VylVkdoi7HrB0tZdfBfKeK+P9JpYGOXgTKja2M/mGjEVEblVXWbq6lbP8ioUMJp/pBN5Uo1xEIZ06llrR8fx01NlHDU9FlP+VLaA1e/QyTDllX+k/w9y0eOmNv15ZzzKdqrx4/z1FWVCXp36EZ2d7hZGZ4byQpbfibRU23tLKlzPnZu18eWHvume/cK5785oB6nKXkNpo2fFkZJ+ntJLCWIlJG17+EvoGwjcDIt6igvz+EZWFd44mEDJzEImyS8fQwZR6i7FjYmCeGY/frq9JYUkn+i7N+ZG0DDtl4SIpU85KvFT94Vk+Ig2czkJRI5uUFEY5lqG0i9wrwMGJNfg71KQBc2X2svn9wcZtjAWDIb5jdWijpcyepIBuVv0v+LQMaEJLqWL+Bit4mcUf/4uGI1kOcbnj6cGedSnev7Cm9EDqCgPvn04Ezko0dg4vWelF1Ey9gU/iXHIn+Btr0KaI7i1PnyQYek89DrnTKkuNx23y9yeB7Bi/mXSy45CYqbqR4+3A8E/WdqOWhLRugh0ve5esgsbz3+c2NU6jB+Km46r//fvVJmOc8+CeWeMoL3/q0A1Y3lIp0T0te6rWIo+v3UYoYLtt2BjchstOlVdIonG63gv2Eww32wDhN1eEGYkMr+Mac2szCJsjwJUuU6rYMSwSYWVgjIBnFp2TaacQbuq9+cRrvoJSYQFwgXN5zEWmb813WKskzchDcPi7pDq0LlyMlXgBd/A63WLuXgzjbrZa/qa4+I9F7JTdSo1x5ktyaMplYm5CD8nXZSIHNuV7GhMuOOtTsIvTSANn8No11xSKnRwRzVV/W9to1yhoj6BklLT/cpOPqWpkVJ41SaPz5NW54c+y913I4nAiQj6lLu5AgIQNWSW1+n9xdkLbUnQVWwd1chGFltw0KozMptqSQsaVygRWSDtBT1J4h25XptWZZboQqTa5l1gr4I71q3/EYHVa0XMINqYbI7dFt/9EvKDs5SEonj80aH5oJGFWuVhr0po/Rl5+D78B0k/mpe35K4ooJUaFlzuCx2aTsf264hd+ZWWNNVBiVHU09b73KDxTRPoXW1BIm30O6mPU48Sfouyzw9VnahptFEgyeDnHX3v2+Pw3TYP/JGwVYwhZz7KG7362/VHL1H6KhF2ZccxsKfYE2byuj2sTdtdXJZMH13ndjNLd8rHmmeR897EgZmaaEUIZiRkYsngJ7ZdhT+qCThwOvIJJoMnGJ1JzOlGAe97/hJUG0yBVjF6zHyDS04qALNkXrH8JsEpt7VJDrvfKFXgTBz11/oH5yDkD9zPuMlf7flNe+ccg/72V4cyAAenhyb34LC9DPRxMNPENSoA9N+0JLLyBELETnCwSwcyry6VWAebn6GcqephjDAIuH2XO+c3u+jaVFWyQ6G2SMSCoQKl6tS7JqY+MSuQSMxNCB+6qlNvVEmfr6IjAo5u+e6/j4kXkzfLstQDRNrh2B7Iv1QEQvA9cMf09PD9kf97crOV4mzlrag0KB6JAfoT8AuOyKncwNhqKTDOZAsaVL4n9a+d/MSjLlPcZDc9sIcNjMRYOqD+dfGIHjVzfCRbclceWCw3UcSjN/EUiCmfrkZejdwGxxRRnwrzFi1AtBIbYeqCMfaaw5iXFn2bki7PoVmX7CaLnJAW55kheocoJ8zaZZcDSJBQXsQYwVaAZOFA5q2rLJYoswSiHDnyVKo9FbUAihXu5wVVPPYUgt2+bMIMepUpvz+uYEDyERMB3aJzBt2f0rao0wuACdpl3/i5hToSoL4kxvTG5wXLYQdAZfIarNQ95p3C6nkyMXcwUrcRxpW9vPCr26E0nUaAqS9VuJTccrpr1SXBi/1uk5JNxM1MxK7w1xLZoG2JBcMjbWB5BoPsxYXrNJixNgUkN75eG42g7bwehVbM6O846XWV3qq4fZ5QGC5ssUrCuwIklldA+HrKCcaWq9z0n2gFS9rbnTm/9DtvbhvFdv52XrLYaj4vXb5OadzIpg92NwM+qXOvShguyoCDiDQQBowfTqQ6DkOxjPIWmZQv96QR88k9BWcE72EOBF0rs5Oyl8+jj7iXniOEqAntiKiLcjx8EebSNETDvHu148qUtHnhGT32mc4ixwnTIdE4hgTJABrIF9EA2ZUXIGnSriFE9LRmePAvpwwHp7x8AY8bX3/v8gjXofMLSQLLTdMT/odB5+ajCDPkrLPe47WHh9PVaLQdcaLNMRNzOzOMlkKXaPMWQ3lQRm95jfGXwurW8L87B4yfpHzto8uh3emtcErD0GzycfHyF5WkACJiuy5mFOUYSmeM5LFn1pfxyBLhclzsFGr2OjFanaKibGwzXau96CMY0UuCRipm3bh3FelTPxRAI/R7JLP7T4JYbs6V/GPGB8qwjf48baHAZMvthxmTP0BSbAokxQ+oTtdNuSigeI9q37Aw3ZxllG32vk7rnMW5TgATlm/8OuqIjvyhxNefDpjvSpC37Iup/6PV977R5l4iCbNnUM+hzTMABEbttZR6sFVJu6ZwXtw53Numgdccy1okEDIgdA4gj/EU3gkn2SYNlt/WBTnFNm3grtdeXaipQjMIo4AA3LOkg6t3R5ZVYc1kTrBiboGa9S2A5hNaF3FT8xtwWrRnt4hkJfHwv8PaQsjrY+oq+TtnlXEq+PgN88KCOpjEiAD9TTck0zH7JhTZBAS4QJenznZPWpTeLLdcfjsfTPvsgdmFsAdi6S3tG9OUnaYjGZag3EMfrfRyDHb1EgfXtVXuu9ums+nrBAQPKZA1xC7FJUjgslzampJbOrK0ZGLBNvoQKUoqq9Qp+PYsDXJdokCn7Gu46ISdxBR8bHKwb7bczxsd6Eu01uPzUmDQRREsFAJs0UWlmsIMhi/MV9JXwC9nN5PoXCSArKy6QOLIjHXr1RAvqMzpj+1WUGM+YqcGNvBoVIBkmRy7HGVmFkGC7qcaSTRk+hzDS5YkdJHTV6NX1tMfz6rcsvNC+665q7uVfjKhtxzimcpZEg++sCn9CeJ1cPTI6cmoX6E0bwTkDRGQQyZe+r538EFR6mRN0ZZFSN6dugzXZCldvAEgRDld++xX5rfCFvL1Yb2IrT06VhWp+2IY/20+PzEKOkAWgVI6I++xh4XkaRTRVzkuISAoL7xc3Yd8mSIfCdeG8VMzMreZHvGM1BEwJYYShS8beKmyp4MOj8lc9kpZj0TxWYzCuLcqOqJt7tflDMEdYYp1vyddOIlbHXgN5qgUNW+u5OVRBbtfw/lN7yAEVwchFApUHcUD0lJIQN1gpVFiI/lbokMLQImkhMlVox/aEAwhQNTgooN0WyXUbafPXXddvvVOq3vxEk/aWWC03hMCen/Dcw9S8GQxP7ZzGBz+5Zxwe1YHPdqdL40AgkEcC7kZZHik7Dc8ZE/mU2KytPdnsCcw8av9v4PIXzPXNZ/WtOu0qLXEIDiCWzO01QAIwRQ1WI8Y3bETT3o7Rhdc3GMLTux5ydlbDmb6X2Z0QnL8yw/enUZ1UkIhi01SBrE/vJq53P5MUpq9iMvC3zFrS+B1xZL0nr5Et/IuqAz/juIzACFpnVl1aOLV39P+QpU891Yn3vLBb9iKKWHg9gftVxWw2pl8MirPotNGGDqlMsqj10zQB8FTxB0frQYcabzUxk1vi21Vz/PKxPG6WHzpwVrQ3HfJ9i5M8apnDzudpSvAUKVEsIKYE7f3qAoc00/XyteI7xcYtt9jo4TLSPwAH/AzTqeLHZVqUJVTmBdZ3FoFkJMSOL921JtfVW82F8iI0Ef3CtNVDItcP66GlK3fwWwXcNA4zSCTMWcP3QEAYs+zGADnzp47S6bqepBoXQbuYAsQ5mmVwPmthhjDfKxtJnyMhjOQPuJcHj7g3ZwE0mcROkNIYI4iGV6EO3a08s1Ypnjrh5ZJhvYGbrHV5DdiL0WyDs5/rjkheOLWH6M1x8hjxX75s3aa/5uuNiSRSXI1gkahSL5EciKAtGBfxgNd2xju04r3jx9hVxF3rKK+NYm/t0+/t+p46ifZlhHtgX5wy+b0ws1ARmG78orExYtHWWPC2cv+NvHBniu9jo1FdQBiboFOXsCWbJCpYluUQvuywvQhjq2JGw977H5hz5lnlPbWJ+ooPOfZ1tsKgtapVM3CndFpnCzqdo3TWo39DKR9dM3oRH4ZZ4qBHxFUwMmGBHd48cao+lNqKdjVutIfurM9qeCj5DQHaEaY72Hq6W7JHs9jBzhVlMFTIsxJ/yibdNh7j891DpFqTqBgft1I1DFc/LSPdT/HHJNjkhfj5rXb1wRUXXCPBqbg3xSl92/HGq/Uj73jQGgpfffZnXqwFE93gjDMoHOfxJEyi2/fmBc4CfZz6m5Khgu54zLJ4nHnHdHWoCmv4X1uAp/ZpCLhAUmqrbQI/iRlV6l8emxWol25VNlCAxkJRjulCQA3OclGxDhXZWDT31A1Kh6zBuMu42Pd42asf3k5dB751ViRn5qjITRcouUTuqQoQHeXUEEYxbnnoN48bT4iTMk7YMdcqz1TiTV7C1dbZMFsD5d7/2wBQLCQ+n+73hD1plliY2BYgLx+wdzXHI5RXg8FwDY17lGazpTObPQIaIDkZxcW57GTtTz3rUPD4EFmATHIcxsXhcuERTNMdoRmUz5I6VTj7Oxv5/AMhAbOe1/XYyeOzuT2W8fs7YZeZJNJbrTK3RM3ef+vRJq9B0yvcerPdHfcqYc+PkYja1+w1YQmOElBlVFiuH7iraHFpdrlDEf8DWODMtVFmc8+Bo3S87HViXHXJ3B1UrT4Sb4+qKKLRR49IGlt+zqlkzIwxah9GIEKviqgSSQsR4QFAHGQ+vLP6XBNuKU5IBH5RYnUD88cWF9pbSbRQrkWutniXlsUffZmqIQAPLJJCMwNxZH6ESHKtplGoO0dgu/RAyYJ1LhvV74t0J84bKOHli+wUdX2KF8nGAqbBuY1l1MhOSwZw8fCh30QH/Oh79hX03LwdftHv/LNplHwOk6AR5Ko/8pAJjNA/3DpmT/lRzEzWfx1KWFRIDDlEG2WadYBbMub65nB2uoZvZxAJqZAEmAh4Srz56Fvh2o3hm4r7APhNwtXgNUQIHuik5XVi41nTR2E3Y/b6ZGZEMQoqgWj02iREZjL7/zNtPdOYIGw8ZpvK9yuYcSCrLtZWVn/jHLiTWvmzH6ktVTAN4/q0dNOS/unapKl5sSCxn7nIu1kuZtQ/xD6m2SCwUKI4FrEmiz91UNYPBbhTN6DmtHlNEo9xD09NxrziJfe8zAZlNuASPoc9oEl5JRztZZyXweSUytKLuiwUKU4KK8x3zlrc+/V6f9MAFQLoVlSlvHN1opBo8lYQx4q1B9gXW4iLbTt7U4OEzNy/INDrsA1SyaRq+lT6sy9Cjaef27ISaD31E/kSIDxoNZKgzLJW2Gn5sD46DKdF4MaL/vskZPqh1A9SsAhM2tpnf/2J//rEItY/LJ3gh6l1dBgi2dcQ5a70s8TNV3JRS6yxI3QnDP+vGIqP3E2obH9CKZFeMdQBPyKohe5nfaSnCnhxwohrgb82KkIvsoJ76lHYyZBR9dkv3r/iK69hA/FFBNe6Z7qI3izdH+TGCUJTUMFO3Bug1yuYTHrXZIM8ShOLQl0ycPz9oa9AStqtEZwwIjM3Hy+/jkg0lV4yk1RU4//QH2P+ShFISpqAZtw2OrqjCFX5NngqY9Ou/wrMKfNC17Tj+vriBNJg0urDhJ4FRLNcEZ//wygLHQzpSpVs4FQXe0LU7lRdccB1gqoH2LdnU0Z0NfjN9Z0EjrUTt1/jgpnLC9fYxiBqPKw3gqFptEtJm8joVWgBMhRNzIR/7XywLAa/BnVfCBiJinukFj1dG6VljNe0bK4KIW5xH2uxdZI4i0BupeywaiQT69QnaqkZsGlnbADbnd82Zsxu4ApLxcLRmgCbMS7YL3K0i2d6qqQtdqQIRiKyeUkdSnOndBWJRa8jb5C5X3aFMKZevOQrh4Aszc7kvTRJBXcwAiyEGfc0FEOh3Qgyqy4fRT/AkYAzu5G3Hwgh6NOHdqn29OsvNg0T7V8hKbukJ5z4Sx+oTj8mes8YStJRreBNAfUIhw1Bxa9Y8TkxoqGae2Mjy8gnNFyz4InyiFYx5+KxCdlva/xKY2T6IOJxWJlnjVI9TrxtaHfZSgXoFo5zY+USQsxUDbxmy3jUEHSzKjng/UJnPkjDB1biXQEwVAskOoPH+A/+NZP1N2Q4kR3VQ72FuUBVlfGXgi/6BSXmehdNrKTVeublVwtMrKb6NOCnVau3q8kLpqjfdfcz8t4gPpPfOCw7G7bdyw4Rn2IrV6USnilPs+BOqYzr0K4NSKZ401V3hmSpM06sDH+abf0KoFLffVkDlkPkJia8mPtDnuT5tgPEQ8S1hyVsG0FZLy5r83PxAkHuOieI0tMl+9d2G5KvyroDAhdbx4rTdqlR0RB2sCjDB6HQjnLa3S1XcB69898UdHvZl9u1r+xVNicawDwUYwlVgv3p17GLUONHGkTm3E0SV32iyj1ATBsMNrGdzeUwKE3u6/DEyK7CLIoewtsPfuDLwSffv1jtwBj8AU9h5bxmo0xKwC4u/hkVLPf1g/25ee8DY8diasCWgMWQnakOEdHw0Ed2yu30l8gOHVNLgXc18VBslkPNdAgb3QjpQvLDC6h699AbFU0IlQWMFF3Uo9H2aky2uppd2TMauD46X1O5GgAVpqeYSEDhGCrFuX/yIa3R45w3uILOYbxM2F5CvT0ajR2H57XvQ3Zn+5MLwDSuCGBEi0h9cMBBv1wgND/mWdPIe5x47QsBhaPRUZ2N/XQ667bIU2d55978c4Cu+bg0dnkyMhMqOVMBUBrfDkTw6OifG7WTTepLTz4he3205azaRk+/sBhrT1KaDJritwzfV4Lpky+KaIDYk1rs8NKuRiAWInjci4YgYKK+zzSIYipi9yk+ECnL6nZvt3EzXpJFu++flJ1w/bwglFp7XtACmVif4cqZM9MN9VinkORMbnwOUhqb9PY/5xevls7atM+SwurBKzBkybIUN+DHDg+LKWbpGvmzCe3VsNWysDHQAE0EEqXmXQHHxARJGSFx1QjCUvDYeVPGvBsCZ7dRbKvHI9YJHHLiFuETJEkmPps6q4uVCrBEyme7+ZQFFOP9aE8r8GadJCwwbYZKYyExE6lYvjfNnbczKQ2NPuccJ3MXBTdkzV8gwbXaW+XV7FBt2H5WDJfVkFZF0Rn1/Y5Cv4wTO7Bn+xXJtEJGabzh3y/tJoOGiRnJs7EKzqp9MF50miWOcEfQeq/ED9uGgdnjsLVj09tjrlneTXyMQMgoxsUbBKIXRFXlYd9VARNkHzdY1bVhvr9mEK5DsFkJuB3FRfIxEBKpePcDEYVz7ip941hKPTGltPWJSFPfOCVoXHVpsZpd86qSVXzQgE1hoAIWJ0XL3y6enFoFyHMmOk5IdWi8VxQ5mFH4FDsMAl8d2iU1raE3aYx4ihALkzWywNr982qJ0e7M8cj+whTHemQGmyhDtFOrqJOPJ9zgEXjwLo3xXZ2TMvDaGBR8EkR5PEsRIf/T524pX7D9ex2eBePGADZ+URCS0XcyA4yEp51ycxyOYSPvPRlGMVj+uQJn8w0r/V7DS9S2MP01AYn1wbXDcHONVz+RYpHblaeWGmqcnUemDUSeQSmoFb0+gGsTquK7NKQHxnGQUkPUvqysgzB7zYBEH3zA5+KqxiNeixVus/MsgO0QrxWM8OqxTBGrKN2r9cmCPJPx4F4GXgSsvYUkMHq5oMGcSCklWiPtRPaeJE51mGKtmN+IU4+BW7J81YFtIu6UEYZ2jG+NkEAeFBxcgfyHlfVLG60gFsjxS7p4MciyZFp2csLXS8om+HoE+AFiFp5CgKa9oBAtFzUbMixHbR6IYcSADIZ5ra6mf6J69Y0s/mg8ku02xlW2/Q4v8KC5VZROkUE8zu82Jfqe3B3pjesyog/2dMnEHPhsyUq6IM+JfgPiH8lLuohpCEpL/gf6IMvHhNh8YcsNzQ4MlkrXRL+QxRqGcy1KhDYaVZLjIEObNHBrbNNXZTG8miceZEW3CsHue8f28GVXFoUjrZ+GNN9qUw2NZZQpAldkVlALz/nV7K6fyVXb/9Lnxx9rHT1Pnxiv/POZrjlrCcBb+5k1lpdwde+QXAOv893n3BWD0QikmekPBaxB7vHz6+TMo9GHW8hnWoQzCiwg5KAMIW6FaldBXOt5j//S3eEs3NSFdcBGmyjSA1PMpqIXn8eUO/DtfaHbSTkArAvHl/PJoX45G2XU18BbcojkaHLAygGnReYAsi5IqOQfuLkVT2fNu4294nXtRkeIsjFNxt0sJtWZvUVNcoqzKohEDsF5ffJEilF2rewXSg2MWwz1drjjsjan4ObgmG8lw2q11S2EWrVB76mhig5m2pVDV7F+/oWM4wikyyrSW0PFDz8B6D8eHdbmht2SdpPTMJs+9sY7CXUDIeHATz7DMz+mIXNJMZJaBIMPaIz03+9B61oiCUyrjEgUdGcCb2eAMvD5tjwdUfK+2OJ8UjCGtOgBP+FHH6hjzsRVQiHNldyehvoqGW4efaJ1jp6afZgZAHVrq2ClxnI6K80kDfWdlYZ2PMiXD4EbqKnURNBFr80Cb/2Ne+rw4NzqIfz95yHLV1KsPbKMJXrdSC6fNWzW8FN68/ELmfH9kdiVdCBLvjdrZutXnz8nmbZ0tjMGrMNIjh3lwZgvzTBjIPjH3b6i2aV64vxUMrnzl03Jhjm/ehTvbnc5+AWjEje2iAzWhA6uH328pDbJcDUAgk0AmVVcFfQBSYvnWWqNezQ0Xy6RcoKrf0IXxRL4deUhWP7UNRleM0kQ1RH8B3Fdm05yMjwyPlFgS6c4s/a4YDd25UtdwSLT+AXwTo+YR6HgH75qxu1NrZT7Hr+ZCkq4agenUS0h7W49cWktbAZ70G8PfYwkIqf3EIRWaNE34M+A0p9x54eMwsJCw2JWkPNr2p6sS2ztc363k87Q5xKofO62Amcgas+U9jd8mDRrKGV2kplyWh5cYOy/RnedxUWRb9O0BJSzXiw7qJ7ljOm9Lg8GrWKTPc5hzkMx+a7KDRCB96iMnaTwyBk90kf2kIlzY+1g5Y04WrlHuHrnV/8/TsUX5TLsjGyFX1uQCDKoFUqw9xBNmiGZeN81tfci+UuaoKLfmOlzGmHqIslyh3f24ZplL15ulWAwYUWPutRveEPm3R26hdxHujSAz80TDI6OPu6pIrwSJ820RPOZrrvbVf3FvBr1BquFs7U/GBBHSwoe5fXKsYYNk15xt8D90jP8MBJ3Yv+tbDy7GOZ8VwUpizoSNgcZutH276lW8rXcm8Z1SC9U5Zi0BDYBiRdh8J5iUY5owSh1xJs9ufgzv8EGhszAVYFtfBBbWzbQLPtYzJosQSAb8GpRKK7Pi7zgQ0zESQZZTZncMeeo9x2HMlmOVF0XVxR0nK/vHjsHnI5axRjTQ6kWV41ROMBhGCBpG1B7jStGcd2vzXzwVoArN/GoVkThmw83+gPoxBX+AtIqPu2U3sbYvh7e5GqVkuiHMc2pRGtHjnWFcHphjCghGxgMUQilcjSJbAMYy2r5gwZ/PteomyyX39vbIMdw5BAon8bvVHsEhOMj6WK818+dsJh/5Vzb1m5EhaAf4KKA/sjJVB1PaiL0wE+CgFTQoj+yLr6itC+F69OPkqr5dlncUBf90Qb2/vSieoKTcB8x260k7z2QNXdBVnqQWB06Ibh0xo+42ATjTNowZgIrOgtcM3qFa0m05fLJ6VUfdjHKc1DlismwjY8L6klbUZS3vlP75xVbN/qeZROU7LLxSfOsRG7laPxdNKmsL0ZGbvoOSwt3u3FZ4kUYEecCj/OW/FGYHbX48Hudj1h3Xn+i8kGfzOADHf0VNrQVuHULQtfllTvu2XuV3t25ZihTBTs/Fk31NFPgC7bae3JKhWEouPSqmEJ/OinyMU6y2/OP0fuYgOe78J9F5kP6wHthXucBOGZRYikypH8ecwsNttIvhA/ANGJsxaaH0/7+XJSuvnKkaKN+XDJ8kpxXOtFDIa9Yvq/w6l3h2PXHiDa+MSZfMYRx3qusxIqdiGece2meRgs/RJZ0ouaRl82cAepxiUlDd9UqBZstD+6zNeRZ2hTjI/odLdm6OX/4ILCZoJDcxjtav31kaucjtIYhwNw+tObLOg/GCKpBJ+/5k90n21arxtiaW5kUh4uPp+LLT5tOC6LNZKW/+iuYcq8zf+HeSYq06CGQQDnxXElBLS6uX5y1YEUJ+NRiVRWCHxr98c3ZwpzZ7PNv7J7w9FSh9BfqctMxm2Kzm5yVddRreJh1skTmt+bVtEPLuyu9rkwOvbgioS7eLtokEocWx17T7y3WBZQkY1JmJ8uXOYpHqZGYVLGaK03iDR9s6/+0h5uK0F1trH4ozArQdKCysPKl/Sfq9FZF2i2iPHKHD1KNXojmtwtA/I1EIc/qtqFJ0RpU8Tn8fOaylW1pc23LB/zzZJkmElAJ9AL++Zm9O/60O/GzjO0zuVoL7552qJ6P4GgKqXMcpwBQmjocYHpNvvkugLcPvtCfzEXU/lBaEjVUyr3cTlFPi5dhN63oCK3lkStsCp0bSo5ju7pSKcKwuaQumMwab2pUS+F/noaowZQB6QpwlA+fyffCTYoF4BRuf2klmGhQtLcxncIIC2VbtbydV9XR8ghYz7qxxy1j66w+3VfGkrOdoSJ/gcTmBjf/rmMe6tQD5PKjHK3+2HEUBawjg9o1GaTqd/ypH76uEFwbnVB7s6g+09TObRKWQJyU2BeFvIJGJNrY5CdyH9lSdJUoKMCYbhrEApFGG6LT+pSd8WaY6jN1KH09WmjWpOkNEK++tSdSmdzUYlZGbREKwHMowg5vRffhEkIrMiMuNdJYel/Bg7aW5wrlSuMh5r1MSqqOl9FCyzOSQoFr74Vfo/n4z3TxhHMUrLrlsPkrF2yVfbbO/DoJKidfPNgUlk1pTtRZrQswWdiAQtvW8KUxvIJbcmLSKZAIS7PMkJvPWUK+vUB4XhB4/N3jpHlFVbYNgQHd6/M1Gtl7sW/7JUDbg9ap/GDyZw2GwOHLo1ag2ZV+nEtYk8UhtPGQO7WLiYBbFNjyLwxg48ATubO19ITfIwIFSS5LD2kHgu6hKYIlZLjOpStmpS+74NpkDN8t7X0VxI63QLD9n8bztYGp7jMB9Fk46+eJweBISPrF9/OGUDANbC8+8STtxCfHqeZL3KweAPDpc2+O5+/xxFvnilwLl7B+nxjP9LhugN0NF7IO5d35519jSeFDuanD8WbDrQPVTdOqBtmCl4qGmoSB9mkHVf7XF2SHVHXAhWCPBQG5KLH+r5MvMgKgifwx6UFnU135Za6vyOTc0Ab5UI6Itid86fACPRynIdCsfw/NTRJNia7/ubYZigr0FOnwfRpJQKQdr7kfsG/6h8zSdsRdL1i3kvufnk1iUcx81KthGlM6I2bxC5sEDZBMyO0mPVCyUBba7umEAYvpqEJy9DR+DroD7sXsMo6GRka4mTl+dVOg+cMy/yj5h7IlYfdqCco2FH14Vrca7WYshc7Jxf1JoXwVBoJ7iXCEMK0nULrxF4VHayoiewrOv1i49E5GUhyGpJEppJyzBrx/4lj5VEEQhENFdRuyacnoIgP8eYR0AmYLYcptL4dPGndWX4/77G9l6KE8HPVYqNXS3XS9X0E7RVL6KCMUfQhcFkW0KPFUzfZBaZPG/xz7HZsojqnbXV1+MJay7xoEchm1zBGSpFhHh57yB4qcjIiQZZSlMYg44CjVkxTW69IfjevaTXCMmMV+qmRm5COWKLyMly2RsRrOSa+ZqaMQ8QDvK6u8R5VBUN0J+o7QGpCiiKQdigg3tNNDB0wBXL53C6ROaE9J1zYnp6u50jrmjIGwd4ztFvX3oEioRvvQfkZpOLMwXQSd0sNo1y37MSZxpvaSJsuf0YI7oFTyLWQCDWaCub51TkUQcghy3TFJKmUgiHhsw0XQj/x97EwQnBIY63D3p+IN+x3b8DTT2Rmx4cIbB+uGi5JkABn9MuwbMfT1puXsb0dS6eK3MKjbW2hx38A7p0YGZw0SSEdfX3C7tdw8Cekpr0+HXKcmfEGftptxN1M1abCD6P9gPZOlCQeragZccfmCM6xuywBqWHUvF5rXDg9XowYhkApH+oW9HvZ7sfg0h42jzRDBuzUqe7WPrJP9he8Lurrp8Z1TgPGVRn68i4mz+nyQqPCKokhKSKZ3Qo61eDKNSsagi6+iksmfCNscFOvTLVoCYO+gqCpNWdbpwhhzAxubnlnA6mZHZJxoXCFdoVc44XlY8viTeNhMd6FhDizqq2xmr7BWklycqyNtuxq8jtPf1eXMKp/znRRPqh65KmeEoxlc/JW8cnWf6702d+tjXpLo39pOZnDlNv76wxqoJeX5VcrgApkWKt48TYWlGwl1YU+sg15HHkubBscl+pXn4AREa5mNkxEchEh6pqcVlDhLsYGgcUOXXxF9Rkn+mA3SMCnOrwMonPQ5PKeuFDDbYgNvDBczQ2hMW02V8vAndd551kVECRaCBzG+IcUbF2fIGiKBzz+8DenPcf8i7laDTKm3ubGWRFL8AONYdwFWBOwCCKnOv25xszmV47rdTfNGNNjjIXQ/TGfiYYGsh1lIK2sbhkAiIW01eUErF8J+STyVjTCKOsv9BzThD8AB0SBJmSrXVC5gfHLcGXuQN4Ui881/L3hEjFUuK0WJrwwZzCZEOjl3RTCHes8N8go9wFRcU2hjBk4wklyb7Z5KwVGhmuIpHx4Bw+rnfaa2m4q7i197wpijmNn8PJ6OxZVPAW1fz373pMHTbtxav5+lYEZYkZoHY1ltID7dtGVSaEqDX0SDNOyWlRgtx7HCilDcsU4UzT/VZtvk+Gis+lAnVB2QAut1V6Bahx5dJ0TSPZCrfnBwEJEtWivJ879P2BJcdK4aCZ+7ijgNk5QX9lZMEpTZzE1bmzk1QCG2ENRABPm7sKnRefNx6SztzuIuT0SfE80lc8F5HuVPWe3v2gST+YCE6rK9W6SseDpJnAuZelaeshzhuaVqm5H+GVGnUiJmY7dENJg1/zReg6DaVD6LbAM8gdQXiQ+LqRRw+u1FyXuAyF4CNB8GDGbTxlR1Hxr+WujW31Y6d/bjbU+/pb8GOs9TRvARoSa65Oaobm8mp5MSSbBER0XyICfFA/OjjMpKdkpwnzm9oobxoP7XnFCSmX+Dbvsm9i5hodn+fu42uyA0LX3GdQtjSloUO77qWpmyYaNTwGunOBZliftJvKWfqwBOL4qKZ1FzNjxlV51SfpCYp/HvC1u0gSElseW6U1+cY/9L0asXT0JHdbzWK2QfPq33MyQfddmDH7/QkHB5NrV59QOr2mveNvDBqK/KGQ+e4pf79F2vGRBmqPiKaRnU/+1ZWZqRgZFhqeUd0DbJ1KwTRIaA7/ZGXTu6cVCqXycvLAJcOP9eyPZIBOHh+XbxntBNah009WdA0axzpP/XCjmeupGoZqOgRpY45FayF9kT5zY3OBK+JA2txAuijWcLPwqmfXFVhLkwDg+NDJyqyW4i6GmndjI4wb/0jmAvGBBVmmlYJFGLws44kmAPVxaqb+AcudLjYaxZhV2uYeekIj2VT6Bmiw9HRlO81yo2xc2bvwAlUtFNBHohEOTml7rrgBrVx4n/iV5BmQR6S2OX+k6lT8Jc9fmKMmz9MBmvNy93CywvSE73utDItAwfkogwMa150jBXgQWSK9Qbofa52EQBQno5GFklEpBKeL+eX2gZkFiBvSkhzddxQHz4lNjxIaTOD6cp9tEbF84myFd5p0ilPPjqrXDPOoLVGc439S7GHpx3P3FhfyRYLJVrJZXwyk5MPEX2oXGaYio1V8QnqVMB/CWgpSRPPCHaJ0SRwmwKSSlKkQyEzcIrnyoTDnkpfTplZjVkhfbLKvyinPmrr1qrnoz437QM4XdCzLtGkesJ8DsdT5LDw9XPicfbdsFKyF9xmMTossVQi4HJ3tT4Fh0I53QN5F3J1g2BWw6fzQxz4quVQG7RVZCQcYxg9YjAhuZLF4v/yO5KTU19OpbgInvaI0wcB6BI8mtm82BcxvPwsUbqkGTegM/AiPXg/2B88tInJH9kzcfqVmTXXi40euTj9xC6rKDRGfmFEOX0JgLoW7FxCKTYCleEUA/zYkspF8QdZQj0Y7aBT0amrGLOl9DDJ3tKGancfDoeFNU1RG8HUDPGi33/2tHumpciD9XpGLl2XxmvsUxY08G4Rl1jwo+LJXDekYK477hmi2HLwr//p+xZOo4sHrI8bPKMofm38mlwcUzWkXePcKUvJb5l4faPBu3PK916tFNPV660T6TvM4R3yWrYyCDwP/wrcv0Aa3NLkdVfBlLiiy2MQWnv/oDe9T/jvGEuYvXWmKg3wiT1dYvMN5oKEhkVR3NSTw34RG4DeH8QUUgoBWAuhEKfcrPLn/dGYSnvXfTdEoN1HzDIUWTkW9t5W+oty2PNkGApEH3Fecmdz3rpLCXp+l6Cnr9u6SKQZeo1MDIag+HVkPNmS8HzdosyJlH/YvR0oTRQB9cavOzz6RCTGdps/wKGuM22h+NJeVkr3e3FYB0Jg8Ny2VdEf9JfJPJQ6CphQ2kTETi9gRDdHX+Ca1RrgEHdWv/YaG1gWzS9ILiSWzyRrWjmmYQGpLZ95PR+DZwQkORv8Tf8F3Xxhq6/bY+qpg2AKn4MttopfbYojlW/uasuOVAp/ZpeyX+inXswgHu8X0vceHSFRQ4l3OT+qrsnENnGGbLcnXA1szLEdE/194x8IwvVZPpsTnq7oveJu37u71ib9Wa1Us3Nm8dRU0612HPgUShm/pF1AniZTwwfa/dc+fe56WjawwC1+hy2amk+t1rkpHHozpJbH413frvIO5sP+Ys+CHmDKCQNZuKGJ2IBiD/ZqVUWDLZc731AfkumHrTKNdk3de0u9bYumUeV1UvlFu+GZY3C293QdAU2IQ7Vg70llkWb3d6rAO8WaLu36taj7IGWjRK6HjvDv2xHGuLRzu4DCD4ashJl8smOfL1OWqBgE82vIPnFtDL5QxkuFcDB9Qj/tG/IKS/9cmeGSOIiuOEaQuXThYiSD/kltIkS78E5ODuqDt9wiVaq97a/WVFhco6JMW9Zkky5EJAThOtsQW4mzklJ82PmQtdCd24KaPTItYlfpHE2ogquB2NViKlIFto4hkjevmuwVR9Y3c/Rd8RgpcD15tJ7Fz2exUOXKfABuGo7xP00WCK119NOySdgyoM0MbIPj1X8ZYqQyV/reviYNt7gmbjFceTLjNVMbjxkwb/P5bQ5/1u1HyZY7BOzph0m54QxOhIpSzxuGMV5v98/zfv/aoSiSn76pEb6f6uDc78uttADshRhPG3FB9xASVRON6A2MecOgaB2b9kC4lzc1jIWLdKUXXr2o4dBO+RBwv4ZBVefhHWLjM3KqZB39SI2QSP6fsDqB1rTszBS+mc61Wk85HXd7LsEmraEo2F4gd5R43UJwIcOUwi2sD+lUYwvwUqmo2CpT2dGgnNQOTESZk1DEh9tjz27FX+5Ur9/rvmBr6XBfRsyyv6B0eWOQkcoGvdBXy3TgaqKi9RkXKGjSvhqeH+AdfnIGgue9AkDs0oJtkUN+jMZON1CtaiuEuHE9dHVPDGxAzBOmFtfby5yc79v/F0IvaRomt58dQHHOHfhC4PfquVDVSThcV0aEL4/U0s9YATg8nXtbILl20eE8mIt6bpjXZ30O4ejlhW4uIJU8ItkbY6PvlasCCTvpt8jN6JNsOt8Op4a89fooiYGvlUxUY7QRCUnfMEq6qQPTqMtR/xz73LDeWHyugIAmBkw4UQbS3DYHBhYDOUBJwoONHAORdjlmxTz7+/xoEXzwf/BBWDuYTcDGLGx/rhdDGl0nCzRqPCIdJcbI6t5dves3EO8UErH6DAfXQt7aF+J/bInal5HFq0XI8DojkKO9zQZxTHnIvpgE7zfP59AeeXrTNmJjjNSEqjnNwK60CbkPxooskwuerDdoW0tKXK9qe8/WS5ima7DqKg+Vq6Pi7zYXHyFixw5A/cr0m80bzSwGOFcB88dq4XBJaI1vo6ZviseofuvS0QFYMXH2gBWNabSdE+M11MtBgiRKfBd6kpu9v3njhZ9PGChvMdWD10lmcwBRUl6up1GKwUV1Ki9xoIHsuF0CRRf03+2Yu6S/SbjnNZcjzc3av6XPapzaTx0laPuw+2OQwAO7URaylXnQ+xqJXyuW3T/rg0kzJDurehbZ1MbX3rg+s2Pwul0pZyMLMkw913lsDVvQIhfaM9oayQETasG7P8g1xGAZ0VWcNkgEsnPaFDIv4eqFjEefWxLfxbTnC9GQJHQgcIYAb0020Hi6cv3qUQoE15gWiXSsIdmtGe3plBtcRdOJbx6C+ZULuN7Mte0+zHALrqz4kB7WoaCu3F0genDak45VktROMSE2yhnOTPic9fnHQKRIwdVoAp4rAsNgWtFgQUEc+ZDc4AhdxvUTLITxun80yoTZGYvUE0W+LAcmeeV8U5dMEjaZqzDDD3uga50eyyf2Ejb5FIqoS31x0goQUDkM/yKyJ12jskyfbk/DIvo9KtPuq0ScdCrDF8Fas2Yjt9wAzHCht7A7XqsRV3DeoltGTwpg7kDn5BRcy3EJFZg/6oFpeq1/vl22AvXvP0fWgAXhNnBSxGMdHcvWRDM0m/gtp9kbcdXqeh5wXpx63vWPllxTEyIvYCc/lnvKEIKCk07HQxjxZTEHWEMhFvZZxi85bUL9hnkGTFNWe1c7FcPpcnNEU6TGWZmUk1t2p1WoHvlS8lZQUKDW0HKSu8OWLusU/3ETeDTJG4Wq1mog4l+dxQ6AGpb1bB6pvwg+yiupU8XpCdWkIkq+vnwldR1xSizpThp4QdJq1YwwRH2w0L3+G7pRE30jlLE0tLmQWeo3CMuVoCBR8zXCMJqeXKMRM6s9TVMzW5Q0XX2/5qIQd4MK9r9z92yJtLMki32bc6APxH+REDHkeDC/qXTmGsmYFC4mJp0fpZnm13Be+aJlQbaPoWs5ssi+2c0i9ilgQimB6yMU+O8CUGncabufkXRzQINpdUgnIp8rcp468pKhKc1DHX4e/JkWvExMAyYCduIAtawTJsH+b+S/Nws8BSSADzASuL2tnsvNw32tWosSq8BQGYYsKuOrkVFz+Y7AAFTHHMn0SzvkgJYdwv1EFFAICWdrvsFyppleEJG5kahQU12sOBwJck1UEWMwll1m5PTxoqkXFK0ccd5TIlGJTQ8zAgNk9X0TANcNS2zC52FB/9S3PREMhORt03WC6iA3J7tZTh4rkm6kIL4PtnrIIHTCwKwarfYBQMki2jg7Zi38t3M5dI6p52fG6tjtSn/NL7DlMvKUq66RmIRAwmKzZ4Yvd1pYbyyadjpcnEYl5yX9v3V5wtXR709InqW8WJUqo3HFCwhGCeF5nNvvxCK1vOhdGBkqLhUwQsuo9NkRrtahL1PNgzS+IStW0RyOnGJiCAI/p3+BnJ9UQPtxr9CEvcZzBInjbphx9++lq3MQdA+QR78xxBTAzeMw6zJpcgC4y3NXyKqLOEZDPqduTJoLTpL7STyoN6t0N4h5g3Gid7/9x56EL1tq/uMwtTspGwG9t8PjugmuYn06jpnQdLsi7DpE5D9+wrowBoY6YI0hB1xKYV9ikMtCewPfXHbpvfIm5xd6MjcgXQ+pT1AXmN9Lwv2BOS1cIsXY9Rjqzp32dAHjaAnlXubDbGq7OflR1ErAHac/sXC/hP3jwruvm02egJfRWOIpy9/osG49cIVGdbMvSCNLXfI2X5DD3dq9Epiw627mhu2TdBNU/tXQ3McxmqXWt0B+LtmQczA2tvamBCj2ZX7cfS0WVKFOxvYq6wNQ2UhxxmPLMSO1QjZaarL0LeZ7zG+03JUuUlTQr4XAE+LorVYmZd3shGXAs2r4i/qp8IwOtMrOeZOe3q+g4f1lCUTMA+ZgABh+VIVUvom3CV+7WLbsj6ely1+vMOKSBewWyQdYgRbGZ2AXuNyg8OYLfGCBmpi2+oK3SXiaRzWoxwn2baYddzWr4Y0LITSx3ttCFdzYb3HwOr+XiOHz+4AdiOU9/l+aI+PkAniXKHWaxd2Hk/2QtF7iubChcdQ83MUb8u0ykyRnpGisFV6y1WK8lf0Jcp2vmirdT4zXQl8mJu7Mqf0mqBDexAm8qyle31TYHebxauN5QPzOxHVF3TbyMWC6M3t50mrfErLP1NYGP6osLbD8KKi1Ulfdnj9funrBGcGBl+qW+LoYTxx+DezwfT+YYgw3oNTqK+DLtLsgoLDvfj2uHQjMLZrDqRucC150Iffhp1nQv1fFdEGGiEgHzaalvSktFiJnwQ1bdz2zQP+caGZQiCZnlwTyi5LDLEl/MC5bPQxucWMmlQVVfe6deAy6H37xCtqi95bbVCE6oLapmj7fX0C+g8iFeXlXCdFPl4FYY99Zl4nti21nCOpiJnvAOtdS5+mNGKkfK8VbnNfuOGfMmyGc3HDoiERQwHOvH3B7lAsI3tlBuXoGB1BEanjdqIcQ7J06w+wfPVkQhjall6Z3+D/bpapmtkYWZ+55ckwjV25MIVUylxjqponsSWvFrVQCEnP95b/1d43M8g1Fn8avtUbA04V87xMRB18DMuPv9holSEwvAyqqFxOhZOPOu96lsYusSEmq405boaLPx7E2g4cgVJwj4H10N2adUb0PJIbIZzlnTKXeoImPZl8gDMWHMFT22WtT65VO2Xj30cKDub+GUGL1GRvwVh+PlpvVjn8zbKxEv+Oc1VNXABnVtgz2gkNzw6TTz2/H6i8v2COeFEFDwKYkTVYeVRJxWM+nMiQDI6aFzWama7B2sCqFd7NpuuGapdFDLEI6cZhScDrP1b9nwYtEcAYjRZgMCWDPbefLaCiW5rXfxhhTj5XXpqC5QTNVc6N3RAblYwSaWT7LlHAJuWQLkN1Zc2oTl6/dEs+tUZlBa7vr2EHSJ8eZdjHESjaFW7CW2NTv3SvEt5PGyO/DlXVIHoFKmfruO48mUV5V+nHRdDUwUpWVGGt/nPdnWpTN5QGdD8B54xeWRqicroyw8/jccJKe/Hdf9NKLnMjYTeHwRn3Mz4inSoqu/NYnX1Fkvi8c9jTuDGLvZl26FWLYh5Wm9tU9WygBoPooKiAq38IuqoAp1CTmtlUv7FPR30GkUQYf3GkK99QIaTeWP0Ky8ltszePtM7dlqrNqKKaeuBvb9IgA1eSVrob/MsbdrTrJ/Wae6mjctDr954D5t/SgIYoGSWZ6i1TfWNR2TB9wN0+lVD615coth5rBw4p435vAA6TRTBoF6ZYEK2uFjmG/otZ3injuDCfl5VLv2WCv/InpsWqcc+GUtfbKgk099SMyARZ2SnlrkX9HFfBf+44TzDnu6XfPA5gKkSgQ5iimroeLAPLoiHKd/KnwHeTfkWdyiFCXRrJA4H1E5DvzP2LKoGuuanJyiIh7jw1EDU6CUr0e1aRkDIPTYRBPPYjLP2kAdIkNCsTEOubRQiWI4g5/50yFjP7SB+/l2qrpGsdfDD+tiUl5plZUud3DXYfagz+2sAPtH6NBcjBdwvVsthC9+dGC7sdAYuUGAenahs8eYCcTbZHYj8FbS33KD9y5Z2UGAppjV/7rwTg+Iut/1kGt/+viJzXlrSSc++ViMC8Y4pqAUNbCSxBBuASKHj0EmuUIIj7IF/lTLabB6653BYQ3soYdRVgz70GrvKS3BM45i9gTLyl9q/VrYtP1C8nVUNBfhgRtl97rpIq3ECxXvHhOxuJq4zHXFJS8eA5mKU2H43Eo5iIkz4dhrcXiM9WO3rK1RsN/YrUekEA5wjXkPc38pWgJ5TjQhUwLvJQq4OIQWyDXTnXLX3W60TOTxk1WiZ9UxzDv3w9rw0xTCcgyF9JjCmvAl9ySil74mvOCsWV2MhOhy+fmdQbHeqj0+52/Moj6JlldKuVAzDKYFU2FB1UjhIP0DUcPJ/X1PnNfXb2qPy2E/Gv7my6AdbfdtQ6hXPo/CTmLwg8dC7nm8UD9FXXRnY5b2DReeE5loEiNT0Nx+vTVHyNXDoMqPB5B7YAys8Y2CyCPPr0/+0bxK6vEF9HKTVyJNtAptV95NgelsfFqDa5RnoJxlDHFKkrxjIUukS9GAQrpxqpPnFJSIpYNigJoaDdpJJV2JvG004Qsrbnlu9z0ezYCejhu5lac1PtcIPKO295kNtCbttqfGs+mVX4Z6cexWr8T3oukvP7nTucgirG2k6IM7Pf081edtVTrszt69QIaE6znbIEXC5cF6kl6B8lvMJJeUS0I1Lg5iyckPBrPnKy9EGl0TrovxMUlR/5f961ijSru9XeD1dT3vK7lCPQBtksmHILH7llvt3ZhBbS9x8VCBkl6zofJpRZKfK4vmp9FsIeVcdHby4XzzA8kkyqDUuauRqrdvI06TRFy0DFfrdDSupfI7EtKWQfEBuVMplRMFJGAlQg7ml+uDZT8eRJGe981q3SO6K0eTB2q3cXGJdVB6OYIRTVKJes4Luh8dwAtMsTrWPliHYUus6E4bRTUjFQo+VUIkVjo3EKPEtFyB1zs4SQv8vzdsoJGjR5KZW7gwWinIqnCWx30Q4wbTNzRG6i9xBI7MUEpYc9AS8WCY1h3Xk/CuwA66FQuHkfsg5tYqQ+awTkxP/IrWj3w+cGz1zoIW0H9vrDkm1yJvS2i/736raqxSaTS9sWyP85MKYUl6qObU6gYbRxlLUpmgvhJn0vC9rSoZ5aIPEo85oVd8I9Q5plX0XU4lHLqI8M69+xzh92HeBWtrGiXAxjbB+Ozws+hsb1BpS6yuLgBsXJusgvG2PeN+pug0SyhwOZoWmKyuuEPpXlTpsSfE0kRnMkzKaVhG3vjUVaGr/C7HM3SlzVxaxwhq0HUUzOWISh2eagyl19WJDAUp/PJtPR8+FqCwPhBqyJs5KdMcKSYiqbNaXn13vr+r0SCXkhTWpjxZ0SPIVTNL82ynRVR9ASdUKmgd72L0mGB/RQO0zj/nuL9luwE72BxpIMnEe0VL6jAZruoNzA06OYWj96wdvYwrxcP/4e7Z7aNy3zYMccCrVvcGbNxm+WFnO+cIokepS0m92DVPnUQZMYubcx/SrUVthb4cEtfYgd2B9axCPZcNZ8OAxp+bNIK40HiSsGnENs0o5YsbAXVQtN8vtS6QbRCHpwKTYdjhaPm2U+uVREfPOHEb+V9J2ZpF8oaBBjlDpmaef1Din75fsUQZ+LBVipNli00bIyb9ZzkGjZkLMw+1a3MQZmAE5S5A5GmIPSZ5bCQGPmmfep4vHKkNxulg9ebNic8nN1f2hEHqZJiqN6AhsBd1TYOx6Of/USE1SJfaq6mPC9TmUf5NrvRVYAfTseBJPUVv2g1vnJ2QGaRVNWM7uLjK98XzDsUAIegJN89FWNUywCS4sTItvRf2CyFyrm/apkEzm4t714dKtg7JhlQAy6hnIjc6aP00UfsuJWkLn3mDm/E1VPmfzRxhZK+XCs1DAP9BxowfRFphfHexm+5NfqAodDb5ESOgof5QhvWDQ0+7ozBLs043GDQwnLtS6bXL06HTjLEzw0NIOIgggXE16OQUHmYbkZM20f7LAd5tCgleQi+SmowyTGyrmBsU+bj+dlAPiuTBd8w3UimBQ1nLrL6Gqd1ImyOybrxbKUXj4MhmG5Q0hJI+sv0vQ7Tq0JmeCLlDrcQlMfupunzF4Wg1sBmwfhR4VkQyjWQdZvmjhaEjaZyNZp0lsKXx98AlQwS0/wkC/hYmveYJKldjASOzBrFONk/7KYeUhoGTuv04sMQUaTsw359hpnOojXc5TO5EMuQwQxGhyn+fQGnu1Pmy9N0S5r98R2CYXK1L4QV/eM9JiW7vWXmfS8mPic+ELlnaeyB1lJ1Y3xseggb0Yfc+piQZQ4Z8k2/vMK6uXmiRIDWCzh2attBkWkOnwZpb8m8bUSOzNcNEMKUyuhlyT4gZJnTFtbeCMGKrnnfkHyzcqJ36mmVra4Jf/u1fNi6fya/ODfnwiAvnaP5GBUiGxbhHvhgzR+2iAkhvW4+/gm1rHALDk30VQqDYtN59p2Fd3zZKVbFEWOxZqjJeZpVJBL17v1KiRldsb4RRFrd1fXoYiKAZ/xqfJF+A57juElhTmCsHRBBBoP2FWtPm+2kuhHsUE4C9Zgg+/OhhecYy/7tvxAkrxwbQ9CN3OU7fENbssDpMmUiwu2+NKc4NfR736Rlth9sd0u7IZlgHooF5TJrsVMq+obS+Zfjx3jChtA+uKhzPDBNlQ6JAPn+ezhXSowSORK3Jg1B5cgvCv9Nh8YTc0v68uNSy2wmhQwYSb+ElQ/ZZUnT5CGKxOPmS3A4jevrbPcu7YJPkAAu+qjpenhCNmxcmtvknplJDiuVecVVgw9I00egktQbCK9EavllgsmyopaQ1Aj0Nqo4FxkY0D5c2Ob6YAqR6gMFWfHBx1ZTEbhdT7fP5Vjb8RerYakEHyrs07x3LhmE/i5WIs+00Hhl8Lpk3gCtAqVmUHtZaHzo0Ov2hTtUHfTDj9edYvNhET7BQhbCkwqcvfcdmh+aiqU7iDJyrPzXk1VnRwh13UItxs9P/gD6eB9zU4pEGFKFU02a4/T3zqaHr9mT1u0LkdUe4M/sPkrZ1S5h01VlNqdtFaqGf6HP1dcx6wNjdDKBRFNRH1w27C+p3H3HJ/Wbj4Sk3TlazMprdEowDzQts3O6/XGGDlSB5/8XS5geRVV1E2n8Y/Bddr1jfO2nyYqIJ8l4653Ygwt9IQGP2AWOOBl0DuWIAtYm3z28gk7H6BgBipM8ttW0p6LcydUtwT21t+hefbMmH1vertjXVDAt6LjlwisFzQ5oC8+6vV2uGbDrwKoO562gVlsrOxDJUfr2arKZlOaVTKrb3tTQHBj9917iaOmNQiNwTieHAFmUQTyZtDDd3nuRzS086Ikds+0UUF6fMXg15LGJmwXKTCBR+PP7Y95ObJz49uvqzCIaVY/M6VguAonyOJgZve+EnxbvGX7I7wLChLGY+XbZwAZLipfPYL9hA746Y9KT3VTxNUg/oeJSVE/bTR6e2cwd8f/U/oPDxHakb6RFzjriKRAaHgGAliYn89tp8tx5weBuYTeAqXFCprPAAe5P/Hcww5iFsKpMN0FRid3R9HZFr/hoiP4VOMIF/7NJEuQ0AcxYn8JEdrqqJU2E38k3KI8zHFDbZpyY2cVhDLIOtQndQ+5V4jz/jOIUBdeDQjRFevI4tPAlRZjGDFmxWoAqBHyq3UUVT6RfHOxu61sgsPEdbaaR4eKvI+Ph6YcEsJtZ6sYFWZbHgAMb/Zsl0tOi0zuvpX1FXtucybeGgsLLVdmRwFJKSVyMhKj1cAyxykV6ucEPh9O1OzVArSoUOJ+Jf23ZzykRFdV2MLmeI93jkZ57t9nBc60ckTr8NXwmuce0R9wQJ49osZVcq1GH5gOPVu5ueojUa0ygklGvJp/65KDXgLDZGqfZgf+vUnkDaGVB7NaH8kWuWxUSzy1TFIeJzLuAR10G32jd2pwJuT01ihz6x0V7Wdm+ZEOrF0vYlhCXVpqyHZX1rRwtUvxHMSsA4WgL0OWS7a5xBgBXceiXzUxj8LSJQHzH+BtrQFlTxIOszkuC08gaRdAap8vQ/Rd/vkNfOhphhyavtecoj8w7eCJGfCsgTBpx11KTcAyKLE8VDUQlLMhJKvsQAECY7o8On2RpD8mOCx34Is+OAV0LHndnXg3MJURzqkK892a/8D+vbooF6s/cXx3c17RXDJauKDJuuzj8kLTCkVZs8RKPTXaO3T9656Scuh45pfnwTRPKKzABPDAyhl3nP6LxJkNk4xkF046wTKykQR6pV2rttUM2T1G8vrrmasWmEdscCoXrccpbx5GcgKRA64tvRGtGu514eFYueYJkIliS2zbYG7vjKSeW0HV8RtUv85jrRbTdwXD2vRLpziqxz6p5Ku8sGPuvlVgZ06OTdkT76a3743rUs+UTh7yNb1TQ6FA0DUCQK3hxRonIHhsjJlGCOiLbNwM/tCF/QPUFgyeupCcJ6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TAGS" val="1"/>
  <p:tag name="MEKKOXML1" val="4HooU0THZk28POP9trq+pbTvvzd/gcV8t56cq85kb3NDTsUhojRA0EsgEHHMH7oYP1SYpn09ysXVivguJdhTvfyVMsBLTGvcX7WPTor/CmWiWcfk2RmY+GE6Q6T90sFUcid7dQ+Kub8ulUpaRu+ZvkeQKYThSehVAux+2Z6ekEhlACpPBIDl4idFwS+LkSsn2aCAhAzE7txIQZBtXYAPdDOlkIzHanGiRji3OnqMlu0vTb6pQS0Ql8VqEqDL8dlM6DYLfMBLbD5jGVMWQFBfVVvP26XGrMkkUhOvDZOKFsJaUQnmmUUL3yQqu+MO+Ysyp5mTwX6m5oFYKMLMuHdHCrAwRT+mNfE5UyfTYISoA0BQdwYZ0oe1kINApzc1vidfQodMYcCEO9jg4wmmiZbDcvNSa2KCI0GbH72oaCpIRwSsXxUAYL/Hc90jI+dZVDTwXPIpK2CEPqf33dh14L3Ut6gUhpKGZJcaV3hUOeJqclfsLnd/h6SjqcEsdi0LACtaxdC6GG76pTdyGYNZXlJYlwWoQ5cVHdRiwUs3b615IsjXcPZVNFHtYnXEbAqxqX8bLCsLBVrYTHBRY2jsegWi/+ydXpp62AgSxUbQlAnnCiDZ7WdndiLmWHDXyy9a+BbjoJomCIR4d+atEnRmIBwgN85A1s/eLNSQC+P7BziSFapTy9CDuJ3NWVwiXz0ANUzeH/VoJqPHZ76vvRmAoHWKSB1m3ZxiGIsPR/JmTtaGenwdyAPAlJUEy6Q0g9h2tY3ggkzDAHWqHty4vIJ8PSHnTxOd3GTCQh8UGCEl1CkqBuJo0pDeKD1yxWecVfug/CqBxyudWLw4Psn7rlmIg6LAdMUVSdmXQU5hEa6OccFhtnUQXjwJdhF9IeKwt82QCacnIRKrLoSkk7iSbGh7GDw/HSpyzwFuPJxpXlZVuLp+hVR8d2+hbpyVJIBEeC85c1LItnplmNeVmLZ0SVkL3+XSsBtWJ4gFKcFnMH1AXevh05ugrGALsxvTjCgasdzpC5rLRcwKNV9Myk9dACdG5OcpnD+Vdpr4bByu+aEEgbdZh+0wDAjeArzwDLCoY6/kz4E3yPaviql7Rt/33nKMWwO9Itdlk4Z2Vrt1Irlw+q74PQC2GafM5Ph0A+UuQdFNIltKXWBZ+hiiB5adynckMNHy8OJcvc6jXatoaM8VffEw7g7MzFp7hf/0Or2ZgvVDWwOsSvdfx4a3EgQuQYmrQtuaZhW+VqTc+yBSYtFTrCH42cZeHNAaKQndA7Hjzkc3F9ml818iU9VgcFwjZG9yPO/A+msX96E0Ia9XTO/Tajye8jGdgn7Q3fKu+4mZf96K6bZ7q0X3Dj5xKP78SfId02W7ujxdhS7beByCSe9UTZzFjm1GGGLaFdOVYfAyERbs0QpCYc0T1F9qXnCW9kMS2uXFnBn6KD5bAXxozvDbKa4lYHCBlYJf0XMISGLwDLjqpyb4AgLw/bqpEHl5og1swyPViJyg4FO+FbqLcB1ekLutTfLL8MJ5kIp8df20XvUOoEFTrl5vZlDIuu5dsRrrBLxuV1E2MF/IdEkJI5hzwQESJocEh2DQnCvOJcKwU8On7DhjIlTRVG4Cg/eG/T7/a5HxBePN/qzSPPXtCUkEoBoA8Jk8ecd3gpYLTEd7nYM5ZPR73aOxDuiVru2IXVvWJ49fEW84qo5i4nbWC3bvSNFdMfmO+u6EYD5OBlxC518+Bzjv/fkY+jv5rd1omcl7Z0vng/7wJEv9y8Vv187hzPtmL8449AtvMIX9aJ2muakgs05/6TcM8grZfKZ/h9yY9ocqZG/fXwFBnDAZhaxIi/HCzCHOeeesC1m4SwJsPnPQyAJ2k+hZpS72aAFeTr/27wMrGuM/1wB4SOP8vfEEEgxs47K3dq3aFPL053PzMUwbMhuf59jxvuh6F4wEGBvY9vxQ3yskDFM7M4a29lXbHgsVuPS7j5brPA/k7dz9JFTwWuDf0W/qC7c6spIhYRbHuQsN3V/baZHbtmEzelZb9+OasffUqPO24vINAUMZPo6NrzC8799d1pkWcCAw5lVVYLKr1ZzaMkf7EZ7n49PeEnoZzSuTDJ5ip78xbnEQPrnYY9rtstBTumoyN1HSwwDAzIRNxKa6zd54wzbjpDIDyGQAVfv0CXPwlT5CrvK5cUHQAbQvVQOQYoBFtozk/a6/Nvyjtz0dAImCe1y2H4cXtwEeN59G4coZ2pFTMOJSwYUWEv+EF34afoFlSoB6OK92jwKacosuo2iW9XBnIznRn4nEiC6bVNdLmj4EaNbV3Bwl6RQugrVCluKcbM9WJKhAEu/XVPpwOAjFYuasZLSJ/RVCQ9PaFRd2dQbCe9nZ1BbfHMvSRFblZZH8Rz0poccdo2b0aG1RQrMz2aq07E5znMmqzQ4m+f7q8hx2BXSdyPqTXhLHVd/8go04O3aSDRUN0SXpH8RGauhb9UfGkKq1UwnEjX97ATZYARf/RYZ7/zVZ2wiNTJrL7vmIzz3uSq8j6NNmMkMDTE784lCg8hHCxOC9q3CVGy6AVLARuciC7jw4jGFacdW/P7xleedZgk7TfDm/Nwm7aGhqDm1VyALjPmbDBPqrDYLuIMHVTyH61/hIwVPm04vWjwt6zdS0bF0ZDIJGAC8lhEyw1/gGMRBC07jX8qytRsd4uOdVJYDMXWAXU5cUR1kqtn5bJel53ILqzTkiC2gk8rToAsSxFRGC3cie8jR3Fo0kxNNKpKU9tIeI6q9RkQloiBbg7jQrVXbHqJcAXBmRUdz6xeTCeTS2t32vqDfijIWH4/0jikI4l44apXTv+woiXtbFB+9qhH3+Q0sfjPBI2FRjulMmov/q8nh2WIx+uvzm5ASqbWFHfvQw/EjI75NCQUHBFFhsEPaXcavBhqoI+ihkkG3k2VaK3WS+Do3o9s4A/haATVRt3vTXyOEYl3NHzECSpnkiCbm790pFN4MWfIxeQZNHYDjYMc69en4y5SXiEysIKIyYtpNh/iq3gyjKywrcZyZIAVbEOMOLa6GM3aTxajz7EKBVb0VbxJ+SN1NtoGT6nsTxooUOKPqqSPn7jcNaYCFqka5KoiHJnrgqyDh2j7ob1FljA10NTnGRY5gF5oh1YzNGcMzZul5IQwru8FXbjy/BcOSp5FQ0q5WbJdoxTedPVcBnpIRhh4650SJMvbP05D5lyww6n1E6zJyF81Agz4s0Or/Dp6NsfSySVJ9TAE1crxQ+NxMz0MLv8V83VzKeQxbyIeo5cPjyDw0WtHmzdVmWoRcmwpu0TDzfv9XSgS4jOzj768QlUtA+f9SB11OR+B0L9qGQhQBPecrwGY7q5FvIm90PRQ1fP/W3uysCu2kylIHuEJRYfmITkpTzXcrHaP6chTYQfUEJQ4gFauyo+01iWtnF+sBnxqZQFTLrZtyV5m9LQX4zUZC/+xo6Sr57BfTpmZGqKQesPg/f6ojDVWIFFQEmrz8TsiTdWLYv6oQb3yIDwYfxcSCdXJ/ehKQkbHlG5nVfn5eoWTGAcf3JrzPAT4Q6VgyjB5pQyIZJmko02/P7X8OLXZBqvp5Adq8KYroJmrs60XcobLZ/X2dlKHYCD9qK/dvlD4MiOp/11oJ0KX64zIeEYXNwcOMOI41NqbXahabhDsUMDryrIsXpBUd/bA3D7Cq97ll1HM8flbL6ARrDOKA1gZ33zDnGPXgpsJOkJHQxxGN16tYGpb5WFt3jKAi3RjFHVTjw7hbdPZLjHYmExfOcOTm3jzoiyLwxJxue2yWv0emDjc56CmhOd7DRpl+AVt9sx4ZT3IpbZONafjHlaRYkAXJakIdTjZDZCQjsns+Ji6SFF0GodSiNYiySl8W4IIk+3AkfXQ5xvXuxOqle/eayW2+W9LioAzo7pZcyUol8zZW1B+gKPOlb0WYBAPH1T7APvvM1TblA6BjwZA2TuaW391P3sg9vrLLOmbf92lPX5a8NYdgpn4GOoqWbbMP4jGlIcaBNiiq4z/wSeDHj/5H4PEburwFcJv2oQx/AV1+hKCMDPx4d3ykfT2aRcYa9Va4Rg+RtYlRAISrIJGFfM9x0APFiPxzFZT0O6ta2J9Z2pX7ZUkfmYhmWmbo4cmtHIC6v2PD9IWlII+DyQj0zU3w8GsSX8b7JvZMDLWQDAU9Qh55qbWLopiQi9TXpK9yW+7kmX9hvYJPexTNZX36e3ocdnggeSu59jv7kmBJGZB7q6PxXN5bbOYLFXb/HfGiy8q0lQkmuN3Gvu0SJMmh00oRox5oBP2NmqtGJZxjmTeNwPVOSDOK74FCy54XSMhnL/3e1/VS2s/Qcm4ZzwP8mRZfZkAXeOz0dXN6cDF5b4bMBoKNns5Wiwp6AKVuAdaJ1WQ/l2S2NtjJslwqRC1zht2xiA6bgD/yAlAL52KaRjI0nQafSkFvUtZD6P8AdGMXCLbQfBxQSs8JqiuosNZc8uiz90AQrXb3oPVOabw5ec34k6xdQ8SfcVANhR0eSl7H277QbbVMhnlgrHdmw0EEJh91sIX81zdPDNOmKeiBJU5wtrUYjL7wRK/vyrvyk0OakpaLoSIP6X+OCMbnHLeA7vt/FKtvajPHnT6VkTb2aW1P/Elmw9OwcbjHXSVLOUOt0jlmTB8fNyeclDkfXPrWn/Ke3+dheVAJOB76BgnGqrdDj3ug/njA0ghpkqLDn3TOvOCd0oRAEiaHUaiBOK3XC8zK9106tSwS+ROKFoe3a/SaZQ1plHNQGB+P9ldOsKz14UVuMOW2OnZvnh/Su0A4zM17EvMRtAqG88BRsCvBnP05Zu/CI168lTgVHRufC2OgHdnjorrxSV9zR+/x0eSJs0lqiamfxUwg5W0EfqUiZu+E9i5YgaEt74+5/8+b5dzcMsEVyKcOh4XBVI6C5urEpjrXKUZ1gfbQqRHiMrPF5dxKS1KNm1XdpfSnG3wlwUQbyYaFtLjFqHWG3AzHacSedJiCITz8gmyo53qBxOMNn4KN9vzBD2quw46ecUtTPa3PtjsJ6xkgEz9JEuI7hQX3UpNlHFowioHKPZPxE2isauxj+jwh3pZZNDUQW185Efwvwi4fLCDKM098HW3QN/XcotOKDBGiaqUZ+hBOnVKyc/sd9YCoRu6W+nxfIz8l7lIbXx3RfmOH9sZSEduCjmEDJaZ4NDSlYNetlSKi2XHdQigFcqOc2vFxIMd4JQLCsgj2ASbZ8HxdBtvfONhBtj8OmPQOEHJ9eKcOsj33bfDf2+8lnyUYtuVox77rAf2eqBh6IVTrFFWZ+11ujxrcMO60NLilgrEpSW/PFznDBaN4t4OJA5HAFtBRI1UhTFR1+tO5p4eLsPuSHD5+m/K7LixCw6LQeaZEFUQv/QxJjAqOFMEdibCTTfFy/uQT1AU7a0jY2FHwJQTGy4++8SpbVUMVjw1vV7rW/5HAHjDHQa7lg0HSp4Xn/EPECuCp31A+Zgk1LJPgZ2sSSwe6kFVdU+v8/JfiC/eDEFS6goAfJSPJuM9IwwhjwTuyXCXFUo3cYlNrP/uf4a6/n2WjYlTR5tZTUp4xjEjNCynZfXqsbKqXMas2sHLROOly9GwpjA3JnzrRbkAcdKdhKJFDIyJGiwJkjfinXRsdnq9aZv2l5lPK6YRDWpph/ZxhwEnt2yjW55elswZmsAtVUx/BxmqOBtei5Hy7oLBFEWIoEziJfRckzDWpK89aqKE09k6DU6n+2lusSoBwzN0S69ZEqaEkTeSyzFvTNQo6JYGLdf7qw0eIcCIDiTa8kPbyKzppb6f+SHFxv2C2/5dsy9ecodprEl7/p+B5/YSAyFWbjM3jejojuVXrCYxiOYNNlKQLHxoPkWCyuSZMpwZLTbdy9hj5vnTWuEkvsNoeEITqRaHxby18qEdZRyjuGG5FTUH3zYso7keRXFWKr9nm7OtgIXwSPlr9yPWenF/hFDcqCsulPzFbbZGZUOEJR/5MXgWF23xThcO3hnaIAnABL64uan+V40R6s43ypYbe0fjAqud1RwgHh0FLncSanRM+xByELOJl1DuqialWJ4Ew/X/9hVrSvh4u3z1SI8dr/CvbGU1ZVrBplmMIwVq2WrkHz2vqx3TJyBYYBF+kbVcRBSuiObjk5IsulyHrk6TzkyY3zkT6dWLPlN+v/YHRFE/3wbFir4R1vTREh5teJuL7gzzGVl3tMRswWt1mww2AMHwI9zR1uR0cRfx8K2xDc0fbnKhQvJnMuyNM+lHDb+JdaQdj/S5OrVF3PkI+lndoIfpETr+HLRu4u4cY7SGX8lvfYxfPNEU3e8gBafhUKdW+bGNouTY4uMKuOb7q0hnjPZXZfhr3IOHUJZcbgKl/s6NOp4FSz8fgdXi+1rs+2UlWf1cXjUPpCRf6ywV85zBCT433fCqh8DB/qboLlB0+L29Z+96CmbrJFqs8tSM7AinxaqSWhf+JlOTjOtxYbC+hm+w2bD3aIl+RodRK5BeAMTlx+2z6SFEPK2zBO7CK/awV/RMPF/KWbsKsBf1/jdGNJ08LfU4hN5e77lOn8CsFOg+45hKyz75tKOyb9VElKGm7J5V2FRY1ymroKf3vgO3bYjliieSk+4zowIn0J0ArMmmuh2VuyDIc4DkFDq/H2FXT8xcVNwHWkV250H5RwwobFOI7BGfctWiN73J1920EZvSGbU97hokVDZD243aoF13DakkQUHBhV6vM2pBYw3rfMu4i+UdGRYTlpe2LDc+4y0JruVi8+Pby46ySI++LUF9VSiPGSgXWEOt08LxD7A3xJSGeL0cpQ95F9efDxSNbC9SuhbFabKw5orboZCZO+iGrUCZopmRQ/z61Y/KHFeMedmC1JUU1ngwL+/EpFL05cDSLhPjNlfeocXq28ntpeF2IpOkBopar+YErnMt9ziRWxhwRHRga/LKkv03yJmkqnjdx8rL/OzrP1yjy3ELIuXGFwAjNTEYCc6r7swbd4jGo6Hwcu6Z71D3xB+V670+gIjhWe9381xMv1N4M44oKUjtZbmJyjO6oJBeRZTWX4lzlmAORBD65Of+x2cZxWCPIyo+xMWUHNG3Tm5XQ1pqjuBT/OUL1USXcpmf0Gw/SmA2wiUA1+LDz1lLj77gfU7P640vs3Rx2a2CMD06MFqmVrcdGDDPkppzHNLlcoCmCIFv5ORmYiClS8l5LmniROffVxTEEgD7ozl154fEN5ROAwuF2N6Wk6E/RDpsT0Mw9Vbzu4rc0YAFzyWinKL2ghFksEuTh1fiw8Z0s0QeXxcWf0pO8/gei75tSsqSb2nFlyYhaB059Z3qmwlhqXDb0zX+MnchTqX13Lxlrw2wcfn0h4szR/XQI8ue7KQix2a4dyGN9asuG3qCdbN6Rbl/op8MFCHlLKD6TeBGd3uxs2z68bPYXeerZaeC8YXfVI8ERkK+Gp4akSHOIGWfdzK6Fo2hd1KG52AYUo2DsrhDFUanBP3nimMgB0qsAYqp6ajoRxK5AQY18C6B2O9QHjmyofnycyGu5EcHo6XbMdUeb1GkMcU69eGKqNyhjiG3emdrT5nKeWaNHxNymg3a8J06Bv5rhNdOlyQerUsOXS1eJK4G7L/JtNIoFAvSt6SaQdNjcLIs/HxsOBj44IRh5ckxMFlZM8ivyE6FyGuMPIDYj5PfLN3qcmhijGnZvOWPUA5UPq+IoJZr/XWjOfUOh6W2hU/YAlW32OBdgJ5nyLjnaHMgahLNp6fc5jh3l90cBfLwbFh4+OoRN0P+4AEBshKWk4Pl9tt6zZmYerui8RIBxQBl+EjKzSfpB7HRBibehmVQ9aY3OTxP6agx3SzE2/aH8UCbBfpY7oXhM8vcHBKhNBFHvoQoeUtwrqPlYXZVdxsv4wzeUPkizlCplVfzajnco8gSuUgur78qwt/4oOKgqFGRsFLvloL5sYt1Xf8rLXizNGSwBPn8UZiSJmphCPFw8pR0vet0rBuqUjFE1txBX3gTT4oZ4xKPW5rMXsU+aSo9E8HceY4t2vswAl8OkXZZ0yG9gzP/BHGPAY9XSmP+lTsXNBbrULDF3O8u2Xoy8PXzpGDawEyrPDmY2BexJXlZvsTToHGr/QVD4xphYWHUsB5CLdooHD7s0av+/j3f0W+a6x5BzvW/WztKKozL/zlxi238DIaUBgnDnLB7KgnIjanLNYn4U7u+vHLcpudDY01gIT+XYjOORwPnWSX9gfZ68/RuGaOraAosGqVIkVaWYY+DqJZmmUjNM7fmQKBvfphFuBUxB7sWvClhHswOE1BhJDK6IB4heCVYaR7HzXHiL78l9vTzAhNhVFXHV5SuwB/4bLbUS5p47+gw+4JWWPcgWMS8RpbuLNle3pQvJefUuWb67abpwv9S5dGHzYaGaUG4kWMtTfDpW5MWm9aexnjymxem8enwV9om2rNr7J9pYYcwcdfL4bQw5TLr6hKbRstDTFX7pGKqNpi17fsgaYq0U0hyC73kOy+yct2v5eUqeXFYStbPA7W//Vms5L7d6c6sRXepXNXZEnNllslHavu1gQh/AsuCGerJ+1zkv/KMzgUuBCtlOTCFsoTQQS08DkHJ/uCtpwQdHNNJS6/MgRl/JjbUYk9hXK9vGERDfuKg1W2Zu2FTwDIyLUjejQBrY99n87IMiPDCj32aCtgTkNO8Yf8jJk4m2QSitq0baNBvjnNiCQgsFt4h5QTjxqA2AjkOBnjsP+carCeql1CBbTccgArcdgPMwg7LvU89mMfadqcn9JUqKQzw/7j0j9zvAgHkE2HxZGZjjs4CaqwH8KXLU8Uln+ffmZNtGFf9SOymNcW7afZ/Hxf1Xyd7Ijr+EC7wa7zzwegWmaz7Nt7HOZ3Pi949jFzrn/ikIKeJK1CeTqN9xnIwLtbGOHfgdbRrY85SMwN7USbcTKjbE+tJU5bI2G0faFtCSzLqkk8Ztp7DqzxfANP27ILLdOaYlKUH7kgX0HHJmTuo2z8Kx1KYpQT55K/BAH0tXv5eygubmdQZEjKEosF+8nHmCZ3g0HCB+Qm6eo8H+9b6oDBg0DarotWDHxWb/qe/8yjWZ4jjTyrkbY7uYFZ8a+5klq2Yi4koOoYDcOTzeNMdIjOdYbfDu5DVQtCqKBK1yhFYkThRteSW0pxdvMgccB5SCUec67wiGc9a4KNyWKioQQzurCG24C7LG5yYdiKGquLJSNCoptetD1GU27ix61v5FQTMafu8VQvHbDl9a9gI5TBH1fOAZ3Vpp+j7UwoPmuwqPl4Mgx4dzKH6JKzbagFcT+vUbarzzpu2poPio4TVxb3z0jXMG2SoaueokTnfpz9vty5YXH997mZhilH3ulOxe/wvZ2LE0CL+jD3p9qW0cTIBc7uyO1OgRyJnH22f9rX7EHCAXKVa8gpWsvu+PX5JUXDCQpK9cPO16L78i+J98iI/nH19cdEU+fZ3dAdDmfD6I6qisBjW+rdNHngeh5sEhSm4yG035uQZTMwl8s45eF5qyfoGuDmiuAwkOh87eLnLn3aS/ONnMmEFyiYREN3EFz5+zfeZKEwj8tjUmXGQvpARiS7SA3c58n8WRMJs9FInKXVsS2mlQXkwBF1aVXslTKkxyRdx9NVjwxqDI9gZS8AVHlg/5r1H/Z1RRUqAlEOYmTaB/ZJqo9popQcEgeaOCOYdjn9V496TzrgenrVuWFeqP2RMWx23HGIwTJFfBjFzO4plSeI7UxNKFjl7Rd9omunruOU/2VvcijPcQ2IMTgNLTAQJ9DIT2NFW83njxMrmfd13IfWEjXbenPr6caHUC5PLVx0ohSkepgQG5V+TlgMCtsdvj0ytYHnNwZRXX0kYUA39hyE5rQH9sgihy9EscLVuaeJ6NPwJyb+lIkNIb2UkOBWhn7EeaBK86S0xBKckU8sTKlFVYjkMveKx0RaG1ihOR5qTnyXzS3froXq1AuLNQ9ybtRWicn4Oi6mnXGKXznFuQyD8jE9I9i1DXrVyuKnEi6IqmjuwaOB+GLrmsa6MzcHbdsr3jSLEOkmR7Gl1iLVZJ57ccMOnIbbXpJYPLP9C4/DLBF2M2qJVcMrrPnma/j+n0QGj5YzHDxWQBgLiITS/qhMvjLPrBMH8Lq6eNfRpij9ULaK+ELBZaiZD8yYGn3qXJDZkZ3YqKL3p72O0PU0G6Cm3wXcai38a+0SadOroUipObv8xhg5q2q1pfMFugnXeBp1O/axLn16qjoB78YaE1pnsDcLywNdb2oIksddH4J2oQPrPXPvvAKI/q6g9lda2kDUtNtwbB2814+gizEL/5fUpOdy02txlmcZddoIzLsNVvtO4loUa83xyQ9lhP6ChTWRFnOUOkRx4ecwYSuDw2fo2v3lt1IcCemejBsGR+WMsGAQOiEdR6NE3/BFVMcVkGfRqvJuoXiXzmomwSj6kB1XkO/6DYISCojKp8eae+DHoPkBIj/4xaql23To3wp0e9H291N/2kXm/+FZCHs1mlrL53fU2AFjqH6nHNniWaGHQba9czebMb13vH6a5wBa5fmDJEhVMcIOJEDv2eZ6XcbWg2Mvx/6cgECnYhFdkPM9xUgOMQNq5aJpm9wZhN/ZG4hWG5Y4FmJiO79pvvpx9p8YJN2YPvHZkvhU5k7abnuoS3wEryTralaK+QfByUFqRb/EGUPSKCQHL4Igc61avQRuRtECYOzJsG+mkg8T03AVnJlHLklV7QRPNSHWZgZ8eJmoCuhLVrE1fJ9950O6YHasdrGs/511TZ0faBe015CO08DeOZz4cblr37HhhaLUz1MHfHzIFwDLdRgBH4JRePUwPhK4WusUqeCjUT2RKtAKlw0vPOURjddLQIbwW7WicuTypVhvcm7WZ5I9K34Qk5NC1F1dK9Yoorvnw+up1Q9ea2lDbalf4WCd9/eaL52mWmHt55D8Ud3E/8X8J1kdqNr+KCRfUVxZQG7vdkKM2V5JxA5VobE5RUoN5tHQvJ04rT7SIzgX0Ujl6+wFFOOkF+HeomrQrYcmrs+k0ttUSgjLp0rbOmBmP4zpHMDo5hUGnSyv9aA/2VsOwHxi0TFm8KxWNLCpgG8fn23/NZP38cCZ17de+aWHAoQdhtwH29LLe9f8ytLp3OMBZJSInZN7i4T4oN0MXme2EYmM8x7UMDBh3ZBrezWe9EMWfNU3NyRrqNuIi2UkREPulLESGgCoXLY4x+0DXP/mnVN0R70AjWoVqKXknUPLzCtGXuRfB31vlXZj8F7YoFZVXqyAQ21sXzmNnFn6qoZrGa8g3qn54OBeUsQRh69qdW4+6XzxTa5KOJcPWIImOqB63FZtjxHYKKqX9JyZanAcdDApNc8m667Ozo2l8DCCc/2vBXTj33aF5fSW34FB9v8pSRi06EVUPY3ppSxsfmn7ei9mpb3/AvCx1QHAU1hNdy7ddM2BmwZx2Re43/u2IEfnmYpyhDt2tci/rmYGtUBoe8cUAVG03ZgDO8JEMwd3Rn0e7Ads30+/71pDEi/19omjBIKvPRstGupqnOdKZd/Y8/ew+DOUvb19OHHCCnU3npfZl5WmjCUGYMjnvf9XdOL5jdLZa04A9B1ourKOPtx7Y7rju5WJPWdvvxEwWpAHj+2jnhvqfCGEyWWX95Fb3l1ZONmSRiKtmK4PRpJpVS8uzka6jvkqwajKUC0zUcEuNjoAEVdHuUH6yuXhzfOaHXdGOCUoGlwp46ikaRBzEGwW2lkgk3I1z+0eip6AgpU4Dp3Kv5cMRcTJ1zw0HEogUNsD/DgVfyM8k3tIqOzA+IEvRkWFcnOOIHDoT4HvSZYrHeO6hty49fu+g+laqI3yD6US5n1o/4WCgpcV4VbHMJJ4InjFN7Q+9VdRpIhrflKlDF/QIbQ8RG53ccucsci9vNmeActGhkICDKrZvmDN/oZWtGaS2T5nJVsiOo4awpmoUP1ZGKg6zAD/Opu7wmww84C310RcUWipZhVjbHv0HLzpxjeWnbGprVOJ1nydPOkkacK1OS3UsMyHRjqr7T1Cv3floY0Os0CJ4y9EIplTA8IhUDLh9AdmWZvPKyzAld1pGqbaAaOON5Pa51DtdQoXPSG1f4ZJ/vUEoFmUGFcGh0p+bS/lWT92/rPbeIe6Na+xKA3k/VTtkkwMYKqUPy7MLxNrgfv+amyp88KtGB2Zws3d/OxWBgpCi8HZ+Db+kcFwp0YThH/+I9ABZzTobhuklvSDe9w7aPLWOCSDWVdrWuzwrhZ5cWNKQ5t9yw0bVCMxEXIzqt+ZWIgImeHG2eknBfc1H8s6LVOagKJaObHrm4h4FE8DENFCuF63LgAwpUkHovAbU+U4XrTtjK6bVVKAkXoB6xwzqmcUdCEGTafEL0yAzWlddFeih7d1pyFeH7V50hIYrFqZn5PE1fCPx7wY/budv90REEDCQ6QPHsMT91TfmhOPeRxY0eCZOd+bHM9RQmDYrHt0MBYH68jNM8UZlOJcljE2K0qJKlrShatcm2y/Zs4LyzWCPuf0d1uFPNFD8p6Q0V9YaGjg3ZiZhTI3ZUZ2YHlWzrLA9WAdTAYV+uWIF/2hJX/qJUC5C5pa3gMsTQo1LM9I4ydWCExnNCoX1VqEII872fRU09JylqGcMpOECBfXImC3mX9EcPrO8Nq2BWXMsy4uVdxHfyegeo2qN26eaUZDzqp6kAnNPgAxA1AB+EbUWb9ed028kvfh1m+f10VBy/q0ExFXY6QB6XBv80CDyMw4540IA8EbuOakk1eApBh+jsD15u/2W5EQiAt87QThjdqmITlgEsTBvVmuijG3ZykHmuV8doEYJHSBt60MELpyNaONY9KQBpuTTiVAJw6zrJ2qeSoqX4X69aci0QK3G8MtHIYt8mXbK6NGa/xlJNpYlfdJ8kW+/oluHMSyzqdEEXli8StSqw5M0/E4yXtm+1kkkbmBxwDbF08GhBx77WH4VpSaecMyWlLXIId/kd9dFkBtQ+g6S0BKgx72/ZI1B4wZj3clxjjCtgPzFi68lo293EOFHObeKt487e0dwXamwFNd97rBPJyBfxZP7RYEp2hH6HNqVzJ4439gRLcItIaHabh9EKt2SlX7EEpthBwwA7X+xgJj9t22Hxh3MOuxwF8xreCNrEzoTSNgZXC8upkJl32zeoCoPUf5yEMhy2yfiJS+Evb7wbFi6KZFRzQaOqu5x7j1xHcQllUqotFfPhq5I+Ruy9Q9EKoOoiyKWoMdjBm6XwZU5BSEVA/r/4cRacSC7rgTuR81CXVrRHOw9Z/A9Kw7EwsppQIo2vaLpGKhKVtwgGremsyD70k/h05enATmsWnl0tx9YUHHX/kkF3rqAjG5QLS/ipPPL4qioMePxwMN5GI5nKQ9pPW2QEQuqjDnilaZE1G+ZHdRlg/NlS7YaYcPKs6Ib1FDU9iFck0JRAjer71QgbkkYb53jPKJLq2bXo6rlrBotW8uP8du61g8wLTmgqhqKZjUuZIv8m5BW59CALw1YTv1Fi7TQJyiid6S3iohs5OgKq7wzz2oBmqudP0jescUR1GliUc9uMubkYeFNHi+0MnPthzpNlBhcbvcXOgJZwuG2vsOCh4SDYy1XGxc1/utpz/quHZdkOb8qFOIX7rEBhB3WC/2pyJCn86Q3PNYwkTIIj7QxFud6n+Lgbm7vm4mrkBgQm5PsO4dzggznpiCnXptIjrfLaXlanOvu1ioEhXVYvTi5yRxCGjaEYBLRLZxfXggIk5hLOUAouihHr/+fd8Xo9zGGMu6N481o8aRbUXEdjqDiw6DT12uFfPFnToSnKDrogwcUO6aIXY6yVeOEjmvybOJy8aBgNrAkK3zI1mweiTzp/gO2pizxh9JlmE8rA5fcDMmfgA5ZvbLk6/UQkYdAFJ1/bMNIVdRb1xAR2f/9LusWrPMDxltcJfZaj/GpWmnSGeXH0CyEgjaRSNjwm1qgLSkcrcj5jL+prVfeQrRXFA9nsF89j7ey8KDCb3jKkGiiEC59bEwoxTZmyDcLHyw5hugjeNom7QkFw0+dy6kEMpNuggMTf4L6RYlaySHbN8bouJvMBxY+vyCmL7sxjyeHQQPpUaV/qNuNSpKNlYudBkMAlAHAi9iif7ffFZJX0vGnYdr8bUdAQBkfain6NrmWYXa5BV5BkRPkbtsuzt+Urn5C4o8cPIpkM8yAoFfGYpFzTI+esKaGmS/bPlDR+7MwYiMQq80RPWp45+qGt8C7527Z+CcKTGDZ/pZHKsmJ6ZPys+uxR212gTHAWyX9NB2sK/j220jv2REBSEe4kDmReYUdTKaKft0a+VcdwAW0Wgaa67VU3FjNDZeQOgFfIOiJ2uDgI+3rberq5QuU835oJFYK4uGA+9+ehSI9i0+ZxajyHeqHL6QJfp2bgGbFcouevbuye7i/RbEGX2bFKpIfSlkgnWa4Mq8W3WF0qkEVnkyCxsXsW6X5SNkNe6qMKzzOM6lFZDtZL+LpRBwb4ShSms8z8tGyHYK2fIkyO7rpa5jviDrlVtVMcDSbasfv0tWkwTx3gHOOm/bqHgb/6K7PDjagPl5iz0c0dtt1jXBK4YQn96iZW+cEsy5uNCC3tNKcPOQEDVUq+/cQUI29FXQqOlR5lt4mX9uk5ebRJlRZpkeG4KOI98v8MuH0hQqVhs1vt/fBGBPQoGUHYiTN1PYOfjpAJW2+Qt9PcS+gshv0dQuNxIsZdt33nqV5PGYlt2IKx61vVsa/lrN0uzr4cbElJ0T9pRxiL1e4ZBswyJwYwCInMFhxVzA+Np23QPaUF6NuYI7rnmDzRONEwEkCJ962o2QYQyGMRgnLLZ3qR8aQkcKb6G8KT/zcDxv/vxHDRYOiANAxrotL26vMscrEWqHr4YU4huMmlcIN3HEJEKjo+cm3x63GvUEwGP13KDoLSh5JHdI+4yvTixUjc4pl/kEwm6Nlzo84d8nkSgi15rklutu1Lvxk7jSNWxV69S9cFe2BtbskeFGxnGO7LQxPRKNwXs32LTRrqo8TCPyIF/fsZtfUZxmCnZSVDs1u5uLLHRCbBwGh57VlnD1YBaH+QUe432Pq+43+iPYuyNsBRimEI/SYAuBabS5RUsgt6XshLIDjFI7k1wKDBMHxzR1naOwPwAr9dyQZZufxOXii4xdmhunDa91Z3NGp64wRZwmHkQR5PKLGn31i98EiV4uOprVg8sN6fYfCTEb0TFJ8/bmS/RxpJIJ0JZqywrFU7eKd4viMLz1XkIkv//nr6Ls7M5huQ+2LtKV9WUncaTeGxU8VgOdWVjUGY78XiuWbqhBDloFDzfL5SmVNu6l6MrenNyWUUWXAAzEA8UTn1VNoFQpLgwvGe3IeT/4THnc/WUSR7P+citOMc+pbcuyuVHXqYIkTZmJNFOXynZl3YKnTfD4XfkvZ0rka4pzYdRb0z9/vF2amJS/aDhnLajYAu6Bd4aFhsP0Sux6gqlKuJYca0D7hyvGE+AwxJ0goRttx1z88n5W1cIbljpRn7ny0LkoRGkA6BmgezSnZcYpu4+a4xj0AQN2SQA02MV48kjMiA2xEGVXT/CuSsx6CSlebPNNFfolmkaIt4ly+rBDSwcNIYt+/nPC7zLLK7yCIb8Yy2Q6QAbu/QucVDJW/pyaVvkYuI7e9ZmaSOee5Jos2CUrElkcHMMDSgM1vcxcj1NixUglFoR6fVDxXczTXvr2Zw9M8Pmi/DW5LgeilD8fdt/pXY4v/t+TgRDUidk4pGi+bs0ewIjo1mXdGeagg24NZT5oe8+eMuvFxZn18YbJs4ZfHVzAjyNqFNWmH5GbxOfw8d0dDai55eV5LLNK0q3RTg7RchT31y68zKGPbk+3bR6XddewzFxqKdAnUGrcZXliAL1kO8E5kucZ+gU0FZQ28pD1cPock+V7WeIu/hBEIIQBNGTySbv85nzBGuJAUO6mBJQUfMu9Yv2RwsQHLOHd+aIA+gJcUoKUQXw3tH0A/b1XS0eI0lbxk5yelGXZoW40MhlQOZTpToyFLJsF8z4MeSYfItNUV0vREXHBBoiuZBATGHLigWGj+jizgUSeFuMDApAyt0aXYivJLO4hk5WhbafG01eZT+PTMscoBAHyjfggs5zSwl0vpKPejOkga7Wzp/uu/wsIzNXdHskJ5XLsJnmf0+8TpYx6iIqQr/PkN4UFf9ZiWS+Ipx7m7/wqrBJnIoDF/HoKYQ2/1p+iNqOmfXkmnGXUy28JKzfqOHdgwJjcn3xo9pYFayCQx0hFjeugRblFTZM6B5t3cvUYm+34AOQrBr44Y1C5xOg+taDAzTh5qBHOzHfkdsZySKUgQHEvWrMPowNsoYhsDrik1iCdZxp8qAMdLbebJ38xRgvksmU7vt6XF1Qx4PK1Ql9uXj2q9wvmJv9pzJA0qGhCtZvSiU4tAzc+PqPiutV/EozeCqSDJU0Ns+RgSirIWMfhgBTBk5POfUlViU5nP06n4piy/QDtVsFAxTB6zWvyRsGVCoaq8xQjtiB00XU/kltvsxIrbVgnP/ZOliMVw7RoGQkqwhayNSv5ZMBVcU8wJ1IP5v7ZCKMLx+k7cTKuMD86bd1m9qEGLj+ApEaTp8q0Ps4+AaM77ppJVys2hn/31ZgduOYfhwzV+SENzaVC0xwz8Ro8wSy2dklYX1kU3uIxdEBtiAD0YzyYapdZ95JGsVY6RviHzbjhYKcsQ0EHimPc32ekbot0ddz/ldRGuZ7MNcgg1iTY3J2TiLkHEZ0CF3zu4ZZdOwFF76MOGEkGa4mVEJ9GC9W5UZSdjdt053WoJ7jtes1X1eJYv04/8TL7EQ/Ofg5Io465BAw0S2havT9mu1Tjge5fSVbXGQYS0guCcp8TDfzfo0j54xUg5CKIKH9HYpvoiJMyYLl2sginuRuzG1iiz/yqTXqmvWnkHu1TmyXKStLpi6TuEKgUL0Ms0v6GnG0BbAG0QGJkwy5/tGZzmzEMrrtOVq+Cy+1y9YLDo0INcDbpBng32pklVsMs4uabrBmJf7Pxr3Fks4Ynvy/DEfdYE8i8qadF/7E3dZos1z8EcjP2mLqqNWtAgD2R1Jyx4JjIVwYcoeJfyJ0Ro6nlgq9kxra+3h+XAIPRfxrmGJc0XF8OcEHSOqz7G7vrVn96mSAoGkUyZA5xGwwPL2OxKh/3Y7KG8y5tkjgeNNQHijOXhtKqdznxGqDmsLD6+zUJRNuzbIjd+D75GNi1XzjHssNShZaq612wQw/CAVNcWvd5NtR3zR+SKvWBpOJZ82HL5lzgiDSbcj5SpgHgH5u7GEitzlO4mWhc1Te3newdKW9du/aGPhBt8BBTb02k9GTPyhMxkvppliTRYk/qplw9Sz64pqJ5yDX8EaDsJfMwQHspj69rUgAhIzfYOnCVNqX/9dNR3UboH26gXbUib0CesFO8+jkTBJJncfA517yaSAF2PaKfTFfCsoWm6zLyrmcvZ6Jh5QVyLWiPadJbWri0CmQjeN1EOh3pqs7G40Yj+Hao+gMpc7eZPU9CCq2ue2eV7VoxZhGyils8tOGn5GrtZ8VmosJw5TvYqHiMWzOcQsmt731noXRP0EtnHHa4BaGN5DrBCKyHv9AlHQjvCTekVRq/8qXlMZ0pDLiCfd+pF6iW1fkyt4rDS3foKq6mXtX1uKLIdnvTz9E//gE40mXBaUc+A3WKE+aGp2e9256yTobNEvcQNo8lPAC7ENANEoMFgIMxT+uMQyvPC1QO+h/riKJGLof+bclNhs4LThcG3zMN8a3uxlwmXszTSH4/OpeN/JS/sBVWfwWTxp3W/XXAk/eHTjYPaAedI8dTRY06Xe4P6NRTAvM42ZjRvi/2OaFCZMRxiNFMj6aitA3NqYJbfDZT1pkI7OrpnDtsWYGQORg7DCyOOP6M8fbHYZljfzv08k5CrS0QNwntLqIugZDzeacvgdTpLLa0mFTnaK9RUvbRxmoehRz4hni+feGc4I17rVd8V0L/i7FZoEUfpF4nj4doRRrC4U0USq7s7yAAogPq9/sBMBv3HZmJssnlQrF+SkSzs0w3leKSbnFQrVP4YC7uN4dCxaIxKHCYh4/2qxyo5m0cKmCrr+JHHf8anXMEV5YKj00JozM2Z9CM+ftwpPoBWg0DZ6dg6g+6+qoXH4NVf+cMS/G/sf27QmQAPEgFVz4S84vqD7rs+Wsl+LSd8KDPQfFJ9P9JukU1PSSmLUZRMZu21HZbY8ECvXAzDvSx2iZD19S4L6EOxjp0J+XUtk7bD2eA6E1Jo+ZvuQo/q8QgMaJxZ6/ozkx5loxRBSYoohU8exyJHYoKuUCu91plw6+7YbzMfcxmvdKGE0BWHLpRZSoS6AOb072aPFaeXKN25ltn0Nq2lJkccBOdsR/ezVyxrCjYyPmq0qDA0s30HNFBrCCsu3SRkAkAOyEde2kUWfRC1LgT5xR7n6Y/Aa6xq95sXCRydyWAeMnb5DKQMNnasM+3Dbuc26YncW1ntAmeMklIkO355r2PT0cbfDIwebbPvlSW0jD89lh9Ze0e2TbUASBLBf9D/+kllZa4A5pRr/NSGns7rbbLh+pagSay2JR8ydqSdHTWvjqxw5SZmzYyKRtaNOgBS53DEkld7lCybHySUJSjXVjiLPvqE0mjnrZFUN5nmtFkWg9vjt81VHOM6+ayOi7dgp+0Ki+QgTG7H0RabmrnwZDLa5Wtg0jf3YQIRXFsZiY3riTEBtivSwuhQpF5ZRXXPRgqpt8/RKYTnmFCQPUFv1eDKWpslmlEhtfhOUy+QfH7KQUc0L1FMcUieh0X3prcBkhM2EvuM2ThRg7dPTZrlXXwQDxhmUfy1w4NdFncCMBpnJJJ4NeUWn5kXN6Mz7kk50v2nnHmfz35EsJ2HQDFQsoKfp18jC8RGpVVQngz2+AmTBZuMre4NcLj3e6IgqeYUMWbRs+8or/8g1mcaxuKb5Y/Z7GE5mu/jYbbXTRl+HcfZeaGuyNJ1atWOoB01HJK5wBaV3eHgr+OAdbQU6HV0hYwXPDnxsNoVA2aJ7MDmOd+Ysf/WQkh40Wb1CWSQlQZ7Q/oqWxtGceJwduw8EEZIzqSnkx7x0jkKI8/oi7Id62b7CIlPwoY24dCKklZuXK1sdsWng11caBnSA6RnzoJTOBdKnOQ5VSW05L+PUAp2JJraOdsw3WglQ/EA1duy+PLtykGJXOwrDyg6CqryevR/eDkEN00e1EvL3tcna5O1ZCjEmqt1bOouVIXzMN5riZvDu+t2ok+lIl0SBjk8eZjy9qXb5oqze3n4JCyHqUMTKvXlhdojUlwTUUV+maJi1yH2ZRPk0RPHzpTm+t8WwFAW5dDPXXoNHJ1Lz4Wk8VCF0GvyYmcdsnUNiQJQZto5WnHKwymQCnr6L++eBkbwvrAYvQ6a0ytU2xqFZai06ZJQpbjwHCkGnY1jxQRpGUiiHCXYr9IA09tCfGNJXkt/izoVdi3/G7miYV00S/95IaPEhBoyK+7g6F3080C10cIbaDW4e78ouykqoK7lzH4NVYXyrTYAvawncvlUD1C4/eTBV5mJXP6sBHzUa+CuTWoIiQRPKHTuAU4HndOlfT/mMjf/uMEyHlap2YnTM0i3qjBl3/6uD+XcvxeS92Xy8LX4ZAMkhqfs1NL5JOgCeK6YRek38+d68Qf3EyLAbnWARBV9FwtMmDutBvtoZg6WAhXKoP52pk62BwHMQypPayaeOwYkogWShsmwUVbF5m1Kbut8cFXZ+cuFeNxceXoBXpHwestIRHaPkbRBryal//nRsi2wmdJLqWMd0rVMpKqGGIFDSAy3VEMbY7TN2WGtuA5tYLWPTV2OgtFGiTo395+ignrnKTViNEGAdrlAJo8oVe/nUCvAX1LqecqHJhBjcRoa9oYpBCnNzfgvg8HCSCy516dNkIxNe1MkBZAckfH+LQyx80ocKafABMSdezMizZkR4WsWgb16V/iuthlA7aWVIJ4IkWpFGWaC6OLGOT30JXZFzpRxDn0fEyLn+9OD0PdmT931ZF524satnmPE9Kzo4UO1Ct+cu3Uq5TKxR0cN0lKUGzcbEzEajOG+w30rUYsDghsU7Ao9PFiM69Bid5lQk9PhhW9J2kHeQI0GhbUNjc9HSP6c+xnI0HTfoPOAVQ8j9Yj+9jSawdciNCnvDnUJHT7kIE72nmlGbbu8/dMxw1s4F4RvJeuDIPQ0VaR6pxpAq2Cyc9UaRZjSH70l9VlibdiGAtA7RhEtRvCC//WP87pTdCaaiymHM5e4LjG0THi41bkb6IaEFz0E3Z/tArrRYYirdEzlcz3BpIvZp4lGGmq4uvZh9utwULl5mesbKcd55Kjfxp1ofDKiCdfVf6J7kLWMcrOLfydnUuVDVe6AhlaIsbuZhGCHxjs/Wup78U+InR6iCVDsVGb8eaPmYOQRYbJUejf1rVxzsacMbjeRHm4KCqpXYjtbwSWnjNaZYJHivDT8PiUE0DdvIZCrwCfO5XD2EBqcK9bwaO2ujtvnw2GJsubnEhwj3tCKq3+2aK79BaozE3uflMJs9huuG5fRA7exF93iHxc+KR7gZqnByOZGrnRKNPFE8HddE3ap59Bbo7Ti8xKIY3vga2/UIsp41OIW27XseXKWcNtX4vlv5GyPeNgPVK7UnI0SVBV8Fr1sHGAzNqt9C0rDfELAA4TmMslermXOT6nzZHjsfdhRciQfRjJmdFgOJqQuPeujphG8bYm0yneyQ+zfmhjzRBSWQ4PlTn4rAv5LbURqJaDgXHPJ1cDt1sEZnS4DjhD89IQsYiq2o2NbBMzWdquLZBp5LSOOHxvXpxSF0oG2TrtFhRElE6Oaqj8WsSvvQnl7jByutYvjCyBOrLTdD7T8oLa1zFPw49WFaNIjrU98TQKS+sPi1ZrzLaFISCn4Na+tbge8NutGpjg9GWJAuaUCCu6A8FNnvewGhL6JyG/ibV0Y2QmcFzrmKYQ8f5tljKlnPNRV4jWMcWbOkuAQf4Fox+4UnrPywW7e96gL1lfcraZofTwRWljZQVljn+pFY0x6kn+3Fb82rX72U0b+OtDH2vdLvE5I4OBGJyVjA6hggY07f55CCI/hWTj5xdAqlaU1Yjot9GxCO8QIDxF4TsBJpiLAEBvgR1gzd+tmWYfIw+sVKq5bXRjWXXHQGfIfftqeb0RUKJnyZBsMhGBtv1hBVsvyAherAA0hgFsCemyB8WyXafkYXUBDNiTC/zbkYsX2yYnuuSa0gnBHdx9u050Yrd1buTENoE91w/SQDUbID3GcPptzoSebBF7gl5hV/b21+HDlp3W9EprwxD/Bsbum3mt+zcwOI0Lv2sIwlZIKs2bFgk2nQ13jcwL37gvq8WIxrBtEfJOuMMFcLxyGdq5y9R+OWAHR6A11+EKXC5ZUHy2tI6HXVhl2/v3GEq5FJcewcyeSugHI56LxItSXldjlabeZzdRyHxTvVI+CV8jyqF8RAdxCJQKrh6axcovFTsz0w7xWyJ4wC3Rf785dXEOwfk0Ei3H0guC1giSIh8+W2ylROh9b3PYtldG1FV84OXy/SfWPeFkJixNjJ0x/9CSRrFGZCZvyqJFC1vIqEcBAySsRXfYc7AYAFtd7Hvwhf97NX3cHzxNtE6OhtTUra7xLn7r91AXB+omVpX5SyYXqDHCN4EmoW1Eif3bhehvTjSKyEJsEPyCgfGGOu8nB6U1yfkYKYd9bIVSykBqW0JsdA7qlQJwf1dxjuqJoQ78I5D03GlOJ9M93nkgfRNDJ6otfX0jyQ5nuOHhVE1e9XPoeeU7QysKw62OKgJ7HZMMpWIGnqclBnne8/y+sVmFM68aJNSDZGiNqqDeEvGY48X1q7BFijriR9yAYN+Nr9jyX7xx3+3WR8fVw/+X42S82IQyGf5p3ZAcyl9A+tyLEeOgRaxJF8MmhAbvyE2rSWB5MFwVsDJH1Q5qXsidy0oGwj1hx9UBnW477vsWcr5Lj2CBkMHkouA5+Rsz1ty+1i/6htZP6aQFu4n43XQbMlMRJSfe5p3gn6V7Na+MxJ29BXIHWNSoIaIOhd77+a/bzDOS1+uG2Xfiy5a8XTOpik0hrq4iJdBMmC38k9TjpEtCTJIkGYtNsfID+gkwWgszMxvl6lSDhhYU9683tti+5nbeDS4aTJn53sSNJJfUoV4At2yJpJd2ywus4PunvHnovntVpOr/J0dnOK9vZbw3m0M2sGXm2y5Fj4txYxUi77T6Q8GOd65V6Ospa1G/JncTHKHE6HeuxSOgn4n4Nj0oPxO4oj3kW3gptKvjITq1nW8p9fUgBbA73p4yk7zUGsNkNG65eOdk98MnOkX2eZe6VLMpfqIXtBLAeejNCqW24NXHEL+tgPdQQxTlcGNBITlVEX2uRe0SAuuaLt7OrkNoHOuYtbvSslzJJM6JDfGdYt6LuIVXA6xjMredFWWu8kTPSiFWC3qBDcL0vvDOdRda3kDGxoIGNZaDNxW8K8tbDecOTrBbVSFtB32xxL+FfRdtFbqp0XyrSlwYe96zofsT1VKVZY50XjV+9+6D3soFYOvmoqDM2vh4lryjWjc+aL+t/CghUcGyj3ohPG4uTUmprFtWeeHHDNEukM3/MVGHpCFkjSA51NDtnWfYbIVRkYGvmx4SXMND+pW5Xgf9hlzUTCqfJkW0B+fySt+5AaH0Yx2x+bflI7DeiET1/15Y+Vck94f9D5kQqOmtmUfQk0RQkrgy33YUyKjmUghxVpxBps/460L565QhUWRWOXww4F7gndH5weAObhpeEB7MEvgXFkxKWNunDRclM8/uKOXghMPJJk6/ubTekdSYqdVyVsQIvWuXSXFYQToXViprfPtF9K1lyxnKV1z3xBJvHLum6c0TzdSWlBJ1dv7l73HCVZS/RbMOO2Fu4jipXismAcv9ovF0HYcHZI8Jjy4R12NkiQC5S/WKnNqxRVsA8CqDV71HVKqBA1wyGrYWLd3X1a/BvfbszyGJm69jWkrwGFy0bJa0ichNu3XgjmUsjz+UYdwIetn8lxQV4MMzPwt5rSWbPxxKthTjcwe5IquiK8cxofipBbraoCc9UKZquSULTdriC/UvOKKhm7e5E6gQodlRzt6oN794MBssIFnJUgclx4x+w081B4mS39j7aBUGhRPasAXNEiBxfAp0+1pmddqbvBkRNM3rWn/EOfL/Lesj/aZt5iuEwU964mnyc1pUYCfTLd1eycUGQk43IuPcTe7B16Pj8kcL9wz3TwuRarBkuP0SnTb90+fCJ9IE1glOrF1rjDNKLmBGxk6hwy/nxsJVBk4s5c7aPuXXeq9uoNhojvkCwNRPTlZFrCKxkyMiH6rjBwqdND2coSRxLwjREjOjVam/grd56bISX+HRXdivZlHthavQv1EmPdoX7l3VtE4QQiYQeTsDCxolzpTyQJ1SUP4NM6iWtr7ZohnB2m2iiJZPvscv4a5DAdzLHVhL2Sp2FdrPrvFypsofIwEt7wGexeVRSi2oSStq+uZEYGGVynCSNG9U4qP0NR7qvSBNdSqc1JhNrb4lyj1QtBkLUZEjmq2NlTogqsEIT0u1yqutFzTpiv+mud3qrHOdyim7acAUp6rrMyTTwQTECttQvMBNdX0G0h/eeAY/5iEEVIt2HcjzuEU+u3LaX6fTD5TyiOLFTY8+/o7PXccyyaTVc2597jUIcrBztD1sTNbEKmi4uTAOMdGo1FVc7d58vUujpBB3YUL+CtLC/kJ8lOFJrQxJNPgREuziF4n2V4KvwqfXfmE2B8ULMRUtENr52RYK7/Ngq2trq1RWc0ubKshkcWZVPjhXZWpp+ktpRsSGNM5L5TagacUwOZoPW3TAGKfEjXfTv33wtTtgNc0dg+OAqw49pKhc+9sEyK/PGeGgZPHVHIJf3mBDGKuUirXdmtjy6xWVOdLSLFPiT29JkbIobQ7nNMkKuAH11FNTxQfemhXMsX0RJW/T9FmIHmxKeeI1hjoyS1N0lD+ShUxoeb5drIhx1a0V5LCxI6st7ga1cWO00omWR2ahvdConZjI4u74zaTrwLWxEQhrFxhyCFu4gC8IkMWY+HQa7zSU5tPRkD0e/GktA2qFcBrC1QQJLJmAlH51ekeSNPA9gfXqENiLrs1ubtnVXKS3PD+YyK4x6MeX6EIbBmbDcXIa87F3znaggoc6dGEjodCmVd17YMMT7GXzRtxjLk/kCf9Z5gipZWrJIxAUkfNPI+L8ekcFVX1IOV73vrAU4FOz50aaWYxujQmJYAYggO85JfEjuwlwbhJ0EPu+xUFlFD7TGn1i42vV9yiq8i6ONKJtyj+/b5xpVnIMtUsbvHR8H04Kkv+Rtrbj0dhayI2gpEpYzPZLhnRlhu1NMJOSkpWZf7K0HcClyQMLjQL8VMtwZsYY1yQ7XcfX+AK1owSfFIE89vzoZleB+xTSK92+BTEDgcw9vhozXVnifcr6BOgqPPyov2qRC0FKY/VSmXTRywQnwOoJs7RGZbI59KxyyTJ5pP+iU77XrMqr/fTRCp477QbxFWX2bthrtYNQcFHLua5QNqW+6y0Fz76vq1rFEEplMRsaqAXhGS76SB4V5eUEvWaGZdLGU5BpzWF9PBEHW77jfJd8OTZoeiT5Ozs9mehQXXr3LzpJMutJj5W2mY7Ib3JCxlLLJEfMgGCcp8EEQvaKnn+AUohOXgkIoylFMDjxAmr6bNXGqRW3AQABoHUyvxlAaQnZOJiyQNDxrGPpZPCeJfiAR46979i3vp0GKqPAjnrdKIffAgiqtssfJI7ETJ54GGRxMS6aeYe4qFSZ60laZHl3YQg2NMpa+7M0CLdRXgAxE0r6/OytuXtArsjYUixxBva3XI1rgpr9TeBIEOEpWLgGVTO/g+tgasjhD71H44fvVyFwFYr7DJw7jzkaN4KH3vbu8ZG7epUGSlYF7I7VPi/tR7xgJfNM7HJ+5/+2yW8pkO17/Z3DVCzfo60hBwctNBMvIbX0cRUMjRsCv50kK0bzey+wFXXa6lO7lSGMDEfspztrnOTqcS3VYgEfISrJjYLriduTwr1fVnHz9y24twVitP7m58eNddGblXt09o61LmcOISAUaj6HMyDhefxXxLijNJRWhFaY1V9hkmMHTHFD8gChEz+slXGO6xsjT8incF5JdMaHERxx0oUBcJlWlvjVQsNJeFQvb45DH7I+Emt13D1ST2WU+6Gkxl7efcwxmNw0bF8PI3E3kZu4sS68cQV1tg7PSJwYcUDQv1YOQxcbNBjE9j4DHiCNqv2DupHP3Up48HO8t4paQwOVdXPHXgttSx/0rB2AwTBaQZ5boFOjf/9PleH/zzl3V+ERjBYeS2BeELiBW68yuJ7Ne7cyfaXzqOW0kpPv7fLfvTtWLeMNDaQ8bbPcWcmWlST5zOgLtryq/sYHHa/rPwYqTVzbOhjUW3YPtNrdvxCKu/BnuHDr31Hs807fQBG2lu9KM+P+GuIrN+fTqlkO8e0OJzIuTYAS7FY0CII85P0Beuiu6OqfuJ+DwBEwaJKcGIislNpcS9SX29dblgDJe+nrzFn3uNDNcXn49/Hz0h0PW0Gb4Q3MAA+v+ZYBytFsppnr49UhyYLU+VoL5ElR+dHX6bhafwEq35nAttcF8luHPhBmJBwFy5rL6MQ/n+CkjNIb6GzzFsnl/WEpy7Onu4l+hZOeFA/BAMiW6fROycQIKCWyZHh4aFKJ3T523i/yfKeqN3zUcDtpogezGWzAhG125IexBdzfF60xJyy85xszHDetUp83vS8xC68O+sSfovoc8BreMLB8q8f0/gIThbu4BpxDDb8DQ7ER1qquczNU4njSUcAj0Y/SoTx19YMNVA2CUKzhKyHDqyqSm0g9P/IzXkLzU4Jwj91E/UXnI2maxzWYg3Iz1dpypatEfbjXW+Bzca5ncS4it7K4SikUnPB3Kni/Cuwb0r4Aom/Wh18in0hhDst7Otc6mLyIGsfqiUfqRZO725CsVR3fE73CJylBnfdFveBXjsdWNTwwmlhBdppevjilA8s6Hh8z2orZ6EbCw/q3+8+Lsjg88JIh99LsKTVWMgP/LB4AKcStTmONn2siTZgGrHB6ACjl4grTJNDRUkxJ3a+3epZpba2Afnj0vFf6kLj6eUVFPSUmGSdE8TpO5OlOjlLNHOuv2hDIjkw+Wk93d+MD8HXzFLB6pyr8bIslR+GNd/VtEQ89fNHieoAHUsjcxxw0F2+Z2QtNgpjVIEM6MnJIbjDnyP6+mlXK2/myiodrtH8l7lwK2mZWZ7CbbBUHcE/QIR/Moo3/RIdLVX0+hCWJWn3zp26d/GQG9k5Cqt2RtFRgZD1YKdLDVMaVlg/bI9YuK7+5xEMP+KLkV+txEeoYOPpYm3GqCVAX0Y8dTIbzAf96rx0yua3G1g99td7eJGpgXQALzQ45W10yrHnUaLls/vRTFlW6VJtJ3A6zhFRiGU7E+kyshKxhu1+lY5YtXASd62M5GT01GA2bBk7QfP5bprRRssaA773iUnbR9r58mx7Yy8+3YSVKBvDagX2dY2eK//iaWjShyg8omtlDfr7LUSsL9mGbCgde+tRaXNBQ9iz+O/W8MURZLeiAHK6L18lviz46cIW22zHzWSdoxsPKQLZAr2BUdSHvPk3RuA76m6sOhs7p1Bihy8RS5rn7/MV6Nzbo2bO8hTribbXzr/hWQoWwYfVNV2z1ZDCY6zDXUxcQnbM84hpLmhPfBeqItqb3ZMNzmzvxhpjDplcJwViau4V5S6nn5o1Z7IFmSE6qiYVf2DM0yDziJmNhWZcr66WBa7Xo8FZoQbL1coDB7TyoqJ4K0gYWwjavi2bwu92xrHoalGxa2xwTtSh9ae2sCo/rhpS0/lVxrbl5zlzSUnn0CA4r287b8cEVYD+EzXgyBNvVoMveTQpIq09CAcfLiNVaXM4ZbfOabVYt/HEf0yXXNmoofIuVpmHMX1R0vuXvtor2c5YjIFAR2RjtlBAYaUfNXrfdkl7+E+FksUY6hMJfw5bLbbfEaUUHszbbAM0Wm4PPG5Noj5U/zEnXrLf095XP4Gfz4RStcRD+iCbg6XfTx51ER626eyjlX/18dLO9AvDmjPTBt7eoziuODwGmAw8iNy7yj7cB8ZCAcvsiHY9fXI75oJGfyV6xTdWccXqKvb5iPdqZO5zv0QPGobc4FNnwnWbuSSK7UoJziT4i1426/c2gqT4xcSc80+vzQRqFmdBiXwq43z/krf7VYwY+GHTbSLwbedLvffwysSu3aq6D4uYajPrD7yWm/pCiIZr8S7+LQpHuJnK7dMImKSp45IQyUxx+4ZbsClUfhs7l8cfw1ilbP2+ymUTEj/xCIFqJq57FPXFAyS00J66q+ozz6wpjrUvrBI9OTrmA08hdDFwSM2I7Np6N8CthcZDkgBdbkUTy0GZIU7DZIRm2QbdR0kuAKwwFnF1spsMKjUpO/QMluZe+i4P71KjnFj/9LoxnEZGAYhXhqUauu/ib9vysMdC6X7Xd/p7UrZXIRKrNTbT1JSvcYfXSiquAJ/gHLGUTSr989nkXvEe6HITu7G7sDPTaXh9EHGCTRo5978PShWPbu0bXflte5W3/Lvs8FQEp6gns9hECe0Af1rd5IQ40khDGrRRXb+BO6pTco10Lc9CW7ibHHtEsvpW72CEjKnVtxxYCI7f0ULNsLVbYyOPxKGgc5Xf8dTfi+XCPxtJUwWQ87hwcU+iX9Ze/gExzGc3sjHM5Z7tFjc3GE2TPfdDng440Q6V3/A8rCek5cjroUEDGdHuKbqxXi0DvARnf+FP85GFn4OCnxHU/tpU0Rf8FQm9dMYEkI3U9x1Ykm7qMUi/4WpdJng0soOagef5t7RN0S/nJDw103RHGAVCze0jyJ2PCa1cH0rrT8vQKCbNedfGNzL6SNv+aU2IZnMmuGb9DkZFDfyJSQI7WOwKrJ0/wrOY9aAj+cwixmNcOUnc5hRLFUG8i+J4U/TdoPSh5oaLdxYVHy7sHLyU89fJ//ew7nuPa+BwWKhVB5H1bOcL1UNVI7j9J662rYOdPNCEArMoS0ipebPIiMvGWf3x76cxAs8loWebgVVe3apcoRzYJaJm0v5U6oM+2ukz+cBmjuPTtWqpPQetx3Jo767AQt3huFDixPmzokt0W85QBniy0RbWpVTn7ujHiQr4rDnXNVZdOLOugUQxfJ8H59kiaSGIJDB72UKOogyP/RtAHh7m1P4KDIOiKT8mdIX5Z/ziLixShNY2EK/6n5D3eyB5FHxZm7EBFh1uDWCcGmt+pfYautopYwjhRueRag2vGHgFrBit7v211RsZwgDhbGVBjLCa+Ri1dg4iidVpJP2H22A3cy72Y+mUyCPbiHZSmokLOMjUCTORBX4t5LvtYCKOuma/IiQcyivQ0FMzc8mNaQfgpwTPLRM8x2N2MlgMGKsWlgiMcguStjWNTDixNTP39ZPlzPmhfkzAZ23cn5Lh49TLZA0hLSnNthqs7tGNZWWjvNzudBbUiILkrz5pJ5T4LBlyElJNARPYpHHX0fxIfiT4GiAYFGQkJwNNtWvJ5VMYJPc0+CIFCGW7f3FNfMUqG90WZrm1pWL/mG2PhbMAFqCE0wIr4G/vnhkDMn9Y1h7XYqmfi+cvv+t+u0gu3B5yts/AdqFVWttjvu8kBRJJdd7wThqAiMLuCBjjrKrXU+cn9PhkVDGcuvf0o7IMuHzijYF8dw9RemZxjIw83EhJ0knMMMBFt3ZbMPpNjbNZHn3j8ykUtBX4pRwcreeIFyzsc/QVN/gA/TBSbo7iECgLZE4Zw1FCDZGc1yQw47B+JWUP5JuDN4qQ3eiQpFvDrgqGklZLbeBfgFDoSRHm1rAwbXt+CQSlXqi09XocDvG+JWsO94RfW5I/axGNsEktFp9lY8/dYkovZoWNirdkeuKRmrkD1lqwztDvpAwupoE7zRjEl/hfg235IXQX06d8twADyJTxpJw27NX2zwq32AtToYC8p8tyoYZF19y+wldfl64CBEFM7o4IW4/+CViKuuwvJ1DnErOzYufSEfz+MzKaifI2x7ktXzUuIo5jA93I5vuVGkfAEZN9ZMiSiX4zzA+MWczLi3EryqQN8Jz/GG/MLUcJxyg8NdOV55QurHvaLhFrCa1+/NAwBh14rETGG1U02ynHybyO18PNDMvjA5MCZLMQHn2K3sdea+VDCP2kAK1fuR0/Ma7R4LJLjeHv0XxCCM1rKckxaL0u+Qn7S5RI+GhHu+JCYm7GYNn6dCLeq8YjV0UxQ9JWzvn1SXwiPN+O59U87eDY6Sg0Fc580g0a4LoGyXd6JDcgLsvWWo5yVuOX4QT4U5BzMwPkfM3fe0olZWKFPNujPz3hW681c+akvYbxq5HilswS2pxz5HnF6+fCWvzMejif8A3kvzWzCCrqrsZ9TX5anRy/NMGzsODktxqCAUImmeOCGYm9I1hb1q5Ssj+z/BVt093fG12FnbDHCGfVCwfdXw9C55PxoLwzEvTZDZRYivW4opLMXet1PNtvNl950EklHDSrmWZRHs6ZLFUReKxwNRAzief0z38WUIkTW+WswFFcFnUOo0V2THdTptcpaPitgHjwcWzKXtsZj2K76OwUHDy1R7Tz6BBjvZAegQbQkkdkNswz7fNFy+G2NUamO4mZ7v5+pgVHcfPvjFRctFGBkI3qdBabw9GtCO0kST4xHpvCif6pNxLZrzU3ECNcqX7qTu69MXDqeDzdD2OWLOM7mAOM8gBNoTv5AfjFISgaOaHEliDDPszrIr3jwDpXNSQCFtr1ZPav4Sb+n6z5ONOlTJ/swpqc6nrwgUPTYhgwKeD1GdphytzkTNOunroVoWsCZS5O+/ZKJ4jFy6e/gCRELHh4VW8GXVCbw5DTRgXlL/24oY17AqGRXQ5hJPO08rtGjhvezcxNNNCKFV1ZtmCb61LPBJnjVl3R9jzkeuhSPsi5TwKyMVrhpwCfVxYs9Swk0qiKApBVDwknBkSWEPIkRCe6r6daOnviZl/mTWkbQBpEkeaKV/uwPL9b+oB4xHOxKg/GDLn1gCesoi2JzSK8KtvJwiZdwmrIW6zT2LG1d6Tq0u+iJb39x/BW8UbCXM8QspbkAp8W/XS7ZVYDhGILuOUkUaRF/xK5xC+6397lFyNQMj2lEAQe5+fopL6zW0eOH0OmQfmOU4LxMj2I0OZmbwA5h8Oy0euUQjZ53onGmPg1uHr9aORM6OshNtwni2kjOgUkcmbT6bMAxd6gHnu1hUVWz2cM9tSRQCbXB7mzX0N8R/ZCQs+tEACSQ/EoBf885Pd5UHR97r0yw88Y3tuq6tfNDONP6m//pD8ytquzI5JBAERiedHUzvmde/zELa3Dq9e0KH8pjmCVd1NdqyBATMPnUMG7h+iNl0Oj05Zk5Ei8J5Y+AfDWEJKxoXTvnpb7WoHFmbmK6dqu/V87vBIDfXpdEk3aEYrMTU0U8YJpm7LGRZkznYgIj5KXK2Ou8+H673+jRB8x2xaxmih4NaacsIa7HBK1tHyhP/ruIL4I6reWirjq0+vi+9/i3GfqdCfpQ+0Hyi+9K5JZYCTQekNDBvnfbwfcLblTAqnW24M59PYd1GrgkmyLZodq9YQcdnI4jQtbid1/ht5wQDIjZm6AqoN2WYoBAKOwbtL9u6zXA7eJMB94BfnCF4ofh3Ozy8sl5gmgPR/m+YhLgxTlQ+ekbnHhv+ffJoh5Mb6ZcYe3nmJeyPT7FBRYNjr9+Q8fruVpC8Bx1OVLrBaqnk1AzFR19YUZaxR/xzLc+l9Z4MaySYH7YocYDBzwO49VedPJenw8YPMP+kC12rffbYsBiVzKt1JOvSQimV9zuN2VrdaXeEfrFLBj/vwmekrVUocWgYDbMcSl//iXwpI/0k3nh2GqurNkJejQYYsK7v899NoP/ynpBx3Fz8JJpV00r4TgA4aULSD/4XOQLONOjJe2dZ1MrdNpqSmCiy7sI3JT3XkpnFAMNOhX0qwJPmn7o/xsuzrlt1YB8wOoeA5FeB70L6LeVn2ZEnIHfpJ8lsqW1C8qvekHWGL5+Q8PioFb+kufVJ36/YzAzTUPwgEipxmK9/e61QCURrLOeg21hOfr2AFskIRlHclQR6Y6gdTbetA8AKTdZ+/zz0cQ5JEDn96E1rySVzIWaMW0ManLAkAros6eJ37hXD/hwLNVDY324eWGIZQOl9BxSAACoMXhmMIzPtcrNXsDAQ93qpUTFDcbxImyEuOh0APq2UEKoKWxw08H4G4Tp9x4nRwjAJAv9mSXOKLgHZVWgRtjMAqUlESOFZz5dp1jHtrySA7Ys9IQxNHGlqTu2f4dCud8HfJ19EEMnVAdozyk/pSqZhSLJTjmLe+T8NIBBsg1yanuVvXs60Bfq/RMgRNMOB8ot3Hg18ySa+I4y31GtOFTsFl6ADa8EBHzhrNdQnzMSAqRXcTR1PB/duyaIijmS58qhQTeR7EX01NTa5Hdh+ey3Plw3Rce64JBUDnxEUWR6wf8vLs1347nmo0ewjPleGikGuY12M8Mh7nKoKrIg5yy4ceqAXqFkjt/KtAilLRh570rNoLr5E4JQoRiX5IpSSMMHKLTRLhEn+D0yYss188jZp/o4DgYDO1T7lX+7nLfheahl7isOCct7mJxPx+2ziVD3SYsz1a6Sz9wMVZSOE7209/t2QeIVxUwrOX0Q9RD618UvcO5wyDLF8/LIlNPNcXwDNL26pbzE4ME2474HyFqYBLew16S/maWTGU9WSsDNr20WWpCW+MgwfUptemDr0w0yXsZD8D/HE+d8zTAloSl9jnGURx2eWGB7bNU9aaub3OODCo7vj4qUihAt7VpyRCSzRfi7x3hpANAGWRbnjLvit+Y7GFrua5lmWLkkjMSY4xJTP1R86jUHeIIbvTH4NhgN7NtOc45uuqDtUaU7LXGRVKk2JITWccNSngN7ubO0NJ+5jIqzd0tTEjN1Oo4xpZjTgksZzuyOS/WqiiMnM5Xq48/6pzZyyK4k3HIw1z22stNYB1CDKfxUHBv6R+mo7IEk3ZHGaRwY7zbPPL9eHO8aSUo5nVUZPLFDzZd5CaHweDoFxX5DWI4nWB+CpE826EI1Z+jFWiCkOy5M93KEBgsOlFI+1x3jy84UyH/XqE1jcQO6Ni3IuvtRqJlwskFMlwdWlDYXCEDLR/hZrZDbgUKQIKxpxSL4vLSrccH/BntgRtMoCy7M4pTvNKKH+BjXGFQMf1Gogr63UuPotgiRjfoB11T1TCLqreRTf5Xthlfah8jegqnRAI6of/7flc4o8sxixcrF27AoisFPP3hUth+7PADcusB9ATCyd2RJEKK4clsfydNBvYAfeRxQtVvLyROdo4pxVQkemGDJfCrkopNM1ZAt5myQh0QJvFxKzmNMPS7nEcZugqLMR2Ie3XgDPZgbMdgA7HrAN9DmPVODV8E3INRaobpUqiRTVcuAN4cwGR7E1FSVWc8gE9EtSN67G+4zEREXU/AQhPO/CcaNx06airOfs+9+xxRwE4PwJu6Nl6/9z4ZCeYXA5QsWaarBTjfiRF7m8h8WtT6JsbxLfZI8dIkSk6DW3wscMJvPE75t5Ur7EF8Kwksbd5Y+Zg49153pV8/mcLkNjV/lmE3JZCreo/WevPouTaz7Xj1QTl0rXJovuF2MdBY/MtRwy3tH6HwaheI7o5KWn7eEyV1U2R1JUJv6108OAzB1LQJxwQno99lr+i/dxhzTDM2/1VXHIr7NkMQdv/39W9I0ysGQW2Wb/YF/iTKWLJ2eLjP7BeNuvXAsqlwJL4sECW/nNG6dOWG4yLkBLF1Au3YEy/eROxInvO2qgnGJDX0+vP2O1QGMscl5OyP9gZCs/L1s7gcUfJcZnRxXusuMPKvDFaJ7Nd1H02fUg5t002Ia5TDEC8Mp/PlHa+9rYgpBeocbolgoqmOxKPjzBDhml1xI7lSpfTfk9nOh9SJGI7XeDnq0CSkNES0ZGefL5lTCYjDTHyQMUnYkBzM6Z6mqLn4aXSN35vteffqhPL5xdAJmZ1oZ9qiOu9ryJXAI5gUEUxqFue3ZXhYc36LmgdOWpUspRe21c7ukaWo9sHR3jdUoLiDRNfZELOijP2LaSqIDV0QorCgp8Fzd+EgQ/NzPb6twXKuzPTs3ya00QBi6MoMdqiSmaq54NNstiLC2Gn4rC1KrvC6KYHuhSq5QP+TYYe7kRHIGcjoE/VhDEtlAlhDGH4qwKdxg1Xeirl/b1ssgAdrVJrJi1CBx0s+sa6JnPbyaF/77lw46neSb8KWNvFsxPaCLvx3GR3LK96LdvRdep0XcuC0HGOXmnrPAdeQDsV5QoArP3Vbcz5vh0Q3dGnbqBjsKjmBrONw6QDE32x0aHTLbTgit29OQs7KOSqBpaZdnom9OY2VVs32CSiHCQOW/RiRRtNCEU0w6QCubx07ur6cczUJelzvQyfAhgMGn3vXGl6al9SiwK/0ZuKF8PFz3Dm0GNrYmZuJUaqHpxOILEchc4eTHNpCl3/BHyeEnuriq17XbftCMZA9FlQ6sPYy9iRya0VLPvgnbyLcLKs3ShaVf8ZgoD1Myz5DUWlXIpJKBXrcZXZQmqe3Mm10nwZpQr0ISfXESK8JbtM8UUcabfD1rH6b1w2C1PwAnL0iR2FnoUZmdwuOfj4rFxo5DPm9TQWKQlQle0xRx4ge6cRgD2tnln8PdgWYupaWp4Rr4pUqH3qCEgUaqtmwqJUwk68ipigoRyX6t5UUDD87DuJyxZPgPayAC3E+SPikKLgAJtVxDHdfH+6wwnyGzOmOgf3xkjlRlO+K/E13lxW5iDdvRwxmGHSwYye1tPCh3VaQr41MeF+4olp8WViBclwq82tXrwlXnz558AjhCSlg+yfZU2yrPSfsgRotIHyCPtJYZsZXxmlqW8gn5t6ISWKPuDo2HkZA/SGv6vZavJ4grnMj0u05DHoKripR+Cfr8VLISste6xj1+aQiZjnMCb16qhGLhDXtHH6deW5UAhjzkHRyx3ygtRZN6II05badY6wIeZ97vqWUrgnq5NzE/P0I1yKD+u80cc7hmC6NNzxcCKet3JiKIIJhu6Q8IrBCcxLj/hYBHSEDQ9/x7dZF7b8QbhVsluLmZafL6bHqUmaLEa3M22k1DTdarlwItc/teMTJBQkbg9sMAtEBFiydlgJCS+aVjcorH6UYFFI2uz8qS++xJiJSDq3kdw3slbwTfV8opHbC8gMeycTE7gUdICNl3JAybGMy7Gin/EfyOBLH+1ODAkso1RVwYGMOMHUt4naqR+vfnbPzIKohuYcv7gDYQMJ8BU7aIrTvrbPecK6iDUJV1QgASYSGzv1DTUv3NhNCl8Izi0eGnCYxfW3+Lb6qCpDzBcGPCotdvFSgHQ8MAOwkJTL0uYcJCAjDA4aGcE1ESbKabChSl+uXNNf6Y6k7R7UaRstUJSA913SYqlWE+Y5ghBPqtMfND7xPtJzR3SzUEWxjOglx3UhKpBMYYQ8ON5wil3O57EqTXXFTZHiMk8cxjgLBYwRWAT0yYO/MEkydiMmHGpOyHtOTsZSJdpcgxtUzCqXqfuihRXt35DZWwmbW9asKtuHcmiDiNL27s5xh4nuDHBcf9DqdKLGPP+N2sA7pDmK1sQNy/DNjFTlOL+7bOG7I43YwZf82IDVqlasI555tXekJnRDkVgxDDB5UIPAZtzX/LyU+uEws900Y+BJC+N1EFHl/26G7qmq/uBh8bDANV4bx3c7BuVKyR5ZY8q8I0ndOUb4q9T9yy+q5UaDFxMojh126oHLecTbmaSvE9vT+JNhgOEb/2+Wa5SB7N/XYqZBFJeh5j/GCE+fT/frkbHW7xXJIM9FSYZAF+1nSTG1lEpd4A6QAldE7hCqXJtnjYybLnxlPrTNf/cmE5Zn9NyI2Nta/01ji5q8lDPf1PMNWna5MbQaKtpISfIYVDNybmddKJL6yB7FNiau2FiLF3fcT/iGg3hQrB7cwkesd/U7ourwGJBv+k9QZsKdx/ebE/y9UWG72byI5NfD4OjtkRM0ZVpfbmn0rxa0kcH0mw1Bu5MxyxOcYeJ7g6Dr3o8euOAXqIKW3Rcd74LfWtXJoepuChe8R23DQ8fwgpRyZLrHiPYLBTn3HDs7c8OP+ZqAHurSkla5F6qdv4ftLVdgjNwi7BkX2Qnc2ReESyWI/ZUWZt505Dcd9MO+TyxnKe6UQ6CtRfMY4lfnrPJ8NfO+I1CP+SwcRzePBa1VbAteVQFISGi0/H3Y0asXM9niQlLnRNPi+MIBn5xz74pg7i26fBLqgPnsmwnMr7duQwljoPlsm40vnHTpNQL4KYpUGZ+Xd/zJ6GSUa4kzD8UqmVO9tF1W8JW2Oel7O48spCk7rB9efYb1dl57W/puxO4fWRRn83WH1DfF7B9TaaqEjrp1E7f22Td2sXGf95F1WiLH5HNS481ZwjqMBzmLZ2kz7Hqs7oId0jD48LZua0iMQARYKAsJEOMT0Wvv+nWapRe+g87hW0DvutqQeZSY/ZfUSRuB6fn/R7jvQt4eUxCj5YMNdL3p7poVbIfvLwXb9vGBtqMjX1hKdB38AP8CVDyXVjfNxzQ9XwAO3UlCN2Ond9+LN8dN8PjxsTueN//Gu+cAQv1iyqNPm8NH5WLez8s0rqHy7qhicFtoUU4cUEJt3bp/EHLJb+z43Cihf/HawC1A0LrQ/lVoSdKDqdENo5Qpw0f3TltTDIoeaO61/E5Y/AXzbp0k90/66IdHuUozpTKQ89cKxRPF/Us8tvknlNeXY/xIAGGCgZguFs6vLOzJCW53umH0EC50IMWVk13R6JT4KtW0lLiVLCXqm2nHuz+lW+KPp1J8g03tO3PFNFgBv/rBJ4jkDxHy/EecMlEcKKF6ceim8hy23T5o7RokJ7H3ZR3QhBwgN1q3Fnl6z4Tivd/drnZk8UbwmM0eIqdAxw1VdrBHKZV44cTHWJYw5sKGq5Llc4h69S02R/T5cItp4ql+J3nsp7V8qhGVFqBKd9KKsqS7Kva6uqObdIc3OhsEMymqmTTEz5UvKC9V3gD1ZZP5aaemO+704m899hWK5e1apoGHet5c4V8/mWuPc3yEgs6LN4YviYUBonFTqFb585wcMj/etV0WhHxX4MEkWuwlpC2c4UsSPtcp2AtFSQv+Xcyv+ZLNbXd/G9siXO95Xj5CqdWUgUdsk/roCnScy3EVJc3iWw+CFQt51S7FRJEaKnbkCkdr5R0pfqBdDMrF0ZD0m0YS1ESs1Cgf5ewPFkze1wB7j8Pwu1h/cD3k0rpukHmivEkSZuc/o8dfZPM2DBP0wTXg0q5hm/ImgTNiyk0uoeflocuJvI+sc4duuoAyz8aH9u7IAWEqnTtS9kwzXxeyRQoDk4cki7BgljFK/TKYfX2kHfZMziRS6y8SCA1tPVxNciPihWttpwYex1AgfS09swIsze79KiLsyfrGHU5QoTUlVVhJXC80c6ECOBrPC7Kgf8zhyshjERwheXv29B10mgNufjJHCMnwxbYQxDRwdajA5QgJM9hKjaKG4fy0kyhOLpSPjhpMsyHbVZDb+3uVmQtEOXLqjk8RF6O3RnhRmfkC74wLw3AXsODqcK3pwXxO1A/3aDRYoqKIeAHY6WFkNrVBNfg4ms3i37z5IBYuCCs7fB0h2vhrvlZnjztiJiKQAALJ7CN2ZyiPzPq/l4RK0STQ4v45ILATxtzyKT7upWlHF4I5TZOxviJBqR1CuFcnKSevzuZ1a1YvCFmalBmsJCtSqJej6dzK1tR3JBWibk+Zen06wb3Qbl/wasEuVd0RarrUizrXFwfV39wmqJdh+Meu5RkZRlDtKZ7OTMXoQpy5uI4gNzl7xs0ANuhOWsg0M55ck/IzyebxspWRZ19i0NmjCTF8xSUvNPSqtuThQVTfYRb8jPC2Kj+ZuBzt+wkCuixEBM+giIotnawVTRCGxoCG6sJXfgYdjicWquNzStbgnwb/q9LR1YGbBAR4VHoBTTE4RPBJnGMHQh+2aeX4sNwPBlJ0u2QBKo1qmR/ISf/nglJwnb3nlfJwedj+F56Pjv5HwkK0jJxvu+8hMVSyA7uNP+iX/Qn7p0hErgZrRnsG08uhkM/z9KYOxfdfQtj4aUWzz/UlIc9HVdwGXHx0KmhTKRDS3WLvMZcte8bRbyaMZV5lvtwHdIVJorvE9kfNTzNQnwIbc9zb6kXS2gQALCO3VOFhQZo38yCHz5uMcCUShzvCti6TNYufcNUwLTSa9QNpbIAusnK7Yi8W5EToJ3sN5E6tDjbJQ+hwUz69qTXCU4WqcMRbslG+f7s+lxlqjOc+c7ObbfmJeYfAMyODYqF/cFCZA6WYPiUaNbngr2b3LdW3PlGfs88OUqZ84GRwdZia+3O7zxs0rpN2krd6CguEVOliWR1tWYMuYj7fAzJZ6w4wzTpQVt8mbijRLnn3FWT1Mp7AnEmIPmoyP4Ded2zGYBFGkiM8LFAQ6sUuWY1ae+YYDPgTnM2dJnSsxZKwToKOA5KIxJ276lfMF3n3WSRzpb0O/3rZAun71RG4dVI0e9Smk6XlM3GfsSzrAFvC2FLAo3Lm/UR1oBTWMgdROIB9rrkqcKlUB3olI0IzxZcjV1QSpaW8MsFrRXPesmxg/GGQjSf+hrHsJjiB+e7rR9GpmioUMJJuDlr6b1PpEe9mNCcFs+qaSCEE3LPtZ2NBPqAA4ONxpoENSHgnUI34bsZifUrH/lgndEdpXHvW+wZD1mT2clNkhlhBU8EtOvMqZeWrWEvLlNtbAz9hVzx0Pcu846Gm/z4AB3cEVBolLmMcTWx8X3OfGE7aeKslt/vW6ytVYaZmQrJKUsPMHCq8KxM+1M7n3t3D9v0XBdqjeblWrw8IaaCaKZTlkH2TVvWEspFONWjVVlOFfKQ1B+fk/gLs6YNxF7vYyl5/euONpqSvdqlwkE+2xpIgRgZHGlzEac9YiI6H2/oeHva5eYB5zHd2eqhM2ClR4YiZ/f1d5yZT3OoXreWUjRtKbr4yF1DAUb9XdBJXaD3EEd0bXAYDkB3S1cjHonLras9KdtnTYUBHFI63DL7ja0ckfsWks1KJDItAHZHwHMfYqyDf4zqZveJbJpSwCFLulmvved2LFBScTdho82vgT8wXfeNk8duEDQhGhpuDe+pSbb6SqAYt1Yz05CpKsrZFX7eZR9GQAzQJ8JSVPfmagL2LsU+SS1SQkCSexY8IZOLixzwC8tc1BSdZ5JVSwownjDdtmhVa55x1cHMU7mmAyxtrBRBrHNqRmwdIt4B1Z0uNkYDpiiRcVEg0UCOP5lSoC+QEM518j5V0RgQTK4QJwSkKEFJVI8TYQwI9CoB1w+oC3rLc015YsOvRkCk2tJrEFFmY7DuNFThFqPKFU7S7HvPZrIz+pKqq5EbITuQFoNbDO3L3iSpcy1AXM4hyjjQUICwywagMBcTjOzXYlImZd6G8XqWkIWLzf6M1Ra6ltNpcItCYafWlkUPu8pw8qBnWxJbnn0l0t+oUEFyoMlg6N/Hy6EeIfKno7lqxW1AQB5pFHf69TwMfJW+GGgqmUKiXAKynUdhqkS+DPmJz1zlP5WR9PpMuXWYmaUfVEjE+VCbophoU/xBzPu55+WMSEaBafdAtEZ3KcH04S+HtP2hJF8BGmEe6cW+qPUMk467huRDX0lZHa2hHqTQfF05rflBERLZFKHKD7V0Kukd3zTvfdJTsKDNj1jc/diHzu1EfYKypV/wZqJRam6MLdb2WmD2iY8L3xfEsoBJM9Noz/9MnisCYXRCkr05QFnffGZ0Z73rP+BGKN9kgSh2618tmylVDgmdmAkXkopt6AiyIf7E3qlBbokW7Iygb9Egj6x/b5TgbHXDyFntrPUKuJ/UKqloezGz1Zr5IUXpTwK0EUWIAdJAZq/yDUDyN3rj0dmG/oVI0E5E+nQarE5l4w52RPNfkz3iqvnT770H3exk/0oPPe6E+a/mdt0q1nZ9wqdjblESSB6aLEF513Ew9Dx2fI+y7i9bmbibqc14WnJIX6F//utDeqmEJ4q8ULwim1Pn4NjOqRsBUuD3DJwR+4GfpCxb9/k16a62AQJMOYeQe1StotQrKUGN/0NAxxVnzxfFfN1EGsFW4eRIjAyjEZ7Ffu0BPmBxPefGgAscHpavbOJrFQ2pKkFcGimjX+CGGqywtxJz/vy3fbq9x2ICmSGZDF74JQgb0MtCZ4Xwum4hUO8+pzHqNKBXRwClrsqVp44E7TJcI2yFTWWbeuz6ySYqed4O71O2wpiC+daltmFcePdIi1aYymKMo75LXAl6VDdYNKbUBHaDwrp9dsdtOvJl1G+K1UVV8nGItuBT4qTDMDEeLbxAsWI/1KSwGIrxVzHbNChcjBWzPqaO4iQgKm/yfH9JOESMG5x+O3Dz/xZ7WDm64m/7LGhBoYoAzwZFNhp99d2hD992rk5ab/Zad9PxeG1YrF+G5df4QtXb+w8zHktACEDptNiPyGxM1kPcSNoNPDf4qQwfUTUDmPopKYh8qXnHqFyzn0nGVMXdT162rglEHqdQTURA2wE+s9U19fK/VR+e7ANQipUzPRfi52GAkyqcjdb1pt2L+qi3ovC9hI6gq9k+IG4Vgd00weibljxqC5WfVbGijv/Sf7mN9tR4qRm2vruejnMsz6C2/09V5CosqBuiMqhPjA3EO6hHop1yHBXfF6wEygAMlzUVoBqWVjHygLQEXG+AuAjjhB3jo9qQI8nUCcANUe9nVsT5KaGe5+BKq5aOFPcoOkdC3oNY+dKk7u5pMxL1UdO73nEWyExlpGm4vh8RBwm3C19rbCDFQYol+AGsV3XzkQW3aaTvbhO9AQ2ckuS8c+GJLctmypPzUslBqQL7rZLwftnHKSRsaDdDUbdw6ZoKQSRtU4L+Li1fhqwD0B0R5xQAhcmqlPaoM9Ss9lc4HwpuiMJJq9+8AGIiMhyi9lcDUXmFqAP/KALHCHx77QU4RBSNLNRJgMk3MKSyywq9xhHvJKM9Cs+C0jG9xY51gGvnGl1kN/+lcS7mHD7pM+kZqd4Tld9x4qyyJfmKH+vGIa58TVvq+QccDkPKQ6GJCvs+A+bYY9cLZebIlGtzQJWMcFvC6TAle2pthzXBNwkI4KDEJD3n7hEIzxlWJl8ugSQjfNh7qFQ4Ht01DFp5saWNmXU1PUhdJCqzvwO0cLlxByP0QGlpIo8zHiSP4I9yaCrRlggiNCjLuad7cnQ+w48fp2VN0+FUbBYkVGn0QCWFZ7rBQ94qc9a1pAT//RR9LWwlJZMoXi+cgEPjYe3aNAFZ9iHr868gVzp6uWDxFlAqeDiXinDDX6ttMPVMOswmSzeYQiCPh3MkdTxNs7cZV4IcS5fQCQrM+Nhq2xvX8qgf/GUmUcUYG7SKFpPn31shIhhre60W0oZ8jIvwxSUxNzsQlDp29Q7GZmYuY8a3fWDU+uLi9YIauiEkdOCyMMM88nPj0WfsOgRzk3/RpLda5vlTWU0V83E+F9F51MDqpsBQp6qxkeyflydgnHPUyxC7AH881/dAKTEr6pO1G/pGqSq3lDyyzgR2SfjJCabauNE6+5MGbhTyN1coqSmem6x0QIUHwZQaWnKZO8a8AIb5exd+2NrrHStaJRC9u37TtTXOIozQa251BfpYaN0oFTG16E6F6XhPGTOmKbl1/msjXpQnvMiqfZD60xOWQsvwD4E3Kt393xMrPerFRlG3jdngRxhNC8bbBBuTa37cByeLtwTOPCcEWtA8kFIy9EZHiuSKzqDo8LSR2OB+ZNLlcTAi6Q8poANO9w2p9pXF810PnHXkfHHA3tonb1rOaCm5cRm7F0F2cpGZcQlWH4V0wCgI5n84ClieyjP5pOpTJfrKR7WTCvP5d4QJTcw7AU1E/3anG9jgoiPwDrsHh7ehM7nNiFs/gkBh2NZCrSV1CxYFK09rTd6OAAalJskR33zKoVL/C1zdgC/kEhtMKU+G5WRYf8vXC3qoNHF0H2hhlFY0aqKnx3BZ1BQR/ct/m4Lt1lqIHcp3hJvGb3NTf0l90aR2d+vRebC1cLcpW6jqUMbxGbxBfQ98Uk3BRKC+TNmT6TkOD1bOcsxtbmIsj/BYVx8IpBtMu36pGrYMtoDv90j/hEG5mbt1JwVvlkhqBcktgyMEWLaHkOMVqjlYltKcr9lBBCXwxL3uT/62qJOGyG5SIBQYZTuxYK3ygIeE0a1NQlMdFbyzRuI1IPqhd48pkznS8AC53zTW/2cramHacEjcYf8mfFW/yghxulR87jXyCdJcBCYFuKHZ95F+78OB87Hlykhv6BFG8409iIe9/+eXySgTAtu46OEnB3V8gV4okHrYEFUWERitFeKdbGPVFoVeXA6QdtPhec6RgEEtjdLQmtBkK7GR75Gu6ranZD1zEY5uH8VipO/eUo6EALW9nv69bl3Ke44keiCXG7wb93SXUARy7r4SmPl+8JfMqDlEtNG6lah24zW9NyTh3X3j2Rx2rlrHrb+uS7yfu2AbQEi8Hwn2eKWBYzFImiO2J2q7MnVbO0mMLXD6qpBw1P06cnZauJPWxvcJS0k1BrcrmfYG1wKt33IvP86RukiFETHagfVyzBfc+3TzjuJsI5dNOaoMfibGeAaALLB+2ziKmaQCuGaPhA0aluEOhZAcrvj+1WWLE6UqEhebvOMX8I+QsGh4rP3FbO0VROF/B2tqm2ixscOYegyfdcCUK1LY7s6EmWAVd3k2nThQMtwmB8raE1x2Umg/CZ44Ja4doRYUWJlIGH52thkVsqhE4E1dzYB5DJV+BJoXi0nY12pmAgUvADDwu27wf6Vdj2SKZy1Mx3SEsTeAvc8PaTZ2YhFVv0PlhrptAl3FcUXIXNFnb2M71uo9o4tuy45wVhpqTd2+LQOdJjNUyvLQ8o22B1PNeLwzJjC1q4P1NRlWnl4DeaYdyw9I65c5+fGY+XEStEGQE/pnFdDnTK8nrJAwixfx232rrQ39LkW3mYtC+hZr9F7ftBVmRfgz4ZlVPnLA1wRs7MEJ926CAPnCm4PrpVib9EBsdQOhI7Y5eo7H82i/IdqFDxpbo7A/5TGYQ0roKktEpfRehizQFoZi51N4T0aj/LIlK/r7NR8MDN2ezuwg4gM4lu3OgHZEsMHoV0CQpRRZedMgxO9Oyymd1cQWMCHuUthvhcCFseaWaRysD9h68A+ftV8FJBQ6kPjIGIq0gkS7tEJul50sxk6mnQCAgfdTn8aaiLy2ubL9hOtoVGIQa1RQbXynN6Su9oJu4a973dd8DzetqUABhUkcv4+sp4PdAe3HSbKPhjiaZcCbxV/3xGzsOzLPEUhAQuOFEeyGuDyeJiNGneQgmb2DaChZQisYbuibJ0SHVvQL389iYUL97FlEjiegEVcFrs1NZiUJp96n/udqe8tgXKv4fHu9AGhUHAiNPJRebUJZySy7cu4WTSR4hsLGA1LLZMlCUZCPQtmH7cwP2h+6L4AsUdXLhtTK3LPxqcXzBwdaKute66o72fIg9qvE9Xa0TODYLB7mac7ad4c6WbpyCRoocG8nGbA8PqjP12mpFe1MKa9/cdCpZ6z4iUy6SLqWOlqkWF/dfJ/24/PB3QgKmvIpNKTAEwQKgkAAjvtOO/xrHiIaNwNJ9YbJy2D0lkyAtxNi75jfqaFRWSjaIwmDtG3XKU/bg8f7MhpQ7z6isfUsTtz9ijp7QRcDXa2kHQvqMK5hKUZrckkAQkYLZ2yOQw/B/Trh5Ld1Lpo12O0oAdPhgyM3YNG7I/MPuVIXzWgIetey587Ms/0SXRmrxxPnhLt2U93r+Mba+mFQreFk+/30bBMCYoCjHfuUbr8mpHFSc0k+jLR01PSIxhJsRYNjickLsD3hPpadqpibSpTKkDITwLy2iBIkHG10HysLXO49hzcjrUp1BzlivauRVHCIKgzlVoYPc2pmIKRhKEVnHLuzEZsExBD8gs9DLEaY2sWFAQ1205vZ4pBOY6AkCD9UiANxQb0Fclb0w2jUkP2f/56c1fUiE5wkmJfCYqP2koXCePoq+Q9gezJk6/z/3R/rY7TttJdclaXLFM4aNyc87PSWfXyjjKFAFy6fdcbJ6Uk9VbB5qoaJSnDX7kpVo5vbdIw/oRJJnHPGUGHcXzjdzcP1Q81VXJoxpzkREU2flbmMGOrYgp+iKecvGNkiLSs/dRN7tBrf38XcJTOkG+qrrQ0h7yH77n5S1X6HEtPNOyFSKcaVa/KStEjkVDIs5qc+BBbcpNOVJ23FnoVkw28iQJpSdntr/Ya7G2w8uKgptTX+uGsU2+2uAvuVwKmyorDHqu0qjTwJ9WlZx1dG/pNsPkmtJCXdS80N+pNV0OqUaINYxoiGnNamXtHJ0vVxP39xniUxdWhJEZ9EFoFXiepxRla50Vtq4+mdt9M39qXQV8/L+dGiuWLKYoX+Qjan/OuPj/sU1llKvjhlT58v6wtJSXFjm537Hq1SqYbYW38ygVkMsJKXG15d7V59XvJuBvCvWbxpwjCtcsTAy1rKjtkoTK9KoHNLBgRD4Rgusd9UkUQ7DirUl9qac058sKwPsv/cY41w0xxeeV0jkONgVDjbTTU/QErbmrLsdwlFak4g9c0rZXldxt+hXUPwEeiCbVSgkwOzff+fPanOcjGGhZUGXwmkaCn6LstQQjRpio0HFiVFgvXWMl5rEL36TuQi3k+Tm9OobJvS4xA7K55FEqCzVP7iFe4egasdqxGqVT7mAV5IEeln71rMyrpX1vAsZn3uR7B1LjL7HshI7ILh3VaQK+fRdktHovQMGj5xDwDaBPj4bszhb6MRvqqfhop/ogwJlti1GjtReErbtznY9bH/1d7uiQ49suTqnWCHwFBo0buJuv8E3Zwym7WAXjOcJZcdP6whl5y2vW86g2aUWV0dj/EZezmwcvjE2f+FQBWFIkzZs2rEKrn7LV6jyCCaIcH4gWEgwo5QsOoEl09xlTW/VRTAmkhJq/dzVDOPpAPHX7qTUoYVAWjBbZIYDE8sh3PoM6nYiwFwRuC+BzmQjjP4AGQe6MRvBnlrZhsNb+2Yon/RGdCcxOOSzc2dGh84c8Xlr7HDnFAJO9zA/BqMWUqhcqfsWBbff5aPLQxOYlVWuvZLiZ28kLTT635t7jtiViuknmjvYlItjK+flaJ1iX1e6qh0d2v4qsrcyGXjacx6dHAUmVqYnnU9ZmDwu9A8sTuxR0+FGU3SWqSRE4ugyylwGsk3WeIsKhcuYGUIcVoVxR/HBe7swa6cCd8VsfsX4NrMAm9A74Vd8Bcxknoo5e3xhknHrL4zScq+PNWemI1wEMUl29D9Q33bb4ieY71/75llXo665lmyEM/JVh0JbG6+ZBHEILJ/+0phq0JWZg4cXmdFMHOeuxnssV7QQ8HjAhdSEsO/H3B3U52viWt+s3rrPO/3lQHAe8h7TsOwHzyC8xc31r4hue8YBYzxw0eYxi2kmR11SZMELcP54DDoANOH3rwxRTfcpjKUSIjx3+HwmXQOLaYUfMR2qf/h4h+7gntVb38URDwysm05F1t6ayRab1rlpErKrefsHp4XHzGVOKyXFrHCLnfB/mp7BHkvuFlHlCxYys+PyhtUTiKsH3zUm88Pqe9+sSsJI84l1dZ8qKvXNBSWlipjOekwYxx+HF+naulFxwH9IvHF6m5+L+PILQbUrqWxdq+AHkBrw9YsoXZdxEHR+nSMehVGOll/Er7PC/u+GANqGff0kbiWxy8gH1Fprh2cYa+Sis58i2K/NLZCa5gffKAX4iGqyEXR8hlRXbnDMm/SzzhK56+RjVW0AxsqT5jFUinykrOvblkDqwK7u9iR55/JaTVtYM98Uqg6enZY8AcCy4qps5BI8LosRnTt8GoiAU5MRQAUQDgc+dOlm/Ec5xMSbeMxc4tCWRTnr0dtEG+43LpdMnJZpyGrwtoM/czIKnLrlxtA3kBoOq1Vn3PW6xzxgqdylc4lBYFOjYW2mcVphFieZKF8wmSwAo7sxVSqrTePRQzTX/WgFCKPrxS58eYc72Fcg0uvDXQ7w3HVZIduaAcdGrnWobgRbU5cRzNoXrw5mWoJz2gb9u8nAnI8haCKIF6oQYicfEc+P2NLCcRIavGXWg/G8V9lAuaegShi9Zgd/Y6KnSsDu10dkbxmPC5d30HEcQrv8/YXjbzN27vTj/166M2m2+yQAcAJEQq43YK7oMh5RBPo9mXK/CvFF/8rkibjMZvo+ToP7m3G/czIqtkCR95GgeL2O1pABPcPm2dhzni/vf5baCgR9ruZ7eJsfIBrj3QPzuxuKRQ4hqOEaLPZKpXKD193FUTBlUyOPvreX9W+KSdOTutdcFGHevGPjyJyo5uUx7LUMUaPhC1OXfWOkCTApD2RbWbZ0O2bOyM/W6kkhYswb2fzgTH+D74ZuxEQg2FruC7qA3gf16zGrQFNLhXs7mbm82Si2+Ob+yISuxjh1UvwcrKtf5WGqueEf2Dee53Otp9Sf8BC/wSwkL079GBa5PwivNxpYxgOBWZDfX/nGompcS63sQQas34hyPL6A95ClT4pyBOq0yGJXsZo0vnqqAJ7xQn77d91D1mMYa9T5s7f4GTv3HSJwkGDMehyiSVo9yuIpiHC9unCQ3mOwP+RnKwdsrd2KCSddKg6bNnAm1GSm2yBTNBR/oFhiPSiHEugyX/eW2oyKpwGIRlLPpK4rShAGdbj8OW9tFjM2Q4M8h9qS4gJWcubXMaK6jBAWflrU4gZPo4hKy1vyYOtL0JuVtwknb3oftjK9rfItWckAdSaTfm0Ug/7U4mb5TT5MIZVKdCWtNTLjzzDzii6wD0WFZr2lzGTx5QBL3bZKwramOuQDviBuXTyYN9QRYLtdALdSlIac85NEdNHsFjRt+ce6LT94RIMc7pv7IbM7CmUefnxp3ZMtBnO3i2ZaakuVR33O6hiaTcpE6U5dYELw6+uoVjD39LfsUzMlOhdlrGBiM2Sxs3IgT0KvrWDcpV9rZmxxX0BPovQLeWfhPgyy1I3v8PR0nd5THLw+B4ABGvngTMlhT+Kv+5J0wwIDvolS9Ej9CRo5lhYXeEX1n/UDblltSuFJ4N6zMb8fI5w5hfIV3K/W8jQPuAPS3TK8J94hI9SkCphheMvO2NWPYdoMXeoZ6OD5hqUVVyQYBAezU7yNETSoouzmlTAJIgp4mKWKGBIoyeLGNd6onE1cFhaC/hpM/7GMtApm1759tzvMN7sQrO7rboCuDiY8WmvdvClmm7Vx/2QX25DZrKji+Et33WMrJXzD5xHO8GHAfGwpUVLAf4Qk96l+whdL7zOgOxxcr6tqmi0H26DmMLdccOSnpiR0S35qvRC98mnAkFNghioERjB1cIg/IQIgLOdqG1XlLUil/mG9UOgOuTuNWcuFEphldDQtE5fIIYee7NSnIMeNTYafVSf8Ro5+PxBcuZ7/oBgRgQp4kV54F6WYzFjg84pQX7bK9XDDtzHQs7dpskv5dMS/1mzDSd0w0zi/5ER/Wz9ILDWgmRAZigID7oWB+Q4j0CaajGc9/4bcD/NvxtGLz+ZkEU76KVv3sT22jGte33oQ57Qa0GOEwrIx0q/E2ScysWsgXuxReBPC0nVBmxBTTJFsvhXjmE/apZfuzqx7ntXOi73oAsSiCZZbhMWQEsRobKzFHMO8oMgkw/JSeTJ333KhD4CPGYiOdKkHdRTF/awpemluWAkpowcyw/5bWVsbKK1JYVV9+IjapvMq0X1NMqqwCWZkpJdZNd1DGy2QwV8KHruUosbOpcW3TQq5635S21wv3B8AqZTYfQ+meY/rLCdx7cEU3mitBvyPqUSquOyqgIbP7L7Luh2HLZFROuCny+jxG0yeIJRxW5m8tyUEEK/WceI9wSvPx0gYpypmxtyk87kJrFRGO6j4iWM81T5KuP8PYhqf9ehhBafpFrtXu1G6bpbmdJ5LJ9ieo27Z3MxSfHnPK8/c1rV5Efql/Voumt7qV5IEXPfycpcOzDSCtT6W1qYWx1S8FC8Guapl78KhAfwMwcS6C30yFeJ5Ac8sqbdZeyne1kFuV1Ht7o8b5oCj+LwVgY2S7v8ar+T5GWt4blXACQxu+r2WQBkyiN74IQBO9DtAk9N9GKicGRyNyTtdyTMqYqQ5uTaS9LUek7w01Ldj7vOHUzSltxz8GkyIEU1R/d3lZIBxYZ9c9M/UXlLLoFu5wyD7L0O+Pi3+3UDHv7JFb+DItV/fuWHQFmtmDApcazmRw64J6QZzsp4tT12zPIEbD2RcQfrQyZJGXlqYE5mtMUuL6Zu/SsHKUqok00KMIJAmk8XoR5DPqpGypnk6rFFECLNsIIdpaiD92Xc+fzN09Llt9JPJnmxQ1njuRYVaq4LF9I/dAImOtvs70Pa/4ur0w4IwOnNfVr0Pph/TjE+xDXpbBY8IXl6KyupzrJ9zT0mUducJQ3Gcxez332rmHh2HJKMJkwCvJvTWa0FoMc6kSE4ey1iIEKmFcK3y5BqAFxBDpZ2Lfqj6xzY/jm9jIWztgMEsziX99FIlw/LC1MhUNROGKAXaS/0hFBa9g4iaeCmjctVUUCVo2sVTRRtoEHZrqI6NidTbmog+jHguOBbZpJzqezK+JhukmWQ2R/9/zjS0MAVcGf4Hb6y0gUTIgkVQIh1nwNK0yEzwMtO2REmfMZbRDYf3ohM177CpC8n/58DmPu1p4UJPd3i/8PnKJcaBOqKNzXn5I7hx4isB6+9URRCos8xP+E4+TyXFpt5QJosXTxReYnw7GTboN0rlW6K2u7sDm03BxKLJ9KIdSYFpwHlQgUiN5OW/KCOKStNT4Q+Qdj2xsWnOF07K0Xug4BM4zblAy8bTbqlbBjNFzWwwiUA8oIbPx/56Z5Tp/OvP1q5e02kkqy/D11M0grBx1lWMKiRuoMSGr4kh3QvPkkmNeb7IAFSxp0vci3c/fBhTUemg+hN0WILR3BJFEYcqmB1QwyX21C8Tn6UDil8skhX6+ouhyGL4y+Qx92q2xDTSXWg1eufZVbRpuZahDAAAWq+4ZzJbdVBTSGHsxsGKLAUuENCAn1ej7xDGVAWp2grqlXsnIy8/P8ebyk8k4WB6353Icd2o7IW2WwdY6qYnGv0GUrMdj9jKy7j2c9gfThx0OX/pDMFMuqwCppaTC/ZhMtZOIfOMmDotvkW5efQdcvx/QQXnd6ZmGzfLu3O24CY3JSKVUf61EOuhSbCoQyNJw7qF9jz42VclPOcvaBfB6N62IWVLnnjP81yayaZt2aOk7P0tZJp8g2IdiKwVYkKLSt4UnfyqOpozLm6xtaKDYOA+X5zGkG9dnXgZYiPmOPlarR030gnreQdnAkTd6sov166/VfRFnAVBwcgLetSG+DuNd0lwlv2WbXG68XP2mGbW0uG3uMZ19vPAu+FmVwtvO0bllUDSw/JX8m6RqfauX+9imTo2ILvtQF6FxyOulT84TwLaWUG4PKHypk2DnO0onzUyLC+w3ub+JySojMuRW3x+yxPAVGKAAWUU6jTRYyy72zw2zkz4XOVWXT3CWRu7uJ0r1oAdky0tGcqyC+ovR2TyOUKkSlcpVGzSTtmrdeYM9aHvKyHBp2Et+vGhspuVvEBjQZOnmqccgrgwG+x4gdJLfFAKqvWP4JeNx2muEMIgmvtySajNDtCo/etib/Vdw3gEVFL8mnAvEHN3jlFkkWrZi00MWTLqN8DC6WmlhEcL8J53pHlCja0R/0UCdweZczGuIQOLLzVyNF6U/j7onQjNswzWAZEuJ7R0mThH1RZhtum7wYfPnw9oesRYDERRthcaVBp1yTXt3skTXSwkrqiuLl0D3ggXsMJ0PI+VnKY4R7Bbip3MG3H1kjW3I2j6BED73ZbQJgpo9J+gVBepd4DNcmM6Z53uXRPsXiJNxnD3vaoEBTnUOegZVY9HjwhFLWzEFhQWaiX9CwLzJCLMqqEMHEGmtHevokH3URu8fpGaEc2mtJk6BzXHQIk8E/saj7aQ7PHbnLEAURwdXGxwM3ggXvvSKxjLOk5vqZbTZ5ektakJCAr+Ogha4+f1eza06UHW3u7GtAcQEaJwgXisyFbEtP9vusQ7YXeA/7wQTsC5YONXWFhon9UjoCViyYxJ7hrVzRVWwMJx9yotYtjlf/tpujs23Zw+8xNUkfFQHZGdJulFYYEtIHGBSwfYJr7Az2T7ayNfQ4m0T4H6ltAnhoMk3puAPnfFqDFVEDT26EYckb6UvGQSVbktNpYl0xiwtrOFWcvMN4f9WiMsMjOAsg1fiEqPgDxiF6ye/zW/fJNJSyAGWiqajPO2Amq1jJ3w3OpfhBRw2oUmw8cABt818rQZxOk4LAv2wxiQLD5pZ+D5tJ224ewBvSy1B8Q/KsFQ1EmXrs8QUQF7xqNOSkEeZnupAj638hz0K2hx1SOpwD8zIzPdpG8zlqpkbk+yJRTEL3cyp7HnQF8sk1dCBbCbyjAeBdLUhOm/K4KGiYSGtV24Bjybd9H0aVnfkxgdJU3PYRufSjkucjx4TI848ljCKzKrDQKxiwVZXlfeLidjptx5NLY65nIvFh2MIE8F1AZ14qFJb82XV4ZO0LYngMlpcHtEN35iYNkuEGEmR5S0wM8WuYLAN4uWOtqXgQCg3qs2QXkBlK+V7YM640LRIzTtAIYAIBEmbpVBCSDu2gTldLrtQKrF+mpP8UXukUBWA1etCmvgJJx29cZTHGo7Oy0CGrze3/akIbt/b5y1x+ooGz+8gC6519BWOEbBN0acnFR/ovUB/HzPZVbfx0+Xu8cNAoY6egInYARykuLRg93JVrM5BkzQq8S1lEE8cDy+EPzgsd/oKhnHLJtScIR+uzgzMalq1Tra98tJVvIIj2yysFYt0tOPc9bJxusAY5iaz3u4mD89o1Z/7+VP0Xjd6QUQYuiQ4e3XtJmfMAED/4q5TKab7Vhid15lx/ViA0QB6kZQH10ADJPyXZhQFZrbYJEvQJybCUWTjavg3qZr6CkylglMR4e4NiRMYmf2T4HxldX5YTUvmwTnom/9VDAW2zL7i8cnxv+yFJic7N78mRTMTPJrGLFx43qocuyPc8iPGGCuxInKpDNLpxCGr4BVjspXraZUI1DOBHm4pT5PY2WEiRefmq0s64seaLN1FITwhQC5TvI7B/9auNN9FEzZhUwwPBj7zXxVl5NWBWiLsAu3NkpUS046ixu/tIkSgZnImNFKNlDwyAScKrLAOb1Sib+OXg7zk0L3cB+/SV2tMp16pV7Y8rk67diGA05yPWkykRKCcH+CcmC69pZhHgupzkkaE2NVl637ZRSDOMkSBbBAhZQF6JekF01X6ZzsfNhQpc9J7hNuhuIxa65A3KK+zXM/2reQ5MDH8YAtUi9Amw52dk4xfXzli/vEfGBuRR7FbVmHK5z63iveZWMi2rvVoOJhSmoAoc1wtc8nQk8wcZT6FRFGNxsdecrtx1gBMlRdaJ7tYGlS1s3Kan9+n4y/wM2OgTFs3S/6zQWXZnXV7uT3Y0Jer036J0K3ZTkFAXxzpdBvxo4O8tjZzlTiQfCh9lk/5YNgQaWBTsJ8bkIAh/Supyy/POR7bf5NZaWDQrhiIi1DvU3idz5x2yLFrcp8K6MY8bKUWM6r1P4xs+kFuBiqzQwKDJC510AGiYdsgUm8l6cThv7+M6sVLNOumJ5llrX2q023A2VNEdkEsKKq/G9og6yVfj+tyBqFdLKoLElFcyP7DqAneEk484uci3zDctaOwdzn0pNpZd1cuTntcuTZxktV5sYg78Ucw0TeSIGp4Z27qdLuspjL0r6BfNAT3iunVYTF/yp4npAlIJCjKMKKBqNmR+99qZdtRwNExMM13Dw2Rc9ZKAnePirN9HshfS4s6yQgzi2FVd208aIcD7L5JQLq0qaJo+5/3/ajQ7P8WHOSexuL4u7ZUYIbDbcpkod8c+dBQI2lwqHOBHYDwAQ5puQH4gq6rTCihiXQwdoMee14dhaQfM0yCcerYQ4N047hlFqqpu5WM4zY7R+hoZDUxcBwgbU+UBEojCactYF5AzxkTxN+/Yt9gtpFnEOwLvgZlHpsvssW2kBB4Idm5ISONlhBPLfjjx7xLYPIDfarrRdYECU5hGgMAH2VGXrMOqmaTqSECPiAju1vfi4L8VgEYSJmWM++ITgmcvT7fjqoUUvbiuH+9dbK//3cFpgZNHZqm5kL2SdJ1s9pHTq8/k/2RY5HIZDhu0+Hcd3dl3qCc3sGa/UMQQ/oTblxpvJN5L++MdtbmBDlKALONTbzC3gegfwl2bWljsghxTNncrl9lZ42UqY3GP28uVTT0Axtu8+yRaYjm80u/qn8JivlZ28TvcRIKMZSVSvTZdLfvuFEm8Z6B7LFK5pZRw9iiyqOOa/VqKdAWtwMEwsERUpz9if4stZRok52gBLFRuUIXi6zjo16r3+IifsVBzrNy1p19w7OZcq1zsoAcOiyKPWMrdHGLBtCq4IrMIswHtI1ml+JBKSJbHC/TpQpwZDou595zvwx6r9n6YLnx57W+gq09OCTqyCVheu9/fKqVxCSeLFU6EzcRyD2i/U1paHBm8mUM6g4hp4++QGoZDrYKmi3yxm78aOIbg0MKlMWeH1nTVRtizYgp6USPqmth9aPgMwIGUtm21+jaWqp3cPgY8QEsGeAg4CxkxrQeID2dLZlbmEioHJNWlOUQSMrZ4Ub22g9mhWrRVe3izqLhefss4z3Eo9uzrjyrpmgUTSzheeOg9Ydu6OxElz/iFo3x+Ly46VxlMviXI0hI/WU43EpE+7MNR5c8WsYPltaLg+oywIuIIv9ZDf7NojIT5hCR2gsFv/9hAAftKnI+AF0K8G3z2lV16/pvovwKCaZB1pLLLXkyLxH+PR93ZL91izkp58qWZ8Ude3Hw+XnXbM3Pdz0nU9g/dsrpmFT5mcirtLdSU5P5jwyNDK3bfBLZWk5Bl8HI2Yq2E0/sMN7wBImZ7FycoFKvMG13iV6Aw2m2V0PnxGuXDjfRRmTcUYF9Q8wPVc1CuFVikSBQ6sY2TLpOnYA/EgnNSSpk9TvRkin5A5xZV8gYrBYVktMC3dPgj90Dj1GkAn3ursJd3koQ89GEFaMvjmPqljEUqsg3eeDCsugpYJYufDJWUciLv+ggmTFl5Xy+Q6D2t1KPmkmj2KRUKqFd7qXdOzyFGacDE3Al/JVBNLaaXvL/VRVurAgnf3Loj7JmA4rRbd8IMVDic3RBv3DhZEWAxj9lhuvVRbNRpLDchDgDzXVhYwTM8QDd+hZaIrz/dZuQ2JyqjsUNDKU6OKQPOGhGMe5SLUQdZx3WqQuFreuIphpxJc/kfzazAc5JvOArCRrI9RGNW+j6tR78FBA8aCZBsNVqofEImiFMx0YWHNjJm9Br6fyt2vQbsrFuT4hYr3fpLfdz9rGzLZ0yRPD3Ieu2r1Qe+8oGgrgaTl/bk9o0AC2r34ComArrJGJICGmwsTi352cQhbrKwebcyPRzZTvJzE7JLsXrY9RCX8kFvZtbjpYNdDeJKwk5wkLnA3xVuSRnlBZlN4pbL6xhUv8prmRTdCH83Sm+vwbLZhogStF/q+ublC6OeOk6LANzzpIjKu/IOvfOxd/7cgNtJFZuyYE8n+CmvOJZ4ebd82By/e1lZ2/enXbNPxNcgiQXUTB/np3mk/pjuAM3TTYeXriHNVjYvs1awRnl6No4KisECI0z4LlFdE+cCHjLQRrG/b1TlrHLWbiS/ZlKAcp4xl+xvOoAlNPbf1ngsv8ERZt5COlIJHNBDKk8+UjZqwPzbNYvDkDfBwP+p/QjeU4VHj0sldoeXHcL3jCpLAbQ9D6RuHrz39NE92b8iUCS8gcs0Tgq5j55DW+30eRbyjI46wu7I4qDFUoWtyyLLeh4BvoiYtnwBiGESO9P14b3+f/nWs1Sr858l8Ivs7QiU+gq2BxDsYof3yXe/t5YUR2KDVTxUb4nvm/d0lqkkJ9kzniXN2KltzbTwNvCtzXcUQPkL/pX0aTz/aEGLwnVPsNypq6yxqnMq260njBdbSra5q0+9swpFAh5NoX1eBK+l0Ejs+lmsKJ6I9IjarghHJtH//Wwh+ObJXQ4zqOGUxDdgi7LwNka3xE+sy8EA7vG81KIuDJUdNLlN58JgwgSOdalBvtmk9TAI1DOcgrbUZj9FzmIJMiMcd9b+eaSF6WporRXLcx9nTM6r9I9j0onDHjkIyqJsazKE2xCsfMOY8EsdrcURGT77ddFHprEB0ye/XsYzLbpC1nkj2nI6DbZFl/9hIPyq3qBax/XtK2WYn+42d0oItJ2Q7i2XN2wDw131jkBNk+SGh4a1Kg6PmeXWAPpdOvFx0CXLQy92v/0LS07ReSc5/NfGkVnem39cpXYLnMIIOYDmnOyC/IPuxq3ZVWk0cOT12UpG/l00Z2imy9lKyroKO8s+kQK34jAhreL3y0lrUb6i2YpIJmBmFrAIDjlDeVthJUR/jgVrPxB5ZU1QoNbYh6dAYpH7iXd9t/Eni8ThkSn5Uw5yTi4oP6x9fMG9jcIklJgSaC650Soi4Tx3x0wisv3xqbKt/1m1JI5MqVajE3Wfgl+ol/Sqi92FzPhvuy2lHRVFWQb7l6VYgXUohs35KqgP6DzdEBLlQQwr0IQwmyLXt9mxbCfiLjaClGS+rgru1E9r1/+Vs2SmORF/dhH/zqvx8s28qt/XANUnj6bSlWnmlXFIo9j5wi2mIBxBGA0bp6sTqYBfEbOUUPJuw84Ss/PZqoRjHY/RnnuQNofJEAXDYCML89HN99PNn1Qy151o5cQSpOYV1aqhVWyCxr+fCSoOGQ3l9/ETcimmPEuaNOUnKu79o1Ng+gwlXcwRjEk+gKEK3HfFGDqRIwNsR1EwimZ+tXymUBoZMXxC0+foB9sCBbC2ZpaxUtxiHAgb+/3GuVLMnUzDeziJLT0zVBGsxV8ReVqdUt3mUPjyNqBkcWx6YjLIxwcrlbibXl5iepPtbJfh63U9WqpJ72o4F31XSJv8S8J+Pp8Ayl/Cn8okNo8QZMOivk+6dhoRNx3Qrc/UwCVZz7NEczHo0Vk3ipvCdttQyxsrMrR7ywshqcYJcB6NCr92utYBZ0kLvR+8gF6lQO5tgmHPcVb7c/Zze0ipw5CWUl0YWrA+7aWWSAZr/XaZ++LK0xM4XPd8bbN6DvhNPhbKtoQeneadgjX8xzDxTKSELlCP74j/+u3RTfEfm4PesSgAsuU8B5IWJNiNrLz8oVSUBAF/YvimJ+pQJhnBtE6jSLvd3a/9XL6l7L1bDi1fqDBIxrvMkftjXe7dCHHNIc/qMXA/jUEEGyA+orywWEG6tQRxVIUElG1eE+VFBMYRFe0AJ/38QwkJE529YkV4IiAN1RavP/2TWrQ0O6MHM5E94d6SGvOdMlQpAuVXv2Et00dBRcg2tHwQ/Mnc2TRUVwlbqGiali5P+GZESau+usCq+D3xO1LTbSqm2Xz88LuI+RG0LySlj577oW+JK/EeBtQnMWhKcZAa6fdBqnriy77VnzlgYafMzzZmMqsNOopIzuVccqq2Bk7q8RHy7PO6Ody/Ea/MTIYINengePmx43yUfmsaO40k+yz3e08Sc3goOC72kGJUJaGgJVy/IOsSqowpyrqkl130wc5JeGBez5dMYmB130W9I8nKgMOURSrNlr2rvn8LmBSWmACpJgelD99/oW44Cf4gsJS+4hYKkzJnhwGFxeGzvpJ83mbucRECSUSFoZtm0CnKsbcUpdaOeFcA2Y2AWNynTMmyQxmdMGUPyN1CbV2zLc4KSHur0aKUovJfrm9yWSm8aICOlA1TjIx98kc010HJtfpamy37FvkySW6SMvOBaBQ0d8owf2ffUIqGa31FU3//6L4A5tt+zWNXPQsAR9aGxReLpAtH9REMfaIplAlIPfOpMzB2fOkR8wcuj43B7PfEl9L6z70yV6Kc+FhbTKR3hEvaxyXcO2jv9LCIrhDHlfFI+rZp/t1WJ2QAdR7j/ruopu0nNHa9rQv4e6YbVcAbGnZ/XQJRKBu0xhhsO6yt0yH0I2k09GVRg5lWw5KLs/XjqB6LGTOzuAmisX5z03rl4xTT0VNWLMHqBttXrcwD/U7BLcOIsTQa4egRl160UqzWlkkct/YIFQrKl/6KsFuiJDMfri5lnZ7tBqBc0Cez4Q+xaGZ9nvWvB7HpiyT4F9IzCMA+JeHnP8BuUDAmVT4cbt6xuzaGreuxwX4leEz/BQSce6apOxRLRmyuQosO2AdwIZ/ijAGsoLd0wVfjFp/Mj7svSQfC74HZsssNNUU5ajoZpXWip1fQQR2dbZTsELLkklzHkikx7MayJe2jyC++w2YkyFVlg9fYsUuMS04SX/omIfmRhtsRM3EUSinwJ7VLQQT7xScY+Vj2dgCnotxsrTYhOFSPW4g7r4jfg3eYq6ssiuirGaumzpjNvyHyaoMO/MTKjNf/aWRxakb7n2x27A/c+SQXf53m8pSH3H0QwjhpPJbbI09AT58bFqFYWm8l2As6WfyDkda/Xu3zJpMk7gczIUuRNKe2eYq42WxKiybrv+Sj7O6w4gvXdgAWIeP3jF+QfG5+APNn2L5BQMHBAxAapXDjrGonr1u66tRGK1wJbx/2DXY2IXc/1SVDQDR6HeVA55UIjZUL5DeoM22WT35GCxTtaM7TlizYQw34zSzDQGVZbidDmPclJZIJOWz6a3P2NLuQqwHZKC9Ke3U8cK8hYOhpjTlo6LkbLamW9ulYBRGZbgaNUzGzbq+QlxwA9+M8lx18bORSg21d6TatmA7Eszg7M9yNVYVa0cVEn5ROWs+jAgsHg4JUy+giHAoFVyGMqs/YVPtSyl8+ceuA5ghpF2ci3uMXIeMGmjEDd0WFdCtX5ijyIeleB7dT8ovguv1aeeGVtRPyaFd/ccTBkwXNX7p1+AfLYwbgxWQjYA/Cxkuhw5cqPv8mQKLNyWxdo8cDZCIMIl/CMPaiaHJmam6AmFZWGGig7Qw7AdOFaidQ8z1wC1VX7NT807Buqx3BXvlqK7wlafjR8MEIv/v082A2fLq5CuIe99Yk/D31tNSrGocOUs5Ut6hF8Qpuj7Zt89e59JF7XAAdGV4d/xo8UI9Pd6cPu5bFQMzMuGpqZzM80V2AAVTL9LUd8Z4Qp4enDNHj9AMwE5nwNXT2rn12RwR+8/sJRkT2GicTpvBS3TQrQ/dJpjZ8xUenLJoZ2jMq0JjMy8vRdlu/lnsGCY99lhlM+9YSnAPF8v8ewDYTmYYIOP14t1Ldv+RsdXrhC4OQDb2Uxi2NF4i9MnyIgNFhriYlCTK3VwZW6DShqNCJv0p0x9Zc/DaIAaF3Wg6IdSbpgyAHM1jt1YX50Vmzp/BEwhE/ScpRmevg2Cj0LwsQ1JBkoEd1IR4ofAE5g2WhOGR4IPbWFoHfKmbO58xEDU18Ha6ckqKj7Sx1K0oE/cEtCwQLdjDo417YlKgVNNBRwjVbY1BWdw32y4/yjbgSdQ2boNQvfCXdS5nmI5JmAdo95cvJbDsFThgHOb5nEXx1pnG3uC/eAbeihPCQnwaM0v4WS1givuovCLbpvVYxilQQchni13W5eUQ+hQfrGsew/P/WaFaDUOry38Cv9WEXqoltxp/dYcvR13XE2v8AZBReWXi5Xm5tIRB+eS5fFy4+e+rdM/JmwlDYLQsxEMwo8LXalbVOzmfXna05bwdnu6/gWgWHDMunXf8Q2yYC+TKT41hkBO9hI3J8whOSYOdq9Gw7AzakoB4va9Rtx6M1Nq4fqLCqTg1h09aXrM57MDbmPJ1mL7FhFNKcJ4Ooq2nFviYn03K7NpV/TnHFN/vpq1D8ETUTZBH5Plb42RDyOMxSAROcYdfEYyT3r2zxreowhhWYI8ub7DxX2zIIwvE0369WnkGjOwIg3mDnJ+3Mn3CKhFiwEUttq9PJwBIv1X2lq7wwbkTaSa5uIW3BqM/y185lCkChUJNGtRctDSlP63VlBGvaJx2Y2g90BEc/zL2fh7z7RrFBdIC4sFxhtDbUgeDJ3Zdhx1sY4Y73Pn1SiJXCsjAX06EOXeAjJMGXuG/+n2zMWZ4IQUwSXXfDLofmwlsspDO9xIliMaLc7yKs052ZddvituRtUk5rA3awL3OfVp56r5H/UG1OG7A0IgjditkXcbDhxECl8KX/rlFEnvxQmfEI/2essWfb+3L22dWOa7O7EpBLuMDkYI19Zi8CtBPWSj+ZmUHHopdgHLsyQx6ThlOOZn/y3WsmOmbEJ7XeoiQk4mb880fxxM0HMWPIGPfN5pEKLKO0yHySzvLnqhR9yQAvhIR8NswR/JoznnYqhm3g0aijvld2V1DUTtUWOCmoHmn5fb9mCJNxEm/V+UkLAazyYf5m0O0/4Kpi3Hcd6TPgcD7bZEE+piHWmy4v8STmn+atrIiwVkBvQNqwcKluxfQoOjKePXaW/FjDqFcB6n3Z5Ru/52/Pawwi3dHXUKEEz2jne2S7hSsU0+kUINiulJhtsb4ocLIQEb9S/3UdypXVAtS2nBUwHic23VE8NEYka/gUQR0Px9FXdxfXw3wzk3P+gTWzQDMknPdbvrcYWTBXVX9Dc6qLpkfPuAHe6Kv9j7F0NAzBH3HgiwQZvzvB3s4Ed/9d2RQJNX2un5Mk5jxkRXPl/YtT6UwhufHZM86RQwZNlaVz+WMPRFyN7pbeYzz4JRCM8M9IQUMk6hb6UEbyhVR3tSWsFH/eDXfMNQ+JNbszAagGS1aGDHdHCHyYVbq8IbooIUd5CvDlHnMIrKT9wR50kqt+goMbQFCDDtCIvt1tFE69+wtEEZ/1WdG+/wVUWUxOH650YtQoQV3HHl2/t3OUJLFk05S4sU+RVmQ2s1RPsFoeos5OFLbICQyE/kZfONDNZc3agyo3uYbvvgcAPhW0i277UICuyciKOCGrz5vYMnGo7bzu+ucwK1F87UJz2uPdCraUU92hrXUepg0RfU0HHhNEYLsGaBbaOxbzVXW9GVjRMTJ7U48/QvSHA6oGdGRwpb+Imn/l6NLc5OtLLjoU/zPRbnfPKibIslVXGpxO8t7WgkjAx3cZklyLqMaE2eNQ5l3nkIR6WOlH1pN8yHNTkkNtJBLBNXhsEHK6CG83es2/yDdkft8Sa/TXKsdF227OEF/bjrB0aiUYg7cp0kBhbRor34OBbLp+UKI8Qf+IdazGdgc7ZaiSL6oWH9MZiV7r0UvPwrVxZt/zLPzf2r6GXb0lTEnndSefHAv0bkfqaX658SDlGdfodS9W+CmSnfTa2DWSj1TzuYNhNE4WXXh7/DT0pV0ZPLqNaLfxx+inDzyhojyyjpSSjncQjtGbgV6Z+ACfet7t2eTqdOBf8Yp3A+mTpF01PGz8Qi86XHCBbPmu/pVJrp6cH6DArLG2mJUUxj2tq3a9wWAPfr0k2gk8DD0WxSxSIMpHNtO53ZVAu3oz4VXifnCHlmSnhO7DcDE/94xfmuQVOc2jhXaBY/KXN0zetvoJdSt5Iw85xCj9dq1qfXvrYXyVbcebe7Df5Nn9n1XePT4KFapyqZY/mIzyrFqqfeFOerqzHAi+s2gNR8qusB0TVDN0tOLaAcxlLX+ULgJhk9hTYvu/KueMgIeWaNf92lYLa9UgwFN+9I3mceJIiNH8TcmOiYi/i07P/QfDA5oUeg5/VRcdNG4EGOx0wXsHmfl2Z61X8XdcBN/27dS9Wmx8L4sBRNgDhUrTu4WilzQgbNgqcb+vEk5AoOifYsjk2bMD4JouVcgsLKxag/HhGfsPiJmSJKiwdBZC0TfiQNDwGxfB8LVSaPN0O/oVp++DpzddC5MRq8xo9FDfuTVvUIcNckMtIEB7dDEQMWbbyXCo1hrkwmkbOm/u13lrRkwPFQPGGEx7Iypm7e/F5EYLGUHqm4GFGSJWrD0rP9szPLijhiJ2e52Yb0+L9aOqkkgmf0kfurfZNwleLxjVvzjXrF7hPHVkzzbYScB1++BrD+Ec5ctj+9I3hwjFcs1uh3HDbvQ8NFP/ueqrBhfO6iDm7bQk91RmZM6m6fNaO7VOaU39tr9DB7rRuN/y8soriHoJGo0EkPu1bJNnwlud2aowuM/2cqylcgW6j0+gGtqNb0Yq8fEENN9CP+pATdtN1qhqQmVJsUAc6myXP8+Y1Q1qTqnExmfJLIO3lQbEjfnJuoojv72GT4SLtW8ATHz2b9PP27OT2I64Pry9+ncLWIoZB22buXQQ6+JN822jwS45YFlQNLMqPnpsIBKYWI0e/o76aQO1JQGk3pyqDN46I5zKu/hLWOA+uDeUEwvzgIh83vobVXcfqK5Aq3sOtl0A+omYrCoBALEC+VUrSTBx4M0v0VtalHXz5QQn7Zx/SfcuWsA3lxQcj7C2z4bQI0piLSD3RP/eUzDm/ueMAa17+sig7nRa+OQUtH/pPW2BBTCQuAShMYPIHZxlPPAexxBCJSmj4kDQDXYaXnnE/9QYsRI3Z0b45+HLTumwdq45Q5OxCkPAdryo6dvCmhxu+lK8+aN59CL/Pj/J1mqJdxMzxnFv0bVPAGITtHJWr+zeOYQcRKWOg1FsAzMUXC5EN5TyriAmVspMWudn/SUxXQxSfwucPr8rUs/AI/PYM24zIH8Ee+8MPAdMjWSBfwEd5nMBtrk/bX7kAT574WmV6VWDsocaLsbTQmip6VtTOeR7MPEQhFHOZkqvsar1HiCDlQZjFekfnEp4eg+LWeGUHvkTY28iqVQJVOkPti/x0GLX+aUeDcSsjifCZ/7WZtSCjkA2oZCFkx1LeU4X19ZB/+u7vhvX5SPIYeY0GRpn7KqdPKhxGxW7+/iWN5livAVR3zqLXNfoiqKGt4BerSP3M3Gbl0m9HrQV1xdcIVDGGe+1cqMG54Y4/MCN4QqTjFMIMn3pAiprLmgNWD7AxKk+222dR9Tmvj3fVVWLqO5DbWUIIhHAPPbt3vin7ulk0kT2ENyQqgHSv6uZ88vW2xQtegSzakuLUCMJ8x1zNqeu+99cLAvWjmDswiRR8CkNN5ez0FQUFcCvqsHIZ+qP25FPMopeHTf/6uvjyuX4EVGk+VjknwEThmEEnQkCucB/dKQezofSsePMVXe5cpM0QMzPyuhQ3SqvkUN9QnTekfl+Vl8G8NzVC3cmUgfO0zB0WSnC7z786dj6gKeAnVTayIA8K+zXtuGl8UVxAoElPdVhRNZoApsyi65UxOjNPQrbhnqUf1/5NBJRQpp0h+fN+nH6Q4cumofpPtL54GdWO7RlSegUKePbhFo0SBiyLrcgzgmH7ONP7LyEe4VEr4VWaKfp/6/XVsRl3rJ+sw5h/0S2GqxdrJNet6reasy9aEQO2fgqpqejxp34172eX5MOS0oqskx5bjQbbD1pR6vhguF6yicOXAGjVDRvRzfq0nQTkycg7q/rHj3YjQy+yXeEYU4q0HN7OPvchIs3QtBU6iRdLIfgB6YNExrJyaAzrpZOvLLzdG42iuulJlPF5MO4QQQT9ZDuKCXMNaJ87K8FKCWOyj+5D+SynaQeVJnc/HZJocYoX4SZAA3Y3fMcT8/2QMXUdH8T6qiiCj685Yaay+33scxDVLIRJaLcdl83wvG3w5m+RpPwbwZyS1VjokeBNvF1CHmDdc72+CO9VC2Ak+D9hVn8mbGqfYiirjEsC0yAOGb2PVzr4A+rMACwdr03RYWn0fGRn+fIORK79IgPZa8whJUU6ZPivoyrRwOwZMFNKS+zv/TngmPQ+PTmY0MMHNB3QmUuUlI3GpB+vKZ3po0hSk8xyjQVLlQLOXjoLLWWYDBPSX1lCJoOmD1oGclSu4c8zzb0CxpwilNK8rGzM/63i2Q/y5/Rccv3kn+srCUUcRoDZc76qj1HQNnlmzFOSo0LfJxHCGILN7JqYbjI6/BTy7MbzW5bByD3UH7NUwD/LL8bCqJmbixqOnz4vymvSd7HmChprwuJ125JCKIeDCnN9ZYmzNvpw3QVo3CkuxqnPQkRSMhN/zx0AI3fXuZo8tCWCDrVBehXN/HKGFVZQaQX6Jx9BunfEZL3iQFhBhTVa6kfnK8JlpRbN/E5eBhV+cZoetTZhVZNMsLT5ymgkJVx+j2sKrsCdFhDRRwTwzM0pHHreXAvMeEh0aHb+vWhtScFra7W2Fc3LT/KtF2gPpyzpy5V+ekbQvhzFS3i/Rgo6mJwVOrWUVE7eI6nIHnthgDzVdP13JW5hpl9HRqkqe9N/KgttuHF/l9OCI5S4my08PETS8f+ewx4SM8iptmHg4Iw7pWYEcxJm/rlcx5rFlDEFypmZ2+i9rrEh5gXf+RFL3nYHmCPm+4Pf+f5kfzU76bRUFQt1o2VrKjUU8+b3Oeb9cEpg8NK6rPfQsQiyBliBtwZVbhsx2zeY/tbwnBil+tmX0oaiuRaYU++pWFm+uoZn2IUeybYkiOVZeHVGbjzY5d8oMliycDMNhICHtl5h6dYoNy7y2ZAQ/ROx7KvrRI5+MhEPtNLgdoddM0GAPX0HrpMulf1KMiW8KKcPXn52VDaKiUnIOOO9ar+gphHbhCl0F0qCL+g1cQj/8uteNO9JwsDFURW5llf4L/yy/BTHOhbJ+AwFmGX40GwUBaQJYR4XWXM75O/DElwNp+EeOT7TwfPzHzlw3H5jcvplEA6XHU6WQgMrQVa936/imsiOGE+0hyh0ThaOIRSE7thDOjYSO4GgQ68+X0/qCUHZdV1El4CSOGX53gGu1ZxC90q7GiK7qQaupuyrLvp5DRQmWtw74D/AGhyBBv+L413Y6Q0ZI6VyeQWjvbiMy7g2kmo0oN2FNdGQ/h1rVGytzcW4f90XY+FytgaZfKujxqOMYHZKiX6k6l+mYJpiHtxReKkHOjTs7HNQd20Ss48RBmVmr3epr8lumkWe0BmS6v2s0UcvqaqV6fA7feSg1Eq+W1HCKE/pZuBD4LWsuGbsRmKyF+wjuEdZepTmbRI5twyXzlLUaXMBI7tl6PKRn6UTUVEWJD4fPos1Pep8aQgJAqFeEb+cVQG0fi4VAU6CUd3FtZIqab3as3z2Js4E7Ax6CV/fww1OE+hc9IE2zxSAe96N/n7miXUhjeYI+rtqqGy+pBoXqfbhSkgdFuxm9oEmkjDWYjuQYNtxujmFqyqb2w61TSlmCagxC65OOw6HqvteGVau3gDCcNECx0zMXPJdQYBYCe4VaJQJ982g4sLTJ7J/L2lWEskj2tQx2F59bUQ0mQawzUG3jAsRH4UKlK84VhAwdNPbBrK1sVBbobpg72TnNpehJeGX8GFmVFfa0bWGu1hdC6kzqwMyABL6NxKZPHXeHH9fSVh2FDh7movAErUXk1oOz7hwrmKJ6+jcn+Cw4Q2XF3jKRJbpK7bMriwk/ZFCMAHjCmU01ZRVtJlksvhao0M6TI2uYXmB+6rYBNrgRvhk1c8h+vVuVp/fy6i6K+e19e5KlHUN8/5tETfCQIK8b1Hbje+3Iax/x1vnMk+Kq0/Z1Ybae86N0ICGpCo5D9NOGOVx1zJZdYylZ5bBNV5IsMMwl8Eq79OW9JpJowCYRdu9QV4YNu3O4voN2/BtDCZUKWMaCAewqCGIkZR/x+4tzV7n5vpeZDUkaPlyQMG3elaetwcW2wY4CWSqriyzNLwNShk1lJuman+kvwADfzibN1hWQyh4EI/AGJ7UwkI7dVS3ieX3dtFpFfOhxSa6ToLVEMB+c5nMHP48MoJt7LtoX2mHQlCssSijYSqJ3mCVJn1UzuNt9rpzvPtie6U3eqMkrrSbAQbBNx4g7G0CCHRsJhYYvUEqAB4UGhbyQGQYsCijB7r4OX5BGjSCKC4hEKzeT0gtMlv6+LWEnvUfb8bMHVvS2qWDR1HKtoi3RYJZaYYRq2GwXP//m7rJOcHsbqv3+gmytIlTP20Tb5Uoen9kZO+fYvH+/reKd7V/10IJzqReM1qgiKNqNvLPR0xPrzdHdnAgmek5K7M88/gXRYPSS9ChVq6mswNjkPgG06xNcHHrOTVIEJ22RQVPoo1YclkYOgCx6xDIjFBMhgCxuILqJyLhRCsr/nSomHrRKFZQLfdtF0EE6+sYijbfE7Prc4Fh8A8jTyogKOLA5LX/HAqikG+ayXRhXFRM/JVF6NWmlDQbIujm6kvujIeIWk1dPXdklDHqkGPwSkmE7ubPs7hMi75AIQuiEzvZ3TA2MCejrGo+6qp4HwM4IVzXdfizCCGLsgR06f7yYvV3TUuSntsBtre9lDsCJIor7bA4yJr9iTDuVtBjxHKMRqTuuzDnDXUdkJZyOKsjGsrE35VJHQWtcPIVZmZ9VaNIXl0UpdMTHV4HFLQjlpl0OraN/nbgvbHSyI1qOYgNBJ48VdvR1/Ign6FJmTzIVWQN13U4RuHfpvkGDdE2mUtDNCPxb6ZVcP40F/RAkw0WxVSAc1Z3EfSmgNv19QAy6ZWsMwekOAflxhiR3qH6PMI+mx9W5eo9TCbiZOfDt7ntA99hvndhmWvYrn+qSJ4szoizi41UzdnKDAKiI6F57q8apO0r4V1dhfYD9sEYnnEBOSzxToToXb9y1Gmxm+yDoLoXQmJD9UtiaTUEngsNc9snpuzXZsN/thDOeIEoyYD+CmwhejJ3XDufVTL3UtRuupe1DCb5LHyg9jcghF7qndrXlHwGVF7czc98/AD2sObBJyZhGcezW3Xqt5YolVFrS7CUAQc7lk/9eyhpD5Fhnpl/xAiLTXaxVVNMAdO7oPpyArFilTwAcHotqCInYvAUPv830M3z4mfOn4I4bKPYN/9kiuv9zabkRzlXPu31cZIs0TVj9SNuDMbqrGLHLMTZLY4jQDMccFW6AVRXyIqPrM34Ym1aY9eQ2ZWzmf5ciyaTE3Ih2ig9BxqWbYjD0sDDHyOISSkTb+tSB6abWBL7mDi9OqziKQG36ZUErOOQWb4B/dphpAIBVKGxw0WSyhOXdStToB4+oiWjYxN1hneQy+5q+PNfAhfBLMSeHcYhEzcwIPl2xFbTV4qbtwQdzt4rARkUOhjgLoOihBvbKZNUbxLB1lUif/Fwm/OYL6k2K/9nMH9Q+MemKd/8jpLHqgMAkbg8YeOneBCAD3x1a58/tAk+XmzFK82d4d/MpfIbWPCIYQjvG8w+MHJVJFuomDO8TPy+Mwb7UwBIEaWVZMqi2xoc13Q6QbEOBaBpoy0h189Eb/x59tMBTRdunbpZ6eQ3yHKHtcAghnWM9WXDALxz41+zD6XgOvpc3ekdEMvMRQiqqX7QRGAmS+58cIFw3z0dakoxSPHgPCxKW878Dp6NBm5oE59GZV9TxendcJPL4Y0b7Nu0rY6vrUjvm5n/0FHIiLmWv6yb72O+FT4NGrErB6CNY3yuxVqT9vAOezC+sA+PQzVODj2AtQUUKu8O5tdUppSOSxrby/4KoF1UUy6pRRqCTpt4kQESvE5s4bVnyf/PO7Wd81BiiIDy1QecJcA0/9nLHPxJknIjgQ+3AZQpqZmaKwqlnmABfHLi/8TAV4j7YpiVz8CTeUpl/whuKMeAXFEzagw+0ys5EnRE+6iD2/WvKoF3oFjfuE0+fr+q39C80/PYsxk0+Rr4jD7+DYig79TWiszSVWWN7xampIFpqw+3dY7PhTKGJipL4rJRChjUv9xs7p+j9E1oXNwF9pUdHtc/DVg9l8LRfCOmnR45U0fuODrlx/CHs3097bkCv2tJBkYALeD6PLnaaho2ffhf4LhZHWsHPgFoakPR0D059/6TOpP8ROWVyguRtaiKOnM088hBLNvIwlIJSplBYKnAR89280bdboPn2nAhHlhTnXRRBbRUZaJl2J4M6ZT37s2iNVa1/DShVXyiXwikdPhVeHYs+mo35z581WcCJ6JarCVC14KQYrIMWc9d+LRCefDJAmUDcJaFV1mvMf54xxNTq3tkXSgHjRE5FVL9g6o0dlpHVL3ajJHznycgrT7TpHxIRs/MikN5FAZ0CM9Dpqg3aMxWFHwcqAQCG0L++V9y7kHA2OJk0Cym1ha0nyZ3U/McS0Fgl4hcnrGQQHE3zyl2EV3wEaUaMdE68qH8ujXs2X69kt4SB0rQmHbdA7FH7DjxzyGAEW8CaZarbDNQ/E+mkrLe0+rW2Fkc+ACmK+rDO2nSWjU6gF/u5qY0fAzpuDgmVgYpMUxBuRQw6haR5IYPfBKMiW/NDx5a/22HfwncPSJ2apy94WlciBjCFWAjne+w7DqxvcpKL2mSI09d9wRglG+kPlVXzkJ6OKk1rpnjC3jHbx1PX7GvhG5Itn29fPp/F89JJk46o3Qily3FZaRasOHbcdrm89ABv85KpLUBkKCoN1il1V+kAcrFZpiNsnSE85IbNeOu+crPiN/DZDL2jslX4xa6sPppYp54/U5IxMgwdoX7cWlMjjgCcAu+z7qM6i4Iqdfp7wjLbN01nqzd+WWVJVaswgknUI7UJGkjusOcQLS+gGMeXe/Dw7fJO08kHPDJR4+WmfqT6l4nf5Va5/l3NfdAWABClBIW/Pzmfof5IwsghAN8N7Q3sxIipE6L3ChOaGXqBqS/XouBe1+6G9cxrxwV3asa9MuOrl6tR8/ghQe2WmW3jO2bEqOpLsHd5yndfZKy5IvqUJ4zU0Ql5BryCJTvHgk32sH+rhajGXiaXvG9plm5i0timHfIvCy1/TYs2KoQ/k/aAhVPigdpQWy4SZsjJZ1NU1GxgBwi1B/mbsVIbcYl/i3YXb21eYVxYaLBm+CViPJstRBqKR9IXooOkNw2D11uknlalOOHm+iUfhaElNEO3bcbO8LSpcNwGiN2nJ0oGIPZvHj2SliFuQFtCYc8oc8DEmgDXXxh9yoVcv53BnQl2KkmU0rR281net4doAtO6zRFXJYiIF6el4yj+DuvvDhGUxUJxCx51qyWQtUflCd1bD9bBHPxgACLHK94kUWX4D38H8qov6Rmvy2mJdQwrWyIRgYHYz3coOwQupPVJaHr8PIeXGO2bTsyqnxOTSk3VRnn61UDIa5OpLiQMI+WrxN2+04ZQnKYw05Nvoy5HwMryYGxV1Ff7xI4+GdQqat3jcj5jRUiWm2soAuxsZqQ+mkL45o+ANP0zlvWSmEh7K7x5Ex2S2TfhJllkPh8RQ759KlJmhj9mUNO1o7RQ/GyghCPcO04NGeaCUZ2ytcXMifIVuUnCjhLpz7wsiUrsFMdHX83AlrX2CFkhHGPzs/3SFCUX2wNhyRwlO/2bJSnTtTuWiby53gZAiyWdorHqgyYjVGZLSeA0lAHCw75mRlhEwIEN3upm5WIlGakNBb2FcjWygLotOigHJx4EJ/6N8iEnEyMfyB6pxc0JYucbslR1SutebaVo2DgqqiXprS999zLx5K3LvhyHzgsY375LPfu+Hs5dSltShsbL0bPjQQF9vaqRShu/Rbnk9zEnwJrSupjYRtyfh97y2DghJOC3YiUqbuXDXU3WfYFmSGlD6tpTewi1B4elS+9PdlATYymFXWcfMZaRESFI3I5uLukUtmnn2bySgbs57V0nyCxoMTM2lSQhlWcuY5+x/OPjqF+sMP9mOR2lbF2d/UP1xbCNFDtsqR90FYmwO7vOzkvL023Ju998xcOf5lFiIBKKxdgJqPfoGNXbiiofrI+9FEG9PcZngI9icyPXKJfj/byhO27twplzG1j1qMcWlv559vwmJrKC+FsTIMMEVDPWtAphq+kuzjUig3pdOi4z/h1r5XRXzjL2QHA1/1aT8061adLLceeHPBfpRWK/Q8CMFyOUg04ZeM89+Y8WZfYFMhuWEb2t2IQmHM3pCceYirUHSP8t0fEQfQhfTN5y10zEHcZIlq4oV9GkKnWwyndMQtIgto4EmysXNrpXJVLSkeATZFEvWrTk9SE67UDRknkBHbvqfupRUxYEEuzbEpAekOnoGwEz9Wn01zS8g5Z+8nfD8BLQhU3tNBFE5zZw++X3PYCaDaM1Lqb6dCFh3uNRzxyCPkKKRz3lQbCYrlsr57n94JMglsH0zFr/TBhzXErtG07PJnGHxhtsOvosst5WyRfT/N9xp3xMIpa6SONT3Wa2ULIpEOrzwVNgronVDYiL6Aq2P9NYu/SSFugnWDwTVOI6gPYMBewHoDpfrGEhR1pb6wQTFRk0P3AWqXYNRVtEBLVs/tYnVzdgAWrA+NDmF9hGZ0L8yQqDCR+PsnsfHAfByZ+Rul+LxhOpAXmF/9027yZqkF2pKxa3NLKSCUSfFxH6Oayg7unEo0q6O/IUBLtw8qg0ORynkS8bMAgTFLnVgMcA1nppYlnMcsJY2kyPVhkU6TkTq6Fl0qULoCUZcfiBiSRwt+NE9YAhwG1IMedtGEOf853gb5Dym8evXeJbY14LpuOGfeFTP/d/sgfo7fxXsSjQsHwE/KlxRlJHzRNYUrtCBbNcB2E3rBj2DPzQ+7nrpqpdQGsbs1O4QV1TcZo0lOGstJCXwtbxtvEuVwryhaaeFsVCKuAGP9bsBZFbKIkkkDL3gQ4vOynptM4MKck7sh9GU1JAiEwJYVXi5wnzNF6LjjciP8DjlmBD5OdxO9yqRaaoXqJnmg5ClRrQvggFjsJV5vxfOVQgQYcc8z1AVK9rROY4uj2x5OQlz250fakEFX8fPdGv1FAAbQQG87XYx9qPQBe2zdwkqZnAeijMnoObWWZV4eRkcPqoCQQnAKR7d9ndWTFCiigN1xZ5TWy+8fmIlCJrFYtswgbGNCfIuu2WMayLC4kKZe98RcgUn6UyIQRPyoQLu1eBLii8JeLe6BKoOf4hVkF6gKvXRjYojSH3Mgkhlh0TkSQjT2xzfZ+gz+r9pQfnhCQ4yDln5lnBqocxeTtIPWe780Ztm7k6zdyu22DPzJhlhtmkd7IPfUDNMb+h0dm+a4pEckOBtCPiYcWfExDuzMpf3XZYD2QSfUQFBzbD7V9UF4pQzjmNTIamL348gvZ7O6gDbGQa6LEnLo3QSGshmk3dHhvsFkrz6vC+4VJ46gtKmQ1u9bfZ/Ijy7Yb5B118LyC8HVMJgixFcMNJBc+fvoHl9zbOtp42Z8ikkIyruL4d/AGrPi5m49ECUHdGUK2pBtPQyK3xYTnNoA5wPzNbbTyH4TgDo9lL+vB68+5+WovAOR61EI0hToYHE7lXabtVwpmd1mNFVf5bkF2dey8k8OVnwmp1mw5xDGCk4L1Ye0yWDiQ0hs/Qeg2UbuI3m43/aoEcXJv9T0q9ZCyBrEbjlrKKfXKi4v6vhHX5qBqkHWGZLKDdvUN4TcAMiHnBqHameOcCVdbkLKoS7RXPf3D4CVz0+yLazJMdwpLm22ZdQ3LOEaXZ7EP4TxemtrEyvvkpTCgL6HAlJQUk0/TPAdN2HFRYNrES7r8qv1vC4MB0+NJFHHOB9YWf19+sIKLPGgliqQGeM3woP+0bRwc8XdjgplPPMmnxMNbgCz9KnADqrguec+nXd4OT8OaIz8ScOG4u/Y5LX/a5+9pobwoBh+TRVhChN1p8jz87kCV3IfAdWMgyO1sP2YBXCAJkmXl7P9bFUeGkEgBR7Fvc5KFdsxWObV8+0QUlBCHx4VbRohjCTFIb/hwrtajATMKKRjdfbobxD0NGzl+VS0pYRH1XkojFHA2z8+Z34fvp7vBuB2ibQJfL0HNfRSkxDoWQUh/gRSXUO5gkRKqm5WApSsMKRVRw6tI4rCp1Sahv4vGE79gmmbqxEvLHqviMstvv4bNIIzMSpmAfL7QMgNGJO8wN+Alpe2GmuM13O0eNGoPEv9VvTtDGGFuzqswaRAkVgxy+O8QU7GdrfTMwnTmfxoEwUg3SRwPf6XiURd63jMfeIcSZoik2nIQWOpz/z40f8yq970wAYxYXAGCCqQQi44Wg5XlqoOqVzMoDXrvj6p9wGmY4ki3TNhe5wSru6fDhtWrPHpEsFMTtrOax7VRswB7PCcmquEvCl6wJ8SQ31P+ehP5TuitKeR+HE+vlWfnSIq3DtYSK1uYKd2UUMbKXUiU+d2wQJOak0oq8QBkN9kvBCtp7sZWepf+CAmgMVp0jjE5ho05IoWeR6ci8kWkDl3DpgKwHlkzGkQjlQeguf6p2tbUcyWuZ/VpKaJxCwwGhIR/arbLtKx5NRfemyTOIBF7zQZ52WnEuJO1wQdddajTrWUmFYWdmzk9lxeXRzvVPfqoQ0MKzX7DwWhztx13exMRfW2pA/1edTxG0Pj3Ra+u1X+dO3Aewe0kTNR56nbIXTi/jGuEE23ZsZgH7xrkf+HF2K9sYLrhuEF/dxvm+O1G9u6RT6I2G+xc9tVMI6MhbC4tq/FPKNSYocR734PO99DNHgcD38qaepEthM0n0p6BsUHcyjKT4GDkhUxC1DJzID/jq4khjRwY8XyPU3S5MLWTX0XTxKVAdZGbAITXXuZNh8N1Qwf+t//UWPfB98UONH+G6SY6V6oHRDaN35T9GCzKKxjWzfQ/XW/sLScfRWkNNfp75gHba24l8XUzDl0ZhAQos9mK2p0LJfKL8MPSfGCvme1IBQ9F6K7rkqiQIf7oOoq/eBaVyOUhEuQNg9NlYrTSsECJhylZ71aaPAwRod9Ix+9IuS1V9EuLoHN2KR1yJVD0YoX88IDbZLknFDr3vNmLXTYFSBFFMoi4wpv0UHjE9ok4oyoKdAUOLz8QGaZe3/8HKMqzPSPkYXfFqgbOOX3HEdsVpO6gVd+Ghhv8OJ/pNUE3sJXWP/cWwdUCLUipyPnyLuvcRlxUMcHCLllrQu5ajgryNSA+dPJ1L6BmeNxFcQHDuuZxHhwcFncJuk/TarvUY3UlJzEioc8wcP0WZ9XkJDzjVZdJQYECpfdncISr95WKfMK6Q99mrgdK7+8Yyx7pDRR5K3b+86kAGc4eSttgsw1GaVEksNOwpwRpDeG0hjPyBZf1pOYYFTl+qM1hqQdENoC6W37KMhJ1CobUPjqSv9mak4jnxtjaf4Lj+4ROr5ogKd0DBMEosjEGD/QLKGaDJeZAj0MY63ECJc1utGpRxbW/35SOczpRp/mZJegX75I4uaza1fe7cCDXTF0+2kgqdmYSmzhIz2MH7Pw/4TYJ6WteseJBy+wizVhMj63OcAo57da7QALZNcrV1h1ANVs2kmh4Ix3m0HnfA1fHXGgWTBY2+TcsfEmFCRWtF8Dui0Yc+uZfyWesN8D1OySS1CB1yXSKX7kwehP0ODq0odQdPxz/jtq84StOnxHRgpuMamUdLRih8cuMLaGP3XYTjj8NiCuzW37cRiJ/ccIfwimUr+eFMD8skkgDdfqneNdvoQa5AeHOWXGVJIPZ7hF/Qobo+u3LGhO4O6kwR1IYdeuARjkECFEPCSezJp9+mmKQNeTM2iss4Sx/zHwAEH/fz06RGxHEcj+nMQ6PJulSvUSxzCnXqqOcMkQr0sNbHueoYmJ3TVjIfV8jH3YOF/5ndsL2PWyGuHQFxt0o9RwpBCiPXVDCVDg/IbaXkKPw0GS5XH3NmeIT5t4IQ/k7jX7GOnodIHd4Z3eA05G2Opl5tR9iilq4MPU6gJcP4h42F1uUtISD6/Khmp5Ee0Vlo65shy3HW/JsNxROC6klSSBHtjRiTV5/7GzAWJrimb/J3Q5craebRH7uVDTW9UEynl0VrzekJ1dvFOZtk90ff0tR1Lw/YGGvhQcc4ZAvdYoSD87hbMtNse8a4/JYhfPN9bymjHiq+hybc3EE47NdwOBCdqIs+/b7O+1BjXTW2Ew7ZYhmORwU0RwqP8F7s362czPGqL3HnINtqdtOf3aTgbS0zVE7wUK1DO4Xq8Az9ScnXg01vVgUHAHjLk6gZ8UpUfpP58cRvfsZlbtqY8ryKxa4BREwcTG3f8LhSsrQtm/KTulfE18MoJ/ii2TmbdZElpEOCpXMUUAzxEVrkIQQvIDg874Cuzu/BtvG8t0FXeQMzYunnUf8ED30PcFdHD0++Ct8VdG0GDHu0Ul2/+gAppLu+iMUSwLYRBZlClnlA8frldYueYXxBo9vytmHpzRE9W5nB3ppDN3aXvXfj4hyZsbo9iDa57SZpf1fuUf6DPeAoGJ7dzYDrWxFyhnwu+ujk5+1e3Wp2JtBdcIocWpf+n6sWcSyh1QEQXzuWtPwhEfyK0S8B79sgO9lz8bijSVLk8ZQxtv5WwWo69Gc5TcebX7d/jTcOtT3pvECyGlcY9niec3gaAfb5+Qomliaz5cG2uCpeCorJEdKUKAeRTOfTQS9c+dmNyolcYuDAf3mBXliTPJXP91I3uiCZ25+jmWRo9NqtsuWMsLzg2AIymkUfbJ2Nxyvzcgjr1L+oalbj4KgQ527CYLo3wmNk+n5+8WUbVyouBaVoy2s/8svO+4fnjdl29rjRbE/dpSV6f1qgF8vPmNTq/JE87u8w9WaRFIrzkJcJ9wUVp//aFbihSXN26XNTsm2wdnyzO7BW+3WSksu45WAMCNvGkbJGUB4SdjJeuFkJCesxzPbCl6+pPtv6AHw5k90FkEHGCpaCNesMtsrKdrLah0Y4BXk6TyzKaj1bkkYCzxhGwReGGWK2aAAarmIYaQKUyjRc1XMFOHTwMgTlhEzn4ZKNDP1XHytmvec40sr9Ak9J0WdV/8WFa06g5Uw5cm+oV6OdYiQwJFv73BR+jbIzlUpNzEBa8CIyvXibBbFqt5CImM99//zC4UucO2M+8iwZX5FcAuEdfgy6Hst4xe4LPtscSLkzUzTWXsxx0yKv+SRb2t7cmRC2J9VwQThmD3mp2BhqNzPG9VgkzS6XBzoJF7IOcPDBLbTJxtkT3f0vioTlYY+57SUiLdYhWZLl+3w8iVLwZFjm3W+o6JC/6/2debhqRzERplvRkKq44H+Tvk7cxPECtAyRutFOj/htQvV4fPCdpUSK01/8QtijVggXefD195xHX8VjX4Prt5AwpDHEyz5M9X5ewqxOE3g68UuN/Ekd9zBfRbiF7c2bqf7N+Lyk53Ry0cPwdINDuscPzGGM82DoePYsMZHN/925EG9n+LFBYgRjw9v4F62XxvFZTYBfp91hJ7R0MQKq8AIo5VWwsgmUdsdc6ArLQgf9V1T/GEVmNv13d3VecsuZ0DK1MmgR05UZHunU90nzXXbwkjZXCfRE3Vg/ITxWHLmBCgGnvHyOmKbeRyLFvqFPuAx1DMUDA1mka4kFDK2AonSniaZNcdnvq/rFZx1jMjdD1UM+OKUu8QAI2qfD/xf4arJLKbS3RuqztLa0B2NBvBxojQMkJoTeRy14xv/GI9HVUH1qSksNpPeMMK29LxqK94gbPdSkylSH8tZUxJD/KBxty/GcMZMqxVa1kTM49Y07lrpr6nbLFmYYqkhCdEzTnd4gy40SE8fA2EhhOAqw48n3k+mDrrV7EACOW22M8g0ufNq2zEWHBQtTLE9f3+JKeGXy4wx0Slv5vWaELcKUNlEYkPTx0dwMaTL7sbdpnfHz1ZbeoWsfMbR0i6CWzpXSIu74R3eN3hzJTmB+CjNsApZ0CYVA8NRLsYqgLfAm1uijfcblNWsN3Ob8tfbABAVXI6K6/oc9gzsolHO+5WLQPFNqXnVTDgH8o2++0fm5Vl8yqsHhejd/MF7oo0LQXgXW99gMhpAwKQ2k/vAMyDzAGycLfwZYjRn95uTDcwx8vkVyZCxXunJavspkOr2uTEVu9ghCJFqO/R0KvUpvC4+7+XfHjV7k0JdkYtT7TzHSlqLN4NgxnmHADfs/HISr+Pbnx6zOEkzAyYAKwY62aWPbURDMbajBvsX4b66tLgaZrt194aCgbf/A2kX54YZZXsI/82F6JYpouWc4g5tbpVdOUKpvN5TS2srMXsJ8tG/D39n+lFbueE6uk71t6ltkLQQ66aYJ4nq+UsCd9WLNfd2spM+l23pJOw3D8OV61TyLafYY0MRsbFPsfRSQCkC021pTeXFwR54d+zQGcpLgYzKBvC1r+3TkOqbpP9uPRpDYjZfK7YutQsOQ8EPvju8O05cr3SW/g55/PVQm2ToGcyyCwhuY4e/tQ95dpglL7o10lQcODKiRhh1mFmfAcoj4IA3rYZ7O5bHPNoRscxBIXMc3zVlvRP1ylbVYOHOP43av1PxJ/69kt4z9juwwwhTXpEjG4Gi9AWmVq51S5qknkM9IHLa7DHT/a0xXqHQ1WGFbvDt5NPc7FlgAfofveLiP5K6f7L/osm+Uq5U09juYS469EP+1fU0UbobIIxKYZl6HmIEOUKh0G/DaLbvjxhHBnmt6Z3b+0QGHSBUi95awDwHXSuOGjMCqPn3rGT1IhK+h2doWSfsBSwHC+6XuVrED4i45Gbuh/LXBSVQXk94TJ2sZqvvhCEZdHyaq5JBOTQVb3+Nu6nNO9ljaWCKemnqoeErZJnSQ8RFmqkkIuGgXC9Ov4TFEtXVzH2ca4iyHlR/tMgoGLi7yJzMnnFj0Q7AW6T+Hbn+hMyo/QK+Zg7enYWupEHvjG5MCjb3Y6X8R65Xo1XT/dLqJZK8a84sQkc25G3pCPf6F1F3d/+I3fBS3aH6JE1oIN4MRH3c84jDT+SOksBuBW9bTVPnGE5ftZ+H3b/5Gx4h7SgWkMk+5anDfSfKEz57HP5E36XI+OYHJ7HJt+o7i7GwVx5t40gj7Gkkq7n8dCBiyd6sG6zzxZmv6RFv6cHmCzBRxf/j5Afz6dYOMgpa9stgFWHJ/enj56CC3761qccrn5vGIVFa4sVcrobOGXhuCeKQjSQ+TMAOsjXe9lg463nNYzUu4AUqJh4w2bJKWm+3RNZ9baqQMzqK3mEPuMDnNNO/1Ygm7PsdDhe/xMMZcS8WTJpgx2qLgG46FjqZ4EmAFxmlTSCyUXuTQRURxtiZ8jdvYeNmajKze0JWee71O5A1ALrraRv2X0ve6b2dCpv+w4PeOQZf6UZUFwCGyL9RxfFUTRw7niSgqgzY6UCYB19vd+QkwrBnl3FLV7uRz0PGrnI01yAn0r49/hYYz9IPCjm/ouDDr39bqGuisY/21EDiFTAbtoAkKqTOM1zfIdmAGMaO7SOKndKc5+kVbMxU+yTEtqSh1Urhz2m6WgLXDGyx1+B9zE7ORQX35NW4/yf/ZXh/AJrjp2/z/jNm+tA/CEu5e2WDBBR1mXWliy9xHmy4LrvuoiJk5prQyOtAbQT/w/qGPXW0l4RmbThzJVBj7rg2yyN+4+B23GXlmFv3k+R2StjUYhveaHmiF2waIVsLXML3AyyVrddp86YMp2FbdH/JqZdhgsmAgUVtQZTHchrwxjR0OH8jZegwLBBWRasHtdsMi0sEDoNyJk4pFWrp5xGXgT70qKvvdrnXdeaX4fpDd7Z+Jz7dSxoHFJ7BIs1B/6UBL/ECk/+YSLcaSWNh7NYpCNqVLpHbf/s191/wQh1hpQSV448ESfKItVrA2yVpqHTlErY3WpPyh3i6PfhrdBsXrOVVnjmKSH0ge/clH1ZRFatFEQwjiBb7e6mbgeMSo1FP624s1OPH3zR0UC3t4ZDtTRq6+Z+aFfCv/vA1H+OzI/tIYMNHgGECSYOLs4nTlzKjBGsLRUI2uY5Q5JMRC5NkLWDlClIBazIBLBRMEq3MaBJOFaNa9dhEX9z8+9brIIf2sJdqewd77tf4RqO6GVPOEh2hmI52dtTeM4Aw/l8dD1Hq1BadoOxGUVbRS1SNoFk/GI2OvpJ7WfVFNWH9PZ1nSSKcMozXIj0Zb1rXkA8ZIJ/rhWeKZ0D/4VG1jA7b/+YdQAl6HFK0sGG/mvbfuZY38JY2N2M9geNEcFJhT2Tj3QkkRMRCB3NCB+eSy3lz2cexGDNENHeU6ucGAewqFflBXqE+FxeCu5Ik9SNLwo+1BvK6rBiYQTE3V5Lr1fE0H0WI1ZHxUGJZEE3wQhFFGfigCbdjj36po6uO/XgXMLDMWQ6Ux1xU2xC04closBm4HCcQx/T8HxTyz/LtQwFHudZTDEx8fH8JMhG1BjO3UxbFE8ihsVcFwvVyotOMqK7hukqj6/liHNbPxhnLeoLM51pETexox06Ty9vPZh0mf2VrlzxOq0HyRNUfSeCphJLZi3xOdLmRfXjjHkMLcSVgK2WdHC3mhCc+pkfcOsbYMLMDs3w07wr+exoNvSHlWoVMiNA1K6y3aBRWjXR+/R6d6wuvBQzYU78GHNNj+a0mmehZ3rlx0gsAnLqFdBKJj1PMk00L2wawxqxP+QA9VbbPKgDiRnxuMxLFn1UPPJ8kfiZdD0/ii5s+9/zm46WtTgI3Hbu9r/Y7nzFXtDk0J3jYTLKqXM3N8ndeDkeGj3SZh98BEO65h9zGcWXogZIkM8CYisy3qbLc2CB3bVIvPjU7+aVqRy6XFK50okoEjpfCLWx7xxJ7PGbxkc5BZTqyZoR37AfsQLs1h005lzD53kTQF1cYTRytC3wVfLZKus2OUIuxEUUHjdo9h8RODhi/t0ChL1SgqYTTbzfIi9OYZwT8KWHFOTiV9rnw3Var++syvAykBJAB/d7Pxneg9s4thaBucT+ptVRk1TUYvtr/xTKjItdaW0TC9Rk4zR9OmHZwd13QCqJ+yafRQ8mMyWEiLBN8qZyn79iopNCoc6CD+GXhfNVUVlR3yb645fA40cfBfaUsJQJfE9z5jJFHqWt6Shysz/9Tf/5Vi/o+B3MtAp58CKcBI796xWuqABnYj9zEZ2GmCz3LBzCyvAtK407qP/ojgMbdNt5nRBJ4VVQrMxi9Ob7TqpSu4Bhy2VhTTxU9sMwTyzPi2pFWZvMlc38SJeXQzdxyhXCFpqfebQxqrRuEyTQml0r5Kf+TQDfLDNLmc0aAsB4bWI58w1Ol8CPzXfo17ykR4LeLDger4iR5SrsiB8Wafs9N78OmymzcNlagaNatmHDrwX3Jcxhi6l9Qrud9H/DEnC/FPkAuZf0SaIfkcwa2vPBAx/fPI3uGT1MWznYO1nCD13hGv8KRiM46hgjyHQwntqrTWFeKrF0i0hh9UR0Hsn+jESKFnTWAUnynbnx86Fm05qddN5S3RPWEOJkmTgHPElnAeeOzHaimzgc6q7wwXsaKyW9yxnsaLP6/1HiK7ZN6j8u+Tm8oTRfZdFjRFICSnRlFGI3JOe7GedesFvRJ3juKwh0LyTay9A3iC5NRaiV8SCim2aXyQk5U37QswLelZikbBkfVhYNtZbrWnIQPZOGgoPhzedhBs9H/U1r+iLW8HTFPxrqSOPGHKQOy77NrSkSvwwkfuvAWK8kyKMEENqkvQ5SmWK7gvG7C/VUI+C1qKSEzGj15HS/AcYsyz/x8asYmBowH3BdwX/yw2WyKLrpzDLbQD3ELGsb2p6sUvJdG8qtQo6U85RxIqpic2jrYpftL2dCCaLPymoc9HKVoXtxULjNaJbVtMX6Eu+YTY6Qjfw6f+JrgAVmmO8eafYlRjLTMFnCposdgJy//YSfSeZFbcGp9FKrkh/tK3v5gtrsgLUPh3IE0vl1yGYySSX0f+OZ7kogjzHyh/vwnS4fAPJS4DBXY0KsFq2LuDlYs210A9kXgV4CWnSlMiMoRDyWE+vhcjHnhZ5hd2dNS1Aj67D/VlqIGzO8c/a6X3n4fGO9OLRdFVGdTuzPvF+EDLYGb6V5fgm2D5mNyaqLP3WUAFJZqbB4hCiyNLjuKuCRG9cHq0mPNnm0rlITB7UFaEygSosTyhnYuXr3jxFkO6vnSiFLOOhmqK2zX0n89dPcZVtxF8UcJ/0/a9wV0VYu5HHLw9/2CtqPHOD0BpkzgzmJ9G4U11efCE/zV0kTBoBXKjlpV7Yuh6XvnFmjI/F9HRfFyBSvw1cY4oCoPYwr7U5n9xyMeaYjr2NXZ2HZendcWdQVN9BJDenjxElJmvYmMMK2538Y93VJlTI0NWpks7x8jfxYeYjTosaAof0+451pRc/kbuxPfIqvjWjA7Lco0kqDbIvF3wNmbx34yONn45pITm6OuQ8iViZptF/4Wk5EFLLABrCcVtd5jS4YHGPQmlK44ev9oMR898TZPcaodjjzIHYSvPAN9m9UgL3wBOwgi5mfRFaJrNIitwXITB9AX2CJ7STfDwoN+tEJll4TZXBpAalL/aF4R0e/OvYyEHUCLG4cyNtylym++D9imF6hSV1oh1808TyI0bFE/Ydr7+lmuUKdhvoawPASZz4z5JOlH5ZNQTkgcKU5xbM7PxsgaLnaf3FQ3GsvTbPNEGtgPU4V7r4uPQfoNM+PHSeiA7UtIUba99qwpMjSTwOyF5ZENZjkWfdE6YvoNWWk2ONM04ug85f0UOoTXihyKbokjebuNcGqjO2SiA19mwbQt6JacNBvuffXLmGWHqVBc8QIbQlD1ePKpu8w7LhdPykPEKlCx0UUcPKW9uSrViSMpve7nl1+9Ceg4aUc9RTH/cjt9gjQIb/uHPTEn5YnPWC4BZ08lFOA9iyRqqTZIICYmuexPNcQS5vQuhBNcg6Fby+9UwRdOEhoJfKRFW78HyV3QcKD6Jg5Tlv3dpyyaU8gMUMpz24JN8j9BDrV78px9FQewnO+SlnI6jkEquNv0rmsCxrMorvRBTDnnmy+6sde0NvIQclQBYvpkT8gHsUF+mvZxtOOF9qv7Y+7WuRe7dSuXG0kPzTzAc4BBIHQ/9OmFWcTUd6Dv2OU+rc2DRa8uG2DlodXqghYUOY+bPHPKE+xa1uU8j2fOMBe0iZPBVKOxJbSbzPYa44dcB3vw0brVlTxahcnNFWTsdMz3wKMx44ol7UudekC3poPw/X6XXe8xCZUvlUgdoI0IgMu2KNmMDRofvwOzHJEjBsdzIO1a6cL35I4ZnLIbK/FR5phvAaW7wvmvYlCPfroW4KoxZ6A9N4oVKaC+/LOq1ReqKM/uMdqnLA43Vih/o1Cbr2y3jUxnzQ7FwJELDhFyGqc7prqTIAznd7/CW1oOauN3VgLMAwAToaZsCebSEPrHTCKHg+gRNayEMq0hCakJhujtbZBAJMKkGKrJhbb7IJx6J5DR2rTTvvMkYLVIo/tl67/sQpifCU/qAv4KCq7NEFr78N0IVHHTikasQf8H+Cge6jY8kMOLzdeZ78sE73E7Bk/aZgXsrjL1yxUCbSLw4un8LrEVtyDC1PFT+j+lm12Q84t3GLajOUgv7o/kFzeIhk6zMTgpnbEu9BPZlgitUr3TzUkuzFhfunrW4Mfv5QkxyMPfspfa6VLh3KVPzHWpQAad+UopQbeIp+pOdYK8ku6DWNoF7ci/cdZO1ggZJihfW+OILRqnwose35YzukpvpuLCg6sOV9o4TozP8n5RE4Q4AQ77LchazDGnmZ72yGvmeXnRtP+Gx98PlinniK+7JX//YcOWr+tZUX/0C60sGxYGnNK9b3ATolUoDJO+yV7NC6da9dQTqWMcRuCC99aDjFFw2ppxcM+vl65EIAQ9B9tCSr/5lrnTOyHq8XAMWtwaWWYoPDf12yrD3FBZ+R8e2OWxLIAzVle/Bmv8ODAhK+PB5Lwb7pfffD5aWoTXhRrznWFJAOQylBtx/ncXHG/rrL1VeQ3AqI/og2qDRDSBcJNLFimYwn8tmEp8qPTonNqAK++sGv3hVNjUzBhOo6+0mv+conTc793fNZ2hXwf3J8emLjDx4ajGiliwpDpy3XvN8OaKyr8hdiU4SCFp5us42+4EUP8P80Z3stAnFETEk9Gyawajwt7V+gmQofknDm0p2U0aNvDy5BX1+Y8xozlR4aRYFTYRmcDij/scCDj7m69rW9EKE69Zc1ptujILPqfnapeFgMwxvskV4ayVwTxZnF+xQXwlafmyD4EgHJosZCrVVJkjj3z9w2XNg1ymV2x2WnZJGLIFrWWrd66PX0D3oQ05aCvNFVNXR6zDBIYp7e03lmxHEiyTbkaElAsbanN5ZU4F+w3ZkCHAr7MWcCKcHfMCY5k9vT/AYHohpKsn4tp2bRDVwuMJT0+6WKWWjm+wc2Vkif2spSJEPYLLo3HZL6HdFe3ikaLs1Wc0I+IU6+QpBGPQYYuH/Qfa/UNjVMDKU/qLAIbIQkWtnhiA0VDSBtaTHD67s1CuXKiZuHCae8pxcGODai5VY53gzMmRhvqiAeGVKEFrk/WwTHaUbBw3OEly+avyO5Cb+RSYQWrEKVpxCgJ8c4sbJ1N7BaYCrme/ZfoM0ub6XKNDkRtO4E6fRWrQtBUMmNT9zQ/B6KS7aUFRy+TKfGKgI+l7mEF+3DSBCS9wI0UnICS7kQUCLzHujVs277IvrHE3UXJtgsedeAEC9ct8gbAVnHUjIDwDe3oTCH9GBlqLwJS9Wks6KT6pZwh9mZhwWduNop8+zLzY/eXwywLC8ABoJ0Pz2oXR+CvE5DultNcROBINHBry2a5Zik605OVDKf7TCGG5CltbWBvY42Q2PBiY2XdsVpto8bl3efArAQxCgS/pPM5EJu+s+I4gvZLsLa2IaRxMKAzFcJ6fnoybdsCZgvX8ssRZaZOKaad+6apEU0Yj5DXNMBoQpqkkHqDbnzsq+ELU0i/ULseiQP5EA5XMSaD7IsxTnDd6JoTj13WfbWnRiIXRBztfD82EnXIGspB+p3vPck7d/QVjE6tqiD3ezK56PuHdnLjKwQlw1aCgXXNNiJCfAjWgttRNminn5+iHHT78+Td9emwx+3a9Tv3Ni0Vs9QoT7BUKH3glTXKC4o/SdrtDyNap1LILdOBuPHk+quHi2Ppm0uPqYnxrCC1YJ/8Yy7LGAkI+RAw+VyOQSPDpMKpPKCINvq70T1JQj6ekTb1qDKqQyhcScVSi88PFw0s/DAX0HeO789aHFPt1enx+9ZM4sexHXL1ZbEmyGCIEMiXEEVfD3a8SdPEfHIJNCk5BQ/h1s2MGx4iY6M/P/S3JDfEnWkJqslML0q2a4D5PSYNHld85DHEkLF21aDZl1TYlx4GHApsaJETxLPfY/y/ePIthUD/BT1WIG673ZQj/kS2jpIHuiINcCqH5kvuT/hUIqJpYUbOiWp7nQD7FtqErRzXiRO/+qdETmq891fs/BrwxOzfg8n/6/esaZCWQN7ON580MYXEszzLhS7LKq/JElH1BG2nH5Tdc+BoLK1L3mIqBK8VIkEr2U47+9dn0qQhuLBTw0XPDBmguV9PgMUy4Ib1WogHBfDPvUXK9xsDgTKDO/ED8MYZTRnhmWZ4NgIrcrJJZ35jwzMO0xSMq1l0LizRrMNHx+YFlCfOY/DMXrZwx/RjetikeCkTo81lOh/Ug9hGDmcsejdXJAe1hR0oIwoQuELRLlXAbmqmqhiWtpV0usDPt9TnrVhAx3rujyRtxue1LrlflrjDY00fLLbt4tYYnh8g56bowM4YtLqwUyLuGX3yHsufcJs0XjBCgIXDERH8l9dkdTxEAkqLclbz41RvdP9wgha/rOQ+UrmWZULx1g44Y34N2TZN2ccUtTYMvWFOra50qmVdLsC24DWSq2Yj+VkzseXAQ3EPY1TCQhxU3ojyYn1vPXx2bCX3bbXoF/6CIPWURf41Rt6axSeNLD1/mHAhWjVppfoifuVJEEKb7qoK2wH0iZ9vb6iy4MsWYg9Fl1qjGlwFn+Gux5ObzdWgEYx3gLXs/V1851h8hVQRRp1IU/aaYamPMUTCTDiv9MVBHQOCaXdHU75suIYXbOnBnAc1nzGVyBWS/MtO3JTYQhCXmEu92iPbEReoKGxa9YGKkaXvxSc01ocSplCK4PUfiIFcV7VK6kMirC/cHgNSg8UU/DxargAV43DLaVGjeBXLTbBNj24hwdXgCS7NIR/ViLhdiW3cNCe/fWlyMLOOd9Pdx1o5O1W1lxRjitys5LUk6CaUImEpDC+ousQ4drmkC049cra/5C0D09NUv10t74Vtk+O5u9uOfLbHtRVztsT3f/v40afW2KH8N096cwm456xao4J/K5Ki0JQ2xQdg042gzoGaAcimvrTJy9dbeJ+ysvQda+7VZPWfKPdixt1Nfi7XgbLuSi6qTQeG3rBpKvaFToKKFsBlGiyTu8cRqeELumlZcYGwCedBRFIhw/9mjqJsRnSimEYh932iWOOECRDwAlWinQ6Ltc/9TQnKqGC4/0+yB94rzCuVdVlfhYn3EQ9fQRoJ8IZhZkeVtyAVw1brs0P1074QG+E0ObgR3tVyRKDOghS716z1HbFBvF/rC6d4wFsjINanAMcEd6OL6qhCgFu/hCdWsCWUDfUC4JwAOg5eUTOKbgrMx7rujo0dPumGInKvjCJQyvTewyK1t897D1JQZCHngQSHxPU+hlLUzm6GH0bnV2OTGWrY95QRbTVEckXW5eRCXCVDsJLWwkBN7G/Z9WNWg5hdLUjeDB+ieyeMtXr/uImlBV5QYWgo7Mn/iJGcI+wlm55WouqvZS1RFCLKSO+N5KsRS3zmekRlTjjx8LaEufBF+YxzkhwFGJ2sETps3upkc2hY60I/oyZqm6qrpl/yvDfJ14ngQjr7FIegCaEvZeMBfYpRtA6u1CwCOqzhSR1HnjT84S1zLHks/+0QWQtE531C51BfSwSqsqClTrX8860hFGDdD1fOYjZug73B0exHZ5I1qzQCtoeHJ95ePfHkQLyw/ODTSjtGmBBaHeijbbFlv0WUhYH/tudkLvlFa4zdG060oI8cOXP2TrfKZUTVyPXdXcjfwXut6WOB5A14QBJntizTxq9AKGzQFJNfIaDJBsOJi4M7q5b3/QInZYSBkkIvgp11rz3D5pRxVctYTXkz79QPPrKuTBT37L00FKJWatvi6FhzxyZi1bfRSwKCZHlZmATlxhanXa9BFFyJ0UmCso1So3eFawda6Y6BlAZGAuuQ7KI4Hq+RRoMy+I0EuFHOdxffsz21GcgG3eKM3EmyrwimIrz6eQREETbugYbXGbBPT6Ih1pTkVTZ8djwUSD236sXtgeQxUQiHB5qi06fO69oWPIbVPT1h44WQOOddDhRln8RvXRmHkY6zNRe73U7AnORRPc9zIk8n5p35sikn8e6VzlxgrqBcbLtQm3ggVZY7IsyV1MSMrdOMcwIM567e59z9BHB5X/WkOmx+i82hW2hlQFKL+GKLMqyR3SISR2MV5e5PA5XbQji2Js6rPabwu2136QgiIU4Nwdn2GxiTczheKUT8moJYBBGNOdgSb67IJxJVyDP8FntENLItE9zcyUm+E0t7AJF/fOiD+90DVSUGWSmcaSDfCEiYxCZi0SUQqYTut3ceNjWdIIGgMnCHVt30asxdXDtoz4wt+DbYle5kF0AyyYFgvR1GznRFVcQ7MEEJu735NRPUCAF2Kw1ihmIMdC+i1JluK26ojOdN8tK1TVqFFOmcZIO80QMvdFbiGF6DfGIZsqgk2jonMvHvSNb18MH1RRR855AeuDs9/i6r1yvkLuBBdocVEBSgtk0YqJfhspVOAEjF65xPJzvtMMyrVnojLOOWkF5KLnXgEdlo67CCgQRncvtapFVKQcSvGewiqCf8sHn9Nhz/jHS+b4LnUWvlzVGyiwqJMjn7/UBFNg4AvxZQ6N7TpbWoV+rWt3lN2D/HFtFhWVCxCWhYL69XDfRlI7lwsaM4hVYjN6VJILpZ6h4GdmLjCJv9e7b7I8+Cz5jw+i1oxp/HnYHXV6c6IXtQyhh5P3I7A96OlFTCUGnAdKj9/vGfwk5xoQL54NvgTRr9huaX+TAgZHEvKdPtCXkoGVyXr3upDXJm0qNMlU9wx8atNUIujRdCBHcCzgqwqfVkyJe+1tlJabvTapFKh/1tBPIJvMbP185myAdjQSfquevA/6ETuUfjGL9lpA56Y0MS/bJCUFcpoaySFV8/Ntwm54bkw8phD6Lh0Wy8x0sWswI+UdzncUW+UMOQ3j4HYRdW/meLwewIZZG5ugLLz4GWBf8+8A1Yl4WttPxJYvixPzrYDaCg2rD/ayorzWtPMSrdMX3fUVG8nK1Uk2vl7n8dY1D2/zLQGutNu8NiDq3MxhzItcDPI3OcW0vGt7tTljMyujWXnMdtDPGLX13LIfW0fPbIBPvbDwhcErzZ1l70P4xmqjMcVYkBSSYuzD6D5nMt1/sErfNcFtU3orkfy32w1EuCYp7GRnlBG49JkyVMdiiefpaAacZF5hDhCV0klAbbMhhIt1IOCGiZFtzo0O/Z/B+gRXy9YiMzMbuh3ejrvWZ8YcoRHygcR0Xfn+MQuOZ5f+1sqy60gbW+kP0inEY7NPtDL0sLBsaUmgnWo7dQMEkijsyNxcVnSsfvXZO8L71ymRC68SHnz7efNlqXVoS7qChOvr18kEBEtztmw0LzGaU6FYTOQnVhDjUKxm4HA/3ebjari/XhZ3jGfS/KEZFYdPnMGOXeW/xoS0YBbX0GENpp4Pjf7ONxNnfaDLbVg8C85BCwyF5+8NiV/G5zRJ6SH0rN4JIxOhvyS6SB3lDL4l1/9rElnegZuvE9HtdH8ZioI3sQpPlFx7+YG5wV1KTMED22jItnBh1OgLvpg8+7iy0jjeNDfDEWXVuZh3VdeYMbDTKL/Ob2dSOJdYH4osEe3lRfjiUadL65ehIZ9s8/nVDoKDeB4VMbnLkoFZTgV7u+WBWZ9mRViJ0XFEDyxgXiP0y6nuDqBzdscO7voQvkBbu87WxGEA1xf/PKID82/dKEuZqdHYo+6vWspvt5dX0WH0/fqRqiSBZiwMJyaptL0s93CP+wIxrOwQc7scqldVYcPk2GwZliOsW3E70h9lZgQQhNgAYE3Ez5ALM09ibnbdxY+kOyL5raSUIA2tGGlo3URlhUoG6xxn+OwOV080LlIC8ZJD0gIZnKXgXAsVQt6zZ3sFekZpjSdEWEwRtjdRlSVUkSdNzSRqmbNPO3YOC+2jMmxRyNJnzfdIefmvfpr3ubHv6bXLZqNw0kgl4kByofz3zM0viI/kjDCgEVq9xGO/Mesed9ioMLVAVj22FIAVgNcTlvH7TqzIrmqaIsy7MpZcuD7VNY9tltWHGvoB1noMFXksUcSye27os/WI+H/xprUKIr5tfVI7m+whrap09LbBGgmkDPlt1pS2BUdZdjsjYMj6CHM8PiIsSfUbcgWFQRp3DMGw5N+udfDTYMSpRQ+xEG8guHx6swCp2sRdihd+rssmZetCG58kNFucIKNJOTKsUX37PERXJ29PL3MyErkVfCmqRw8nWE8iwPlLycfch0Had9pu/LvBbai1NAzTw6xn4eNnHzQRNMB68S8SpTJRy64fWHKJpFkgfx2RwjOuSFcLEmdvRKZLhb5fprGaVDUpMX6BiXAA5qn24SR5gzuxZZb78ro0DjNnQ1M56jphOFeM7A1J31pLN7bZBIohEtRX3WvE9kfcBByuhBCFClNDLQiTj3TIE3b3fsit50xKuoxrf6jdwjfCngAzZ+AK0W4YcwgmAwifwAz6ZZsYDvzjCu4OSU5zxr2Sl4qbSe+awZRcnobBm1poELiddzMX5bHcyfV02HtslCAj3yZ1TFTAgfAegpoPOCMoUO09aa/+nsdlkldrgxRkxkeHJwc1BRC7Ru+PRDFqgyYdfhMbqLcRiO807ylzUjGqec0PTOdn9bpgoM2hDB2hNgVCaI0Rfj028s9Dst7UCvo2zE6o8EexNLYsoOmYbxEKSg/G7dakZhibM9jq+jfthChk4MggsB0tmwFdiEWdrPf3ywztvJjJhGDfVj1+ODpTd+oVg8XHFVG8xYOUVbB+/r9tnD4rFRtKsS3579AhU/4Pp08Vpfu0mHrXX4F+aJ4xCCQJdRA6a04dXGHXavU+E5xJK0dzX+zV5DKJP790zKhQZTzvPtUUHL4MH9SQ0tZv2kkt1fmsUXCzzoidnqCvGqqt7edT/aVg7sY137gO0NlZsU8m7UEe7lrTieLHWvddr387V5+EPdBjLqRiGHXffqllfhD9olm3v6j1JBZ7i7gKt4rOgmR+4nd2QlJr4LE9SSBacVzsEIWMqjFjHSPAoQBU7AIwat84/x95WUP7kWRZn3wQhfHG3ebteDCpQ29aqWqnbnDMC+7PzJ5JLIqaeZ7JlehO250E/Qqav51AfRxhlHImtKA07u1TTysd/dKbRNFXth6HQBOZCOeN9k8qlsolonFzxcZq18pVG5M40pYOeRAw9IjpeUftKUMHnQN6qFDqj2+ilUwPxu9eIHAi5fA2yAPN7o0cnFmEfDhl+cfnYtTQZVcuDvXaDmTYq5PABYlWHGKOdm0qqWlqtEICXBD/0rTX4MKmT8IyYGUMO2uleddFyWfu6tvYjvcu4Czad0pvMtekCS+ilM/c1jmbiqtlX/QRDGtJ8KkH8TY4fQi5BhGm8rGI1v+p6j0CQSzSeW2Np6aa0wpSE6/z4zvLs/pVaDV4OgaGCkw6lFBFWf/Q1V4vFhjYlq1cAGqI37ifEQEkUhu4iaPHM9otZIJw8qOUC7PMAajlldgmGRTKW6+I1kBKu4+Vh1Ig++UM2oODTlemOGiThM5JhypRpKFyEnKCSKf/IpHSM2jMesFAfFTar/D/8AtQOO9AUMAlSNqWb1b35+/5s/+u3LhSEHD4G9rcsOJrkSF25CLHzsLueyDeGXTo5DjCkGZnYj4NbGBR/lKRVGV2vwxAJ3dTrXYGK8qH5Nkw1pHCFooxg7P+6b8y85aE4J6IgIt6NhFDaYmv6GXh+P2BaFgisU87eANMGU1Ww/X5H5VcX1ipQ+F79XIA/BJ8WNflllI9ghzg7iipGP+1vg1bdBaj366tPnPE7KCnLhba817TrOYExyHlr+GSgRxI2Z/IOz5OBWPsYsS1zDEWXyMDgBjTUyYVarhkjZOX3Ra7ca/rgMmA1H1oPp4QJeXQ5uN+hKwGLba/TD2H36btmRBAcjU58+J5ht303wB+UN/THKUPT85IsM0a0y3FOArvYnhD/G3etVCs+XqLo7JOfttp289cR+wQLQZs3ALqA3ebrEZ5lE+7srNAwnwkkJSQnnev1lj2bwXfkTHJI3y9/n1OFoVTonYOfbi5QyXeXLuR3CDiOrOAUvt+aEcneLdNyS59UkuBeCobikwKJIX0XKZKQRRga0PD/DDCjxET7Xy4nLApjcanXgDzF47WzU4FlbAW/bN6HgnLn7tIxZAtcZLD+DgSj5cTwBzpPCAORGflh7SRYkqN/N0e2EJdjP9p7Qet5p598bSEMnRZ6H4tcmIyUyCv5An5tes+gg24v6yXLMcfwRaW+sDhGblpNX05puJwrH73OdL0dQyYe9bzfxL+QFZECpPUZp/7eWfSuKa6TOqVCBfTYI3UqNpOX0BkOezqyBfyFjBbptmanqkeEX+kzw1yyn1DKKRwKZnKWMsQKler/PUthRxoxAoEPyGi/UipNZdH7jIeQ9I/CKfnYlGheR6d9YF9L106tFpHnMktW858gzEcnnKr+NttE1F/ie3UFqAs+keObMbdYzC2XfwyJQWifsx3mAH2owFIdKFBX6eUx9YrHzxn/NhcCtDifgbWC0VL1uZULlbN289fdBBzJGMeNOQNQ/YykmXt5nsk3NmAnOPyeMUd/fy5T3+rEvf6ixZgL4mQnPmY4oq98iIU/ncvirAVJ2btkvOt6UI0wm79aqN0AfIhXqV+0K4Cj7IoYEpH+bKkM6rMsD98q4j02vPyXimw2tLW7ye5LR7V/ofzQWrFYJgWwoHWMROHuwws5BeVJGuFvT7Jb6/+SW/zoecA0iuK8en7ShycCY+NTIKjjktsWkA8TZi3sZRuhdhCSPIxGdD66ZQvQXPV2MjYmF6l5PN1QGhhpcz29nSH8DhFUjm+Ssqi4rXRwBgtMj2UXtg9ZE1QE6VjWDyCoIE/M0Lio186urjuzgKMhgGeV6mU54tigDFF6upJKx0N/bNRx9+lyPGTXKNvYMeY/j9wp17/FNHKlePHlH8XSHDKbENcLNOqYrj/UiUx98G/+jjikL1K1Y0c6wrY3kjudoFZpNN7+MBZX6YEsiIOVplVAQlDy2uv77pliCGIwkilELZGSZLdVFr+DFvYu4mWfmL/IgQdYoCLnTKee4oSlOeHyFtayRnrffC3vdjCyQ8wBSpbFpCQwZIfLnt52PNqXGi3ADTRjqKRI1Rplw7R3iuWQcYT3ohCn3RSyp/ubdIIxQ1l7NF7HDaQU/VxqCHIZamML8dnXxzP/Krk0pM9i1CFz50/s2yLSwUrpkXGhWiQr7Pr3esIMUEJewHEfbjMiVUN0dsWjko46mgoVvTVBAIe1/RhDMNrw0ZMks94rAEhP7W1rBjM2JiHNSkeGLStBu58flJfnt71yu4WsPsQOdMbXPYWTJmIhfu8OKYGBSJcr0bF+ZW6JxNeFXyhGKPwm3AfxOVpBO4/gDzFVAO8i/z3JiZk2OVzknqbBZzuSTl6LBcZ56V5/FeXl62ZW/pQKydqsrPa7AVcpKqtZooM8t8saz/yTsFwsNp1GNt5hKM/+KvD5EsQJRzhDnHCAN4XTDKBmXWVbAXXiBtNJp0iXSRt/f6rNydAQgkoZBM0S6bKbnfNerkwnzIhkzDBSWS++75Q5xK7ZAASV3Yjg0Rcv0iGZfvFMW0BQJ2b9vjrbp6mv5qjIO23lhjdCsjJPHuHbM4mOnkWpkwVqTliyq10MS+MIOfms6BeeNflJ9H2u5BhLCXTYST9SasAcB/Oa6Gcyvb/k2mEZrFa2TyMGsRKg3+vIxMTcV65IMqO+iKkkSzM4uckLFXOvwzqc3trs8E7+YESIm93FY3mrOn0/8F/AqFKE1Gmp0Lxgo90bC/lR3VStvEsdt4+6FfnIU3I8+lMHMMI3fL+Q2DnUgWukIcjIYvWYR0AmSmiR0xFEJGo8m5v1Sa+XqbwKI2WyESMPwKkSEBIrfQAFPL9fCltfoyB83ITWpGd9sq4VX0VvW4zivnu+FYw/zE4AIr9iMFViTO3+ngJk6cc32tK3HJvTDFDyknazzN/deyLGvdtQ4wK7XKr0PUlTH66TPS9zNCt7GWvIlsZ1F0rGdLve1dbzDeswPQ7UxTNg0iowDr19NqangP/1S1Y7jJTgLxIcIVp7MyuiZ4GZkIJ2/zjROz9zaO9drUym5VRCkf79eTWjjiMLvOeyRax+3IZaR4Q6bX5nt0W0x4RXOwguHJJpznkTf4YfIMotBkBvwtn9oSsoIIER/FPwzmSYY4GiDQIK3Tfw7CAstH0FYr7r+Kia3z8GzgC5Dy87SO5ct5gGN0TupOq3Yj+qGyaV29DbB6IiIbKhqfSJOh+m90SkUlkbSREibJwfRCNg+wIc95RsO48qCLIXboihGZBt90Mi8hIfsOz61nq/vnh7gtZ/j1lTLZLB22PYctc3ppsyaJ0bMmvt23z0JZ/LOkKC05mRQbv0+D99r5c0FQb4GVPzQ6VNmJDIrgDxyFLCzEqKJd3CBQ43kNgISC4RI2K0PS6dzF7id62+QB4PBXTeugsVgGM1WUlKFMpdt88BVbcPNnfHsuqPYwnBTgd7ew2olpsGN1EarjRAeR8bFjlqXwWmaEk4qJFuilkVzB8zIJ7Oylqk9+8qGTxoaZhkz4uj7OdNanbWIYGn/3jrp0GC9F6o1n1BSLD3ZGBlQxtm9aKl5Gk7LOLcu45U+AkwG8hCkP5aolgb2hd6zB/155dOi/Q0rkDxNu9boQ6/y4DLosuN1vcCXkRx+UciHSmxOKL8GTGixyhcndHL0WmkEdofQiWosaS7ZeVlXNVRIPvwLuVsKHGJL2v7MoZrnv5dOldZw5deGxlUGa5ZYAuGP6SIWE21mWTL5qeq+mWoCqGBwlaTdEJEsx7ZrT3VTklg8BJtdaNwUCdz/8SF9GtvYhPDyiLHOSaG9NxID3jAxCA+sYWpvAt1qRPKtxOvv6g14P6E52y1qxF+6lfv5tVT9dQ8M3loiTbJMk8ee2jWJzHyNvbi2aqijXiOsqymuLTwov74rIwccE2vo/v3b27LnzymvF/1IrzlIX7r0z1pdVBIi5CFLTmHHVsjVi+g/P5H4/4U5NYYx5IeL29ps2Hjrvpq/Rjn7rLGYKWmGWPkOHqYvUCguNaNb7IjyajHNIWB6bYPO8MHyk/qqo0U0Eax/T35/5QkP63ScLNw4cvoHr/9LmqsVE45/pqX5lNOpjEy54EdSqNJtflS3lOw+ho6jndatSrVzDN/jTn7iQqBh6YMAcVAQ8qdZ5O6ITG57W+PhVM9K1VjMgaijcXpvUMFMFGsI21FudMM4Qm2bF92mxIfpZrjzgXTk91vyK8ckSE81Rg/mwKuI9WWWjAeol/72VIoOxK001R0xccyynwwT2PTvr/Y5c8fYpxV22RfYOSl7PXJV7+sUcWQCGZdm8oKEJ2hyi1qKFAz8g+7SAf6Ip5kBWl5TO7Gm+kfhrOP2JXmUNN5JzA2PegeZG8qGBgQKN6bOVpSeZQw3wnEf8optSb8M3K03V3mo9S29z1MBcgtbFLbkZx9fN43TAsJjhgYcpHU6j50Ua6an2VVvtGOrelmxUu+UvBBWOt/LOm78Q2cI6WHMsYnBmI1jwd1nubjEKpJXO6bKzyieocZ2AXtwjoZDoKWfovttNJmW8faX390L6Ld9opkt6tmGsyIzD01dRfqdWhSqAf0IJHjtgBemTLnltcVucdUCarYkQnIXQe0XoaZpwa8BhS7ORXn5HaQxa+RHZoTCBXCewPrTyGYtCSLlNJW06mF5dwG6Pc1Z4B+oWM7VcSLhha0JxNmLJbZnGiwAsMdfQb6O7GJ+q1XM3zDgMVJCREr0FvHpFEbaCeRpvXlvCUwu7eybmCVlRRfHzrp37ZL/0sU9AYwZ1RxVNnvB3XZA+DOyGOV9qJ97VIVqBLz64LBYH9gPCbikzEKj+rks6nsVJOvthDXJVb1a1+sxR8sPkXbvgqQYrRbDD+WAh9w1+l8HkqkB/ZgQEUPpu/gZm/ILBlhHJgh3aKXbGVzQcqKLV0/KiRxuNm3nUaWKy42qp9uhGOU5yowFm/hAmSX/xIozobXsPwY/MuoEblbD6qJFrugww6IZCgIu46iUTIZZViY5jiWLzRBJ2dTeCSA+hfrqiBrtqi3USK8gRvVWJadnQ/BsQ04RzRtxVx1O2ixBy4MgReYwrAhiBRsB2c1RPyIIJ7HIKZlHmCRfsQ0bH8e/yTAl1oPzTLoyxg25q+Gv6i37SNG8XBFaKgqkIMMXtsa3hzze4mJhWy4YvC2JUV9iLYXsR1nb+csL15PtWfPZE9SJXQi1F0sEbNqSF0f1Fe0q5cY10CKp1i10/bKLfipjVpGexHUQRkdfJ5I2a3Xqinzk/80yL/rlF4yXdhRfjpAxQwodWup78cCTDbbkW9ghFaxGN75qgPGE/SIPoi54t0gaJWah3lK+CPV4dAtExwbm2meqA8DPpKG1+/O/j55QtPggonEqtQKRCaMY8Q6bZQDzxNDKAjeom29POhE84/4Czs/ZZnVcRyvDJkZhYjjxf1hOekh14LVvXNcSN1WdfQ+93pzCcvQzA1ZcsV/ju9Y6SAxbl/xTIGuhPalLXVlwDFK79T0mqEdJ4n7/GaF25fJKFNZors5JTP+BM2SbJYjSwJzB+ONx28WIhVoHM4LLeAnUtYPgk9Lnv2GDQLyaFIW4oapYnZnVYQnjJ0UT6ogDLt+ZHdyOdExjqJWwFd74oQc5CSTEFyacrjXX4wVdWe4jnXh5PiIam7bS15k4loOtrduTnsPrOcYROqtujzn86ILSVeqlWlzlSNvBNNwXA2XF7CxpxBqCsYd28DieUV5YkuE+HJa1E23RYgKKP2yvYXRY6lh+vhG8n2QFdmWciNayql1cYQjJQFgrNyldY6xqa2bDpgMkJASHhrOQ8+SPqlUOJDiXnLpnzZlP9GTOtWSsn4dYEcWcMQVBFhoU0zp0e2rRewp8DTbp8aDbufXmiHgBLdfUbotJHimqmnodC030LMKu3hrQHt8GIYxhwqu/f7ow3wXmptuCsLx6wMCLUo5GK1vC5tiVkfsAMyjxsW5WVAh07s/EkqRIJvG8W/Ov5WoLP7lVWwCkhLvzdjxiW8edPqrvywgEwKIwE4lT9c7V/dBW8+T60qWjXN2rhD1W3zDTsnMplROS6FJaNwGeGa6IRkLor0pfxVAafJylK2xUQhgmviZH4FFMaY+SoCAJYTloCYgwc7qCfOH1Qq9K+3a+vZmF1G7vIXAhVD/6EJGC2ZRTkxnQs7r9+sjRt06ZpNRrsljN41nlFM=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heme/theme1.xml><?xml version="1.0" encoding="utf-8"?>
<a:theme xmlns:a="http://schemas.openxmlformats.org/drawingml/2006/main" name="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BF16324A-100D-43A3-989B-06855AF3057C}" vid="{05E5CB01-ABF8-49A0-9EED-8A582D469C1C}"/>
    </a:ext>
  </a:extLst>
</a:theme>
</file>

<file path=ppt/theme/theme2.xml><?xml version="1.0" encoding="utf-8"?>
<a:theme xmlns:a="http://schemas.openxmlformats.org/drawingml/2006/main" name="1_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BF16324A-100D-43A3-989B-06855AF3057C}" vid="{05E5CB01-ABF8-49A0-9EED-8A582D469C1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C26FE4FF9FF044C9BFA3E76F6B99373" ma:contentTypeVersion="12" ma:contentTypeDescription="Create a new document." ma:contentTypeScope="" ma:versionID="a8909ddcdfd21edf1ecc687c38f4030a">
  <xsd:schema xmlns:xsd="http://www.w3.org/2001/XMLSchema" xmlns:xs="http://www.w3.org/2001/XMLSchema" xmlns:p="http://schemas.microsoft.com/office/2006/metadata/properties" xmlns:ns2="3f900437-9395-4a63-a110-7ccd28d7d6bc" xmlns:ns3="2238185e-3cb0-42fa-b8c1-22a47d28b78f" targetNamespace="http://schemas.microsoft.com/office/2006/metadata/properties" ma:root="true" ma:fieldsID="2ea93fcb4ef06095dd26c3c8380a6f9e" ns2:_="" ns3:_="">
    <xsd:import namespace="3f900437-9395-4a63-a110-7ccd28d7d6bc"/>
    <xsd:import namespace="2238185e-3cb0-42fa-b8c1-22a47d28b78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900437-9395-4a63-a110-7ccd28d7d6b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8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238185e-3cb0-42fa-b8c1-22a47d28b78f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26D4A2F-11EF-4602-86C4-909839B374A1}">
  <ds:schemaRefs>
    <ds:schemaRef ds:uri="3f900437-9395-4a63-a110-7ccd28d7d6bc"/>
    <ds:schemaRef ds:uri="http://schemas.microsoft.com/office/2006/documentManagement/types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purl.org/dc/dcmitype/"/>
    <ds:schemaRef ds:uri="2238185e-3cb0-42fa-b8c1-22a47d28b78f"/>
    <ds:schemaRef ds:uri="http://schemas.openxmlformats.org/package/2006/metadata/core-properties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09096926-D39F-4BB8-ACD0-2F1112E11015}">
  <ds:schemaRefs>
    <ds:schemaRef ds:uri="2238185e-3cb0-42fa-b8c1-22a47d28b78f"/>
    <ds:schemaRef ds:uri="3f900437-9395-4a63-a110-7ccd28d7d6b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976C6789-6A8E-4A6D-BF47-4C250335939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</TotalTime>
  <Words>3641</Words>
  <Application>Microsoft Office PowerPoint</Application>
  <PresentationFormat>Widescreen</PresentationFormat>
  <Paragraphs>877</Paragraphs>
  <Slides>36</Slides>
  <Notes>28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6</vt:i4>
      </vt:variant>
    </vt:vector>
  </HeadingPairs>
  <TitlesOfParts>
    <vt:vector size="42" baseType="lpstr">
      <vt:lpstr>Arial</vt:lpstr>
      <vt:lpstr>Calibri</vt:lpstr>
      <vt:lpstr>Verdana</vt:lpstr>
      <vt:lpstr>Bain Core</vt:lpstr>
      <vt:lpstr>1_Bain Core</vt:lpstr>
      <vt:lpstr>think-cell Slide</vt:lpstr>
      <vt:lpstr>PowerPoint Presentation</vt:lpstr>
      <vt:lpstr>PowerPoint Presentation</vt:lpstr>
      <vt:lpstr>PowerPoint Presentation</vt:lpstr>
      <vt:lpstr>Demographics: Survey covers a diverse set of respondents across gender, age, location, income and ethnic groups</vt:lpstr>
      <vt:lpstr>PowerPoint Presentation</vt:lpstr>
      <vt:lpstr>Customer Advocacy: X middle of the pack on customer advocacy with ~X% NPS</vt:lpstr>
      <vt:lpstr>Customer Advocacy: X’s promoters praise x, y and z</vt:lpstr>
      <vt:lpstr>Customer Advocacy: X performs best among [segment]; lags among Z driven by criticism of X</vt:lpstr>
      <vt:lpstr>Promoters | Users cite x, y and z alongside good overall experience</vt:lpstr>
      <vt:lpstr>PowerPoint Presentation</vt:lpstr>
      <vt:lpstr>KPC: Indexed importance</vt:lpstr>
      <vt:lpstr>KPC: Criteria importance not indexed (% of respondents)</vt:lpstr>
      <vt:lpstr>KPC: Criteria importance not indexed (% of respondents) - Ranked</vt:lpstr>
      <vt:lpstr>KPC: Top KPCs include…</vt:lpstr>
      <vt:lpstr>KPC: Segment level KPC</vt:lpstr>
      <vt:lpstr>KPC: KPC performance per competitor </vt:lpstr>
      <vt:lpstr>PowerPoint Presentation</vt:lpstr>
      <vt:lpstr>Awareness funnel: X clear leader on brand awareness and usage followed by Y</vt:lpstr>
      <vt:lpstr>Aided awareness: X clear leader on brand awareness followed by Y</vt:lpstr>
      <vt:lpstr>Reasons to use: X and Y key factors influencing vendor selection; Z relatively more important for [target brand] customers </vt:lpstr>
      <vt:lpstr>Use cases: Target used primarily for Channel XX and XX</vt:lpstr>
      <vt:lpstr>Non-users: x% non-users likely to begin use X in 3 years; Non-X users cite x and y as the main reasons for non-usage</vt:lpstr>
      <vt:lpstr>PowerPoint Presentation</vt:lpstr>
      <vt:lpstr> X% unlikely to switch, having higher customer loyalty</vt:lpstr>
      <vt:lpstr>~x% customers using X as primary provider indicate they’re likely to switch in the next 3 years</vt:lpstr>
      <vt:lpstr>X relatively easier switch from vs. competitors; x and y key barriers to switching across companies</vt:lpstr>
      <vt:lpstr>x and y as the main reasons for switching away from X ; Customers switch to Y mainly</vt:lpstr>
      <vt:lpstr>PowerPoint Presentation</vt:lpstr>
      <vt:lpstr>X with ~x% YoY price increase over past 5 years vs. ~y% for Y; </vt:lpstr>
      <vt:lpstr>~x% expect a spend increase on x; Average future spend expected to increase by x% YoY</vt:lpstr>
      <vt:lpstr>Future Spend: ~x% of X customers have increased spend over past 3 years driven by y and z</vt:lpstr>
      <vt:lpstr>Share of wallet: Top competitors</vt:lpstr>
      <vt:lpstr>Share of wallet: Weighted SOW</vt:lpstr>
      <vt:lpstr>Customer Overlap / Cross-brand purchase in L3M</vt:lpstr>
      <vt:lpstr>Customer Overlap / Repertoire analysis</vt:lpstr>
      <vt:lpstr>PowerPoint Presentation</vt:lpstr>
    </vt:vector>
  </TitlesOfParts>
  <Company>Bain &amp;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ntes, Reuben</dc:creator>
  <cp:lastModifiedBy>Singh, Ujjwal</cp:lastModifiedBy>
  <cp:revision>3</cp:revision>
  <cp:lastPrinted>2017-02-15T14:23:56Z</cp:lastPrinted>
  <dcterms:created xsi:type="dcterms:W3CDTF">2022-12-05T08:28:21Z</dcterms:created>
  <dcterms:modified xsi:type="dcterms:W3CDTF">2025-06-03T07:10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C26FE4FF9FF044C9BFA3E76F6B99373</vt:lpwstr>
  </property>
</Properties>
</file>